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7.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8.xml" ContentType="application/vnd.openxmlformats-officedocument.presentationml.tags+xml"/>
  <Override PartName="/ppt/notesSlides/notesSlide1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heme/themeOverride1.xml" ContentType="application/vnd.openxmlformats-officedocument.themeOverride+xml"/>
  <Override PartName="/ppt/charts/chart3.xml" ContentType="application/vnd.openxmlformats-officedocument.drawingml.chart+xml"/>
  <Override PartName="/ppt/theme/themeOverride2.xml" ContentType="application/vnd.openxmlformats-officedocument.themeOverride+xml"/>
  <Override PartName="/ppt/charts/chart4.xml" ContentType="application/vnd.openxmlformats-officedocument.drawingml.chart+xml"/>
  <Override PartName="/ppt/theme/themeOverride3.xml" ContentType="application/vnd.openxmlformats-officedocument.themeOverr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32.xml" ContentType="application/vnd.openxmlformats-officedocument.presentationml.notesSlide+xml"/>
  <Override PartName="/ppt/charts/chart5.xml" ContentType="application/vnd.openxmlformats-officedocument.drawingml.chart+xml"/>
  <Override PartName="/ppt/charts/style1.xml" ContentType="application/vnd.ms-office.chartstyle+xml"/>
  <Override PartName="/ppt/charts/colors1.xml" ContentType="application/vnd.ms-office.chartcolorstyle+xml"/>
  <Override PartName="/ppt/charts/chart6.xml" ContentType="application/vnd.openxmlformats-officedocument.drawingml.chart+xml"/>
  <Override PartName="/ppt/charts/style2.xml" ContentType="application/vnd.ms-office.chartstyle+xml"/>
  <Override PartName="/ppt/charts/colors2.xml" ContentType="application/vnd.ms-office.chartcolorstyl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3.xml" ContentType="application/vnd.openxmlformats-officedocument.presentationml.notesSlide+xml"/>
  <Override PartName="/ppt/tags/tag5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4" r:id="rId4"/>
    <p:sldMasterId id="2147483703" r:id="rId5"/>
  </p:sldMasterIdLst>
  <p:notesMasterIdLst>
    <p:notesMasterId r:id="rId67"/>
  </p:notesMasterIdLst>
  <p:handoutMasterIdLst>
    <p:handoutMasterId r:id="rId68"/>
  </p:handoutMasterIdLst>
  <p:sldIdLst>
    <p:sldId id="1251" r:id="rId6"/>
    <p:sldId id="1252" r:id="rId7"/>
    <p:sldId id="1253" r:id="rId8"/>
    <p:sldId id="1286" r:id="rId9"/>
    <p:sldId id="1254" r:id="rId10"/>
    <p:sldId id="1256" r:id="rId11"/>
    <p:sldId id="1257" r:id="rId12"/>
    <p:sldId id="1260" r:id="rId13"/>
    <p:sldId id="1261" r:id="rId14"/>
    <p:sldId id="1262" r:id="rId15"/>
    <p:sldId id="1263" r:id="rId16"/>
    <p:sldId id="1264" r:id="rId17"/>
    <p:sldId id="1287" r:id="rId18"/>
    <p:sldId id="1266" r:id="rId19"/>
    <p:sldId id="1267" r:id="rId20"/>
    <p:sldId id="1268" r:id="rId21"/>
    <p:sldId id="1269" r:id="rId22"/>
    <p:sldId id="1270" r:id="rId23"/>
    <p:sldId id="1281" r:id="rId24"/>
    <p:sldId id="1272" r:id="rId25"/>
    <p:sldId id="1241" r:id="rId26"/>
    <p:sldId id="1242" r:id="rId27"/>
    <p:sldId id="1243" r:id="rId28"/>
    <p:sldId id="1222" r:id="rId29"/>
    <p:sldId id="1223" r:id="rId30"/>
    <p:sldId id="1224" r:id="rId31"/>
    <p:sldId id="1196" r:id="rId32"/>
    <p:sldId id="1225" r:id="rId33"/>
    <p:sldId id="1228" r:id="rId34"/>
    <p:sldId id="1283" r:id="rId35"/>
    <p:sldId id="1229" r:id="rId36"/>
    <p:sldId id="1230" r:id="rId37"/>
    <p:sldId id="1231" r:id="rId38"/>
    <p:sldId id="1232" r:id="rId39"/>
    <p:sldId id="1233" r:id="rId40"/>
    <p:sldId id="1234" r:id="rId41"/>
    <p:sldId id="1235" r:id="rId42"/>
    <p:sldId id="1236" r:id="rId43"/>
    <p:sldId id="1284" r:id="rId44"/>
    <p:sldId id="1192" r:id="rId45"/>
    <p:sldId id="1285" r:id="rId46"/>
    <p:sldId id="1193" r:id="rId47"/>
    <p:sldId id="1282" r:id="rId48"/>
    <p:sldId id="1195" r:id="rId49"/>
    <p:sldId id="1197" r:id="rId50"/>
    <p:sldId id="1198" r:id="rId51"/>
    <p:sldId id="1199" r:id="rId52"/>
    <p:sldId id="1273" r:id="rId53"/>
    <p:sldId id="1200" r:id="rId54"/>
    <p:sldId id="1201" r:id="rId55"/>
    <p:sldId id="1202" r:id="rId56"/>
    <p:sldId id="1204" r:id="rId57"/>
    <p:sldId id="1288" r:id="rId58"/>
    <p:sldId id="1274" r:id="rId59"/>
    <p:sldId id="1275" r:id="rId60"/>
    <p:sldId id="1276" r:id="rId61"/>
    <p:sldId id="1277" r:id="rId62"/>
    <p:sldId id="1279" r:id="rId63"/>
    <p:sldId id="1211" r:id="rId64"/>
    <p:sldId id="1212" r:id="rId65"/>
    <p:sldId id="1213" r:id="rId66"/>
  </p:sldIdLst>
  <p:sldSz cx="9906000" cy="6858000" type="A4"/>
  <p:notesSz cx="6797675" cy="9926638"/>
  <p:custDataLst>
    <p:tags r:id="rId69"/>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FF238C0-3645-48C4-9E3E-B1835B230FA8}">
          <p14:sldIdLst>
            <p14:sldId id="1251"/>
            <p14:sldId id="1252"/>
            <p14:sldId id="1253"/>
            <p14:sldId id="1286"/>
            <p14:sldId id="1254"/>
            <p14:sldId id="1256"/>
            <p14:sldId id="1257"/>
            <p14:sldId id="1260"/>
            <p14:sldId id="1261"/>
            <p14:sldId id="1262"/>
            <p14:sldId id="1263"/>
            <p14:sldId id="1264"/>
            <p14:sldId id="1287"/>
            <p14:sldId id="1266"/>
            <p14:sldId id="1267"/>
            <p14:sldId id="1268"/>
            <p14:sldId id="1269"/>
            <p14:sldId id="1270"/>
            <p14:sldId id="1281"/>
            <p14:sldId id="1272"/>
            <p14:sldId id="1241"/>
            <p14:sldId id="1242"/>
            <p14:sldId id="1243"/>
          </p14:sldIdLst>
        </p14:section>
        <p14:section name="Untitled Section" id="{43A1B48A-230E-4EE1-ACC7-60387DE79BDD}">
          <p14:sldIdLst>
            <p14:sldId id="1222"/>
            <p14:sldId id="1223"/>
            <p14:sldId id="1224"/>
            <p14:sldId id="1196"/>
            <p14:sldId id="1225"/>
            <p14:sldId id="1228"/>
            <p14:sldId id="1283"/>
            <p14:sldId id="1229"/>
            <p14:sldId id="1230"/>
            <p14:sldId id="1231"/>
            <p14:sldId id="1232"/>
            <p14:sldId id="1233"/>
            <p14:sldId id="1234"/>
            <p14:sldId id="1235"/>
            <p14:sldId id="1236"/>
            <p14:sldId id="1284"/>
            <p14:sldId id="1192"/>
            <p14:sldId id="1285"/>
            <p14:sldId id="1193"/>
            <p14:sldId id="1282"/>
            <p14:sldId id="1195"/>
            <p14:sldId id="1197"/>
            <p14:sldId id="1198"/>
            <p14:sldId id="1199"/>
            <p14:sldId id="1273"/>
            <p14:sldId id="1200"/>
            <p14:sldId id="1201"/>
            <p14:sldId id="1202"/>
            <p14:sldId id="1204"/>
            <p14:sldId id="1288"/>
            <p14:sldId id="1274"/>
            <p14:sldId id="1275"/>
            <p14:sldId id="1276"/>
            <p14:sldId id="1277"/>
            <p14:sldId id="1279"/>
            <p14:sldId id="1211"/>
            <p14:sldId id="1212"/>
            <p14:sldId id="121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B3B55"/>
    <a:srgbClr val="0038A8"/>
    <a:srgbClr val="0412C8"/>
    <a:srgbClr val="C2A889"/>
    <a:srgbClr val="F4F0E4"/>
    <a:srgbClr val="D0DAD6"/>
    <a:srgbClr val="B9C7C2"/>
    <a:srgbClr val="E2DED9"/>
    <a:srgbClr val="A1B5AD"/>
    <a:srgbClr val="8AA2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7965C6-74E4-4616-BE18-DFAF5EF57F6E}" v="8" dt="2019-01-17T21:41:35.38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6" autoAdjust="0"/>
    <p:restoredTop sz="82891" autoAdjust="0"/>
  </p:normalViewPr>
  <p:slideViewPr>
    <p:cSldViewPr snapToGrid="0" showGuides="1">
      <p:cViewPr varScale="1">
        <p:scale>
          <a:sx n="52" d="100"/>
          <a:sy n="52" d="100"/>
        </p:scale>
        <p:origin x="1548" y="32"/>
      </p:cViewPr>
      <p:guideLst/>
    </p:cSldViewPr>
  </p:slideViewPr>
  <p:notesTextViewPr>
    <p:cViewPr>
      <p:scale>
        <a:sx n="100" d="100"/>
        <a:sy n="100" d="100"/>
      </p:scale>
      <p:origin x="0" y="0"/>
    </p:cViewPr>
  </p:notesTextViewPr>
  <p:sorterViewPr>
    <p:cViewPr varScale="1">
      <p:scale>
        <a:sx n="1" d="1"/>
        <a:sy n="1" d="1"/>
      </p:scale>
      <p:origin x="0" y="-2864"/>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handoutMaster" Target="handoutMasters/handoutMaster1.xml"/><Relationship Id="rId7" Type="http://schemas.openxmlformats.org/officeDocument/2006/relationships/slide" Target="slides/slide2.xml"/><Relationship Id="rId71"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tags" Target="tags/tag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presProps" Target="presProps.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Pernille Koch Erichsen - Implement Consulting Group" userId="8d1f9ca3-c3b6-4edc-9863-85c08b468d14" providerId="ADAL" clId="{937965C6-74E4-4616-BE18-DFAF5EF57F6E}"/>
    <pc:docChg chg="undo custSel addSld delSld modSld modSection">
      <pc:chgData name="Pernille Koch Erichsen - Implement Consulting Group" userId="8d1f9ca3-c3b6-4edc-9863-85c08b468d14" providerId="ADAL" clId="{937965C6-74E4-4616-BE18-DFAF5EF57F6E}" dt="2019-01-17T21:41:53.229" v="322" actId="1076"/>
      <pc:docMkLst>
        <pc:docMk/>
      </pc:docMkLst>
      <pc:sldChg chg="modNotesTx">
        <pc:chgData name="Pernille Koch Erichsen - Implement Consulting Group" userId="8d1f9ca3-c3b6-4edc-9863-85c08b468d14" providerId="ADAL" clId="{937965C6-74E4-4616-BE18-DFAF5EF57F6E}" dt="2019-01-17T21:39:28.587" v="296" actId="6549"/>
        <pc:sldMkLst>
          <pc:docMk/>
          <pc:sldMk cId="2610861719" sldId="1197"/>
        </pc:sldMkLst>
      </pc:sldChg>
      <pc:sldChg chg="del">
        <pc:chgData name="Pernille Koch Erichsen - Implement Consulting Group" userId="8d1f9ca3-c3b6-4edc-9863-85c08b468d14" providerId="ADAL" clId="{937965C6-74E4-4616-BE18-DFAF5EF57F6E}" dt="2019-01-17T21:41:47.467" v="321" actId="2696"/>
        <pc:sldMkLst>
          <pc:docMk/>
          <pc:sldMk cId="2473290227" sldId="1205"/>
        </pc:sldMkLst>
      </pc:sldChg>
      <pc:sldChg chg="modSp">
        <pc:chgData name="Pernille Koch Erichsen - Implement Consulting Group" userId="8d1f9ca3-c3b6-4edc-9863-85c08b468d14" providerId="ADAL" clId="{937965C6-74E4-4616-BE18-DFAF5EF57F6E}" dt="2019-01-17T21:41:16.854" v="319" actId="6549"/>
        <pc:sldMkLst>
          <pc:docMk/>
          <pc:sldMk cId="8728599" sldId="1213"/>
        </pc:sldMkLst>
        <pc:spChg chg="mod">
          <ac:chgData name="Pernille Koch Erichsen - Implement Consulting Group" userId="8d1f9ca3-c3b6-4edc-9863-85c08b468d14" providerId="ADAL" clId="{937965C6-74E4-4616-BE18-DFAF5EF57F6E}" dt="2019-01-17T21:41:16.854" v="319" actId="6549"/>
          <ac:spMkLst>
            <pc:docMk/>
            <pc:sldMk cId="8728599" sldId="1213"/>
            <ac:spMk id="2" creationId="{00000000-0000-0000-0000-000000000000}"/>
          </ac:spMkLst>
        </pc:spChg>
      </pc:sldChg>
      <pc:sldChg chg="addSp delSp modSp">
        <pc:chgData name="Pernille Koch Erichsen - Implement Consulting Group" userId="8d1f9ca3-c3b6-4edc-9863-85c08b468d14" providerId="ADAL" clId="{937965C6-74E4-4616-BE18-DFAF5EF57F6E}" dt="2019-01-17T21:29:13.200" v="10" actId="1076"/>
        <pc:sldMkLst>
          <pc:docMk/>
          <pc:sldMk cId="104197011" sldId="1251"/>
        </pc:sldMkLst>
        <pc:spChg chg="del">
          <ac:chgData name="Pernille Koch Erichsen - Implement Consulting Group" userId="8d1f9ca3-c3b6-4edc-9863-85c08b468d14" providerId="ADAL" clId="{937965C6-74E4-4616-BE18-DFAF5EF57F6E}" dt="2019-01-17T21:28:20.405" v="1" actId="931"/>
          <ac:spMkLst>
            <pc:docMk/>
            <pc:sldMk cId="104197011" sldId="1251"/>
            <ac:spMk id="5" creationId="{9710EB20-B854-4102-AE5A-CFEB005D96DC}"/>
          </ac:spMkLst>
        </pc:spChg>
        <pc:picChg chg="add mod ord modCrop">
          <ac:chgData name="Pernille Koch Erichsen - Implement Consulting Group" userId="8d1f9ca3-c3b6-4edc-9863-85c08b468d14" providerId="ADAL" clId="{937965C6-74E4-4616-BE18-DFAF5EF57F6E}" dt="2019-01-17T21:29:13.200" v="10" actId="1076"/>
          <ac:picMkLst>
            <pc:docMk/>
            <pc:sldMk cId="104197011" sldId="1251"/>
            <ac:picMk id="8" creationId="{EE28E6A0-C7FF-4431-8585-2B70BBDFDE1C}"/>
          </ac:picMkLst>
        </pc:picChg>
        <pc:picChg chg="del">
          <ac:chgData name="Pernille Koch Erichsen - Implement Consulting Group" userId="8d1f9ca3-c3b6-4edc-9863-85c08b468d14" providerId="ADAL" clId="{937965C6-74E4-4616-BE18-DFAF5EF57F6E}" dt="2019-01-17T21:27:57.487" v="0" actId="478"/>
          <ac:picMkLst>
            <pc:docMk/>
            <pc:sldMk cId="104197011" sldId="1251"/>
            <ac:picMk id="9" creationId="{F11FD966-C457-4497-A3A4-8BF1784BF495}"/>
          </ac:picMkLst>
        </pc:picChg>
      </pc:sldChg>
      <pc:sldChg chg="modSp">
        <pc:chgData name="Pernille Koch Erichsen - Implement Consulting Group" userId="8d1f9ca3-c3b6-4edc-9863-85c08b468d14" providerId="ADAL" clId="{937965C6-74E4-4616-BE18-DFAF5EF57F6E}" dt="2019-01-17T21:30:23.411" v="20" actId="1076"/>
        <pc:sldMkLst>
          <pc:docMk/>
          <pc:sldMk cId="411964815" sldId="1252"/>
        </pc:sldMkLst>
        <pc:spChg chg="mod">
          <ac:chgData name="Pernille Koch Erichsen - Implement Consulting Group" userId="8d1f9ca3-c3b6-4edc-9863-85c08b468d14" providerId="ADAL" clId="{937965C6-74E4-4616-BE18-DFAF5EF57F6E}" dt="2019-01-17T21:30:23.411" v="20" actId="1076"/>
          <ac:spMkLst>
            <pc:docMk/>
            <pc:sldMk cId="411964815" sldId="1252"/>
            <ac:spMk id="3" creationId="{02A1B2B3-DA7D-4860-89CE-6C0F419CEC7F}"/>
          </ac:spMkLst>
        </pc:spChg>
        <pc:spChg chg="mod">
          <ac:chgData name="Pernille Koch Erichsen - Implement Consulting Group" userId="8d1f9ca3-c3b6-4edc-9863-85c08b468d14" providerId="ADAL" clId="{937965C6-74E4-4616-BE18-DFAF5EF57F6E}" dt="2019-01-17T21:30:16.636" v="19" actId="1076"/>
          <ac:spMkLst>
            <pc:docMk/>
            <pc:sldMk cId="411964815" sldId="1252"/>
            <ac:spMk id="16" creationId="{BF1F6F33-22C2-4EB3-9D44-E9836F966AA2}"/>
          </ac:spMkLst>
        </pc:spChg>
      </pc:sldChg>
      <pc:sldChg chg="modSp">
        <pc:chgData name="Pernille Koch Erichsen - Implement Consulting Group" userId="8d1f9ca3-c3b6-4edc-9863-85c08b468d14" providerId="ADAL" clId="{937965C6-74E4-4616-BE18-DFAF5EF57F6E}" dt="2019-01-17T21:31:46.326" v="37" actId="14100"/>
        <pc:sldMkLst>
          <pc:docMk/>
          <pc:sldMk cId="278652992" sldId="1260"/>
        </pc:sldMkLst>
        <pc:spChg chg="mod">
          <ac:chgData name="Pernille Koch Erichsen - Implement Consulting Group" userId="8d1f9ca3-c3b6-4edc-9863-85c08b468d14" providerId="ADAL" clId="{937965C6-74E4-4616-BE18-DFAF5EF57F6E}" dt="2019-01-17T21:31:46.326" v="37" actId="14100"/>
          <ac:spMkLst>
            <pc:docMk/>
            <pc:sldMk cId="278652992" sldId="1260"/>
            <ac:spMk id="28" creationId="{205A4D34-9DCF-470F-9653-0E85D0969718}"/>
          </ac:spMkLst>
        </pc:spChg>
        <pc:spChg chg="mod">
          <ac:chgData name="Pernille Koch Erichsen - Implement Consulting Group" userId="8d1f9ca3-c3b6-4edc-9863-85c08b468d14" providerId="ADAL" clId="{937965C6-74E4-4616-BE18-DFAF5EF57F6E}" dt="2019-01-17T21:30:58.459" v="26" actId="20577"/>
          <ac:spMkLst>
            <pc:docMk/>
            <pc:sldMk cId="278652992" sldId="1260"/>
            <ac:spMk id="565250" creationId="{00000000-0000-0000-0000-000000000000}"/>
          </ac:spMkLst>
        </pc:spChg>
        <pc:spChg chg="mod">
          <ac:chgData name="Pernille Koch Erichsen - Implement Consulting Group" userId="8d1f9ca3-c3b6-4edc-9863-85c08b468d14" providerId="ADAL" clId="{937965C6-74E4-4616-BE18-DFAF5EF57F6E}" dt="2019-01-17T21:31:45.833" v="36" actId="14100"/>
          <ac:spMkLst>
            <pc:docMk/>
            <pc:sldMk cId="278652992" sldId="1260"/>
            <ac:spMk id="565254" creationId="{A8B1AD2A-EFF3-4225-870D-71186CC2CB1E}"/>
          </ac:spMkLst>
        </pc:spChg>
        <pc:grpChg chg="mod">
          <ac:chgData name="Pernille Koch Erichsen - Implement Consulting Group" userId="8d1f9ca3-c3b6-4edc-9863-85c08b468d14" providerId="ADAL" clId="{937965C6-74E4-4616-BE18-DFAF5EF57F6E}" dt="2019-01-17T21:31:44.720" v="34" actId="1076"/>
          <ac:grpSpMkLst>
            <pc:docMk/>
            <pc:sldMk cId="278652992" sldId="1260"/>
            <ac:grpSpMk id="565249" creationId="{B0FA9EFE-9BFB-4E60-A82D-13D2D2A80C6B}"/>
          </ac:grpSpMkLst>
        </pc:grpChg>
      </pc:sldChg>
      <pc:sldChg chg="addSp delSp modSp">
        <pc:chgData name="Pernille Koch Erichsen - Implement Consulting Group" userId="8d1f9ca3-c3b6-4edc-9863-85c08b468d14" providerId="ADAL" clId="{937965C6-74E4-4616-BE18-DFAF5EF57F6E}" dt="2019-01-17T21:33:55.436" v="118"/>
        <pc:sldMkLst>
          <pc:docMk/>
          <pc:sldMk cId="2239342469" sldId="1266"/>
        </pc:sldMkLst>
        <pc:spChg chg="add del mod">
          <ac:chgData name="Pernille Koch Erichsen - Implement Consulting Group" userId="8d1f9ca3-c3b6-4edc-9863-85c08b468d14" providerId="ADAL" clId="{937965C6-74E4-4616-BE18-DFAF5EF57F6E}" dt="2019-01-17T21:33:55.436" v="118"/>
          <ac:spMkLst>
            <pc:docMk/>
            <pc:sldMk cId="2239342469" sldId="1266"/>
            <ac:spMk id="3" creationId="{441CE8CA-1DB3-476B-8C13-066B1CE8EFCD}"/>
          </ac:spMkLst>
        </pc:spChg>
        <pc:spChg chg="add mod">
          <ac:chgData name="Pernille Koch Erichsen - Implement Consulting Group" userId="8d1f9ca3-c3b6-4edc-9863-85c08b468d14" providerId="ADAL" clId="{937965C6-74E4-4616-BE18-DFAF5EF57F6E}" dt="2019-01-17T21:33:35.126" v="113" actId="1076"/>
          <ac:spMkLst>
            <pc:docMk/>
            <pc:sldMk cId="2239342469" sldId="1266"/>
            <ac:spMk id="4" creationId="{35E891F0-3D2D-49C5-8CA7-0E6CB3D8C56D}"/>
          </ac:spMkLst>
        </pc:spChg>
        <pc:spChg chg="mod">
          <ac:chgData name="Pernille Koch Erichsen - Implement Consulting Group" userId="8d1f9ca3-c3b6-4edc-9863-85c08b468d14" providerId="ADAL" clId="{937965C6-74E4-4616-BE18-DFAF5EF57F6E}" dt="2019-01-17T21:33:42.418" v="115" actId="1076"/>
          <ac:spMkLst>
            <pc:docMk/>
            <pc:sldMk cId="2239342469" sldId="1266"/>
            <ac:spMk id="11" creationId="{00000000-0000-0000-0000-000000000000}"/>
          </ac:spMkLst>
        </pc:spChg>
        <pc:spChg chg="mod">
          <ac:chgData name="Pernille Koch Erichsen - Implement Consulting Group" userId="8d1f9ca3-c3b6-4edc-9863-85c08b468d14" providerId="ADAL" clId="{937965C6-74E4-4616-BE18-DFAF5EF57F6E}" dt="2019-01-17T21:33:51.521" v="116" actId="1076"/>
          <ac:spMkLst>
            <pc:docMk/>
            <pc:sldMk cId="2239342469" sldId="1266"/>
            <ac:spMk id="13" creationId="{00000000-0000-0000-0000-000000000000}"/>
          </ac:spMkLst>
        </pc:spChg>
        <pc:spChg chg="mod">
          <ac:chgData name="Pernille Koch Erichsen - Implement Consulting Group" userId="8d1f9ca3-c3b6-4edc-9863-85c08b468d14" providerId="ADAL" clId="{937965C6-74E4-4616-BE18-DFAF5EF57F6E}" dt="2019-01-17T21:33:38.083" v="114" actId="20577"/>
          <ac:spMkLst>
            <pc:docMk/>
            <pc:sldMk cId="2239342469" sldId="1266"/>
            <ac:spMk id="22" creationId="{D48D56CB-01C0-463D-A9ED-ABF09C3AE93A}"/>
          </ac:spMkLst>
        </pc:spChg>
      </pc:sldChg>
      <pc:sldChg chg="modSp">
        <pc:chgData name="Pernille Koch Erichsen - Implement Consulting Group" userId="8d1f9ca3-c3b6-4edc-9863-85c08b468d14" providerId="ADAL" clId="{937965C6-74E4-4616-BE18-DFAF5EF57F6E}" dt="2019-01-17T21:34:46.077" v="120" actId="14100"/>
        <pc:sldMkLst>
          <pc:docMk/>
          <pc:sldMk cId="2208957748" sldId="1267"/>
        </pc:sldMkLst>
        <pc:spChg chg="mod">
          <ac:chgData name="Pernille Koch Erichsen - Implement Consulting Group" userId="8d1f9ca3-c3b6-4edc-9863-85c08b468d14" providerId="ADAL" clId="{937965C6-74E4-4616-BE18-DFAF5EF57F6E}" dt="2019-01-17T21:34:46.077" v="120" actId="14100"/>
          <ac:spMkLst>
            <pc:docMk/>
            <pc:sldMk cId="2208957748" sldId="1267"/>
            <ac:spMk id="2" creationId="{00000000-0000-0000-0000-000000000000}"/>
          </ac:spMkLst>
        </pc:spChg>
      </pc:sldChg>
      <pc:sldChg chg="addSp delSp modSp">
        <pc:chgData name="Pernille Koch Erichsen - Implement Consulting Group" userId="8d1f9ca3-c3b6-4edc-9863-85c08b468d14" providerId="ADAL" clId="{937965C6-74E4-4616-BE18-DFAF5EF57F6E}" dt="2019-01-17T21:35:42.032" v="122" actId="931"/>
        <pc:sldMkLst>
          <pc:docMk/>
          <pc:sldMk cId="2009990361" sldId="1281"/>
        </pc:sldMkLst>
        <pc:spChg chg="del">
          <ac:chgData name="Pernille Koch Erichsen - Implement Consulting Group" userId="8d1f9ca3-c3b6-4edc-9863-85c08b468d14" providerId="ADAL" clId="{937965C6-74E4-4616-BE18-DFAF5EF57F6E}" dt="2019-01-17T21:35:42.032" v="122" actId="931"/>
          <ac:spMkLst>
            <pc:docMk/>
            <pc:sldMk cId="2009990361" sldId="1281"/>
            <ac:spMk id="5" creationId="{9710EB20-B854-4102-AE5A-CFEB005D96DC}"/>
          </ac:spMkLst>
        </pc:spChg>
        <pc:picChg chg="add mod">
          <ac:chgData name="Pernille Koch Erichsen - Implement Consulting Group" userId="8d1f9ca3-c3b6-4edc-9863-85c08b468d14" providerId="ADAL" clId="{937965C6-74E4-4616-BE18-DFAF5EF57F6E}" dt="2019-01-17T21:35:42.032" v="122" actId="931"/>
          <ac:picMkLst>
            <pc:docMk/>
            <pc:sldMk cId="2009990361" sldId="1281"/>
            <ac:picMk id="8" creationId="{8A2904E9-DDC4-4FF5-BF82-B8AEE05BBC25}"/>
          </ac:picMkLst>
        </pc:picChg>
        <pc:picChg chg="del">
          <ac:chgData name="Pernille Koch Erichsen - Implement Consulting Group" userId="8d1f9ca3-c3b6-4edc-9863-85c08b468d14" providerId="ADAL" clId="{937965C6-74E4-4616-BE18-DFAF5EF57F6E}" dt="2019-01-17T21:35:29.287" v="121" actId="478"/>
          <ac:picMkLst>
            <pc:docMk/>
            <pc:sldMk cId="2009990361" sldId="1281"/>
            <ac:picMk id="9" creationId="{F11FD966-C457-4497-A3A4-8BF1784BF495}"/>
          </ac:picMkLst>
        </pc:picChg>
      </pc:sldChg>
      <pc:sldChg chg="modSp">
        <pc:chgData name="Pernille Koch Erichsen - Implement Consulting Group" userId="8d1f9ca3-c3b6-4edc-9863-85c08b468d14" providerId="ADAL" clId="{937965C6-74E4-4616-BE18-DFAF5EF57F6E}" dt="2019-01-17T21:38:52.438" v="295" actId="1076"/>
        <pc:sldMkLst>
          <pc:docMk/>
          <pc:sldMk cId="1633537285" sldId="1282"/>
        </pc:sldMkLst>
        <pc:spChg chg="mod">
          <ac:chgData name="Pernille Koch Erichsen - Implement Consulting Group" userId="8d1f9ca3-c3b6-4edc-9863-85c08b468d14" providerId="ADAL" clId="{937965C6-74E4-4616-BE18-DFAF5EF57F6E}" dt="2019-01-17T21:38:52.438" v="295" actId="1076"/>
          <ac:spMkLst>
            <pc:docMk/>
            <pc:sldMk cId="1633537285" sldId="1282"/>
            <ac:spMk id="6" creationId="{00000000-0000-0000-0000-000000000000}"/>
          </ac:spMkLst>
        </pc:spChg>
        <pc:spChg chg="mod">
          <ac:chgData name="Pernille Koch Erichsen - Implement Consulting Group" userId="8d1f9ca3-c3b6-4edc-9863-85c08b468d14" providerId="ADAL" clId="{937965C6-74E4-4616-BE18-DFAF5EF57F6E}" dt="2019-01-17T21:38:49.955" v="294" actId="1076"/>
          <ac:spMkLst>
            <pc:docMk/>
            <pc:sldMk cId="1633537285" sldId="1282"/>
            <ac:spMk id="7" creationId="{00000000-0000-0000-0000-000000000000}"/>
          </ac:spMkLst>
        </pc:spChg>
        <pc:spChg chg="mod">
          <ac:chgData name="Pernille Koch Erichsen - Implement Consulting Group" userId="8d1f9ca3-c3b6-4edc-9863-85c08b468d14" providerId="ADAL" clId="{937965C6-74E4-4616-BE18-DFAF5EF57F6E}" dt="2019-01-17T21:38:48.164" v="293" actId="14100"/>
          <ac:spMkLst>
            <pc:docMk/>
            <pc:sldMk cId="1633537285" sldId="1282"/>
            <ac:spMk id="8" creationId="{00000000-0000-0000-0000-000000000000}"/>
          </ac:spMkLst>
        </pc:spChg>
      </pc:sldChg>
      <pc:sldChg chg="modNotesTx">
        <pc:chgData name="Pernille Koch Erichsen - Implement Consulting Group" userId="8d1f9ca3-c3b6-4edc-9863-85c08b468d14" providerId="ADAL" clId="{937965C6-74E4-4616-BE18-DFAF5EF57F6E}" dt="2019-01-17T21:38:28.670" v="291" actId="20577"/>
        <pc:sldMkLst>
          <pc:docMk/>
          <pc:sldMk cId="1569322507" sldId="1285"/>
        </pc:sldMkLst>
      </pc:sldChg>
      <pc:sldChg chg="modNotesTx">
        <pc:chgData name="Pernille Koch Erichsen - Implement Consulting Group" userId="8d1f9ca3-c3b6-4edc-9863-85c08b468d14" providerId="ADAL" clId="{937965C6-74E4-4616-BE18-DFAF5EF57F6E}" dt="2019-01-17T21:30:42.402" v="21" actId="6549"/>
        <pc:sldMkLst>
          <pc:docMk/>
          <pc:sldMk cId="3322748384" sldId="1286"/>
        </pc:sldMkLst>
      </pc:sldChg>
      <pc:sldChg chg="modSp add">
        <pc:chgData name="Pernille Koch Erichsen - Implement Consulting Group" userId="8d1f9ca3-c3b6-4edc-9863-85c08b468d14" providerId="ADAL" clId="{937965C6-74E4-4616-BE18-DFAF5EF57F6E}" dt="2019-01-17T21:41:53.229" v="322" actId="1076"/>
        <pc:sldMkLst>
          <pc:docMk/>
          <pc:sldMk cId="3267775359" sldId="1288"/>
        </pc:sldMkLst>
        <pc:spChg chg="mod">
          <ac:chgData name="Pernille Koch Erichsen - Implement Consulting Group" userId="8d1f9ca3-c3b6-4edc-9863-85c08b468d14" providerId="ADAL" clId="{937965C6-74E4-4616-BE18-DFAF5EF57F6E}" dt="2019-01-17T21:41:53.229" v="322" actId="1076"/>
          <ac:spMkLst>
            <pc:docMk/>
            <pc:sldMk cId="3267775359" sldId="1288"/>
            <ac:spMk id="30" creationId="{00000000-0000-0000-0000-000000000000}"/>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xml"/><Relationship Id="rId1" Type="http://schemas.microsoft.com/office/2011/relationships/chartStyle" Target="style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2.xml"/><Relationship Id="rId1" Type="http://schemas.microsoft.com/office/2011/relationships/chartStyle" Target="style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873015873015899E-3"/>
          <c:y val="2.2123893805309799E-3"/>
          <c:w val="1"/>
          <c:h val="1"/>
        </c:manualLayout>
      </c:layout>
      <c:barChart>
        <c:barDir val="bar"/>
        <c:grouping val="clustered"/>
        <c:varyColors val="0"/>
        <c:ser>
          <c:idx val="0"/>
          <c:order val="0"/>
          <c:tx>
            <c:strRef>
              <c:f>Sheet1!$B$1</c:f>
              <c:strCache>
                <c:ptCount val="1"/>
                <c:pt idx="0">
                  <c:v>Værdi</c:v>
                </c:pt>
              </c:strCache>
            </c:strRef>
          </c:tx>
          <c:spPr>
            <a:solidFill>
              <a:srgbClr val="8AA299"/>
            </a:solidFill>
            <a:ln w="9525">
              <a:noFill/>
              <a:prstDash val="solid"/>
            </a:ln>
          </c:spPr>
          <c:invertIfNegative val="0"/>
          <c:dLbls>
            <c:spPr>
              <a:noFill/>
              <a:ln w="25492">
                <a:noFill/>
              </a:ln>
            </c:spPr>
            <c:txPr>
              <a:bodyPr/>
              <a:lstStyle/>
              <a:p>
                <a:pPr>
                  <a:defRPr b="0">
                    <a:solidFill>
                      <a:schemeClr val="bg1"/>
                    </a:solidFill>
                  </a:defRPr>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Bar 1</c:v>
                </c:pt>
                <c:pt idx="1">
                  <c:v>Bar 2</c:v>
                </c:pt>
                <c:pt idx="2">
                  <c:v>Bar 3</c:v>
                </c:pt>
                <c:pt idx="3">
                  <c:v>Bar 4</c:v>
                </c:pt>
                <c:pt idx="4">
                  <c:v>Bar 5</c:v>
                </c:pt>
              </c:strCache>
            </c:strRef>
          </c:cat>
          <c:val>
            <c:numRef>
              <c:f>Sheet1!$B$2:$B$6</c:f>
              <c:numCache>
                <c:formatCode>General</c:formatCode>
                <c:ptCount val="5"/>
                <c:pt idx="0">
                  <c:v>19</c:v>
                </c:pt>
                <c:pt idx="1">
                  <c:v>18</c:v>
                </c:pt>
                <c:pt idx="2">
                  <c:v>28</c:v>
                </c:pt>
                <c:pt idx="3">
                  <c:v>25</c:v>
                </c:pt>
                <c:pt idx="4">
                  <c:v>10</c:v>
                </c:pt>
              </c:numCache>
            </c:numRef>
          </c:val>
          <c:extLst>
            <c:ext xmlns:c16="http://schemas.microsoft.com/office/drawing/2014/chart" uri="{C3380CC4-5D6E-409C-BE32-E72D297353CC}">
              <c16:uniqueId val="{00000000-4DCE-47CE-A071-D26BEA1ACAD4}"/>
            </c:ext>
          </c:extLst>
        </c:ser>
        <c:dLbls>
          <c:showLegendKey val="0"/>
          <c:showVal val="0"/>
          <c:showCatName val="0"/>
          <c:showSerName val="0"/>
          <c:showPercent val="0"/>
          <c:showBubbleSize val="0"/>
        </c:dLbls>
        <c:gapWidth val="40"/>
        <c:axId val="170707496"/>
        <c:axId val="170969296"/>
      </c:barChart>
      <c:catAx>
        <c:axId val="170707496"/>
        <c:scaling>
          <c:orientation val="maxMin"/>
        </c:scaling>
        <c:delete val="0"/>
        <c:axPos val="l"/>
        <c:numFmt formatCode="General" sourceLinked="0"/>
        <c:majorTickMark val="none"/>
        <c:minorTickMark val="none"/>
        <c:tickLblPos val="none"/>
        <c:spPr>
          <a:ln w="12700">
            <a:solidFill>
              <a:srgbClr val="30373B"/>
            </a:solidFill>
            <a:prstDash val="solid"/>
          </a:ln>
        </c:spPr>
        <c:crossAx val="170969296"/>
        <c:crosses val="autoZero"/>
        <c:auto val="1"/>
        <c:lblAlgn val="ctr"/>
        <c:lblOffset val="100"/>
        <c:tickMarkSkip val="1"/>
        <c:noMultiLvlLbl val="0"/>
      </c:catAx>
      <c:valAx>
        <c:axId val="170969296"/>
        <c:scaling>
          <c:orientation val="minMax"/>
          <c:max val="50"/>
        </c:scaling>
        <c:delete val="0"/>
        <c:axPos val="t"/>
        <c:numFmt formatCode="General" sourceLinked="1"/>
        <c:majorTickMark val="none"/>
        <c:minorTickMark val="none"/>
        <c:tickLblPos val="none"/>
        <c:spPr>
          <a:ln w="9559">
            <a:noFill/>
          </a:ln>
        </c:spPr>
        <c:crossAx val="170707496"/>
        <c:crosses val="autoZero"/>
        <c:crossBetween val="between"/>
      </c:valAx>
      <c:spPr>
        <a:noFill/>
        <a:ln w="25492">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a-DK"/>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73015873015899E-3"/>
          <c:y val="2.2123893805309799E-3"/>
          <c:w val="1"/>
          <c:h val="1"/>
        </c:manualLayout>
      </c:layout>
      <c:barChart>
        <c:barDir val="bar"/>
        <c:grouping val="clustered"/>
        <c:varyColors val="0"/>
        <c:ser>
          <c:idx val="0"/>
          <c:order val="0"/>
          <c:tx>
            <c:strRef>
              <c:f>Sheet1!$B$1</c:f>
              <c:strCache>
                <c:ptCount val="1"/>
                <c:pt idx="0">
                  <c:v>Værdi</c:v>
                </c:pt>
              </c:strCache>
            </c:strRef>
          </c:tx>
          <c:spPr>
            <a:solidFill>
              <a:srgbClr val="D0DAD6"/>
            </a:solidFill>
            <a:ln w="9525">
              <a:noFill/>
              <a:prstDash val="solid"/>
            </a:ln>
          </c:spPr>
          <c:invertIfNegative val="0"/>
          <c:dLbls>
            <c:dLbl>
              <c:idx val="4"/>
              <c:layout>
                <c:manualLayout>
                  <c:x val="-2.9472649943443799E-2"/>
                  <c:y val="2.9741324827314599E-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62C-42A2-BCD9-C54202E2A993}"/>
                </c:ext>
              </c:extLst>
            </c:dLbl>
            <c:spPr>
              <a:noFill/>
              <a:ln w="25492">
                <a:noFill/>
              </a:ln>
            </c:spPr>
            <c:txPr>
              <a:bodyPr/>
              <a:lstStyle/>
              <a:p>
                <a:pPr>
                  <a:defRPr b="0"/>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Bar 1</c:v>
                </c:pt>
                <c:pt idx="1">
                  <c:v>Bar 2</c:v>
                </c:pt>
                <c:pt idx="2">
                  <c:v>Bar 3</c:v>
                </c:pt>
                <c:pt idx="3">
                  <c:v>Bar 4</c:v>
                </c:pt>
                <c:pt idx="4">
                  <c:v>Bar 5</c:v>
                </c:pt>
              </c:strCache>
            </c:strRef>
          </c:cat>
          <c:val>
            <c:numRef>
              <c:f>Sheet1!$B$2:$B$6</c:f>
              <c:numCache>
                <c:formatCode>General</c:formatCode>
                <c:ptCount val="5"/>
                <c:pt idx="0">
                  <c:v>38</c:v>
                </c:pt>
                <c:pt idx="1">
                  <c:v>22</c:v>
                </c:pt>
                <c:pt idx="2">
                  <c:v>27</c:v>
                </c:pt>
                <c:pt idx="3">
                  <c:v>9</c:v>
                </c:pt>
                <c:pt idx="4">
                  <c:v>3</c:v>
                </c:pt>
              </c:numCache>
            </c:numRef>
          </c:val>
          <c:extLst>
            <c:ext xmlns:c16="http://schemas.microsoft.com/office/drawing/2014/chart" uri="{C3380CC4-5D6E-409C-BE32-E72D297353CC}">
              <c16:uniqueId val="{00000001-F62C-42A2-BCD9-C54202E2A993}"/>
            </c:ext>
          </c:extLst>
        </c:ser>
        <c:dLbls>
          <c:showLegendKey val="0"/>
          <c:showVal val="0"/>
          <c:showCatName val="0"/>
          <c:showSerName val="0"/>
          <c:showPercent val="0"/>
          <c:showBubbleSize val="0"/>
        </c:dLbls>
        <c:gapWidth val="40"/>
        <c:axId val="184640072"/>
        <c:axId val="184640464"/>
      </c:barChart>
      <c:catAx>
        <c:axId val="184640072"/>
        <c:scaling>
          <c:orientation val="maxMin"/>
        </c:scaling>
        <c:delete val="0"/>
        <c:axPos val="l"/>
        <c:numFmt formatCode="General" sourceLinked="0"/>
        <c:majorTickMark val="none"/>
        <c:minorTickMark val="none"/>
        <c:tickLblPos val="none"/>
        <c:spPr>
          <a:ln w="12700">
            <a:solidFill>
              <a:srgbClr val="30373B"/>
            </a:solidFill>
            <a:prstDash val="solid"/>
          </a:ln>
        </c:spPr>
        <c:crossAx val="184640464"/>
        <c:crosses val="autoZero"/>
        <c:auto val="1"/>
        <c:lblAlgn val="ctr"/>
        <c:lblOffset val="100"/>
        <c:tickMarkSkip val="1"/>
        <c:noMultiLvlLbl val="0"/>
      </c:catAx>
      <c:valAx>
        <c:axId val="184640464"/>
        <c:scaling>
          <c:orientation val="minMax"/>
          <c:max val="50"/>
        </c:scaling>
        <c:delete val="0"/>
        <c:axPos val="t"/>
        <c:numFmt formatCode="General" sourceLinked="1"/>
        <c:majorTickMark val="none"/>
        <c:minorTickMark val="none"/>
        <c:tickLblPos val="none"/>
        <c:spPr>
          <a:ln w="9559">
            <a:noFill/>
          </a:ln>
        </c:spPr>
        <c:crossAx val="184640072"/>
        <c:crosses val="autoZero"/>
        <c:crossBetween val="between"/>
      </c:valAx>
      <c:spPr>
        <a:noFill/>
        <a:ln w="25492">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a-DK"/>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73015873015899E-3"/>
          <c:y val="2.2123893805309799E-3"/>
          <c:w val="0.91931239727922298"/>
          <c:h val="1"/>
        </c:manualLayout>
      </c:layout>
      <c:barChart>
        <c:barDir val="bar"/>
        <c:grouping val="clustered"/>
        <c:varyColors val="0"/>
        <c:ser>
          <c:idx val="0"/>
          <c:order val="0"/>
          <c:tx>
            <c:strRef>
              <c:f>Sheet1!$B$1</c:f>
              <c:strCache>
                <c:ptCount val="1"/>
                <c:pt idx="0">
                  <c:v>Værdi</c:v>
                </c:pt>
              </c:strCache>
            </c:strRef>
          </c:tx>
          <c:spPr>
            <a:solidFill>
              <a:srgbClr val="D0DAD6"/>
            </a:solidFill>
            <a:ln w="9525">
              <a:noFill/>
              <a:prstDash val="solid"/>
            </a:ln>
          </c:spPr>
          <c:invertIfNegative val="0"/>
          <c:dLbls>
            <c:dLbl>
              <c:idx val="2"/>
              <c:layout>
                <c:manualLayout>
                  <c:x val="-0.18579716396114501"/>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1A4-45D7-85AB-010542D29EAB}"/>
                </c:ext>
              </c:extLst>
            </c:dLbl>
            <c:dLbl>
              <c:idx val="3"/>
              <c:layout>
                <c:manualLayout>
                  <c:x val="-0.10708911194443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1A4-45D7-85AB-010542D29EAB}"/>
                </c:ext>
              </c:extLst>
            </c:dLbl>
            <c:spPr>
              <a:noFill/>
              <a:ln w="25492">
                <a:noFill/>
              </a:ln>
            </c:spPr>
            <c:txPr>
              <a:bodyPr/>
              <a:lstStyle/>
              <a:p>
                <a:pPr>
                  <a:defRPr b="0"/>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Bar 1</c:v>
                </c:pt>
                <c:pt idx="1">
                  <c:v>Bar 2</c:v>
                </c:pt>
                <c:pt idx="2">
                  <c:v>Bar 3</c:v>
                </c:pt>
                <c:pt idx="3">
                  <c:v>Bar 4</c:v>
                </c:pt>
                <c:pt idx="4">
                  <c:v>Bar 5</c:v>
                </c:pt>
              </c:strCache>
            </c:strRef>
          </c:cat>
          <c:val>
            <c:numRef>
              <c:f>Sheet1!$B$2:$B$6</c:f>
              <c:numCache>
                <c:formatCode>General</c:formatCode>
                <c:ptCount val="5"/>
                <c:pt idx="0">
                  <c:v>50</c:v>
                </c:pt>
                <c:pt idx="1">
                  <c:v>28</c:v>
                </c:pt>
                <c:pt idx="2">
                  <c:v>15</c:v>
                </c:pt>
                <c:pt idx="3">
                  <c:v>4</c:v>
                </c:pt>
                <c:pt idx="4">
                  <c:v>2</c:v>
                </c:pt>
              </c:numCache>
            </c:numRef>
          </c:val>
          <c:extLst>
            <c:ext xmlns:c16="http://schemas.microsoft.com/office/drawing/2014/chart" uri="{C3380CC4-5D6E-409C-BE32-E72D297353CC}">
              <c16:uniqueId val="{00000002-51A4-45D7-85AB-010542D29EAB}"/>
            </c:ext>
          </c:extLst>
        </c:ser>
        <c:dLbls>
          <c:showLegendKey val="0"/>
          <c:showVal val="0"/>
          <c:showCatName val="0"/>
          <c:showSerName val="0"/>
          <c:showPercent val="0"/>
          <c:showBubbleSize val="0"/>
        </c:dLbls>
        <c:gapWidth val="40"/>
        <c:axId val="184641248"/>
        <c:axId val="184641640"/>
      </c:barChart>
      <c:catAx>
        <c:axId val="184641248"/>
        <c:scaling>
          <c:orientation val="maxMin"/>
        </c:scaling>
        <c:delete val="0"/>
        <c:axPos val="l"/>
        <c:numFmt formatCode="General" sourceLinked="0"/>
        <c:majorTickMark val="none"/>
        <c:minorTickMark val="none"/>
        <c:tickLblPos val="none"/>
        <c:spPr>
          <a:ln w="12700">
            <a:solidFill>
              <a:srgbClr val="30373B"/>
            </a:solidFill>
            <a:prstDash val="solid"/>
          </a:ln>
        </c:spPr>
        <c:txPr>
          <a:bodyPr/>
          <a:lstStyle/>
          <a:p>
            <a:pPr marL="0" algn="ctr" defTabSz="914400" rtl="0" eaLnBrk="1" latinLnBrk="0" hangingPunct="1">
              <a:defRPr lang="en-US" sz="1200" kern="1200">
                <a:solidFill>
                  <a:schemeClr val="bg1"/>
                </a:solidFill>
                <a:latin typeface="+mn-lt"/>
                <a:ea typeface="+mn-ea"/>
                <a:cs typeface="+mn-cs"/>
              </a:defRPr>
            </a:pPr>
            <a:endParaRPr lang="da-DK"/>
          </a:p>
        </c:txPr>
        <c:crossAx val="184641640"/>
        <c:crosses val="autoZero"/>
        <c:auto val="1"/>
        <c:lblAlgn val="ctr"/>
        <c:lblOffset val="100"/>
        <c:tickMarkSkip val="1"/>
        <c:noMultiLvlLbl val="0"/>
      </c:catAx>
      <c:valAx>
        <c:axId val="184641640"/>
        <c:scaling>
          <c:orientation val="minMax"/>
          <c:max val="50"/>
        </c:scaling>
        <c:delete val="0"/>
        <c:axPos val="t"/>
        <c:numFmt formatCode="General" sourceLinked="1"/>
        <c:majorTickMark val="none"/>
        <c:minorTickMark val="none"/>
        <c:tickLblPos val="none"/>
        <c:spPr>
          <a:ln w="9559">
            <a:noFill/>
          </a:ln>
        </c:spPr>
        <c:crossAx val="184641248"/>
        <c:crosses val="autoZero"/>
        <c:crossBetween val="between"/>
      </c:valAx>
      <c:spPr>
        <a:noFill/>
        <a:ln w="25492">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a-DK"/>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73015873015899E-3"/>
          <c:y val="2.2123893805309799E-3"/>
          <c:w val="0.91931239727922298"/>
          <c:h val="1"/>
        </c:manualLayout>
      </c:layout>
      <c:barChart>
        <c:barDir val="bar"/>
        <c:grouping val="clustered"/>
        <c:varyColors val="0"/>
        <c:ser>
          <c:idx val="0"/>
          <c:order val="0"/>
          <c:tx>
            <c:strRef>
              <c:f>Sheet1!$B$1</c:f>
              <c:strCache>
                <c:ptCount val="1"/>
                <c:pt idx="0">
                  <c:v>Værdi</c:v>
                </c:pt>
              </c:strCache>
            </c:strRef>
          </c:tx>
          <c:spPr>
            <a:solidFill>
              <a:srgbClr val="D0DAD6"/>
            </a:solidFill>
            <a:ln w="9525">
              <a:noFill/>
              <a:prstDash val="solid"/>
            </a:ln>
          </c:spPr>
          <c:invertIfNegative val="0"/>
          <c:dLbls>
            <c:dLbl>
              <c:idx val="2"/>
              <c:layout>
                <c:manualLayout>
                  <c:x val="-0.18579716396114501"/>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579-45E8-95A0-F7C00DD6138E}"/>
                </c:ext>
              </c:extLst>
            </c:dLbl>
            <c:dLbl>
              <c:idx val="4"/>
              <c:layout>
                <c:manualLayout>
                  <c:x val="-3.000090463616129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579-45E8-95A0-F7C00DD6138E}"/>
                </c:ext>
              </c:extLst>
            </c:dLbl>
            <c:spPr>
              <a:noFill/>
              <a:ln w="25492">
                <a:noFill/>
              </a:ln>
            </c:spPr>
            <c:txPr>
              <a:bodyPr/>
              <a:lstStyle/>
              <a:p>
                <a:pPr>
                  <a:defRPr b="0"/>
                </a:pPr>
                <a:endParaRPr lang="da-DK"/>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6</c:f>
              <c:strCache>
                <c:ptCount val="5"/>
                <c:pt idx="0">
                  <c:v>Bar 1</c:v>
                </c:pt>
                <c:pt idx="1">
                  <c:v>Bar 2</c:v>
                </c:pt>
                <c:pt idx="2">
                  <c:v>Bar 3</c:v>
                </c:pt>
                <c:pt idx="3">
                  <c:v>Bar 4</c:v>
                </c:pt>
                <c:pt idx="4">
                  <c:v>Bar 5</c:v>
                </c:pt>
              </c:strCache>
            </c:strRef>
          </c:cat>
          <c:val>
            <c:numRef>
              <c:f>Sheet1!$B$2:$B$6</c:f>
              <c:numCache>
                <c:formatCode>General</c:formatCode>
                <c:ptCount val="5"/>
                <c:pt idx="0">
                  <c:v>49</c:v>
                </c:pt>
                <c:pt idx="1">
                  <c:v>32</c:v>
                </c:pt>
                <c:pt idx="2">
                  <c:v>10</c:v>
                </c:pt>
                <c:pt idx="3">
                  <c:v>7</c:v>
                </c:pt>
                <c:pt idx="4">
                  <c:v>3</c:v>
                </c:pt>
              </c:numCache>
            </c:numRef>
          </c:val>
          <c:extLst>
            <c:ext xmlns:c16="http://schemas.microsoft.com/office/drawing/2014/chart" uri="{C3380CC4-5D6E-409C-BE32-E72D297353CC}">
              <c16:uniqueId val="{00000002-5579-45E8-95A0-F7C00DD6138E}"/>
            </c:ext>
          </c:extLst>
        </c:ser>
        <c:dLbls>
          <c:showLegendKey val="0"/>
          <c:showVal val="0"/>
          <c:showCatName val="0"/>
          <c:showSerName val="0"/>
          <c:showPercent val="0"/>
          <c:showBubbleSize val="0"/>
        </c:dLbls>
        <c:gapWidth val="40"/>
        <c:axId val="184642424"/>
        <c:axId val="190907256"/>
      </c:barChart>
      <c:catAx>
        <c:axId val="184642424"/>
        <c:scaling>
          <c:orientation val="maxMin"/>
        </c:scaling>
        <c:delete val="0"/>
        <c:axPos val="l"/>
        <c:numFmt formatCode="General" sourceLinked="0"/>
        <c:majorTickMark val="none"/>
        <c:minorTickMark val="none"/>
        <c:tickLblPos val="none"/>
        <c:spPr>
          <a:ln w="12700">
            <a:solidFill>
              <a:srgbClr val="30373B"/>
            </a:solidFill>
            <a:prstDash val="solid"/>
          </a:ln>
        </c:spPr>
        <c:crossAx val="190907256"/>
        <c:crosses val="autoZero"/>
        <c:auto val="1"/>
        <c:lblAlgn val="ctr"/>
        <c:lblOffset val="100"/>
        <c:tickMarkSkip val="1"/>
        <c:noMultiLvlLbl val="0"/>
      </c:catAx>
      <c:valAx>
        <c:axId val="190907256"/>
        <c:scaling>
          <c:orientation val="minMax"/>
          <c:max val="50"/>
        </c:scaling>
        <c:delete val="0"/>
        <c:axPos val="t"/>
        <c:numFmt formatCode="General" sourceLinked="1"/>
        <c:majorTickMark val="none"/>
        <c:minorTickMark val="none"/>
        <c:tickLblPos val="none"/>
        <c:spPr>
          <a:ln w="9559">
            <a:noFill/>
          </a:ln>
        </c:spPr>
        <c:crossAx val="184642424"/>
        <c:crosses val="autoZero"/>
        <c:crossBetween val="between"/>
      </c:valAx>
      <c:spPr>
        <a:noFill/>
        <a:ln w="25492">
          <a:noFill/>
        </a:ln>
      </c:spPr>
    </c:plotArea>
    <c:plotVisOnly val="1"/>
    <c:dispBlanksAs val="gap"/>
    <c:showDLblsOverMax val="0"/>
  </c:chart>
  <c:spPr>
    <a:noFill/>
    <a:ln>
      <a:noFill/>
    </a:ln>
  </c:spPr>
  <c:txPr>
    <a:bodyPr/>
    <a:lstStyle/>
    <a:p>
      <a:pPr>
        <a:defRPr sz="1200" b="1" i="0" u="none" strike="noStrike" baseline="0">
          <a:solidFill>
            <a:schemeClr val="tx1"/>
          </a:solidFill>
          <a:latin typeface="Arial"/>
          <a:ea typeface="Arial"/>
          <a:cs typeface="Arial"/>
        </a:defRPr>
      </a:pPr>
      <a:endParaRPr lang="da-DK"/>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8AA299"/>
            </a:solidFill>
            <a:ln>
              <a:noFill/>
            </a:ln>
          </c:spPr>
          <c:dPt>
            <c:idx val="0"/>
            <c:bubble3D val="0"/>
            <c:spPr>
              <a:solidFill>
                <a:srgbClr val="893E45"/>
              </a:solidFill>
              <a:ln w="19050">
                <a:noFill/>
              </a:ln>
              <a:effectLst/>
            </c:spPr>
            <c:extLst>
              <c:ext xmlns:c16="http://schemas.microsoft.com/office/drawing/2014/chart" uri="{C3380CC4-5D6E-409C-BE32-E72D297353CC}">
                <c16:uniqueId val="{00000001-530C-429A-AC6E-817CE17FD2CB}"/>
              </c:ext>
            </c:extLst>
          </c:dPt>
          <c:dPt>
            <c:idx val="1"/>
            <c:bubble3D val="0"/>
            <c:spPr>
              <a:solidFill>
                <a:srgbClr val="E2DED9"/>
              </a:solidFill>
              <a:ln w="19050">
                <a:noFill/>
              </a:ln>
              <a:effectLst/>
            </c:spPr>
            <c:extLst>
              <c:ext xmlns:c16="http://schemas.microsoft.com/office/drawing/2014/chart" uri="{C3380CC4-5D6E-409C-BE32-E72D297353CC}">
                <c16:uniqueId val="{00000001-8E3B-4DD7-A445-576AAA778100}"/>
              </c:ext>
            </c:extLst>
          </c:dPt>
          <c:cat>
            <c:strRef>
              <c:f>Sheet1!$A$2:$A$3</c:f>
              <c:strCache>
                <c:ptCount val="2"/>
                <c:pt idx="0">
                  <c:v>1st Qtr</c:v>
                </c:pt>
                <c:pt idx="1">
                  <c:v>2nd Qtr</c:v>
                </c:pt>
              </c:strCache>
            </c:strRef>
          </c:cat>
          <c:val>
            <c:numRef>
              <c:f>Sheet1!$B$2:$B$3</c:f>
              <c:numCache>
                <c:formatCode>General</c:formatCode>
                <c:ptCount val="2"/>
                <c:pt idx="0">
                  <c:v>1</c:v>
                </c:pt>
                <c:pt idx="1">
                  <c:v>99</c:v>
                </c:pt>
              </c:numCache>
            </c:numRef>
          </c:val>
          <c:extLst>
            <c:ext xmlns:c16="http://schemas.microsoft.com/office/drawing/2014/chart" uri="{C3380CC4-5D6E-409C-BE32-E72D297353CC}">
              <c16:uniqueId val="{00000000-8E3B-4DD7-A445-576AAA778100}"/>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8AA299"/>
            </a:solidFill>
            <a:ln>
              <a:noFill/>
            </a:ln>
          </c:spPr>
          <c:dPt>
            <c:idx val="0"/>
            <c:bubble3D val="0"/>
            <c:spPr>
              <a:solidFill>
                <a:srgbClr val="E0BCA6"/>
              </a:solidFill>
              <a:ln w="19050">
                <a:noFill/>
              </a:ln>
              <a:effectLst/>
            </c:spPr>
            <c:extLst>
              <c:ext xmlns:c16="http://schemas.microsoft.com/office/drawing/2014/chart" uri="{C3380CC4-5D6E-409C-BE32-E72D297353CC}">
                <c16:uniqueId val="{00000001-3DF9-469B-9836-E127C7007DA4}"/>
              </c:ext>
            </c:extLst>
          </c:dPt>
          <c:dPt>
            <c:idx val="1"/>
            <c:bubble3D val="0"/>
            <c:spPr>
              <a:solidFill>
                <a:srgbClr val="E2DED9"/>
              </a:solidFill>
              <a:ln w="19050">
                <a:noFill/>
              </a:ln>
              <a:effectLst/>
            </c:spPr>
            <c:extLst>
              <c:ext xmlns:c16="http://schemas.microsoft.com/office/drawing/2014/chart" uri="{C3380CC4-5D6E-409C-BE32-E72D297353CC}">
                <c16:uniqueId val="{00000003-3DF9-469B-9836-E127C7007DA4}"/>
              </c:ext>
            </c:extLst>
          </c:dPt>
          <c:cat>
            <c:strRef>
              <c:f>Sheet1!$A$2:$A$3</c:f>
              <c:strCache>
                <c:ptCount val="2"/>
                <c:pt idx="0">
                  <c:v>1st Qtr</c:v>
                </c:pt>
                <c:pt idx="1">
                  <c:v>2nd Qtr</c:v>
                </c:pt>
              </c:strCache>
            </c:strRef>
          </c:cat>
          <c:val>
            <c:numRef>
              <c:f>Sheet1!$B$2:$B$3</c:f>
              <c:numCache>
                <c:formatCode>General</c:formatCode>
                <c:ptCount val="2"/>
                <c:pt idx="0">
                  <c:v>4</c:v>
                </c:pt>
                <c:pt idx="1">
                  <c:v>96</c:v>
                </c:pt>
              </c:numCache>
            </c:numRef>
          </c:val>
          <c:extLst>
            <c:ext xmlns:c16="http://schemas.microsoft.com/office/drawing/2014/chart" uri="{C3380CC4-5D6E-409C-BE32-E72D297353CC}">
              <c16:uniqueId val="{00000004-3DF9-469B-9836-E127C7007DA4}"/>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spPr>
            <a:solidFill>
              <a:srgbClr val="8AA299"/>
            </a:solidFill>
            <a:ln>
              <a:noFill/>
            </a:ln>
          </c:spPr>
          <c:dPt>
            <c:idx val="0"/>
            <c:bubble3D val="0"/>
            <c:spPr>
              <a:solidFill>
                <a:srgbClr val="8AA299"/>
              </a:solidFill>
              <a:ln w="19050">
                <a:noFill/>
              </a:ln>
              <a:effectLst/>
            </c:spPr>
            <c:extLst>
              <c:ext xmlns:c16="http://schemas.microsoft.com/office/drawing/2014/chart" uri="{C3380CC4-5D6E-409C-BE32-E72D297353CC}">
                <c16:uniqueId val="{00000001-3DF9-469B-9836-E127C7007DA4}"/>
              </c:ext>
            </c:extLst>
          </c:dPt>
          <c:dPt>
            <c:idx val="1"/>
            <c:bubble3D val="0"/>
            <c:spPr>
              <a:solidFill>
                <a:srgbClr val="E2DED9"/>
              </a:solidFill>
              <a:ln w="19050">
                <a:noFill/>
              </a:ln>
              <a:effectLst/>
            </c:spPr>
            <c:extLst>
              <c:ext xmlns:c16="http://schemas.microsoft.com/office/drawing/2014/chart" uri="{C3380CC4-5D6E-409C-BE32-E72D297353CC}">
                <c16:uniqueId val="{00000003-3DF9-469B-9836-E127C7007DA4}"/>
              </c:ext>
            </c:extLst>
          </c:dPt>
          <c:cat>
            <c:strRef>
              <c:f>Sheet1!$A$2:$A$3</c:f>
              <c:strCache>
                <c:ptCount val="2"/>
                <c:pt idx="0">
                  <c:v>1st Qtr</c:v>
                </c:pt>
                <c:pt idx="1">
                  <c:v>2nd Qtr</c:v>
                </c:pt>
              </c:strCache>
            </c:strRef>
          </c:cat>
          <c:val>
            <c:numRef>
              <c:f>Sheet1!$B$2:$B$3</c:f>
              <c:numCache>
                <c:formatCode>General</c:formatCode>
                <c:ptCount val="2"/>
                <c:pt idx="0">
                  <c:v>95</c:v>
                </c:pt>
                <c:pt idx="1">
                  <c:v>5</c:v>
                </c:pt>
              </c:numCache>
            </c:numRef>
          </c:val>
          <c:extLst>
            <c:ext xmlns:c16="http://schemas.microsoft.com/office/drawing/2014/chart" uri="{C3380CC4-5D6E-409C-BE32-E72D297353CC}">
              <c16:uniqueId val="{00000004-3DF9-469B-9836-E127C7007DA4}"/>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8E4452A0-718C-4DA0-A1E9-2897DDF2C195}" type="datetimeFigureOut">
              <a:rPr lang="da-DK" smtClean="0"/>
              <a:t>17-01-2019</a:t>
            </a:fld>
            <a:endParaRPr lang="da-DK"/>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da-DK"/>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FCC9FB3D-5615-43C7-AD32-21F202F7EB43}" type="slidenum">
              <a:rPr lang="da-DK" smtClean="0"/>
              <a:t>‹#›</a:t>
            </a:fld>
            <a:endParaRPr lang="da-DK"/>
          </a:p>
        </p:txBody>
      </p:sp>
    </p:spTree>
    <p:extLst>
      <p:ext uri="{BB962C8B-B14F-4D97-AF65-F5344CB8AC3E}">
        <p14:creationId xmlns:p14="http://schemas.microsoft.com/office/powerpoint/2010/main" val="8408103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a:defRPr sz="1300"/>
            </a:lvl1pPr>
          </a:lstStyle>
          <a:p>
            <a:endParaRPr lang="en-GB" dirty="0">
              <a:latin typeface="Arial"/>
            </a:endParaRPr>
          </a:p>
        </p:txBody>
      </p:sp>
      <p:sp>
        <p:nvSpPr>
          <p:cNvPr id="3" name="Date Placehold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004C0497-0577-491E-812F-1D78A7B8067E}" type="datetimeFigureOut">
              <a:rPr lang="en-GB" smtClean="0">
                <a:latin typeface="Arial"/>
              </a:rPr>
              <a:pPr/>
              <a:t>17/01/2019</a:t>
            </a:fld>
            <a:endParaRPr lang="en-GB" dirty="0">
              <a:latin typeface="Arial"/>
            </a:endParaRPr>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562" tIns="47781" rIns="95562" bIns="47781" rtlCol="0" anchor="ctr"/>
          <a:lstStyle/>
          <a:p>
            <a:endParaRPr lang="da-DK">
              <a:latin typeface="Arial"/>
            </a:endParaRPr>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2" tIns="47781" rIns="95562" bIns="47781"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a:defRPr sz="1300"/>
            </a:lvl1pPr>
          </a:lstStyle>
          <a:p>
            <a:endParaRPr lang="en-GB" dirty="0">
              <a:latin typeface="Arial"/>
            </a:endParaRP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E6DFC76A-5DAB-4112-9D11-205A6337A069}" type="slidenum">
              <a:rPr lang="en-GB" smtClean="0">
                <a:latin typeface="Arial"/>
              </a:rPr>
              <a:pPr/>
              <a:t>‹#›</a:t>
            </a:fld>
            <a:endParaRPr lang="en-GB" dirty="0">
              <a:latin typeface="Arial"/>
            </a:endParaRPr>
          </a:p>
        </p:txBody>
      </p:sp>
    </p:spTree>
    <p:extLst>
      <p:ext uri="{BB962C8B-B14F-4D97-AF65-F5344CB8AC3E}">
        <p14:creationId xmlns:p14="http://schemas.microsoft.com/office/powerpoint/2010/main" val="47416655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a:ea typeface="+mn-ea"/>
        <a:cs typeface="+mn-cs"/>
        <a:sym typeface="Arial"/>
      </a:defRPr>
    </a:lvl1pPr>
    <a:lvl2pPr marL="457200" algn="l" defTabSz="914400" rtl="0" eaLnBrk="1" latinLnBrk="0" hangingPunct="1">
      <a:defRPr sz="1200" kern="1200">
        <a:solidFill>
          <a:schemeClr val="tx1"/>
        </a:solidFill>
        <a:latin typeface="Arial"/>
        <a:ea typeface="+mn-ea"/>
        <a:cs typeface="+mn-cs"/>
        <a:sym typeface="Arial"/>
      </a:defRPr>
    </a:lvl2pPr>
    <a:lvl3pPr marL="914400" algn="l" defTabSz="914400" rtl="0" eaLnBrk="1" latinLnBrk="0" hangingPunct="1">
      <a:defRPr sz="1200" kern="1200">
        <a:solidFill>
          <a:schemeClr val="tx1"/>
        </a:solidFill>
        <a:latin typeface="Arial"/>
        <a:ea typeface="+mn-ea"/>
        <a:cs typeface="+mn-cs"/>
        <a:sym typeface="Arial"/>
      </a:defRPr>
    </a:lvl3pPr>
    <a:lvl4pPr marL="1371600" algn="l" defTabSz="914400" rtl="0" eaLnBrk="1" latinLnBrk="0" hangingPunct="1">
      <a:defRPr sz="1200" kern="1200">
        <a:solidFill>
          <a:schemeClr val="tx1"/>
        </a:solidFill>
        <a:latin typeface="Arial"/>
        <a:ea typeface="+mn-ea"/>
        <a:cs typeface="+mn-cs"/>
        <a:sym typeface="Arial"/>
      </a:defRPr>
    </a:lvl4pPr>
    <a:lvl5pPr marL="1828800" algn="l" defTabSz="914400" rtl="0" eaLnBrk="1" latinLnBrk="0" hangingPunct="1">
      <a:defRPr sz="1200" kern="1200">
        <a:solidFill>
          <a:schemeClr val="tx1"/>
        </a:solidFill>
        <a:latin typeface="Arial"/>
        <a:ea typeface="+mn-ea"/>
        <a:cs typeface="+mn-cs"/>
        <a:sym typeface="Arial"/>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8" Type="http://schemas.openxmlformats.org/officeDocument/2006/relationships/hyperlink" Target="https://en.wikipedia.org/wiki/Quantum_mechanics" TargetMode="External"/><Relationship Id="rId3" Type="http://schemas.openxmlformats.org/officeDocument/2006/relationships/hyperlink" Target="https://en.wikipedia.org/wiki/Fellow_of_the_Royal_Society" TargetMode="External"/><Relationship Id="rId7" Type="http://schemas.openxmlformats.org/officeDocument/2006/relationships/hyperlink" Target="https://en.wikipedia.org/wiki/David_Bohm#cite_note-DavidPeat-2" TargetMode="External"/><Relationship Id="rId2" Type="http://schemas.openxmlformats.org/officeDocument/2006/relationships/slide" Target="../slides/slide20.xml"/><Relationship Id="rId1" Type="http://schemas.openxmlformats.org/officeDocument/2006/relationships/notesMaster" Target="../notesMasters/notesMaster1.xml"/><Relationship Id="rId6" Type="http://schemas.openxmlformats.org/officeDocument/2006/relationships/hyperlink" Target="https://en.wikipedia.org/wiki/Physicist" TargetMode="External"/><Relationship Id="rId5" Type="http://schemas.openxmlformats.org/officeDocument/2006/relationships/hyperlink" Target="https://en.wikipedia.org/wiki/Theoretical_physics" TargetMode="External"/><Relationship Id="rId10" Type="http://schemas.openxmlformats.org/officeDocument/2006/relationships/hyperlink" Target="https://en.wikipedia.org/wiki/Philosophy_of_mind" TargetMode="External"/><Relationship Id="rId4" Type="http://schemas.openxmlformats.org/officeDocument/2006/relationships/hyperlink" Target="https://en.wikipedia.org/wiki/David_Bohm#cite_note-frs-1" TargetMode="External"/><Relationship Id="rId9" Type="http://schemas.openxmlformats.org/officeDocument/2006/relationships/hyperlink" Target="https://en.wikipedia.org/wiki/Neuropsychology" TargetMode="Externa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youtube.com/watch?v=FBDIl0ftIdc&amp;t=347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a:t>
            </a:fld>
            <a:endParaRPr lang="en-GB" dirty="0">
              <a:latin typeface="Arial"/>
            </a:endParaRPr>
          </a:p>
        </p:txBody>
      </p:sp>
    </p:spTree>
    <p:extLst>
      <p:ext uri="{BB962C8B-B14F-4D97-AF65-F5344CB8AC3E}">
        <p14:creationId xmlns:p14="http://schemas.microsoft.com/office/powerpoint/2010/main" val="13859512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052F8A03-64D2-4184-96B2-350F32481D0A}"/>
              </a:ext>
            </a:extLst>
          </p:cNvPr>
          <p:cNvSpPr>
            <a:spLocks noGrp="1" noRot="1" noChangeAspect="1" noChangeArrowheads="1" noTextEdit="1"/>
          </p:cNvSpPr>
          <p:nvPr>
            <p:ph type="sldImg"/>
          </p:nvPr>
        </p:nvSpPr>
        <p:spPr>
          <a:ln/>
        </p:spPr>
      </p:sp>
      <p:sp>
        <p:nvSpPr>
          <p:cNvPr id="27651" name="Notes Placeholder 2">
            <a:extLst>
              <a:ext uri="{FF2B5EF4-FFF2-40B4-BE49-F238E27FC236}">
                <a16:creationId xmlns:a16="http://schemas.microsoft.com/office/drawing/2014/main" id="{E7D6F410-27DA-4927-9438-13F75B3E52B5}"/>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da-DK">
                <a:latin typeface="Arial" panose="020B0604020202020204" pitchFamily="34" charset="0"/>
              </a:rPr>
              <a:t>Pernille</a:t>
            </a:r>
          </a:p>
          <a:p>
            <a:pPr eaLnBrk="1" hangingPunct="1">
              <a:spcBef>
                <a:spcPct val="0"/>
              </a:spcBef>
            </a:pPr>
            <a:r>
              <a:rPr lang="en-GB" altLang="da-DK">
                <a:latin typeface="Arial" panose="020B0604020202020204" pitchFamily="34" charset="0"/>
              </a:rPr>
              <a:t>Feedback can create purpose and mening – it can trigger our motivation drivers (autonomy, competencies, relatedness)</a:t>
            </a:r>
          </a:p>
          <a:p>
            <a:endParaRPr lang="en-GB" altLang="da-DK">
              <a:latin typeface="Arial" panose="020B0604020202020204" pitchFamily="34" charset="0"/>
            </a:endParaRPr>
          </a:p>
          <a:p>
            <a:r>
              <a:rPr lang="en-GB" altLang="da-DK">
                <a:latin typeface="Arial" panose="020B0604020202020204" pitchFamily="34" charset="0"/>
              </a:rPr>
              <a:t>Self Determination Theory: </a:t>
            </a:r>
            <a:r>
              <a:rPr lang="en-GB" altLang="da-DK" b="1">
                <a:latin typeface="Arial" panose="020B0604020202020204" pitchFamily="34" charset="0"/>
              </a:rPr>
              <a:t>Autonomy (interplay, reflections), Competence (contribution), Relatedness (psychological safety, interplay) </a:t>
            </a:r>
          </a:p>
          <a:p>
            <a:r>
              <a:rPr lang="en-GB" altLang="da-DK" b="1">
                <a:latin typeface="Arial" panose="020B0604020202020204" pitchFamily="34" charset="0"/>
              </a:rPr>
              <a:t>How can we do this when giving feedback?</a:t>
            </a:r>
          </a:p>
          <a:p>
            <a:endParaRPr lang="en-GB" altLang="da-DK" b="1">
              <a:latin typeface="Arial" panose="020B0604020202020204" pitchFamily="34" charset="0"/>
            </a:endParaRPr>
          </a:p>
          <a:p>
            <a:r>
              <a:rPr lang="en-GB" altLang="da-DK">
                <a:latin typeface="Arial" panose="020B0604020202020204" pitchFamily="34" charset="0"/>
              </a:rPr>
              <a:t>I relation til Competence - Jf til “effort” – the motivation of doing an effort and using your competencies. “The IKEA effekt” and the story about “Cake mixes” from the 40´ies by </a:t>
            </a:r>
            <a:r>
              <a:rPr lang="en-GB" altLang="da-DK">
                <a:solidFill>
                  <a:schemeClr val="tx2"/>
                </a:solidFill>
                <a:latin typeface="Arial" panose="020B0604020202020204" pitchFamily="34" charset="0"/>
              </a:rPr>
              <a:t>Dan Ariely</a:t>
            </a:r>
            <a:endParaRPr lang="en-GB" altLang="da-DK">
              <a:latin typeface="Arial" panose="020B0604020202020204" pitchFamily="34" charset="0"/>
            </a:endParaRPr>
          </a:p>
          <a:p>
            <a:endParaRPr lang="en-GB" altLang="da-DK" b="1">
              <a:latin typeface="Arial" panose="020B0604020202020204" pitchFamily="34" charset="0"/>
            </a:endParaRPr>
          </a:p>
          <a:p>
            <a:endParaRPr lang="en-GB" altLang="da-DK" dirty="0">
              <a:latin typeface="Arial" panose="020B0604020202020204" pitchFamily="34" charset="0"/>
            </a:endParaRPr>
          </a:p>
        </p:txBody>
      </p:sp>
      <p:sp>
        <p:nvSpPr>
          <p:cNvPr id="27652" name="Slide Number Placeholder 3">
            <a:extLst>
              <a:ext uri="{FF2B5EF4-FFF2-40B4-BE49-F238E27FC236}">
                <a16:creationId xmlns:a16="http://schemas.microsoft.com/office/drawing/2014/main" id="{5A0F52C4-6E12-4F6A-AD8B-E07DE1E9050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D037446D-3224-4EDF-B83F-C38532E57F63}" type="slidenum">
              <a:rPr lang="en-GB" altLang="da-DK" smtClean="0"/>
              <a:pPr>
                <a:spcBef>
                  <a:spcPct val="0"/>
                </a:spcBef>
              </a:pPr>
              <a:t>13</a:t>
            </a:fld>
            <a:endParaRPr lang="en-GB" altLang="da-DK" dirty="0"/>
          </a:p>
        </p:txBody>
      </p:sp>
    </p:spTree>
    <p:extLst>
      <p:ext uri="{BB962C8B-B14F-4D97-AF65-F5344CB8AC3E}">
        <p14:creationId xmlns:p14="http://schemas.microsoft.com/office/powerpoint/2010/main" val="32419052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4</a:t>
            </a:fld>
            <a:endParaRPr lang="en-GB" dirty="0">
              <a:latin typeface="Arial"/>
            </a:endParaRPr>
          </a:p>
        </p:txBody>
      </p:sp>
    </p:spTree>
    <p:extLst>
      <p:ext uri="{BB962C8B-B14F-4D97-AF65-F5344CB8AC3E}">
        <p14:creationId xmlns:p14="http://schemas.microsoft.com/office/powerpoint/2010/main" val="39994476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5</a:t>
            </a:fld>
            <a:endParaRPr lang="en-GB" dirty="0">
              <a:latin typeface="Arial"/>
            </a:endParaRPr>
          </a:p>
        </p:txBody>
      </p:sp>
    </p:spTree>
    <p:extLst>
      <p:ext uri="{BB962C8B-B14F-4D97-AF65-F5344CB8AC3E}">
        <p14:creationId xmlns:p14="http://schemas.microsoft.com/office/powerpoint/2010/main" val="12724293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GB" altLang="da-DK" sz="1300" dirty="0"/>
              <a:t>Forbindelsen mellem din adfærd, det personen siger og det personen efterfølgende gør</a:t>
            </a:r>
            <a:endParaRPr lang="en-GB" altLang="da-DK" dirty="0">
              <a:latin typeface="Arial" pitchFamily="34" charset="0"/>
            </a:endParaRPr>
          </a:p>
          <a:p>
            <a:pPr eaLnBrk="1" hangingPunct="1"/>
            <a:r>
              <a:rPr lang="en-GB" altLang="da-DK" dirty="0">
                <a:latin typeface="Arial" pitchFamily="34" charset="0"/>
              </a:rPr>
              <a:t>Sig lidt om Bem’s teori om forandringsudsagn: Self perception theory. Empiriske undersøgelser der viser sammenhængen mellem forandringsudsagn og forandringer. Lidt a la at smile for at blive glad.</a:t>
            </a:r>
          </a:p>
          <a:p>
            <a:pPr eaLnBrk="1" hangingPunct="1"/>
            <a:endParaRPr lang="en-GB" altLang="da-DK" dirty="0">
              <a:latin typeface="Arial" pitchFamily="34" charset="0"/>
            </a:endParaRPr>
          </a:p>
          <a:p>
            <a:pPr eaLnBrk="1" hangingPunct="1"/>
            <a:r>
              <a:rPr lang="en-GB" altLang="da-DK" dirty="0">
                <a:latin typeface="Arial" pitchFamily="34" charset="0"/>
              </a:rPr>
              <a:t>Forandringsudsagn er ikke noget du giver klienten, men er noget du fremkalder hos klienten gennem åbne spørgsmål!</a:t>
            </a:r>
          </a:p>
          <a:p>
            <a:pPr eaLnBrk="1" hangingPunct="1"/>
            <a:r>
              <a:rPr lang="en-GB" altLang="da-DK" dirty="0">
                <a:latin typeface="Arial" pitchFamily="34" charset="0"/>
              </a:rPr>
              <a:t>Bemærk: hvor kommer forandringsudsagnene fra? Din eller klientens mund?</a:t>
            </a:r>
          </a:p>
          <a:p>
            <a:pPr eaLnBrk="1" hangingPunct="1"/>
            <a:endParaRPr lang="en-GB" altLang="da-DK" dirty="0">
              <a:latin typeface="Arial" pitchFamily="34" charset="0"/>
            </a:endParaRPr>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8</a:t>
            </a:fld>
            <a:endParaRPr lang="en-GB" dirty="0">
              <a:latin typeface="Arial"/>
            </a:endParaRPr>
          </a:p>
        </p:txBody>
      </p:sp>
    </p:spTree>
    <p:extLst>
      <p:ext uri="{BB962C8B-B14F-4D97-AF65-F5344CB8AC3E}">
        <p14:creationId xmlns:p14="http://schemas.microsoft.com/office/powerpoint/2010/main" val="123256484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9</a:t>
            </a:fld>
            <a:endParaRPr lang="en-GB" dirty="0">
              <a:latin typeface="Arial"/>
            </a:endParaRPr>
          </a:p>
        </p:txBody>
      </p:sp>
    </p:spTree>
    <p:extLst>
      <p:ext uri="{BB962C8B-B14F-4D97-AF65-F5344CB8AC3E}">
        <p14:creationId xmlns:p14="http://schemas.microsoft.com/office/powerpoint/2010/main" val="169440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effectLst/>
              </a:rPr>
              <a:t>David Joseph Bohm</a:t>
            </a:r>
            <a:r>
              <a:rPr lang="en-US" dirty="0">
                <a:effectLst/>
              </a:rPr>
              <a:t> </a:t>
            </a:r>
            <a:r>
              <a:rPr lang="en-US" dirty="0">
                <a:effectLst/>
                <a:hlinkClick r:id="rId3" tooltip="Fellow of the Royal Society"/>
              </a:rPr>
              <a:t>FRS</a:t>
            </a:r>
            <a:r>
              <a:rPr lang="en-US" baseline="30000" dirty="0">
                <a:effectLst/>
                <a:hlinkClick r:id="rId4"/>
              </a:rPr>
              <a:t>[1]</a:t>
            </a:r>
            <a:r>
              <a:rPr lang="en-US" dirty="0">
                <a:effectLst/>
              </a:rPr>
              <a:t> (December 20, 1917 – October 27, 1992) was an American scientist who has been described as one of the most significant </a:t>
            </a:r>
            <a:r>
              <a:rPr lang="en-US" dirty="0">
                <a:effectLst/>
                <a:hlinkClick r:id="rId5" tooltip="Theoretical physics"/>
              </a:rPr>
              <a:t>theoretical</a:t>
            </a:r>
            <a:r>
              <a:rPr lang="en-US" dirty="0">
                <a:effectLst/>
              </a:rPr>
              <a:t> </a:t>
            </a:r>
            <a:r>
              <a:rPr lang="en-US" dirty="0">
                <a:effectLst/>
                <a:hlinkClick r:id="rId6" tooltip="Physicist"/>
              </a:rPr>
              <a:t>physicists</a:t>
            </a:r>
            <a:r>
              <a:rPr lang="en-US" dirty="0">
                <a:effectLst/>
              </a:rPr>
              <a:t> of the 20th century</a:t>
            </a:r>
            <a:r>
              <a:rPr lang="en-US" baseline="30000" dirty="0">
                <a:effectLst/>
                <a:hlinkClick r:id="rId7"/>
              </a:rPr>
              <a:t>[2]</a:t>
            </a:r>
            <a:r>
              <a:rPr lang="en-US" dirty="0">
                <a:effectLst/>
              </a:rPr>
              <a:t> and who contributed unorthodox ideas to </a:t>
            </a:r>
            <a:r>
              <a:rPr lang="en-US" dirty="0">
                <a:effectLst/>
                <a:hlinkClick r:id="rId8" tooltip="Quantum mechanics"/>
              </a:rPr>
              <a:t>quantum theory</a:t>
            </a:r>
            <a:r>
              <a:rPr lang="en-US" dirty="0">
                <a:effectLst/>
              </a:rPr>
              <a:t>, </a:t>
            </a:r>
            <a:r>
              <a:rPr lang="en-US" dirty="0">
                <a:effectLst/>
                <a:hlinkClick r:id="rId9" tooltip="Neuropsychology"/>
              </a:rPr>
              <a:t>neuropsychology</a:t>
            </a:r>
            <a:r>
              <a:rPr lang="en-US" dirty="0">
                <a:effectLst/>
              </a:rPr>
              <a:t> and the </a:t>
            </a:r>
            <a:r>
              <a:rPr lang="en-US" dirty="0">
                <a:effectLst/>
                <a:hlinkClick r:id="rId10" tooltip="Philosophy of mind"/>
              </a:rPr>
              <a:t>philosophy of mind</a:t>
            </a:r>
            <a:r>
              <a:rPr lang="en-US" dirty="0">
                <a:effectLst/>
              </a:rPr>
              <a:t>.</a:t>
            </a:r>
          </a:p>
          <a:p>
            <a:endParaRPr lang="en-US" dirty="0">
              <a:effectLst/>
            </a:endParaRPr>
          </a:p>
          <a:p>
            <a:pPr marL="228600" indent="-228600">
              <a:buAutoNum type="arabicParenR"/>
            </a:pPr>
            <a:r>
              <a:rPr lang="en-US" dirty="0">
                <a:effectLst/>
              </a:rPr>
              <a:t>Ask people to stand in a circle.</a:t>
            </a:r>
          </a:p>
          <a:p>
            <a:pPr marL="228600" indent="-228600">
              <a:buAutoNum type="arabicParenR"/>
            </a:pPr>
            <a:r>
              <a:rPr lang="en-US" dirty="0">
                <a:effectLst/>
              </a:rPr>
              <a:t>Present the talking stick. Everyone need to answer the two questions: What inspires you with what we are working with right now? And what </a:t>
            </a:r>
            <a:r>
              <a:rPr lang="en-US" dirty="0" err="1">
                <a:effectLst/>
              </a:rPr>
              <a:t>distrubes</a:t>
            </a:r>
            <a:r>
              <a:rPr lang="en-US" dirty="0">
                <a:effectLst/>
              </a:rPr>
              <a:t> you regarding our work/this topic right now?</a:t>
            </a:r>
          </a:p>
          <a:p>
            <a:pPr marL="228600" indent="-228600">
              <a:buAutoNum type="arabicParenR"/>
            </a:pPr>
            <a:r>
              <a:rPr lang="en-US" dirty="0">
                <a:effectLst/>
              </a:rPr>
              <a:t>People </a:t>
            </a:r>
            <a:r>
              <a:rPr lang="en-US" dirty="0" err="1">
                <a:effectLst/>
              </a:rPr>
              <a:t>grap</a:t>
            </a:r>
            <a:r>
              <a:rPr lang="en-US" dirty="0">
                <a:effectLst/>
              </a:rPr>
              <a:t> the talking stick </a:t>
            </a:r>
            <a:r>
              <a:rPr lang="en-US">
                <a:effectLst/>
              </a:rPr>
              <a:t>at will (</a:t>
            </a:r>
            <a:r>
              <a:rPr lang="en-US" dirty="0">
                <a:effectLst/>
              </a:rPr>
              <a:t>popcorn principle)</a:t>
            </a:r>
            <a:endParaRPr lang="da-DK"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20</a:t>
            </a:fld>
            <a:endParaRPr lang="en-GB" dirty="0">
              <a:latin typeface="Arial"/>
            </a:endParaRPr>
          </a:p>
        </p:txBody>
      </p:sp>
    </p:spTree>
    <p:extLst>
      <p:ext uri="{BB962C8B-B14F-4D97-AF65-F5344CB8AC3E}">
        <p14:creationId xmlns:p14="http://schemas.microsoft.com/office/powerpoint/2010/main" val="1821115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ltLang="da-DK" dirty="0">
              <a:latin typeface="Arial" pitchFamily="34" charset="0"/>
            </a:endParaRPr>
          </a:p>
          <a:p>
            <a:endParaRPr lang="en-GB" altLang="da-DK" dirty="0">
              <a:latin typeface="Arial" pitchFamily="34" charset="0"/>
            </a:endParaRPr>
          </a:p>
          <a:p>
            <a:r>
              <a:rPr lang="en-GB" altLang="da-DK" dirty="0">
                <a:latin typeface="Arial" pitchFamily="34" charset="0"/>
              </a:rPr>
              <a:t>Pernille</a:t>
            </a:r>
          </a:p>
          <a:p>
            <a:r>
              <a:rPr lang="en-GB" altLang="da-DK" dirty="0">
                <a:latin typeface="Arial" pitchFamily="34" charset="0"/>
              </a:rPr>
              <a:t>I motivational interviewing er det i orden at være ekspert og give information – man skal bare gøre det på en motiverende måde ved at sprøge om lov til at give informationen, evt. understrege autonomi, give informationen på en neutral måde, og udforsk til sidst hvordan personen kan relatere sig til den givne informaion, </a:t>
            </a:r>
          </a:p>
          <a:p>
            <a:endParaRPr lang="en-GB" altLang="da-DK" dirty="0">
              <a:latin typeface="Arial" pitchFamily="34" charset="0"/>
            </a:endParaRPr>
          </a:p>
          <a:p>
            <a:endParaRPr lang="en-GB" altLang="da-DK" dirty="0">
              <a:latin typeface="Arial" pitchFamily="34" charset="0"/>
            </a:endParaRPr>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21</a:t>
            </a:fld>
            <a:endParaRPr lang="en-GB" dirty="0">
              <a:latin typeface="Arial"/>
            </a:endParaRPr>
          </a:p>
        </p:txBody>
      </p:sp>
    </p:spTree>
    <p:extLst>
      <p:ext uri="{BB962C8B-B14F-4D97-AF65-F5344CB8AC3E}">
        <p14:creationId xmlns:p14="http://schemas.microsoft.com/office/powerpoint/2010/main" val="35843902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225BBCB4-99FF-4509-A4E4-EE8DBE7FBC6F}" type="slidenum">
              <a:rPr lang="da-DK" smtClean="0"/>
              <a:pPr/>
              <a:t>28</a:t>
            </a:fld>
            <a:endParaRPr lang="da-DK"/>
          </a:p>
        </p:txBody>
      </p:sp>
      <p:sp>
        <p:nvSpPr>
          <p:cNvPr id="6" name="Slide Image Placeholder 5"/>
          <p:cNvSpPr>
            <a:spLocks noGrp="1" noRot="1" noChangeAspect="1"/>
          </p:cNvSpPr>
          <p:nvPr>
            <p:ph type="sldImg"/>
          </p:nvPr>
        </p:nvSpPr>
        <p:spPr/>
      </p:sp>
      <p:sp>
        <p:nvSpPr>
          <p:cNvPr id="7" name="Notes Placeholder 6"/>
          <p:cNvSpPr>
            <a:spLocks noGrp="1"/>
          </p:cNvSpPr>
          <p:nvPr>
            <p:ph type="body" idx="1"/>
          </p:nvPr>
        </p:nvSpPr>
        <p:spPr/>
        <p:txBody>
          <a:bodyPr>
            <a:normAutofit/>
          </a:bodyPr>
          <a:lstStyle/>
          <a:p>
            <a:endParaRPr lang="en-GB" dirty="0"/>
          </a:p>
        </p:txBody>
      </p:sp>
    </p:spTree>
    <p:extLst>
      <p:ext uri="{BB962C8B-B14F-4D97-AF65-F5344CB8AC3E}">
        <p14:creationId xmlns:p14="http://schemas.microsoft.com/office/powerpoint/2010/main" val="26689729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t>Dave </a:t>
            </a:r>
            <a:r>
              <a:rPr lang="en-GB" dirty="0" err="1"/>
              <a:t>Isay</a:t>
            </a:r>
            <a:r>
              <a:rPr lang="en-GB" dirty="0"/>
              <a:t> (documentarist  - in</a:t>
            </a:r>
            <a:r>
              <a:rPr lang="en-GB" baseline="0" dirty="0"/>
              <a:t> 2016 he </a:t>
            </a:r>
            <a:r>
              <a:rPr lang="en-GB" dirty="0"/>
              <a:t>won 1 mil dollar TED price given to the one with a vision to change</a:t>
            </a:r>
            <a:r>
              <a:rPr lang="en-GB" baseline="0" dirty="0"/>
              <a:t> part of the world)</a:t>
            </a:r>
            <a:r>
              <a:rPr lang="en-GB" dirty="0"/>
              <a:t> </a:t>
            </a:r>
            <a:r>
              <a:rPr lang="en-US" dirty="0"/>
              <a:t>Dave </a:t>
            </a:r>
            <a:r>
              <a:rPr lang="en-US" dirty="0" err="1"/>
              <a:t>Isay</a:t>
            </a:r>
            <a:r>
              <a:rPr lang="en-US" dirty="0"/>
              <a:t> opened the first </a:t>
            </a:r>
            <a:r>
              <a:rPr lang="en-US" dirty="0" err="1"/>
              <a:t>StoryCorps</a:t>
            </a:r>
            <a:r>
              <a:rPr lang="en-US" dirty="0"/>
              <a:t> booth in New York’s Grand Central Terminal in 2003 with the intention of creating a quiet place where a person could honor someone who mattered to them by listening to their story. Since then, </a:t>
            </a:r>
            <a:r>
              <a:rPr lang="en-US" dirty="0" err="1"/>
              <a:t>StoryCorps</a:t>
            </a:r>
            <a:r>
              <a:rPr lang="en-US" dirty="0"/>
              <a:t> has evolved into the single largest collection of human voices ever recorded. His TED Prize wish: to grow this digital archive of the collective wisdom of humanity. Hear his vision to take </a:t>
            </a:r>
            <a:r>
              <a:rPr lang="en-US" dirty="0" err="1"/>
              <a:t>StoryCorps</a:t>
            </a:r>
            <a:r>
              <a:rPr lang="en-US" dirty="0"/>
              <a:t> global — and how you can be a part of it by interviewing someone with the </a:t>
            </a:r>
            <a:r>
              <a:rPr lang="en-US" dirty="0" err="1"/>
              <a:t>StoryCorps</a:t>
            </a:r>
            <a:r>
              <a:rPr lang="en-US" dirty="0"/>
              <a:t> app.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r>
              <a:rPr lang="en-US" dirty="0"/>
              <a:t>We all have a story worth</a:t>
            </a:r>
            <a:r>
              <a:rPr lang="en-US" baseline="0" dirty="0"/>
              <a:t> listening to!</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People coming in telling their own story with inspiration from a lot of questions: </a:t>
            </a: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How do you want to be </a:t>
            </a:r>
            <a:r>
              <a:rPr lang="en-US" baseline="0" dirty="0" err="1"/>
              <a:t>rememberd</a:t>
            </a:r>
            <a:r>
              <a:rPr lang="en-US" baseline="0" dirty="0"/>
              <a:t>, what are the most important lessons you learned in life, is there anything you never told me, that you want to tell me now?  It´s the kind of questions that draw you together that get asked in </a:t>
            </a:r>
            <a:r>
              <a:rPr lang="en-US" baseline="0" dirty="0" err="1"/>
              <a:t>Storycorp</a:t>
            </a:r>
            <a:r>
              <a:rPr lang="en-US" baseline="0" dirty="0"/>
              <a:t> </a:t>
            </a:r>
            <a:r>
              <a:rPr lang="en-GB" baseline="0" dirty="0"/>
              <a:t>(4:18-8:08)</a:t>
            </a:r>
            <a:endParaRPr lang="en-GB" dirty="0"/>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33</a:t>
            </a:fld>
            <a:endParaRPr lang="en-GB" dirty="0">
              <a:latin typeface="Arial"/>
            </a:endParaRPr>
          </a:p>
        </p:txBody>
      </p:sp>
    </p:spTree>
    <p:extLst>
      <p:ext uri="{BB962C8B-B14F-4D97-AF65-F5344CB8AC3E}">
        <p14:creationId xmlns:p14="http://schemas.microsoft.com/office/powerpoint/2010/main" val="40993524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Reflekteren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ytnin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pørgsmå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gæ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ormuler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om</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udsag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ton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gå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op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lutning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n n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ortæ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id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om de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emantis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vervejels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1)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te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ag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m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ti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ændr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projek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2)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brug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e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an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r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end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bekymring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and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ætnin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ek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vær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ræm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3)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ag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m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gang med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yr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otio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pis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und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av</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v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øvels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d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reflekteren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udsag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ka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n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em</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lidsen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3: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vigtig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for di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4: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endParaRPr lang="en-US"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35</a:t>
            </a:fld>
            <a:endParaRPr lang="en-GB" dirty="0">
              <a:latin typeface="Arial"/>
            </a:endParaRPr>
          </a:p>
        </p:txBody>
      </p:sp>
    </p:spTree>
    <p:extLst>
      <p:ext uri="{BB962C8B-B14F-4D97-AF65-F5344CB8AC3E}">
        <p14:creationId xmlns:p14="http://schemas.microsoft.com/office/powerpoint/2010/main" val="12503918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3</a:t>
            </a:fld>
            <a:endParaRPr lang="en-GB" dirty="0">
              <a:latin typeface="Arial"/>
            </a:endParaRPr>
          </a:p>
        </p:txBody>
      </p:sp>
    </p:spTree>
    <p:extLst>
      <p:ext uri="{BB962C8B-B14F-4D97-AF65-F5344CB8AC3E}">
        <p14:creationId xmlns:p14="http://schemas.microsoft.com/office/powerpoint/2010/main" val="2722652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pPr defTabSz="882213">
              <a:defRPr/>
            </a:pPr>
            <a:r>
              <a:rPr lang="en-GB" dirty="0"/>
              <a:t>We distinguish between </a:t>
            </a:r>
            <a:r>
              <a:rPr lang="en-GB" b="1" i="1" dirty="0"/>
              <a:t>simple reflections </a:t>
            </a:r>
            <a:r>
              <a:rPr lang="en-GB" dirty="0"/>
              <a:t>and </a:t>
            </a:r>
            <a:r>
              <a:rPr lang="en-GB" b="1" i="1" dirty="0"/>
              <a:t>complex reflections</a:t>
            </a:r>
            <a:endParaRPr lang="en-GB" dirty="0">
              <a:solidFill>
                <a:srgbClr val="342F2B"/>
              </a:solidFill>
              <a:latin typeface="Arial" pitchFamily="34" charset="0"/>
              <a:cs typeface="Arial" pitchFamily="34" charset="0"/>
            </a:endParaRPr>
          </a:p>
          <a:p>
            <a:endParaRPr lang="en-GB" dirty="0"/>
          </a:p>
          <a:p>
            <a:r>
              <a:rPr lang="en-GB" dirty="0"/>
              <a:t>Simple reflections can be helpful in getting the person to talk further and more in-depth, but as a rule they do not get the persons to see things from new angles. </a:t>
            </a:r>
          </a:p>
          <a:p>
            <a:pPr marL="0" lvl="1" defTabSz="882213">
              <a:defRPr/>
            </a:pPr>
            <a:r>
              <a:rPr lang="en-GB" sz="1500" dirty="0"/>
              <a:t>By using different words to reflect what the person has said and put it in a different light, you can get the person to reflect on things in new ways, helping them to clarify matters in regard to their own intrinsic motivation. Complex reflections therefore centre on your interpretation of what the person is saying.</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Reflekteren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ytnin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pørgsmå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gæ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ormuler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om</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udsag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ton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gå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op i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lutning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n n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ortæ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id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om de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emantis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vervejels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1)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i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te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ag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m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til</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ændr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projek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2)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brug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e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ande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r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end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bekymring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i de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and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ætnin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F.ek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vær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ræm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3)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ad</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k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a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ag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m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i gang med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yr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otion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og</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pis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und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Lav</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v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øvels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med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reflekterend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udsag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hvis</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u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ikk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kan</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nå</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dem</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der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i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slidsene</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3: De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vigtigt</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for di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4: de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det </a:t>
            </a:r>
            <a:r>
              <a:rPr kumimoji="0" lang="en-GB" sz="1200" b="0" i="0" u="none" strike="noStrike" kern="1200" cap="none" spc="0" normalizeH="0" baseline="0" noProof="0" dirty="0" err="1">
                <a:ln>
                  <a:noFill/>
                </a:ln>
                <a:solidFill>
                  <a:prstClr val="black"/>
                </a:solidFill>
                <a:effectLst/>
                <a:uLnTx/>
                <a:uFillTx/>
                <a:latin typeface="Arial"/>
                <a:ea typeface="+mn-ea"/>
                <a:cs typeface="+mn-cs"/>
                <a:sym typeface="Arial"/>
              </a:rPr>
              <a:t>er</a:t>
            </a:r>
            <a:r>
              <a:rPr kumimoji="0" lang="en-GB" sz="1200" b="0" i="0" u="none" strike="noStrike" kern="1200" cap="none" spc="0" normalizeH="0" baseline="0" noProof="0" dirty="0">
                <a:ln>
                  <a:noFill/>
                </a:ln>
                <a:solidFill>
                  <a:prstClr val="black"/>
                </a:solidFill>
                <a:effectLst/>
                <a:uLnTx/>
                <a:uFillTx/>
                <a:latin typeface="Arial"/>
                <a:ea typeface="+mn-ea"/>
                <a:cs typeface="+mn-cs"/>
                <a:sym typeface="Arial"/>
              </a:rPr>
              <a:t> nu!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sym typeface="Arial"/>
            </a:endParaRPr>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36</a:t>
            </a:fld>
            <a:endParaRPr lang="en-GB" dirty="0">
              <a:latin typeface="Arial"/>
            </a:endParaRPr>
          </a:p>
        </p:txBody>
      </p:sp>
    </p:spTree>
    <p:extLst>
      <p:ext uri="{BB962C8B-B14F-4D97-AF65-F5344CB8AC3E}">
        <p14:creationId xmlns:p14="http://schemas.microsoft.com/office/powerpoint/2010/main" val="392731391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38</a:t>
            </a:fld>
            <a:endParaRPr lang="en-GB" dirty="0">
              <a:latin typeface="Arial"/>
            </a:endParaRPr>
          </a:p>
        </p:txBody>
      </p:sp>
    </p:spTree>
    <p:extLst>
      <p:ext uri="{BB962C8B-B14F-4D97-AF65-F5344CB8AC3E}">
        <p14:creationId xmlns:p14="http://schemas.microsoft.com/office/powerpoint/2010/main" val="8241273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40</a:t>
            </a:fld>
            <a:endParaRPr lang="en-GB" dirty="0">
              <a:latin typeface="Arial"/>
            </a:endParaRPr>
          </a:p>
        </p:txBody>
      </p:sp>
    </p:spTree>
    <p:extLst>
      <p:ext uri="{BB962C8B-B14F-4D97-AF65-F5344CB8AC3E}">
        <p14:creationId xmlns:p14="http://schemas.microsoft.com/office/powerpoint/2010/main" val="38161086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en-GB" dirty="0"/>
              <a:t>The Rounder with Theresa Moyers. Ask the </a:t>
            </a:r>
            <a:r>
              <a:rPr lang="en-GB" dirty="0" err="1"/>
              <a:t>particpants</a:t>
            </a:r>
            <a:r>
              <a:rPr lang="en-GB" dirty="0"/>
              <a:t> to note on a paper how many reflections they hear and how many questions they hear.</a:t>
            </a:r>
          </a:p>
          <a:p>
            <a:r>
              <a:rPr lang="en-GB" dirty="0"/>
              <a:t>WAIT</a:t>
            </a:r>
            <a:r>
              <a:rPr lang="en-GB" baseline="0" dirty="0"/>
              <a:t> A FEW SECONDS. YOUTUBE VIDEO SHOULD APPEAR AFTER 5 SECOND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aseline="0" dirty="0"/>
              <a:t>If not, go to: </a:t>
            </a:r>
            <a:r>
              <a:rPr lang="en-GB" sz="1200" dirty="0">
                <a:solidFill>
                  <a:srgbClr val="342F2B"/>
                </a:solidFill>
                <a:latin typeface="Arial" pitchFamily="34" charset="0"/>
                <a:cs typeface="Arial" pitchFamily="34" charset="0"/>
                <a:hlinkClick r:id="rId3"/>
              </a:rPr>
              <a:t>https://www.youtube.com/watch?v=FBDIl0ftIdc&amp;t=0s</a:t>
            </a:r>
            <a:endParaRPr lang="en-GB" sz="1200" dirty="0">
              <a:solidFill>
                <a:srgbClr val="342F2B"/>
              </a:solidFill>
              <a:latin typeface="Arial" pitchFamily="34" charset="0"/>
              <a:cs typeface="Arial" pitchFamily="34" charset="0"/>
            </a:endParaRPr>
          </a:p>
          <a:p>
            <a:endParaRPr lang="en-GB" dirty="0"/>
          </a:p>
        </p:txBody>
      </p:sp>
      <p:sp>
        <p:nvSpPr>
          <p:cNvPr id="4" name="Pladsholder til sidefod 3"/>
          <p:cNvSpPr>
            <a:spLocks noGrp="1"/>
          </p:cNvSpPr>
          <p:nvPr>
            <p:ph type="ftr" sz="quarter" idx="10"/>
          </p:nvPr>
        </p:nvSpPr>
        <p:spPr/>
        <p:txBody>
          <a:bodyPr/>
          <a:lstStyle/>
          <a:p>
            <a:endParaRPr lang="en-GB" dirty="0">
              <a:latin typeface="Arial"/>
            </a:endParaRPr>
          </a:p>
        </p:txBody>
      </p:sp>
      <p:sp>
        <p:nvSpPr>
          <p:cNvPr id="5" name="Pladsholder til slidenummer 4"/>
          <p:cNvSpPr>
            <a:spLocks noGrp="1"/>
          </p:cNvSpPr>
          <p:nvPr>
            <p:ph type="sldNum" sz="quarter" idx="11"/>
          </p:nvPr>
        </p:nvSpPr>
        <p:spPr/>
        <p:txBody>
          <a:bodyPr/>
          <a:lstStyle/>
          <a:p>
            <a:fld id="{E6DFC76A-5DAB-4112-9D11-205A6337A069}" type="slidenum">
              <a:rPr lang="en-GB" smtClean="0">
                <a:latin typeface="Arial"/>
              </a:rPr>
              <a:pPr/>
              <a:t>41</a:t>
            </a:fld>
            <a:endParaRPr lang="en-GB" dirty="0">
              <a:latin typeface="Arial"/>
            </a:endParaRPr>
          </a:p>
        </p:txBody>
      </p:sp>
    </p:spTree>
    <p:extLst>
      <p:ext uri="{BB962C8B-B14F-4D97-AF65-F5344CB8AC3E}">
        <p14:creationId xmlns:p14="http://schemas.microsoft.com/office/powerpoint/2010/main" val="630839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42</a:t>
            </a:fld>
            <a:endParaRPr lang="en-GB" dirty="0">
              <a:latin typeface="Arial"/>
            </a:endParaRPr>
          </a:p>
        </p:txBody>
      </p:sp>
    </p:spTree>
    <p:extLst>
      <p:ext uri="{BB962C8B-B14F-4D97-AF65-F5344CB8AC3E}">
        <p14:creationId xmlns:p14="http://schemas.microsoft.com/office/powerpoint/2010/main" val="36038362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defRPr/>
            </a:pPr>
            <a:r>
              <a:rPr lang="en-GB" dirty="0"/>
              <a:t>Some of these studies also show, that leaders that gives mostly positive feedback have employees that are up to 30 times more engaged in their work than leaders that gives no or very rarely feedback. And then you might think – is it only positive feedback that works? Well the same studies also show, that the leaders that gives constructive negative feedback have employees that are up to 20 times more engaged in their work than leaders that gives no or very rarely feedback. So it really matters how much you give or ask for feedback – all concrete, caring and constructive  feedback has a positive effect.  </a:t>
            </a:r>
          </a:p>
        </p:txBody>
      </p:sp>
      <p:sp>
        <p:nvSpPr>
          <p:cNvPr id="4" name="Slide Number Placeholder 3"/>
          <p:cNvSpPr>
            <a:spLocks noGrp="1"/>
          </p:cNvSpPr>
          <p:nvPr>
            <p:ph type="sldNum" sz="quarter" idx="10"/>
          </p:nvPr>
        </p:nvSpPr>
        <p:spPr/>
        <p:txBody>
          <a:bodyPr/>
          <a:lstStyle/>
          <a:p>
            <a:fld id="{E6DFC76A-5DAB-4112-9D11-205A6337A069}" type="slidenum">
              <a:rPr lang="en-GB" smtClean="0">
                <a:latin typeface="Arial"/>
              </a:rPr>
              <a:pPr/>
              <a:t>44</a:t>
            </a:fld>
            <a:endParaRPr lang="en-GB" dirty="0">
              <a:latin typeface="Arial"/>
            </a:endParaRPr>
          </a:p>
        </p:txBody>
      </p:sp>
    </p:spTree>
    <p:extLst>
      <p:ext uri="{BB962C8B-B14F-4D97-AF65-F5344CB8AC3E}">
        <p14:creationId xmlns:p14="http://schemas.microsoft.com/office/powerpoint/2010/main" val="271763077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2213">
              <a:spcBef>
                <a:spcPts val="579"/>
              </a:spcBef>
              <a:defRPr/>
            </a:pPr>
            <a:endParaRPr lang="en-GB" dirty="0"/>
          </a:p>
        </p:txBody>
      </p:sp>
      <p:sp>
        <p:nvSpPr>
          <p:cNvPr id="4" name="Slide Number Placeholder 3"/>
          <p:cNvSpPr>
            <a:spLocks noGrp="1"/>
          </p:cNvSpPr>
          <p:nvPr>
            <p:ph type="sldNum" sz="quarter" idx="10"/>
          </p:nvPr>
        </p:nvSpPr>
        <p:spPr/>
        <p:txBody>
          <a:bodyPr/>
          <a:lstStyle/>
          <a:p>
            <a:fld id="{E6DFC76A-5DAB-4112-9D11-205A6337A069}" type="slidenum">
              <a:rPr lang="en-GB" smtClean="0">
                <a:latin typeface="Arial"/>
              </a:rPr>
              <a:pPr/>
              <a:t>45</a:t>
            </a:fld>
            <a:endParaRPr lang="en-GB" dirty="0">
              <a:latin typeface="Arial"/>
            </a:endParaRPr>
          </a:p>
        </p:txBody>
      </p:sp>
    </p:spTree>
    <p:extLst>
      <p:ext uri="{BB962C8B-B14F-4D97-AF65-F5344CB8AC3E}">
        <p14:creationId xmlns:p14="http://schemas.microsoft.com/office/powerpoint/2010/main" val="35765025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ikke</a:t>
            </a:r>
          </a:p>
        </p:txBody>
      </p:sp>
      <p:sp>
        <p:nvSpPr>
          <p:cNvPr id="4" name="Slide Number Placeholder 3"/>
          <p:cNvSpPr>
            <a:spLocks noGrp="1"/>
          </p:cNvSpPr>
          <p:nvPr>
            <p:ph type="sldNum" sz="quarter" idx="10"/>
          </p:nvPr>
        </p:nvSpPr>
        <p:spPr/>
        <p:txBody>
          <a:bodyPr/>
          <a:lstStyle/>
          <a:p>
            <a:fld id="{E6DFC76A-5DAB-4112-9D11-205A6337A069}" type="slidenum">
              <a:rPr lang="en-GB" smtClean="0">
                <a:latin typeface="Arial"/>
              </a:rPr>
              <a:pPr/>
              <a:t>46</a:t>
            </a:fld>
            <a:endParaRPr lang="en-GB" dirty="0">
              <a:latin typeface="Arial"/>
            </a:endParaRPr>
          </a:p>
        </p:txBody>
      </p:sp>
    </p:spTree>
    <p:extLst>
      <p:ext uri="{BB962C8B-B14F-4D97-AF65-F5344CB8AC3E}">
        <p14:creationId xmlns:p14="http://schemas.microsoft.com/office/powerpoint/2010/main" val="40217625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49</a:t>
            </a:fld>
            <a:endParaRPr lang="en-GB" dirty="0">
              <a:latin typeface="Arial"/>
            </a:endParaRPr>
          </a:p>
        </p:txBody>
      </p:sp>
    </p:spTree>
    <p:extLst>
      <p:ext uri="{BB962C8B-B14F-4D97-AF65-F5344CB8AC3E}">
        <p14:creationId xmlns:p14="http://schemas.microsoft.com/office/powerpoint/2010/main" val="177151744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0</a:t>
            </a:fld>
            <a:endParaRPr lang="en-GB" dirty="0">
              <a:latin typeface="Arial"/>
            </a:endParaRPr>
          </a:p>
        </p:txBody>
      </p:sp>
    </p:spTree>
    <p:extLst>
      <p:ext uri="{BB962C8B-B14F-4D97-AF65-F5344CB8AC3E}">
        <p14:creationId xmlns:p14="http://schemas.microsoft.com/office/powerpoint/2010/main" val="2745657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4</a:t>
            </a:fld>
            <a:endParaRPr lang="en-GB" dirty="0">
              <a:latin typeface="Arial"/>
            </a:endParaRPr>
          </a:p>
        </p:txBody>
      </p:sp>
    </p:spTree>
    <p:extLst>
      <p:ext uri="{BB962C8B-B14F-4D97-AF65-F5344CB8AC3E}">
        <p14:creationId xmlns:p14="http://schemas.microsoft.com/office/powerpoint/2010/main" val="214360350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ttps://www.youtube.com/watch?v=FBDIl0ftIdc </a:t>
            </a:r>
          </a:p>
          <a:p>
            <a:r>
              <a:rPr lang="en-GB" dirty="0"/>
              <a:t>– coding the rounder (15 min)</a:t>
            </a:r>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1</a:t>
            </a:fld>
            <a:endParaRPr lang="en-GB" dirty="0">
              <a:latin typeface="Arial"/>
            </a:endParaRPr>
          </a:p>
        </p:txBody>
      </p:sp>
    </p:spTree>
    <p:extLst>
      <p:ext uri="{BB962C8B-B14F-4D97-AF65-F5344CB8AC3E}">
        <p14:creationId xmlns:p14="http://schemas.microsoft.com/office/powerpoint/2010/main" val="99213775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3</a:t>
            </a:fld>
            <a:endParaRPr lang="en-GB" dirty="0">
              <a:latin typeface="Arial"/>
            </a:endParaRPr>
          </a:p>
        </p:txBody>
      </p:sp>
    </p:spTree>
    <p:extLst>
      <p:ext uri="{BB962C8B-B14F-4D97-AF65-F5344CB8AC3E}">
        <p14:creationId xmlns:p14="http://schemas.microsoft.com/office/powerpoint/2010/main" val="381863268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a:t>HOT: VI KAN</a:t>
            </a:r>
            <a:r>
              <a:rPr lang="en-GB" baseline="0" dirty="0"/>
              <a:t> IKKE LYTTE NÅR SAMTALEN ER HOT – DERFOR BLIVER VI OFTE NØDT TIL AT STOPPE SAMTALEN. </a:t>
            </a:r>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7</a:t>
            </a:fld>
            <a:endParaRPr lang="en-GB" dirty="0">
              <a:latin typeface="Arial"/>
            </a:endParaRPr>
          </a:p>
        </p:txBody>
      </p:sp>
    </p:spTree>
    <p:extLst>
      <p:ext uri="{BB962C8B-B14F-4D97-AF65-F5344CB8AC3E}">
        <p14:creationId xmlns:p14="http://schemas.microsoft.com/office/powerpoint/2010/main" val="11074841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9</a:t>
            </a:fld>
            <a:endParaRPr lang="en-GB" dirty="0">
              <a:latin typeface="Arial"/>
            </a:endParaRPr>
          </a:p>
        </p:txBody>
      </p:sp>
    </p:spTree>
    <p:extLst>
      <p:ext uri="{BB962C8B-B14F-4D97-AF65-F5344CB8AC3E}">
        <p14:creationId xmlns:p14="http://schemas.microsoft.com/office/powerpoint/2010/main" val="343662977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a:endParaRPr>
          </a:p>
        </p:txBody>
      </p:sp>
      <p:sp>
        <p:nvSpPr>
          <p:cNvPr id="4" name="Slide Number Placeholder 3"/>
          <p:cNvSpPr>
            <a:spLocks noGrp="1"/>
          </p:cNvSpPr>
          <p:nvPr>
            <p:ph type="sldNum" sz="quarter" idx="10"/>
          </p:nvPr>
        </p:nvSpPr>
        <p:spPr/>
        <p:txBody>
          <a:bodyPr/>
          <a:lstStyle/>
          <a:p>
            <a:fld id="{225BBCB4-99FF-4509-A4E4-EE8DBE7FBC6F}" type="slidenum">
              <a:rPr lang="da-DK" smtClean="0">
                <a:latin typeface="Arial"/>
              </a:rPr>
              <a:pPr/>
              <a:t>60</a:t>
            </a:fld>
            <a:endParaRPr lang="da-DK">
              <a:latin typeface="Arial"/>
            </a:endParaRPr>
          </a:p>
        </p:txBody>
      </p:sp>
    </p:spTree>
    <p:extLst>
      <p:ext uri="{BB962C8B-B14F-4D97-AF65-F5344CB8AC3E}">
        <p14:creationId xmlns:p14="http://schemas.microsoft.com/office/powerpoint/2010/main" val="6994314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61</a:t>
            </a:fld>
            <a:endParaRPr lang="en-GB" dirty="0">
              <a:latin typeface="Arial"/>
            </a:endParaRPr>
          </a:p>
        </p:txBody>
      </p:sp>
    </p:spTree>
    <p:extLst>
      <p:ext uri="{BB962C8B-B14F-4D97-AF65-F5344CB8AC3E}">
        <p14:creationId xmlns:p14="http://schemas.microsoft.com/office/powerpoint/2010/main" val="2339284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5</a:t>
            </a:fld>
            <a:endParaRPr lang="en-GB" dirty="0">
              <a:latin typeface="Arial"/>
            </a:endParaRPr>
          </a:p>
        </p:txBody>
      </p:sp>
    </p:spTree>
    <p:extLst>
      <p:ext uri="{BB962C8B-B14F-4D97-AF65-F5344CB8AC3E}">
        <p14:creationId xmlns:p14="http://schemas.microsoft.com/office/powerpoint/2010/main" val="5832432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6</a:t>
            </a:fld>
            <a:endParaRPr lang="en-GB" dirty="0">
              <a:latin typeface="Arial"/>
            </a:endParaRPr>
          </a:p>
        </p:txBody>
      </p:sp>
    </p:spTree>
    <p:extLst>
      <p:ext uri="{BB962C8B-B14F-4D97-AF65-F5344CB8AC3E}">
        <p14:creationId xmlns:p14="http://schemas.microsoft.com/office/powerpoint/2010/main" val="17743848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90550" y="765175"/>
            <a:ext cx="5534025" cy="3830638"/>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7B4E6626-DD92-5440-975E-5D33BC737A1F}" type="slidenum">
              <a:rPr lang="en-GB" smtClean="0"/>
              <a:pPr>
                <a:defRPr/>
              </a:pPr>
              <a:t>7</a:t>
            </a:fld>
            <a:endParaRPr lang="en-GB" dirty="0"/>
          </a:p>
        </p:txBody>
      </p:sp>
    </p:spTree>
    <p:extLst>
      <p:ext uri="{BB962C8B-B14F-4D97-AF65-F5344CB8AC3E}">
        <p14:creationId xmlns:p14="http://schemas.microsoft.com/office/powerpoint/2010/main" val="2815698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8</a:t>
            </a:fld>
            <a:endParaRPr lang="en-GB" dirty="0">
              <a:latin typeface="Arial"/>
            </a:endParaRPr>
          </a:p>
        </p:txBody>
      </p:sp>
    </p:spTree>
    <p:extLst>
      <p:ext uri="{BB962C8B-B14F-4D97-AF65-F5344CB8AC3E}">
        <p14:creationId xmlns:p14="http://schemas.microsoft.com/office/powerpoint/2010/main" val="2830836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0</a:t>
            </a:fld>
            <a:endParaRPr lang="en-GB" dirty="0">
              <a:latin typeface="Arial"/>
            </a:endParaRPr>
          </a:p>
        </p:txBody>
      </p:sp>
    </p:spTree>
    <p:extLst>
      <p:ext uri="{BB962C8B-B14F-4D97-AF65-F5344CB8AC3E}">
        <p14:creationId xmlns:p14="http://schemas.microsoft.com/office/powerpoint/2010/main" val="16242955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altLang="da-DK" dirty="0">
                <a:latin typeface="Arial" pitchFamily="34" charset="0"/>
              </a:rPr>
              <a:t>Pernille</a:t>
            </a:r>
          </a:p>
          <a:p>
            <a:endParaRPr lang="en-GB" altLang="da-DK" dirty="0">
              <a:latin typeface="Arial" pitchFamily="34" charset="0"/>
            </a:endParaRPr>
          </a:p>
          <a:p>
            <a:endParaRPr lang="en-GB" altLang="da-DK" dirty="0">
              <a:latin typeface="Arial" pitchFamily="34" charset="0"/>
            </a:endParaRPr>
          </a:p>
          <a:p>
            <a:endParaRPr lang="en-GB" dirty="0"/>
          </a:p>
        </p:txBody>
      </p:sp>
      <p:sp>
        <p:nvSpPr>
          <p:cNvPr id="4" name="Footer Placeholder 3"/>
          <p:cNvSpPr>
            <a:spLocks noGrp="1"/>
          </p:cNvSpPr>
          <p:nvPr>
            <p:ph type="ftr" sz="quarter" idx="10"/>
          </p:nvPr>
        </p:nvSpPr>
        <p:spPr/>
        <p:txBody>
          <a:bodyPr/>
          <a:lstStyle/>
          <a:p>
            <a:endParaRPr lang="en-GB" dirty="0">
              <a:latin typeface="Arial"/>
            </a:endParaRPr>
          </a:p>
        </p:txBody>
      </p:sp>
      <p:sp>
        <p:nvSpPr>
          <p:cNvPr id="5" name="Slide Number Placeholder 4"/>
          <p:cNvSpPr>
            <a:spLocks noGrp="1"/>
          </p:cNvSpPr>
          <p:nvPr>
            <p:ph type="sldNum" sz="quarter" idx="11"/>
          </p:nvPr>
        </p:nvSpPr>
        <p:spPr/>
        <p:txBody>
          <a:bodyPr/>
          <a:lstStyle/>
          <a:p>
            <a:fld id="{E6DFC76A-5DAB-4112-9D11-205A6337A069}" type="slidenum">
              <a:rPr lang="en-GB" smtClean="0">
                <a:latin typeface="Arial"/>
              </a:rPr>
              <a:pPr/>
              <a:t>11</a:t>
            </a:fld>
            <a:endParaRPr lang="en-GB" dirty="0">
              <a:latin typeface="Arial"/>
            </a:endParaRPr>
          </a:p>
        </p:txBody>
      </p:sp>
    </p:spTree>
    <p:extLst>
      <p:ext uri="{BB962C8B-B14F-4D97-AF65-F5344CB8AC3E}">
        <p14:creationId xmlns:p14="http://schemas.microsoft.com/office/powerpoint/2010/main" val="4015268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tif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410395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p:cNvSpPr/>
          <p:nvPr userDrawn="1"/>
        </p:nvSpPr>
        <p:spPr>
          <a:xfrm>
            <a:off x="0" y="0"/>
            <a:ext cx="9906000" cy="414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dirty="0"/>
          </a:p>
        </p:txBody>
      </p:sp>
      <p:pic>
        <p:nvPicPr>
          <p:cNvPr id="11" name="Picture 20" descr="C:\Users\tso\Desktop\PPT forside Folder\PPT forside logo_46-43-40.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88" y="0"/>
            <a:ext cx="9902825" cy="6858000"/>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userDrawn="1"/>
        </p:nvSpPr>
        <p:spPr>
          <a:xfrm>
            <a:off x="-1587" y="4140000"/>
            <a:ext cx="9906000" cy="271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dirty="0"/>
          </a:p>
        </p:txBody>
      </p:sp>
      <p:sp>
        <p:nvSpPr>
          <p:cNvPr id="2" name="Title 1"/>
          <p:cNvSpPr>
            <a:spLocks noGrp="1"/>
          </p:cNvSpPr>
          <p:nvPr>
            <p:ph type="ctrTitle" hasCustomPrompt="1"/>
          </p:nvPr>
        </p:nvSpPr>
        <p:spPr>
          <a:xfrm>
            <a:off x="415925" y="4585506"/>
            <a:ext cx="9074150" cy="492443"/>
          </a:xfrm>
        </p:spPr>
        <p:txBody>
          <a:bodyPr lIns="0" tIns="0" rIns="0" bIns="0" anchor="t" anchorCtr="0">
            <a:spAutoFit/>
          </a:bodyPr>
          <a:lstStyle>
            <a:lvl1pPr algn="l">
              <a:defRPr sz="3200" b="0" baseline="0">
                <a:solidFill>
                  <a:schemeClr val="tx1"/>
                </a:solidFill>
                <a:latin typeface="Georgia" pitchFamily="18" charset="0"/>
                <a:cs typeface="Arial" pitchFamily="34" charset="0"/>
              </a:defRPr>
            </a:lvl1pPr>
          </a:lstStyle>
          <a:p>
            <a:r>
              <a:rPr lang="en-GB" noProof="0" dirty="0"/>
              <a:t>Write your title here (max. 2 lines)</a:t>
            </a:r>
          </a:p>
        </p:txBody>
      </p:sp>
      <p:sp>
        <p:nvSpPr>
          <p:cNvPr id="3" name="Subtitle 2"/>
          <p:cNvSpPr>
            <a:spLocks noGrp="1"/>
          </p:cNvSpPr>
          <p:nvPr>
            <p:ph type="subTitle" idx="1" hasCustomPrompt="1"/>
          </p:nvPr>
        </p:nvSpPr>
        <p:spPr>
          <a:xfrm>
            <a:off x="415925" y="3861048"/>
            <a:ext cx="9074150" cy="215444"/>
          </a:xfrm>
        </p:spPr>
        <p:txBody>
          <a:bodyPr lIns="0" tIns="0" rIns="0" bIns="0">
            <a:noAutofit/>
          </a:bodyPr>
          <a:lstStyle>
            <a:lvl1pPr marL="0" indent="0" algn="l">
              <a:buNone/>
              <a:defRPr sz="1400" cap="all"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Date and place (</a:t>
            </a:r>
            <a:r>
              <a:rPr lang="en-GB" noProof="0" dirty="0" err="1"/>
              <a:t>fx</a:t>
            </a:r>
            <a:r>
              <a:rPr lang="en-GB" noProof="0" dirty="0"/>
              <a:t> 1 January 2016)</a:t>
            </a:r>
          </a:p>
        </p:txBody>
      </p:sp>
      <p:sp>
        <p:nvSpPr>
          <p:cNvPr id="8" name="Text Placeholder 7"/>
          <p:cNvSpPr>
            <a:spLocks noGrp="1"/>
          </p:cNvSpPr>
          <p:nvPr>
            <p:ph type="body" sz="quarter" idx="10" hasCustomPrompt="1"/>
          </p:nvPr>
        </p:nvSpPr>
        <p:spPr>
          <a:xfrm>
            <a:off x="415925" y="5153203"/>
            <a:ext cx="6480000" cy="276999"/>
          </a:xfrm>
        </p:spPr>
        <p:txBody>
          <a:bodyPr wrap="square">
            <a:spAutoFit/>
          </a:bodyPr>
          <a:lstStyle>
            <a:lvl1pPr>
              <a:defRPr sz="1800" baseline="0">
                <a:solidFill>
                  <a:schemeClr val="tx1"/>
                </a:solidFill>
                <a:latin typeface="+mn-lt"/>
              </a:defRPr>
            </a:lvl1pPr>
          </a:lstStyle>
          <a:p>
            <a:pPr lvl="0"/>
            <a:r>
              <a:rPr lang="en-GB" noProof="0" dirty="0"/>
              <a:t>Write your subtitle here</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99770" y="6148388"/>
            <a:ext cx="1690305" cy="360000"/>
          </a:xfrm>
          <a:prstGeom prst="rect">
            <a:avLst/>
          </a:prstGeom>
        </p:spPr>
      </p:pic>
    </p:spTree>
    <p:extLst>
      <p:ext uri="{BB962C8B-B14F-4D97-AF65-F5344CB8AC3E}">
        <p14:creationId xmlns:p14="http://schemas.microsoft.com/office/powerpoint/2010/main" val="32791639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Logo Image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endParaRPr>
          </a:p>
        </p:txBody>
      </p:sp>
      <p:sp>
        <p:nvSpPr>
          <p:cNvPr id="17" name="Rectangle 16">
            <a:extLst>
              <a:ext uri="{FF2B5EF4-FFF2-40B4-BE49-F238E27FC236}">
                <a16:creationId xmlns:a16="http://schemas.microsoft.com/office/drawing/2014/main" id="{3B014E73-AB17-436C-A15E-6880F18048C0}"/>
              </a:ext>
            </a:extLst>
          </p:cNvPr>
          <p:cNvSpPr/>
          <p:nvPr userDrawn="1"/>
        </p:nvSpPr>
        <p:spPr>
          <a:xfrm>
            <a:off x="0" y="0"/>
            <a:ext cx="8554911" cy="550227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dirty="0">
              <a:solidFill>
                <a:srgbClr val="1F2023"/>
              </a:solidFill>
            </a:endParaRPr>
          </a:p>
        </p:txBody>
      </p:sp>
      <p:sp>
        <p:nvSpPr>
          <p:cNvPr id="18" name="Title 1">
            <a:extLst>
              <a:ext uri="{FF2B5EF4-FFF2-40B4-BE49-F238E27FC236}">
                <a16:creationId xmlns:a16="http://schemas.microsoft.com/office/drawing/2014/main" id="{13637FDB-F8B7-4F0A-9D10-989B9490783C}"/>
              </a:ext>
            </a:extLst>
          </p:cNvPr>
          <p:cNvSpPr>
            <a:spLocks noGrp="1"/>
          </p:cNvSpPr>
          <p:nvPr>
            <p:ph type="ctrTitle"/>
          </p:nvPr>
        </p:nvSpPr>
        <p:spPr>
          <a:xfrm>
            <a:off x="269875" y="539750"/>
            <a:ext cx="5841813" cy="3194064"/>
          </a:xfrm>
        </p:spPr>
        <p:txBody>
          <a:bodyPr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en-GB" dirty="0"/>
              <a:t>Click to edit Master title style</a:t>
            </a:r>
          </a:p>
        </p:txBody>
      </p:sp>
      <p:sp>
        <p:nvSpPr>
          <p:cNvPr id="3" name="Subtitle 2"/>
          <p:cNvSpPr>
            <a:spLocks noGrp="1"/>
          </p:cNvSpPr>
          <p:nvPr>
            <p:ph type="subTitle" idx="1"/>
          </p:nvPr>
        </p:nvSpPr>
        <p:spPr>
          <a:xfrm>
            <a:off x="269875" y="4011117"/>
            <a:ext cx="2816225" cy="1218483"/>
          </a:xfrm>
        </p:spPr>
        <p:txBody>
          <a:bodyPr rIns="360000" anchor="t" anchorCtr="0"/>
          <a:lstStyle>
            <a:lvl1pPr marL="0" indent="0" algn="l">
              <a:spcBef>
                <a:spcPts val="0"/>
              </a:spcBef>
              <a:buFont typeface="Arial" panose="020B0604020202020204" pitchFamily="34" charset="0"/>
              <a:buChar char="​"/>
              <a:defRPr sz="975">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15" name="Text Placeholder 7">
            <a:extLst>
              <a:ext uri="{FF2B5EF4-FFF2-40B4-BE49-F238E27FC236}">
                <a16:creationId xmlns:a16="http://schemas.microsoft.com/office/drawing/2014/main" id="{CA3D093D-0380-470D-91FD-8CF2680FA772}"/>
              </a:ext>
            </a:extLst>
          </p:cNvPr>
          <p:cNvSpPr>
            <a:spLocks noGrp="1"/>
          </p:cNvSpPr>
          <p:nvPr>
            <p:ph type="body" sz="quarter" idx="13" hasCustomPrompt="1"/>
          </p:nvPr>
        </p:nvSpPr>
        <p:spPr>
          <a:xfrm>
            <a:off x="269875" y="5014338"/>
            <a:ext cx="2816226" cy="210634"/>
          </a:xfrm>
        </p:spPr>
        <p:txBody>
          <a:bodyPr rIns="0" anchor="b" anchorCtr="0"/>
          <a:lstStyle>
            <a:lvl1pPr>
              <a:defRPr sz="900">
                <a:solidFill>
                  <a:srgbClr val="1F2023"/>
                </a:solidFill>
              </a:defRPr>
            </a:lvl1pPr>
            <a:lvl5pPr>
              <a:defRPr/>
            </a:lvl5pPr>
          </a:lstStyle>
          <a:p>
            <a:pPr lvl="0"/>
            <a:r>
              <a:rPr lang="en-GB" dirty="0"/>
              <a:t>Date</a:t>
            </a: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452116"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22" name="Date_GeneralDate" hidden="1">
            <a:extLst>
              <a:ext uri="{FF2B5EF4-FFF2-40B4-BE49-F238E27FC236}">
                <a16:creationId xmlns:a16="http://schemas.microsoft.com/office/drawing/2014/main" id="{A1C65CDB-7A19-4FFA-A721-487B3A1944F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24" name="FLD_PresentationTitle" hidden="1">
            <a:extLst>
              <a:ext uri="{FF2B5EF4-FFF2-40B4-BE49-F238E27FC236}">
                <a16:creationId xmlns:a16="http://schemas.microsoft.com/office/drawing/2014/main" id="{9F554114-EAE4-48BD-A328-FEE393F887E2}"/>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25" name="Slide Number Placeholder 5" hidden="1">
            <a:extLst>
              <a:ext uri="{FF2B5EF4-FFF2-40B4-BE49-F238E27FC236}">
                <a16:creationId xmlns:a16="http://schemas.microsoft.com/office/drawing/2014/main" id="{7D642835-1260-4BC8-84AA-71B392C94B33}"/>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2" name="Freeform: Shape 11">
            <a:extLst>
              <a:ext uri="{FF2B5EF4-FFF2-40B4-BE49-F238E27FC236}">
                <a16:creationId xmlns:a16="http://schemas.microsoft.com/office/drawing/2014/main" id="{B1D3067F-1962-46D9-86B7-08FC94B365B1}"/>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solidFill>
                  <a:srgbClr val="1F2023"/>
                </a:solidFill>
              </a:rPr>
              <a:t> </a:t>
            </a:r>
          </a:p>
        </p:txBody>
      </p:sp>
    </p:spTree>
    <p:extLst>
      <p:ext uri="{BB962C8B-B14F-4D97-AF65-F5344CB8AC3E}">
        <p14:creationId xmlns:p14="http://schemas.microsoft.com/office/powerpoint/2010/main" val="2649545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Logo Image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767292" y="1"/>
            <a:ext cx="7138708" cy="6857999"/>
          </a:xfrm>
          <a:prstGeom prst="rect">
            <a:avLst/>
          </a:prstGeom>
          <a:solidFill>
            <a:srgbClr val="40615F"/>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2B6603F-4155-4540-8188-E26BD0148E04}"/>
              </a:ext>
            </a:extLst>
          </p:cNvPr>
          <p:cNvSpPr/>
          <p:nvPr userDrawn="1"/>
        </p:nvSpPr>
        <p:spPr>
          <a:xfrm>
            <a:off x="0" y="1192710"/>
            <a:ext cx="8554911" cy="566529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dirty="0">
              <a:solidFill>
                <a:srgbClr val="1F2023"/>
              </a:solidFill>
            </a:endParaRPr>
          </a:p>
        </p:txBody>
      </p:sp>
      <p:sp>
        <p:nvSpPr>
          <p:cNvPr id="16" name="Subtitle 2">
            <a:extLst>
              <a:ext uri="{FF2B5EF4-FFF2-40B4-BE49-F238E27FC236}">
                <a16:creationId xmlns:a16="http://schemas.microsoft.com/office/drawing/2014/main" id="{D91FE0B5-9691-44AE-8658-63DACE043914}"/>
              </a:ext>
            </a:extLst>
          </p:cNvPr>
          <p:cNvSpPr>
            <a:spLocks noGrp="1"/>
          </p:cNvSpPr>
          <p:nvPr>
            <p:ph type="subTitle" idx="1"/>
          </p:nvPr>
        </p:nvSpPr>
        <p:spPr>
          <a:xfrm>
            <a:off x="269875" y="5359204"/>
            <a:ext cx="2816225" cy="970159"/>
          </a:xfrm>
        </p:spPr>
        <p:txBody>
          <a:bodyPr rIns="360000" anchor="t" anchorCtr="0"/>
          <a:lstStyle>
            <a:lvl1pPr marL="0" indent="0" algn="l">
              <a:spcBef>
                <a:spcPts val="0"/>
              </a:spcBef>
              <a:buFont typeface="Arial" panose="020B0604020202020204" pitchFamily="34" charset="0"/>
              <a:buChar char="​"/>
              <a:defRPr sz="975">
                <a:solidFill>
                  <a:srgbClr val="1F2023"/>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17" name="Text Placeholder 7">
            <a:extLst>
              <a:ext uri="{FF2B5EF4-FFF2-40B4-BE49-F238E27FC236}">
                <a16:creationId xmlns:a16="http://schemas.microsoft.com/office/drawing/2014/main" id="{B0209D8F-BA6F-43E8-8163-332BF66A1716}"/>
              </a:ext>
            </a:extLst>
          </p:cNvPr>
          <p:cNvSpPr>
            <a:spLocks noGrp="1"/>
          </p:cNvSpPr>
          <p:nvPr>
            <p:ph type="body" sz="quarter" idx="13" hasCustomPrompt="1"/>
          </p:nvPr>
        </p:nvSpPr>
        <p:spPr>
          <a:xfrm>
            <a:off x="269875" y="6329363"/>
            <a:ext cx="2816226" cy="268287"/>
          </a:xfrm>
        </p:spPr>
        <p:txBody>
          <a:bodyPr rIns="0" anchor="b" anchorCtr="0"/>
          <a:lstStyle>
            <a:lvl1pPr>
              <a:defRPr sz="900">
                <a:solidFill>
                  <a:srgbClr val="1F2023"/>
                </a:solidFill>
              </a:defRPr>
            </a:lvl1pPr>
            <a:lvl5pPr>
              <a:defRPr/>
            </a:lvl5pPr>
          </a:lstStyle>
          <a:p>
            <a:pPr lvl="0"/>
            <a:r>
              <a:rPr lang="en-GB" dirty="0"/>
              <a:t>Date</a:t>
            </a:r>
          </a:p>
        </p:txBody>
      </p:sp>
      <p:sp>
        <p:nvSpPr>
          <p:cNvPr id="19" name="Picture Placeholder 13">
            <a:extLst>
              <a:ext uri="{FF2B5EF4-FFF2-40B4-BE49-F238E27FC236}">
                <a16:creationId xmlns:a16="http://schemas.microsoft.com/office/drawing/2014/main" id="{FF4E0258-33E3-4EA6-82D5-DF8741A7A7DA}"/>
              </a:ext>
            </a:extLst>
          </p:cNvPr>
          <p:cNvSpPr>
            <a:spLocks noGrp="1"/>
          </p:cNvSpPr>
          <p:nvPr>
            <p:ph type="pic" sz="quarter" idx="15"/>
          </p:nvPr>
        </p:nvSpPr>
        <p:spPr>
          <a:xfrm>
            <a:off x="5583518" y="2114551"/>
            <a:ext cx="3493808" cy="4743448"/>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20" name="Title 1">
            <a:extLst>
              <a:ext uri="{FF2B5EF4-FFF2-40B4-BE49-F238E27FC236}">
                <a16:creationId xmlns:a16="http://schemas.microsoft.com/office/drawing/2014/main" id="{0EBAF0D6-94B2-4C1D-A1F8-F94F8FD39F51}"/>
              </a:ext>
            </a:extLst>
          </p:cNvPr>
          <p:cNvSpPr>
            <a:spLocks noGrp="1"/>
          </p:cNvSpPr>
          <p:nvPr>
            <p:ph type="ctrTitle"/>
          </p:nvPr>
        </p:nvSpPr>
        <p:spPr>
          <a:xfrm>
            <a:off x="269875" y="2114551"/>
            <a:ext cx="4818063" cy="2976366"/>
          </a:xfrm>
        </p:spPr>
        <p:txBody>
          <a:bodyPr anchor="t" anchorCtr="0">
            <a:noAutofit/>
          </a:bodyPr>
          <a:lstStyle>
            <a:lvl1pPr algn="l">
              <a:lnSpc>
                <a:spcPct val="83000"/>
              </a:lnSpc>
              <a:defRPr sz="6000" cap="all" baseline="0">
                <a:solidFill>
                  <a:srgbClr val="30373B"/>
                </a:solidFill>
                <a:latin typeface="Impact" panose="020B0806030902050204" pitchFamily="34" charset="0"/>
              </a:defRPr>
            </a:lvl1pPr>
          </a:lstStyle>
          <a:p>
            <a:r>
              <a:rPr lang="en-GB" dirty="0"/>
              <a:t>Click to edit Master title style</a:t>
            </a:r>
          </a:p>
        </p:txBody>
      </p:sp>
      <p:sp>
        <p:nvSpPr>
          <p:cNvPr id="22" name="Date_GeneralDate" hidden="1">
            <a:extLst>
              <a:ext uri="{FF2B5EF4-FFF2-40B4-BE49-F238E27FC236}">
                <a16:creationId xmlns:a16="http://schemas.microsoft.com/office/drawing/2014/main" id="{4A0CF155-1D2D-4A6D-B9CC-CD4EC301F8A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23" name="FLD_PresentationTitle" hidden="1">
            <a:extLst>
              <a:ext uri="{FF2B5EF4-FFF2-40B4-BE49-F238E27FC236}">
                <a16:creationId xmlns:a16="http://schemas.microsoft.com/office/drawing/2014/main" id="{8DBFE4A5-234B-4300-B291-C8F2AF1EBE65}"/>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25" name="Slide Number Placeholder 5" hidden="1">
            <a:extLst>
              <a:ext uri="{FF2B5EF4-FFF2-40B4-BE49-F238E27FC236}">
                <a16:creationId xmlns:a16="http://schemas.microsoft.com/office/drawing/2014/main" id="{787C0CCE-2DC5-4469-A238-1DDC39325F74}"/>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2" name="Freeform: Shape 11">
            <a:extLst>
              <a:ext uri="{FF2B5EF4-FFF2-40B4-BE49-F238E27FC236}">
                <a16:creationId xmlns:a16="http://schemas.microsoft.com/office/drawing/2014/main" id="{EF6276E3-5B28-4A6A-B1CA-832827DD36EB}"/>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solidFill>
                  <a:srgbClr val="1F2023"/>
                </a:solidFill>
              </a:rPr>
              <a:t> </a:t>
            </a:r>
          </a:p>
        </p:txBody>
      </p:sp>
    </p:spTree>
    <p:extLst>
      <p:ext uri="{BB962C8B-B14F-4D97-AF65-F5344CB8AC3E}">
        <p14:creationId xmlns:p14="http://schemas.microsoft.com/office/powerpoint/2010/main" val="3542275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8"/>
            <a:ext cx="9364662"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9" name="FLD_PresentationTitle">
            <a:extLst>
              <a:ext uri="{FF2B5EF4-FFF2-40B4-BE49-F238E27FC236}">
                <a16:creationId xmlns:a16="http://schemas.microsoft.com/office/drawing/2014/main" id="{F96BD67C-36F0-4556-97A7-4850ED294BE7}"/>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262999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Color">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D13ED75-03D3-4C55-BEDE-F1C0F8F4CFEF}"/>
              </a:ext>
            </a:extLst>
          </p:cNvPr>
          <p:cNvSpPr/>
          <p:nvPr userDrawn="1"/>
        </p:nvSpPr>
        <p:spPr>
          <a:xfrm>
            <a:off x="0" y="1"/>
            <a:ext cx="9906000" cy="6857999"/>
          </a:xfrm>
          <a:prstGeom prst="rect">
            <a:avLst/>
          </a:prstGeom>
          <a:solidFill>
            <a:srgbClr val="30373B"/>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latin typeface="Arial"/>
              <a:ea typeface="+mn-ea"/>
              <a:cs typeface="+mn-cs"/>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8"/>
            <a:ext cx="9364662" cy="4689475"/>
          </a:xfrm>
        </p:spPr>
        <p:txBody>
          <a:bodyPr rIns="0"/>
          <a:lstStyle>
            <a:lvl1pPr>
              <a:defRPr>
                <a:solidFill>
                  <a:srgbClr val="F8F5E7"/>
                </a:solidFill>
              </a:defRPr>
            </a:lvl1pPr>
            <a:lvl2pPr>
              <a:defRPr>
                <a:solidFill>
                  <a:srgbClr val="F8F5E7"/>
                </a:solidFill>
              </a:defRPr>
            </a:lvl2pPr>
            <a:lvl3pPr>
              <a:defRPr>
                <a:solidFill>
                  <a:srgbClr val="F8F5E7"/>
                </a:solidFill>
              </a:defRPr>
            </a:lvl3pPr>
            <a:lvl4pPr>
              <a:defRPr>
                <a:solidFill>
                  <a:srgbClr val="F8F5E7"/>
                </a:solidFill>
              </a:defRPr>
            </a:lvl4pPr>
            <a:lvl5pPr>
              <a:defRPr>
                <a:solidFill>
                  <a:srgbClr val="F8F5E7"/>
                </a:solidFill>
              </a:defRPr>
            </a:lvl5pPr>
            <a:lvl6pPr>
              <a:defRPr>
                <a:solidFill>
                  <a:srgbClr val="F8F5E7"/>
                </a:solidFill>
              </a:defRPr>
            </a:lvl6pPr>
            <a:lvl7pPr>
              <a:defRPr>
                <a:solidFill>
                  <a:srgbClr val="F8F5E7"/>
                </a:solidFill>
              </a:defRPr>
            </a:lvl7pPr>
            <a:lvl8pPr>
              <a:defRPr>
                <a:solidFill>
                  <a:srgbClr val="F8F5E7"/>
                </a:solidFill>
              </a:defRPr>
            </a:lvl8pPr>
            <a:lvl9pPr>
              <a:defRPr>
                <a:solidFill>
                  <a:srgbClr val="F8F5E7"/>
                </a:solidFill>
              </a:defRPr>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12">
            <a:extLst>
              <a:ext uri="{FF2B5EF4-FFF2-40B4-BE49-F238E27FC236}">
                <a16:creationId xmlns:a16="http://schemas.microsoft.com/office/drawing/2014/main" id="{DA03DEA2-B734-4E1A-989A-B985B71743C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F8F5E7"/>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F8F5E7"/>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9" name="FLD_PresentationTitle">
            <a:extLst>
              <a:ext uri="{FF2B5EF4-FFF2-40B4-BE49-F238E27FC236}">
                <a16:creationId xmlns:a16="http://schemas.microsoft.com/office/drawing/2014/main" id="{F96BD67C-36F0-4556-97A7-4850ED294BE7}"/>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F8F5E7"/>
                </a:solidFill>
              </a:defRPr>
            </a:lvl1pPr>
          </a:lstStyle>
          <a:p>
            <a:r>
              <a:rPr lang="en-GB" dirty="0"/>
              <a:t>Footer</a:t>
            </a:r>
          </a:p>
        </p:txBody>
      </p:sp>
      <p:sp>
        <p:nvSpPr>
          <p:cNvPr id="12" name="Title 1">
            <a:extLst>
              <a:ext uri="{FF2B5EF4-FFF2-40B4-BE49-F238E27FC236}">
                <a16:creationId xmlns:a16="http://schemas.microsoft.com/office/drawing/2014/main" id="{6BB2F81A-A979-4992-A111-276940B6A507}"/>
              </a:ext>
            </a:extLst>
          </p:cNvPr>
          <p:cNvSpPr>
            <a:spLocks noGrp="1"/>
          </p:cNvSpPr>
          <p:nvPr>
            <p:ph type="title"/>
          </p:nvPr>
        </p:nvSpPr>
        <p:spPr>
          <a:xfrm>
            <a:off x="269876" y="269876"/>
            <a:ext cx="8240140" cy="692336"/>
          </a:xfrm>
        </p:spPr>
        <p:txBody>
          <a:bodyPr/>
          <a:lstStyle>
            <a:lvl1pPr>
              <a:defRPr>
                <a:solidFill>
                  <a:srgbClr val="F8F5E7"/>
                </a:solidFill>
              </a:defRPr>
            </a:lvl1pPr>
          </a:lstStyle>
          <a:p>
            <a:r>
              <a:rPr lang="en-GB" dirty="0"/>
              <a:t>Click to edit Master title style</a:t>
            </a:r>
          </a:p>
        </p:txBody>
      </p:sp>
      <p:sp>
        <p:nvSpPr>
          <p:cNvPr id="4" name="Text Placeholder 3">
            <a:extLst>
              <a:ext uri="{FF2B5EF4-FFF2-40B4-BE49-F238E27FC236}">
                <a16:creationId xmlns:a16="http://schemas.microsoft.com/office/drawing/2014/main" id="{2DEE1D38-B652-484A-AA0A-9748447612D5}"/>
              </a:ext>
            </a:extLst>
          </p:cNvPr>
          <p:cNvSpPr>
            <a:spLocks noGrp="1"/>
          </p:cNvSpPr>
          <p:nvPr>
            <p:ph type="body" sz="quarter" idx="14" hasCustomPrompt="1"/>
          </p:nvPr>
        </p:nvSpPr>
        <p:spPr>
          <a:xfrm>
            <a:off x="7209383" y="6504110"/>
            <a:ext cx="1978862" cy="106116"/>
          </a:xfrm>
        </p:spPr>
        <p:txBody>
          <a:bodyPr rIns="0"/>
          <a:lstStyle>
            <a:lvl1pPr algn="r">
              <a:defRPr sz="650">
                <a:solidFill>
                  <a:srgbClr val="F8F5E7"/>
                </a:solidFill>
              </a:defRPr>
            </a:lvl1pPr>
            <a:lvl2pPr>
              <a:defRPr sz="650"/>
            </a:lvl2pPr>
            <a:lvl3pPr>
              <a:defRPr sz="650"/>
            </a:lvl3pPr>
            <a:lvl4pPr>
              <a:defRPr sz="650"/>
            </a:lvl4pPr>
            <a:lvl5pPr>
              <a:defRPr sz="650"/>
            </a:lvl5pPr>
          </a:lstStyle>
          <a:p>
            <a:pPr lvl="0"/>
            <a:r>
              <a:rPr lang="en-GB" dirty="0"/>
              <a:t>Tracker</a:t>
            </a:r>
          </a:p>
        </p:txBody>
      </p:sp>
      <p:sp>
        <p:nvSpPr>
          <p:cNvPr id="10" name="Date_GeneralDate" hidden="1">
            <a:extLst>
              <a:ext uri="{FF2B5EF4-FFF2-40B4-BE49-F238E27FC236}">
                <a16:creationId xmlns:a16="http://schemas.microsoft.com/office/drawing/2014/main" id="{C71981A8-4E99-413F-87D3-97DDE53F37BF}"/>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3" name="Slide Number Placeholder 4">
            <a:extLst>
              <a:ext uri="{FF2B5EF4-FFF2-40B4-BE49-F238E27FC236}">
                <a16:creationId xmlns:a16="http://schemas.microsoft.com/office/drawing/2014/main" id="{2E7F5C2F-FF98-4B50-9EBB-04E68286A347}"/>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F8F5E7"/>
                </a:solidFill>
              </a:rPr>
              <a:pPr/>
              <a:t>‹#›</a:t>
            </a:fld>
            <a:endParaRPr lang="en-GB" dirty="0">
              <a:solidFill>
                <a:srgbClr val="F8F5E7"/>
              </a:solidFill>
            </a:endParaRPr>
          </a:p>
        </p:txBody>
      </p:sp>
      <p:sp>
        <p:nvSpPr>
          <p:cNvPr id="14" name="Freeform: Shape 13">
            <a:extLst>
              <a:ext uri="{FF2B5EF4-FFF2-40B4-BE49-F238E27FC236}">
                <a16:creationId xmlns:a16="http://schemas.microsoft.com/office/drawing/2014/main" id="{BB1C1348-B6E2-4EA8-8EA4-11925D5339C3}"/>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367225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9"/>
            <a:ext cx="4546599"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itle 1">
            <a:extLst>
              <a:ext uri="{FF2B5EF4-FFF2-40B4-BE49-F238E27FC236}">
                <a16:creationId xmlns:a16="http://schemas.microsoft.com/office/drawing/2014/main" id="{97A9E787-61B5-4260-BC71-92D5DEB35268}"/>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4" name="Date_GeneralDate" hidden="1">
            <a:extLst>
              <a:ext uri="{FF2B5EF4-FFF2-40B4-BE49-F238E27FC236}">
                <a16:creationId xmlns:a16="http://schemas.microsoft.com/office/drawing/2014/main" id="{343403CA-E097-4BBF-BEFB-EB984F1DF21B}"/>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1" name="Text Placeholder 12">
            <a:extLst>
              <a:ext uri="{FF2B5EF4-FFF2-40B4-BE49-F238E27FC236}">
                <a16:creationId xmlns:a16="http://schemas.microsoft.com/office/drawing/2014/main" id="{95833392-58BF-48C2-B298-2E1AF269A67D}"/>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2" name="FLD_PresentationTitle">
            <a:extLst>
              <a:ext uri="{FF2B5EF4-FFF2-40B4-BE49-F238E27FC236}">
                <a16:creationId xmlns:a16="http://schemas.microsoft.com/office/drawing/2014/main" id="{A23D97A5-954B-4A15-A4C6-7DE517D1561F}"/>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3" name="Text Placeholder 3">
            <a:extLst>
              <a:ext uri="{FF2B5EF4-FFF2-40B4-BE49-F238E27FC236}">
                <a16:creationId xmlns:a16="http://schemas.microsoft.com/office/drawing/2014/main" id="{8B1FBC85-E132-41F0-AED2-E8AFB9F92624}"/>
              </a:ext>
            </a:extLst>
          </p:cNvPr>
          <p:cNvSpPr>
            <a:spLocks noGrp="1"/>
          </p:cNvSpPr>
          <p:nvPr>
            <p:ph type="body" sz="quarter" idx="15"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5" name="Slide Number Placeholder 4">
            <a:extLst>
              <a:ext uri="{FF2B5EF4-FFF2-40B4-BE49-F238E27FC236}">
                <a16:creationId xmlns:a16="http://schemas.microsoft.com/office/drawing/2014/main" id="{68CE74C1-A0C4-40F1-BDD9-6CF6D8BB73C5}"/>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
        <p:nvSpPr>
          <p:cNvPr id="16" name="Content Placeholder 2">
            <a:extLst>
              <a:ext uri="{FF2B5EF4-FFF2-40B4-BE49-F238E27FC236}">
                <a16:creationId xmlns:a16="http://schemas.microsoft.com/office/drawing/2014/main" id="{AACDC629-F4C4-4E34-8615-03DAA38947D9}"/>
              </a:ext>
            </a:extLst>
          </p:cNvPr>
          <p:cNvSpPr>
            <a:spLocks noGrp="1"/>
          </p:cNvSpPr>
          <p:nvPr>
            <p:ph idx="16"/>
          </p:nvPr>
        </p:nvSpPr>
        <p:spPr>
          <a:xfrm>
            <a:off x="5087938" y="1627189"/>
            <a:ext cx="4546599"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342403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9"/>
            <a:ext cx="6954837"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itle 1">
            <a:extLst>
              <a:ext uri="{FF2B5EF4-FFF2-40B4-BE49-F238E27FC236}">
                <a16:creationId xmlns:a16="http://schemas.microsoft.com/office/drawing/2014/main" id="{491C5999-EC85-4330-9F46-B0688F0B19DF}"/>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2" name="Date_GeneralDate" hidden="1">
            <a:extLst>
              <a:ext uri="{FF2B5EF4-FFF2-40B4-BE49-F238E27FC236}">
                <a16:creationId xmlns:a16="http://schemas.microsoft.com/office/drawing/2014/main" id="{2A4FCBC5-565D-444E-B843-646C41DDAA27}"/>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1" name="Text Placeholder 12">
            <a:extLst>
              <a:ext uri="{FF2B5EF4-FFF2-40B4-BE49-F238E27FC236}">
                <a16:creationId xmlns:a16="http://schemas.microsoft.com/office/drawing/2014/main" id="{E3DCC377-0280-401A-965D-56293C16EC32}"/>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5" name="FLD_PresentationTitle">
            <a:extLst>
              <a:ext uri="{FF2B5EF4-FFF2-40B4-BE49-F238E27FC236}">
                <a16:creationId xmlns:a16="http://schemas.microsoft.com/office/drawing/2014/main" id="{A0D1BC90-85A5-4EBF-859A-CBBEF77CC20A}"/>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4" name="Text Placeholder 3">
            <a:extLst>
              <a:ext uri="{FF2B5EF4-FFF2-40B4-BE49-F238E27FC236}">
                <a16:creationId xmlns:a16="http://schemas.microsoft.com/office/drawing/2014/main" id="{9EDDAF85-3BF3-423A-AAA1-867083C13F51}"/>
              </a:ext>
            </a:extLst>
          </p:cNvPr>
          <p:cNvSpPr>
            <a:spLocks noGrp="1"/>
          </p:cNvSpPr>
          <p:nvPr>
            <p:ph type="body" sz="quarter" idx="15"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6" name="Slide Number Placeholder 4">
            <a:extLst>
              <a:ext uri="{FF2B5EF4-FFF2-40B4-BE49-F238E27FC236}">
                <a16:creationId xmlns:a16="http://schemas.microsoft.com/office/drawing/2014/main" id="{5C089156-5054-4E47-8D5B-FCAA519DEAC2}"/>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
        <p:nvSpPr>
          <p:cNvPr id="18" name="Content Placeholder 2">
            <a:extLst>
              <a:ext uri="{FF2B5EF4-FFF2-40B4-BE49-F238E27FC236}">
                <a16:creationId xmlns:a16="http://schemas.microsoft.com/office/drawing/2014/main" id="{0DCD6769-8933-4028-9ACD-431F38F7D409}"/>
              </a:ext>
            </a:extLst>
          </p:cNvPr>
          <p:cNvSpPr>
            <a:spLocks noGrp="1"/>
          </p:cNvSpPr>
          <p:nvPr>
            <p:ph idx="16"/>
          </p:nvPr>
        </p:nvSpPr>
        <p:spPr>
          <a:xfrm>
            <a:off x="7496174" y="1627189"/>
            <a:ext cx="2138363" cy="4689474"/>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236990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7EAAE5C6-2755-4F4E-A878-43F56B65E9BB}"/>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9" name="Date_GeneralDate" hidden="1">
            <a:extLst>
              <a:ext uri="{FF2B5EF4-FFF2-40B4-BE49-F238E27FC236}">
                <a16:creationId xmlns:a16="http://schemas.microsoft.com/office/drawing/2014/main" id="{6908E312-5010-42EE-8694-8788FA4ED6F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8" name="Text Placeholder 12">
            <a:extLst>
              <a:ext uri="{FF2B5EF4-FFF2-40B4-BE49-F238E27FC236}">
                <a16:creationId xmlns:a16="http://schemas.microsoft.com/office/drawing/2014/main" id="{134F504F-A2DE-4572-9711-6650D6AA4E27}"/>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3" name="FLD_PresentationTitle">
            <a:extLst>
              <a:ext uri="{FF2B5EF4-FFF2-40B4-BE49-F238E27FC236}">
                <a16:creationId xmlns:a16="http://schemas.microsoft.com/office/drawing/2014/main" id="{31A9F1AB-0838-4499-B74F-30470B8416EF}"/>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1" name="Text Placeholder 3">
            <a:extLst>
              <a:ext uri="{FF2B5EF4-FFF2-40B4-BE49-F238E27FC236}">
                <a16:creationId xmlns:a16="http://schemas.microsoft.com/office/drawing/2014/main" id="{79240DFA-E6CC-48C6-9045-36E6CF1B045E}"/>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4" name="Slide Number Placeholder 4">
            <a:extLst>
              <a:ext uri="{FF2B5EF4-FFF2-40B4-BE49-F238E27FC236}">
                <a16:creationId xmlns:a16="http://schemas.microsoft.com/office/drawing/2014/main" id="{91C6701B-F0B4-47F4-8341-77991D1F2E45}"/>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100239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A">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8"/>
            <a:ext cx="4546599"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087940" y="269876"/>
            <a:ext cx="4276723" cy="3568047"/>
          </a:xfrm>
          <a:solidFill>
            <a:srgbClr val="F3F2F0"/>
          </a:solidFill>
        </p:spPr>
        <p:txBody>
          <a:bodyPr rIns="0" anchor="ctr" anchorCtr="0"/>
          <a:lstStyle>
            <a:lvl1pPr marL="0" indent="0" algn="ctr">
              <a:buNone/>
              <a:defRPr>
                <a:solidFill>
                  <a:srgbClr val="1F2023"/>
                </a:solidFill>
              </a:defRPr>
            </a:lvl1pPr>
          </a:lstStyle>
          <a:p>
            <a:r>
              <a:rPr lang="en-GB" dirty="0"/>
              <a:t>Click icon to add picture</a:t>
            </a:r>
          </a:p>
        </p:txBody>
      </p:sp>
      <p:sp>
        <p:nvSpPr>
          <p:cNvPr id="11" name="Title 1">
            <a:extLst>
              <a:ext uri="{FF2B5EF4-FFF2-40B4-BE49-F238E27FC236}">
                <a16:creationId xmlns:a16="http://schemas.microsoft.com/office/drawing/2014/main" id="{71B800F5-D353-40A2-B9C9-A29ACB6135C1}"/>
              </a:ext>
            </a:extLst>
          </p:cNvPr>
          <p:cNvSpPr>
            <a:spLocks noGrp="1"/>
          </p:cNvSpPr>
          <p:nvPr>
            <p:ph type="title"/>
          </p:nvPr>
        </p:nvSpPr>
        <p:spPr>
          <a:xfrm>
            <a:off x="269876" y="269876"/>
            <a:ext cx="4546598" cy="692336"/>
          </a:xfrm>
        </p:spPr>
        <p:txBody>
          <a:bodyPr/>
          <a:lstStyle>
            <a:lvl1pPr>
              <a:defRPr>
                <a:solidFill>
                  <a:srgbClr val="1F2023"/>
                </a:solidFill>
              </a:defRPr>
            </a:lvl1pPr>
          </a:lstStyle>
          <a:p>
            <a:r>
              <a:rPr lang="en-GB" dirty="0"/>
              <a:t>Click to edit Master title style</a:t>
            </a:r>
          </a:p>
        </p:txBody>
      </p:sp>
      <p:sp>
        <p:nvSpPr>
          <p:cNvPr id="13" name="Date_GeneralDate" hidden="1">
            <a:extLst>
              <a:ext uri="{FF2B5EF4-FFF2-40B4-BE49-F238E27FC236}">
                <a16:creationId xmlns:a16="http://schemas.microsoft.com/office/drawing/2014/main" id="{DB926734-DEFA-41BD-BAB1-506E0D49F30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2" name="Text Placeholder 12">
            <a:extLst>
              <a:ext uri="{FF2B5EF4-FFF2-40B4-BE49-F238E27FC236}">
                <a16:creationId xmlns:a16="http://schemas.microsoft.com/office/drawing/2014/main" id="{9B2F0609-B28D-4E90-9A79-7A5ED798D973}"/>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9" name="FLD_PresentationTitle">
            <a:extLst>
              <a:ext uri="{FF2B5EF4-FFF2-40B4-BE49-F238E27FC236}">
                <a16:creationId xmlns:a16="http://schemas.microsoft.com/office/drawing/2014/main" id="{3C054F7E-785A-48AD-89FB-6F54B0268FE4}"/>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6" name="Text Placeholder 3">
            <a:extLst>
              <a:ext uri="{FF2B5EF4-FFF2-40B4-BE49-F238E27FC236}">
                <a16:creationId xmlns:a16="http://schemas.microsoft.com/office/drawing/2014/main" id="{AB449F3A-748D-4A5A-BF30-2662AC65CBFF}"/>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7" name="Slide Number Placeholder 4">
            <a:extLst>
              <a:ext uri="{FF2B5EF4-FFF2-40B4-BE49-F238E27FC236}">
                <a16:creationId xmlns:a16="http://schemas.microsoft.com/office/drawing/2014/main" id="{37FED4D4-B73B-4019-BEF0-D6F31824FF9A}"/>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
        <p:nvSpPr>
          <p:cNvPr id="20" name="Content Placeholder 2">
            <a:extLst>
              <a:ext uri="{FF2B5EF4-FFF2-40B4-BE49-F238E27FC236}">
                <a16:creationId xmlns:a16="http://schemas.microsoft.com/office/drawing/2014/main" id="{8C5BF74F-DDC9-4227-9B0E-E848E85850DD}"/>
              </a:ext>
            </a:extLst>
          </p:cNvPr>
          <p:cNvSpPr>
            <a:spLocks noGrp="1"/>
          </p:cNvSpPr>
          <p:nvPr>
            <p:ph idx="17"/>
          </p:nvPr>
        </p:nvSpPr>
        <p:spPr>
          <a:xfrm>
            <a:off x="5087938" y="4110810"/>
            <a:ext cx="4546599" cy="2205853"/>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Tree>
    <p:extLst>
      <p:ext uri="{BB962C8B-B14F-4D97-AF65-F5344CB8AC3E}">
        <p14:creationId xmlns:p14="http://schemas.microsoft.com/office/powerpoint/2010/main" val="1065919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B">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6712821-3480-4567-B81B-23EDA2374ED8}"/>
              </a:ext>
            </a:extLst>
          </p:cNvPr>
          <p:cNvSpPr/>
          <p:nvPr userDrawn="1"/>
        </p:nvSpPr>
        <p:spPr>
          <a:xfrm>
            <a:off x="5635691" y="2301551"/>
            <a:ext cx="4270310" cy="4556449"/>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dirty="0">
              <a:solidFill>
                <a:srgbClr val="1F2023"/>
              </a:solidFill>
            </a:endParaRPr>
          </a:p>
        </p:txBody>
      </p:sp>
      <p:sp>
        <p:nvSpPr>
          <p:cNvPr id="10" name="Picture Placeholder 13">
            <a:extLst>
              <a:ext uri="{FF2B5EF4-FFF2-40B4-BE49-F238E27FC236}">
                <a16:creationId xmlns:a16="http://schemas.microsoft.com/office/drawing/2014/main" id="{96EDC17A-116C-4E16-A3DE-2E5F4B894B8C}"/>
              </a:ext>
            </a:extLst>
          </p:cNvPr>
          <p:cNvSpPr>
            <a:spLocks noGrp="1"/>
          </p:cNvSpPr>
          <p:nvPr>
            <p:ph type="pic" sz="quarter" idx="15"/>
          </p:nvPr>
        </p:nvSpPr>
        <p:spPr>
          <a:xfrm>
            <a:off x="5087940" y="1627188"/>
            <a:ext cx="4546598" cy="4689475"/>
          </a:xfrm>
          <a:solidFill>
            <a:srgbClr val="F3F2F0"/>
          </a:solidFill>
        </p:spPr>
        <p:txBody>
          <a:bodyPr rIns="0" anchor="ctr" anchorCtr="0"/>
          <a:lstStyle>
            <a:lvl1pPr marL="0" indent="0" algn="ctr">
              <a:buNone/>
              <a:defRPr>
                <a:solidFill>
                  <a:srgbClr val="1F2023"/>
                </a:solidFill>
              </a:defRPr>
            </a:lvl1pPr>
          </a:lstStyle>
          <a:p>
            <a:r>
              <a:rPr lang="en-GB" dirty="0"/>
              <a:t>Click icon to add picture</a:t>
            </a: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627188"/>
            <a:ext cx="4546599" cy="4689475"/>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itle 1">
            <a:extLst>
              <a:ext uri="{FF2B5EF4-FFF2-40B4-BE49-F238E27FC236}">
                <a16:creationId xmlns:a16="http://schemas.microsoft.com/office/drawing/2014/main" id="{974DEA22-79A0-4DFC-AA38-DAC569B1F7B6}"/>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3" name="Date_GeneralDate" hidden="1">
            <a:extLst>
              <a:ext uri="{FF2B5EF4-FFF2-40B4-BE49-F238E27FC236}">
                <a16:creationId xmlns:a16="http://schemas.microsoft.com/office/drawing/2014/main" id="{820FBEDB-CEC8-4A2B-B408-EC1853DA707E}"/>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2" name="Text Placeholder 12">
            <a:extLst>
              <a:ext uri="{FF2B5EF4-FFF2-40B4-BE49-F238E27FC236}">
                <a16:creationId xmlns:a16="http://schemas.microsoft.com/office/drawing/2014/main" id="{2FBC88B6-08B7-43F9-8247-DD84EEDEFA98}"/>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6" name="FLD_PresentationTitle">
            <a:extLst>
              <a:ext uri="{FF2B5EF4-FFF2-40B4-BE49-F238E27FC236}">
                <a16:creationId xmlns:a16="http://schemas.microsoft.com/office/drawing/2014/main" id="{0610D2BB-470E-4F03-BA38-A66FF59CAEC3}"/>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5" name="Text Placeholder 3">
            <a:extLst>
              <a:ext uri="{FF2B5EF4-FFF2-40B4-BE49-F238E27FC236}">
                <a16:creationId xmlns:a16="http://schemas.microsoft.com/office/drawing/2014/main" id="{CCE0DF6D-B57F-49F8-9638-8524ECED6BEB}"/>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7" name="Slide Number Placeholder 4">
            <a:extLst>
              <a:ext uri="{FF2B5EF4-FFF2-40B4-BE49-F238E27FC236}">
                <a16:creationId xmlns:a16="http://schemas.microsoft.com/office/drawing/2014/main" id="{6D45C55E-65EB-4E8B-85C6-E52DEA2DE199}"/>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402649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ontent Background A">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dirty="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Date Placeholder 2" hidden="1">
            <a:extLst>
              <a:ext uri="{FF2B5EF4-FFF2-40B4-BE49-F238E27FC236}">
                <a16:creationId xmlns:a16="http://schemas.microsoft.com/office/drawing/2014/main" id="{8FCA07DC-4C29-4462-830F-D56E5371F338}"/>
              </a:ext>
            </a:extLst>
          </p:cNvPr>
          <p:cNvSpPr>
            <a:spLocks noGrp="1"/>
          </p:cNvSpPr>
          <p:nvPr>
            <p:ph type="dt" sz="half" idx="10"/>
          </p:nvPr>
        </p:nvSpPr>
        <p:spPr>
          <a:xfrm>
            <a:off x="269875" y="7107011"/>
            <a:ext cx="698765" cy="106116"/>
          </a:xfrm>
        </p:spPr>
        <p:txBody>
          <a:bodyPr/>
          <a:lstStyle>
            <a:lvl1pPr algn="l">
              <a:defRPr/>
            </a:lvl1pPr>
          </a:lstStyle>
          <a:p>
            <a:fld id="{59A508FB-AA0F-4980-A65F-9080DA0B25B4}" type="datetime1">
              <a:rPr lang="en-GB" smtClean="0"/>
              <a:pPr/>
              <a:t>17/01/2019</a:t>
            </a:fld>
            <a:endParaRPr lang="en-GB" dirty="0"/>
          </a:p>
        </p:txBody>
      </p:sp>
      <p:sp>
        <p:nvSpPr>
          <p:cNvPr id="10" name="Title 1">
            <a:extLst>
              <a:ext uri="{FF2B5EF4-FFF2-40B4-BE49-F238E27FC236}">
                <a16:creationId xmlns:a16="http://schemas.microsoft.com/office/drawing/2014/main" id="{A2471E64-BD71-4B4B-BFD1-295764AE215A}"/>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1" name="Date_GeneralDate" hidden="1">
            <a:extLst>
              <a:ext uri="{FF2B5EF4-FFF2-40B4-BE49-F238E27FC236}">
                <a16:creationId xmlns:a16="http://schemas.microsoft.com/office/drawing/2014/main" id="{19FC4D34-165E-409C-A0E2-99649107E37B}"/>
              </a:ext>
            </a:extLst>
          </p:cNvPr>
          <p:cNvSpPr txBox="1">
            <a:spLocks/>
          </p:cNvSpPr>
          <p:nvPr userDrawn="1"/>
        </p:nvSpPr>
        <p:spPr>
          <a:xfrm>
            <a:off x="269875" y="6978509"/>
            <a:ext cx="0" cy="0"/>
          </a:xfrm>
          <a:prstGeom prst="rect">
            <a:avLst/>
          </a:prstGeom>
        </p:spPr>
        <p:txBody>
          <a:bodyPr vert="horz" lIns="0" tIns="0" rIns="0" bIns="0" rtlCol="0" anchor="b" anchorCtr="0"/>
          <a:lstStyle>
            <a:defPPr>
              <a:defRPr lang="en-US"/>
            </a:defPPr>
            <a:lvl1pPr marL="0" algn="l" defTabSz="914400" rtl="0" eaLnBrk="1" latinLnBrk="0" hangingPunct="1">
              <a:defRPr sz="100" kern="1200" cap="all" spc="163" baseline="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6E0422-6ECB-43C9-8CFE-4C39AC685875}" type="datetime1">
              <a:rPr lang="en-GB" smtClean="0"/>
              <a:pPr/>
              <a:t>17/01/2019</a:t>
            </a:fld>
            <a:endParaRPr lang="en-GB" dirty="0"/>
          </a:p>
        </p:txBody>
      </p:sp>
      <p:sp>
        <p:nvSpPr>
          <p:cNvPr id="12" name="Text Placeholder 12">
            <a:extLst>
              <a:ext uri="{FF2B5EF4-FFF2-40B4-BE49-F238E27FC236}">
                <a16:creationId xmlns:a16="http://schemas.microsoft.com/office/drawing/2014/main" id="{EC4B4692-BEB0-4AB7-A6CB-4D48CDD6012E}"/>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8" name="FLD_PresentationTitle">
            <a:extLst>
              <a:ext uri="{FF2B5EF4-FFF2-40B4-BE49-F238E27FC236}">
                <a16:creationId xmlns:a16="http://schemas.microsoft.com/office/drawing/2014/main" id="{63CA1A6B-AC80-4120-B2AD-53C0CAC0F25E}"/>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3" name="Text Placeholder 3">
            <a:extLst>
              <a:ext uri="{FF2B5EF4-FFF2-40B4-BE49-F238E27FC236}">
                <a16:creationId xmlns:a16="http://schemas.microsoft.com/office/drawing/2014/main" id="{57D850F3-3BBF-4220-B296-16FF2A55D696}"/>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7" name="Slide Number Placeholder 4">
            <a:extLst>
              <a:ext uri="{FF2B5EF4-FFF2-40B4-BE49-F238E27FC236}">
                <a16:creationId xmlns:a16="http://schemas.microsoft.com/office/drawing/2014/main" id="{3BBDDE93-1FAD-4FF9-8A64-A0D71BB2BEEC}"/>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153548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3638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dirty="0"/>
          </a:p>
        </p:txBody>
      </p:sp>
      <p:sp>
        <p:nvSpPr>
          <p:cNvPr id="2" name="Title 1"/>
          <p:cNvSpPr>
            <a:spLocks noGrp="1"/>
          </p:cNvSpPr>
          <p:nvPr>
            <p:ph type="ctrTitle" hasCustomPrompt="1"/>
          </p:nvPr>
        </p:nvSpPr>
        <p:spPr>
          <a:xfrm>
            <a:off x="1352550" y="2276872"/>
            <a:ext cx="7200900" cy="1231106"/>
          </a:xfrm>
        </p:spPr>
        <p:txBody>
          <a:bodyPr lIns="0" tIns="0" rIns="0" bIns="0" anchor="b" anchorCtr="0">
            <a:noAutofit/>
          </a:bodyPr>
          <a:lstStyle>
            <a:lvl1pPr algn="l">
              <a:lnSpc>
                <a:spcPts val="4800"/>
              </a:lnSpc>
              <a:defRPr sz="4400" b="0" baseline="0">
                <a:solidFill>
                  <a:schemeClr val="bg1"/>
                </a:solidFill>
                <a:latin typeface="Georgia" pitchFamily="18" charset="0"/>
                <a:cs typeface="Arial" pitchFamily="34" charset="0"/>
              </a:defRPr>
            </a:lvl1pPr>
          </a:lstStyle>
          <a:p>
            <a:r>
              <a:rPr lang="en-GB" noProof="0" dirty="0"/>
              <a:t>Write your title here</a:t>
            </a:r>
            <a:br>
              <a:rPr lang="en-GB" noProof="0" dirty="0"/>
            </a:br>
            <a:r>
              <a:rPr lang="en-GB" noProof="0" dirty="0"/>
              <a:t>(White + Brown, accent 4)</a:t>
            </a:r>
          </a:p>
        </p:txBody>
      </p:sp>
      <p:sp>
        <p:nvSpPr>
          <p:cNvPr id="3" name="Subtitle 2"/>
          <p:cNvSpPr>
            <a:spLocks noGrp="1"/>
          </p:cNvSpPr>
          <p:nvPr>
            <p:ph type="subTitle" idx="1" hasCustomPrompt="1"/>
          </p:nvPr>
        </p:nvSpPr>
        <p:spPr>
          <a:xfrm>
            <a:off x="1352550" y="1469241"/>
            <a:ext cx="7200900" cy="246221"/>
          </a:xfrm>
        </p:spPr>
        <p:txBody>
          <a:bodyPr wrap="square" lIns="0" tIns="0" rIns="0" bIns="0">
            <a:spAutoFit/>
          </a:bodyPr>
          <a:lstStyle>
            <a:lvl1pPr marL="0" indent="0" algn="l">
              <a:buNone/>
              <a:defRPr sz="1600" cap="all"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Date and place (</a:t>
            </a:r>
            <a:r>
              <a:rPr lang="en-GB" noProof="0" dirty="0" err="1"/>
              <a:t>fx</a:t>
            </a:r>
            <a:r>
              <a:rPr lang="en-GB" noProof="0" dirty="0"/>
              <a:t> 1 January 2016)</a:t>
            </a:r>
          </a:p>
        </p:txBody>
      </p:sp>
      <p:sp>
        <p:nvSpPr>
          <p:cNvPr id="8" name="Text Placeholder 7"/>
          <p:cNvSpPr>
            <a:spLocks noGrp="1"/>
          </p:cNvSpPr>
          <p:nvPr>
            <p:ph type="body" sz="quarter" idx="10" hasCustomPrompt="1"/>
          </p:nvPr>
        </p:nvSpPr>
        <p:spPr>
          <a:xfrm>
            <a:off x="1352550" y="3861048"/>
            <a:ext cx="7200900" cy="492443"/>
          </a:xfrm>
        </p:spPr>
        <p:txBody>
          <a:bodyPr wrap="square">
            <a:spAutoFit/>
          </a:bodyPr>
          <a:lstStyle>
            <a:lvl1pPr>
              <a:spcBef>
                <a:spcPts val="0"/>
              </a:spcBef>
              <a:defRPr sz="1600" baseline="0">
                <a:solidFill>
                  <a:schemeClr val="accent3"/>
                </a:solidFill>
                <a:latin typeface="Georgia" pitchFamily="18" charset="0"/>
              </a:defRPr>
            </a:lvl1pPr>
          </a:lstStyle>
          <a:p>
            <a:pPr lvl="0"/>
            <a:r>
              <a:rPr lang="en-GB" noProof="0" dirty="0"/>
              <a:t>Name</a:t>
            </a:r>
          </a:p>
          <a:p>
            <a:pPr lvl="0"/>
            <a:r>
              <a:rPr lang="en-GB" noProof="0" dirty="0"/>
              <a:t>Implement Consulting Group</a:t>
            </a:r>
          </a:p>
        </p:txBody>
      </p:sp>
      <p:pic>
        <p:nvPicPr>
          <p:cNvPr id="18" name="Picture 37" descr="I:\Implement\Graphic Design\_Grafisk materiale\Logoer\Implement Consulting Group\Farve\RGB_online\png\Implement-logo_RGB_hires.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90064" y="5831865"/>
            <a:ext cx="1725873" cy="36764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490839" y="0"/>
            <a:ext cx="1395940" cy="1872208"/>
            <a:chOff x="-1490839" y="2276872"/>
            <a:chExt cx="1395940" cy="1872208"/>
          </a:xfrm>
        </p:grpSpPr>
        <p:sp>
          <p:nvSpPr>
            <p:cNvPr id="9" name="Content Placeholder 7"/>
            <p:cNvSpPr txBox="1">
              <a:spLocks/>
            </p:cNvSpPr>
            <p:nvPr userDrawn="1"/>
          </p:nvSpPr>
          <p:spPr>
            <a:xfrm>
              <a:off x="-1490839" y="2276872"/>
              <a:ext cx="1395940" cy="1872208"/>
            </a:xfrm>
            <a:prstGeom prst="rect">
              <a:avLst/>
            </a:prstGeom>
            <a:solidFill>
              <a:schemeClr val="bg1"/>
            </a:solidFill>
          </p:spPr>
          <p:txBody>
            <a:bodyPr vert="horz" wrap="square" lIns="36000" tIns="36000" rIns="36000" bIns="36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00" b="1" dirty="0">
                  <a:solidFill>
                    <a:schemeClr val="accent6"/>
                  </a:solidFill>
                </a:rPr>
                <a:t>Title slide 2</a:t>
              </a:r>
              <a:br>
                <a:rPr lang="en-GB" sz="1200" b="1" dirty="0">
                  <a:solidFill>
                    <a:schemeClr val="accent6"/>
                  </a:solidFill>
                </a:rPr>
              </a:br>
              <a:r>
                <a:rPr lang="en-GB" sz="1200" dirty="0"/>
                <a:t>Use two colours in </a:t>
              </a:r>
              <a:br>
                <a:rPr lang="en-GB" sz="1200" dirty="0"/>
              </a:br>
              <a:r>
                <a:rPr lang="en-GB" sz="1200" dirty="0"/>
                <a:t>the title</a:t>
              </a:r>
              <a:r>
                <a:rPr lang="en-GB" sz="1200" b="1" dirty="0"/>
                <a:t>: White text</a:t>
              </a:r>
              <a:r>
                <a:rPr lang="en-GB" sz="1200" b="1" baseline="0" dirty="0"/>
                <a:t> </a:t>
              </a:r>
              <a:br>
                <a:rPr lang="en-GB" sz="1200" b="1" baseline="0" dirty="0"/>
              </a:br>
              <a:r>
                <a:rPr lang="en-GB" sz="1200" b="1" baseline="0" dirty="0"/>
                <a:t>+ Brown, Accent 4</a:t>
              </a:r>
              <a:endParaRPr lang="en-GB" sz="1200" b="1" dirty="0"/>
            </a:p>
          </p:txBody>
        </p:sp>
        <p:grpSp>
          <p:nvGrpSpPr>
            <p:cNvPr id="7" name="Group 6"/>
            <p:cNvGrpSpPr/>
            <p:nvPr userDrawn="1"/>
          </p:nvGrpSpPr>
          <p:grpSpPr>
            <a:xfrm>
              <a:off x="-1490839" y="3091157"/>
              <a:ext cx="1392063" cy="1021919"/>
              <a:chOff x="-1172643" y="3055153"/>
              <a:chExt cx="1073867" cy="788330"/>
            </a:xfrm>
          </p:grpSpPr>
          <p:grpSp>
            <p:nvGrpSpPr>
              <p:cNvPr id="11" name="Group 10"/>
              <p:cNvGrpSpPr/>
              <p:nvPr userDrawn="1"/>
            </p:nvGrpSpPr>
            <p:grpSpPr>
              <a:xfrm>
                <a:off x="-1172643" y="3055153"/>
                <a:ext cx="1073867" cy="788330"/>
                <a:chOff x="4129088" y="2824163"/>
                <a:chExt cx="1647825" cy="1209675"/>
              </a:xfrm>
            </p:grpSpPr>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9088" y="2824163"/>
                  <a:ext cx="1647825" cy="1209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4899" y="3140968"/>
                  <a:ext cx="581025" cy="266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Rectangle 5"/>
              <p:cNvSpPr/>
              <p:nvPr userDrawn="1"/>
            </p:nvSpPr>
            <p:spPr>
              <a:xfrm>
                <a:off x="-1146251" y="3325750"/>
                <a:ext cx="77069" cy="770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solidFill>
                    <a:schemeClr val="accent5"/>
                  </a:solidFill>
                </a:endParaRPr>
              </a:p>
            </p:txBody>
          </p:sp>
          <p:sp>
            <p:nvSpPr>
              <p:cNvPr id="14" name="Rectangle 13"/>
              <p:cNvSpPr/>
              <p:nvPr userDrawn="1"/>
            </p:nvSpPr>
            <p:spPr>
              <a:xfrm>
                <a:off x="-409215" y="3325750"/>
                <a:ext cx="77069" cy="770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solidFill>
                    <a:schemeClr val="accent5"/>
                  </a:solidFill>
                </a:endParaRPr>
              </a:p>
            </p:txBody>
          </p:sp>
        </p:grpSp>
      </p:grpSp>
    </p:spTree>
    <p:extLst>
      <p:ext uri="{BB962C8B-B14F-4D97-AF65-F5344CB8AC3E}">
        <p14:creationId xmlns:p14="http://schemas.microsoft.com/office/powerpoint/2010/main" val="24900570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Background B">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ECD7CA"/>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dirty="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itle 1">
            <a:extLst>
              <a:ext uri="{FF2B5EF4-FFF2-40B4-BE49-F238E27FC236}">
                <a16:creationId xmlns:a16="http://schemas.microsoft.com/office/drawing/2014/main" id="{82B2B732-F934-41CD-B172-1038DE5EC931}"/>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1" name="Date_GeneralDate" hidden="1">
            <a:extLst>
              <a:ext uri="{FF2B5EF4-FFF2-40B4-BE49-F238E27FC236}">
                <a16:creationId xmlns:a16="http://schemas.microsoft.com/office/drawing/2014/main" id="{84A12509-C077-4A6F-9588-E081757E4B74}"/>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5" name="Text Placeholder 12">
            <a:extLst>
              <a:ext uri="{FF2B5EF4-FFF2-40B4-BE49-F238E27FC236}">
                <a16:creationId xmlns:a16="http://schemas.microsoft.com/office/drawing/2014/main" id="{0AB81D70-4F8C-4F7F-A726-48723613AF50}"/>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7" name="FLD_PresentationTitle">
            <a:extLst>
              <a:ext uri="{FF2B5EF4-FFF2-40B4-BE49-F238E27FC236}">
                <a16:creationId xmlns:a16="http://schemas.microsoft.com/office/drawing/2014/main" id="{D4433B22-324E-4107-8043-3FAFD6D0BF2E}"/>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3" name="Text Placeholder 3">
            <a:extLst>
              <a:ext uri="{FF2B5EF4-FFF2-40B4-BE49-F238E27FC236}">
                <a16:creationId xmlns:a16="http://schemas.microsoft.com/office/drawing/2014/main" id="{83109406-CC86-44FA-B86E-528712007487}"/>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6" name="Slide Number Placeholder 4">
            <a:extLst>
              <a:ext uri="{FF2B5EF4-FFF2-40B4-BE49-F238E27FC236}">
                <a16:creationId xmlns:a16="http://schemas.microsoft.com/office/drawing/2014/main" id="{F30DB934-A790-49F3-AFF2-B3561F1AA882}"/>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2438542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Background 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09000" cy="5230812"/>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dirty="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itle 1">
            <a:extLst>
              <a:ext uri="{FF2B5EF4-FFF2-40B4-BE49-F238E27FC236}">
                <a16:creationId xmlns:a16="http://schemas.microsoft.com/office/drawing/2014/main" id="{ABB2E20B-892D-4EA3-8AD4-FC00FED28DF5}"/>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1" name="Date_GeneralDate" hidden="1">
            <a:extLst>
              <a:ext uri="{FF2B5EF4-FFF2-40B4-BE49-F238E27FC236}">
                <a16:creationId xmlns:a16="http://schemas.microsoft.com/office/drawing/2014/main" id="{686CBC02-9614-4B0A-89F1-B30029BD86EE}"/>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5" name="Text Placeholder 12">
            <a:extLst>
              <a:ext uri="{FF2B5EF4-FFF2-40B4-BE49-F238E27FC236}">
                <a16:creationId xmlns:a16="http://schemas.microsoft.com/office/drawing/2014/main" id="{DE12DCE5-1D70-40FE-A12D-BC9D827D4FAB}"/>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7" name="FLD_PresentationTitle">
            <a:extLst>
              <a:ext uri="{FF2B5EF4-FFF2-40B4-BE49-F238E27FC236}">
                <a16:creationId xmlns:a16="http://schemas.microsoft.com/office/drawing/2014/main" id="{3260AF4C-66F3-406E-AF39-DC35C9974769}"/>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3" name="Text Placeholder 3">
            <a:extLst>
              <a:ext uri="{FF2B5EF4-FFF2-40B4-BE49-F238E27FC236}">
                <a16:creationId xmlns:a16="http://schemas.microsoft.com/office/drawing/2014/main" id="{E99217A5-C5F1-43F0-8D37-FD2D14569447}"/>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6" name="Slide Number Placeholder 4">
            <a:extLst>
              <a:ext uri="{FF2B5EF4-FFF2-40B4-BE49-F238E27FC236}">
                <a16:creationId xmlns:a16="http://schemas.microsoft.com/office/drawing/2014/main" id="{DF6EDBD7-2837-4DCC-BA75-1B0096E3B003}"/>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3935699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Background 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410D80-6244-43D7-9BCA-4FF4C69D0B08}"/>
              </a:ext>
            </a:extLst>
          </p:cNvPr>
          <p:cNvSpPr/>
          <p:nvPr userDrawn="1"/>
        </p:nvSpPr>
        <p:spPr>
          <a:xfrm>
            <a:off x="0" y="1627188"/>
            <a:ext cx="8510016" cy="5230812"/>
          </a:xfrm>
          <a:prstGeom prst="rect">
            <a:avLst/>
          </a:prstGeom>
          <a:solidFill>
            <a:srgbClr val="FBF9F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a:endParaRPr lang="en-GB" sz="1000" noProof="0" dirty="0">
              <a:solidFill>
                <a:srgbClr val="1F2023"/>
              </a:solidFill>
            </a:endParaRPr>
          </a:p>
        </p:txBody>
      </p:sp>
      <p:sp>
        <p:nvSpPr>
          <p:cNvPr id="6" name="Content Placeholder 2">
            <a:extLst>
              <a:ext uri="{FF2B5EF4-FFF2-40B4-BE49-F238E27FC236}">
                <a16:creationId xmlns:a16="http://schemas.microsoft.com/office/drawing/2014/main" id="{856EE887-ADBF-4AB0-BE63-21972C5B1663}"/>
              </a:ext>
            </a:extLst>
          </p:cNvPr>
          <p:cNvSpPr>
            <a:spLocks noGrp="1"/>
          </p:cNvSpPr>
          <p:nvPr>
            <p:ph idx="1"/>
          </p:nvPr>
        </p:nvSpPr>
        <p:spPr>
          <a:xfrm>
            <a:off x="269876" y="1878015"/>
            <a:ext cx="7959724" cy="4452807"/>
          </a:xfrm>
        </p:spPr>
        <p:txBody>
          <a:bodyPr rIns="0"/>
          <a:lstStyle>
            <a:lvl1pPr>
              <a:defRPr>
                <a:solidFill>
                  <a:srgbClr val="1F2023"/>
                </a:solidFill>
              </a:defRPr>
            </a:lvl1pPr>
            <a:lvl2pPr>
              <a:defRPr>
                <a:solidFill>
                  <a:srgbClr val="1F2023"/>
                </a:solidFill>
              </a:defRPr>
            </a:lvl2pPr>
            <a:lvl3pPr>
              <a:defRPr>
                <a:solidFill>
                  <a:srgbClr val="1F2023"/>
                </a:solidFill>
              </a:defRPr>
            </a:lvl3pPr>
            <a:lvl4pPr>
              <a:defRPr>
                <a:solidFill>
                  <a:srgbClr val="1F2023"/>
                </a:solidFill>
              </a:defRPr>
            </a:lvl4pPr>
            <a:lvl5pPr>
              <a:defRPr>
                <a:solidFill>
                  <a:srgbClr val="1F2023"/>
                </a:solidFill>
              </a:defRPr>
            </a:lvl5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0" name="Title 1">
            <a:extLst>
              <a:ext uri="{FF2B5EF4-FFF2-40B4-BE49-F238E27FC236}">
                <a16:creationId xmlns:a16="http://schemas.microsoft.com/office/drawing/2014/main" id="{28CE8CB5-0C5C-4F82-93BB-A3CC2466A32C}"/>
              </a:ext>
            </a:extLst>
          </p:cNvPr>
          <p:cNvSpPr>
            <a:spLocks noGrp="1"/>
          </p:cNvSpPr>
          <p:nvPr>
            <p:ph type="title"/>
          </p:nvPr>
        </p:nvSpPr>
        <p:spPr>
          <a:xfrm>
            <a:off x="269876" y="269876"/>
            <a:ext cx="8240140" cy="692336"/>
          </a:xfrm>
        </p:spPr>
        <p:txBody>
          <a:bodyPr/>
          <a:lstStyle>
            <a:lvl1pPr>
              <a:defRPr>
                <a:solidFill>
                  <a:srgbClr val="1F2023"/>
                </a:solidFill>
              </a:defRPr>
            </a:lvl1pPr>
          </a:lstStyle>
          <a:p>
            <a:r>
              <a:rPr lang="en-GB" dirty="0"/>
              <a:t>Click to edit Master title style</a:t>
            </a:r>
          </a:p>
        </p:txBody>
      </p:sp>
      <p:sp>
        <p:nvSpPr>
          <p:cNvPr id="11" name="Date_GeneralDate" hidden="1">
            <a:extLst>
              <a:ext uri="{FF2B5EF4-FFF2-40B4-BE49-F238E27FC236}">
                <a16:creationId xmlns:a16="http://schemas.microsoft.com/office/drawing/2014/main" id="{F231F416-9E01-4D51-8180-032D1D891810}"/>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5" name="Text Placeholder 12">
            <a:extLst>
              <a:ext uri="{FF2B5EF4-FFF2-40B4-BE49-F238E27FC236}">
                <a16:creationId xmlns:a16="http://schemas.microsoft.com/office/drawing/2014/main" id="{3C651A19-21C7-43A0-87F7-B33CAB065148}"/>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7" name="FLD_PresentationTitle">
            <a:extLst>
              <a:ext uri="{FF2B5EF4-FFF2-40B4-BE49-F238E27FC236}">
                <a16:creationId xmlns:a16="http://schemas.microsoft.com/office/drawing/2014/main" id="{D1553913-EAC6-4C11-80E0-83E41E8667BA}"/>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3" name="Text Placeholder 3">
            <a:extLst>
              <a:ext uri="{FF2B5EF4-FFF2-40B4-BE49-F238E27FC236}">
                <a16:creationId xmlns:a16="http://schemas.microsoft.com/office/drawing/2014/main" id="{C10B5418-1C83-44F1-AB0B-3628C15B4C2A}"/>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6" name="Slide Number Placeholder 4">
            <a:extLst>
              <a:ext uri="{FF2B5EF4-FFF2-40B4-BE49-F238E27FC236}">
                <a16:creationId xmlns:a16="http://schemas.microsoft.com/office/drawing/2014/main" id="{4FBE63A3-E191-4F2C-B1EA-A032441BA822}"/>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568415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Small D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4464A78-52BC-47B8-9672-C1ADE223E73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874" y="266717"/>
            <a:ext cx="9364664" cy="6327654"/>
          </a:xfrm>
          <a:prstGeom prst="rect">
            <a:avLst/>
          </a:prstGeom>
        </p:spPr>
      </p:pic>
      <p:sp>
        <p:nvSpPr>
          <p:cNvPr id="13" name="Rectangle 12">
            <a:extLst>
              <a:ext uri="{FF2B5EF4-FFF2-40B4-BE49-F238E27FC236}">
                <a16:creationId xmlns:a16="http://schemas.microsoft.com/office/drawing/2014/main" id="{DCBA12CA-ADA2-4F73-9B88-D50DC1FCE512}"/>
              </a:ext>
            </a:extLst>
          </p:cNvPr>
          <p:cNvSpPr/>
          <p:nvPr userDrawn="1"/>
        </p:nvSpPr>
        <p:spPr>
          <a:xfrm>
            <a:off x="545529" y="3313866"/>
            <a:ext cx="6978315" cy="354413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100" noProof="0" dirty="0" err="1">
              <a:solidFill>
                <a:schemeClr val="tx1"/>
              </a:solidFill>
            </a:endParaRPr>
          </a:p>
        </p:txBody>
      </p:sp>
      <p:sp>
        <p:nvSpPr>
          <p:cNvPr id="2" name="Rectangle 1">
            <a:extLst>
              <a:ext uri="{FF2B5EF4-FFF2-40B4-BE49-F238E27FC236}">
                <a16:creationId xmlns:a16="http://schemas.microsoft.com/office/drawing/2014/main" id="{ECA92447-F633-484C-865A-7E00514C7F7C}"/>
              </a:ext>
            </a:extLst>
          </p:cNvPr>
          <p:cNvSpPr/>
          <p:nvPr userDrawn="1"/>
        </p:nvSpPr>
        <p:spPr>
          <a:xfrm>
            <a:off x="0" y="2136618"/>
            <a:ext cx="6581869" cy="4721382"/>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12" name="Text Placeholder 6">
            <a:extLst>
              <a:ext uri="{FF2B5EF4-FFF2-40B4-BE49-F238E27FC236}">
                <a16:creationId xmlns:a16="http://schemas.microsoft.com/office/drawing/2014/main" id="{1AF09253-57B7-496F-9C52-5EDA820C1B9E}"/>
              </a:ext>
            </a:extLst>
          </p:cNvPr>
          <p:cNvSpPr>
            <a:spLocks noGrp="1"/>
          </p:cNvSpPr>
          <p:nvPr>
            <p:ph type="body" sz="quarter" idx="16" hasCustomPrompt="1"/>
          </p:nvPr>
        </p:nvSpPr>
        <p:spPr>
          <a:xfrm>
            <a:off x="269874" y="2633929"/>
            <a:ext cx="4546601" cy="447301"/>
          </a:xfrm>
        </p:spPr>
        <p:txBody>
          <a:bodyPr rIns="0" anchor="b" anchorCtr="0"/>
          <a:lstStyle>
            <a:lvl1pPr marL="0" indent="0">
              <a:buNone/>
              <a:defRPr sz="2800">
                <a:solidFill>
                  <a:srgbClr val="F8F5E7"/>
                </a:solidFill>
              </a:defRPr>
            </a:lvl1pPr>
          </a:lstStyle>
          <a:p>
            <a:pPr lvl="0"/>
            <a:r>
              <a:rPr lang="en-GB" dirty="0"/>
              <a:t>01</a:t>
            </a:r>
          </a:p>
        </p:txBody>
      </p:sp>
      <p:sp>
        <p:nvSpPr>
          <p:cNvPr id="11" name="Title 1">
            <a:extLst>
              <a:ext uri="{FF2B5EF4-FFF2-40B4-BE49-F238E27FC236}">
                <a16:creationId xmlns:a16="http://schemas.microsoft.com/office/drawing/2014/main" id="{CDAB66FF-3B85-4BEC-B050-88BADAE9CC43}"/>
              </a:ext>
            </a:extLst>
          </p:cNvPr>
          <p:cNvSpPr>
            <a:spLocks noGrp="1"/>
          </p:cNvSpPr>
          <p:nvPr>
            <p:ph type="title" hasCustomPrompt="1"/>
          </p:nvPr>
        </p:nvSpPr>
        <p:spPr>
          <a:xfrm>
            <a:off x="269875" y="3313864"/>
            <a:ext cx="4546600" cy="3002799"/>
          </a:xfrm>
          <a:solidFill>
            <a:srgbClr val="30373B"/>
          </a:solidFill>
        </p:spPr>
        <p:txBody>
          <a:bodyPr lIns="0" tIns="0" rIns="0"/>
          <a:lstStyle>
            <a:lvl1pPr>
              <a:lnSpc>
                <a:spcPct val="83000"/>
              </a:lnSpc>
              <a:defRPr sz="4800" cap="all" baseline="0">
                <a:solidFill>
                  <a:srgbClr val="F8F5E7"/>
                </a:solidFill>
                <a:latin typeface="Impact" panose="020B0806030902050204" pitchFamily="34" charset="0"/>
              </a:defRPr>
            </a:lvl1pPr>
          </a:lstStyle>
          <a:p>
            <a:r>
              <a:rPr lang="en-GB" dirty="0"/>
              <a:t>CLICK TO EDIT MASTER TITLE STYLE</a:t>
            </a:r>
          </a:p>
        </p:txBody>
      </p:sp>
      <p:sp>
        <p:nvSpPr>
          <p:cNvPr id="15" name="Date_GeneralDate" hidden="1">
            <a:extLst>
              <a:ext uri="{FF2B5EF4-FFF2-40B4-BE49-F238E27FC236}">
                <a16:creationId xmlns:a16="http://schemas.microsoft.com/office/drawing/2014/main" id="{58E9C54B-AFF7-4F52-894C-32EE5FC971EA}"/>
              </a:ext>
            </a:extLst>
          </p:cNvPr>
          <p:cNvSpPr txBox="1">
            <a:spLocks/>
          </p:cNvSpPr>
          <p:nvPr userDrawn="1"/>
        </p:nvSpPr>
        <p:spPr>
          <a:xfrm>
            <a:off x="269875" y="6978509"/>
            <a:ext cx="0" cy="0"/>
          </a:xfrm>
          <a:prstGeom prst="rect">
            <a:avLst/>
          </a:prstGeom>
        </p:spPr>
        <p:txBody>
          <a:bodyPr vert="horz" lIns="0" tIns="0" rIns="0" bIns="0" rtlCol="0" anchor="b" anchorCtr="0"/>
          <a:lstStyle>
            <a:defPPr>
              <a:defRPr lang="en-US"/>
            </a:defPPr>
            <a:lvl1pPr marL="0" algn="l" defTabSz="914400" rtl="0" eaLnBrk="1" latinLnBrk="0" hangingPunct="1">
              <a:defRPr sz="100" kern="1200" cap="all" spc="163" baseline="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A6E0422-6ECB-43C9-8CFE-4C39AC685875}" type="datetime1">
              <a:rPr lang="en-GB" smtClean="0"/>
              <a:pPr/>
              <a:t>17/01/2019</a:t>
            </a:fld>
            <a:endParaRPr lang="en-GB" dirty="0"/>
          </a:p>
        </p:txBody>
      </p:sp>
      <p:sp>
        <p:nvSpPr>
          <p:cNvPr id="14" name="Text Placeholder 12">
            <a:extLst>
              <a:ext uri="{FF2B5EF4-FFF2-40B4-BE49-F238E27FC236}">
                <a16:creationId xmlns:a16="http://schemas.microsoft.com/office/drawing/2014/main" id="{E05D0D1A-E976-4A24-B1BD-5C996509F013}"/>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F8F5E7"/>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F8F5E7"/>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F8F5E7"/>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20" name="FLD_PresentationTitle">
            <a:extLst>
              <a:ext uri="{FF2B5EF4-FFF2-40B4-BE49-F238E27FC236}">
                <a16:creationId xmlns:a16="http://schemas.microsoft.com/office/drawing/2014/main" id="{6010AB1B-433E-4031-8DFB-ADA77116C149}"/>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F8F5E7"/>
                </a:solidFill>
              </a:defRPr>
            </a:lvl1pPr>
          </a:lstStyle>
          <a:p>
            <a:r>
              <a:rPr lang="en-GB" dirty="0"/>
              <a:t>Footer</a:t>
            </a:r>
          </a:p>
        </p:txBody>
      </p:sp>
      <p:sp>
        <p:nvSpPr>
          <p:cNvPr id="17" name="Freeform: Shape 16">
            <a:extLst>
              <a:ext uri="{FF2B5EF4-FFF2-40B4-BE49-F238E27FC236}">
                <a16:creationId xmlns:a16="http://schemas.microsoft.com/office/drawing/2014/main" id="{54A347B2-2B04-4976-8493-17E06C8319C5}"/>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
        <p:nvSpPr>
          <p:cNvPr id="21" name="Text Placeholder 3">
            <a:extLst>
              <a:ext uri="{FF2B5EF4-FFF2-40B4-BE49-F238E27FC236}">
                <a16:creationId xmlns:a16="http://schemas.microsoft.com/office/drawing/2014/main" id="{2D178788-2F3C-49B6-A086-240D02D44F48}"/>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22" name="Slide Number Placeholder 4">
            <a:extLst>
              <a:ext uri="{FF2B5EF4-FFF2-40B4-BE49-F238E27FC236}">
                <a16:creationId xmlns:a16="http://schemas.microsoft.com/office/drawing/2014/main" id="{D8C9E7F5-0EB3-4074-B7BE-05DFE74A46CD}"/>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2875841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Small">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D267330C-0E27-4490-B9A5-8CC369807CFA}"/>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69874" y="266717"/>
            <a:ext cx="9364664" cy="6327654"/>
          </a:xfrm>
          <a:prstGeom prst="rect">
            <a:avLst/>
          </a:prstGeom>
        </p:spPr>
      </p:pic>
      <p:sp>
        <p:nvSpPr>
          <p:cNvPr id="8" name="Rectangle 7">
            <a:extLst>
              <a:ext uri="{FF2B5EF4-FFF2-40B4-BE49-F238E27FC236}">
                <a16:creationId xmlns:a16="http://schemas.microsoft.com/office/drawing/2014/main" id="{7E59AFDB-E223-470E-8D22-64189D0DE859}"/>
              </a:ext>
            </a:extLst>
          </p:cNvPr>
          <p:cNvSpPr/>
          <p:nvPr userDrawn="1"/>
        </p:nvSpPr>
        <p:spPr>
          <a:xfrm>
            <a:off x="545529" y="3313866"/>
            <a:ext cx="6978315" cy="3544135"/>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GB" sz="1100" noProof="0" dirty="0" err="1">
              <a:solidFill>
                <a:srgbClr val="1F2023"/>
              </a:solidFill>
            </a:endParaRPr>
          </a:p>
        </p:txBody>
      </p:sp>
      <p:sp>
        <p:nvSpPr>
          <p:cNvPr id="19" name="Rectangle 18">
            <a:extLst>
              <a:ext uri="{FF2B5EF4-FFF2-40B4-BE49-F238E27FC236}">
                <a16:creationId xmlns:a16="http://schemas.microsoft.com/office/drawing/2014/main" id="{C3AEB493-9A07-4D62-BC33-B44675629FCD}"/>
              </a:ext>
            </a:extLst>
          </p:cNvPr>
          <p:cNvSpPr/>
          <p:nvPr userDrawn="1"/>
        </p:nvSpPr>
        <p:spPr>
          <a:xfrm>
            <a:off x="0" y="2136618"/>
            <a:ext cx="6581869" cy="4721382"/>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11" name="Title 1">
            <a:extLst>
              <a:ext uri="{FF2B5EF4-FFF2-40B4-BE49-F238E27FC236}">
                <a16:creationId xmlns:a16="http://schemas.microsoft.com/office/drawing/2014/main" id="{4A400803-DD4C-4741-BA21-295DF4FBBDD6}"/>
              </a:ext>
            </a:extLst>
          </p:cNvPr>
          <p:cNvSpPr>
            <a:spLocks noGrp="1"/>
          </p:cNvSpPr>
          <p:nvPr>
            <p:ph type="title" hasCustomPrompt="1"/>
          </p:nvPr>
        </p:nvSpPr>
        <p:spPr>
          <a:xfrm>
            <a:off x="269874" y="3313864"/>
            <a:ext cx="4546601" cy="3002800"/>
          </a:xfrm>
          <a:noFill/>
        </p:spPr>
        <p:txBody>
          <a:bodyPr lIns="0" tIns="0" rIns="0"/>
          <a:lstStyle>
            <a:lvl1pPr>
              <a:lnSpc>
                <a:spcPct val="83000"/>
              </a:lnSpc>
              <a:defRPr sz="4800" cap="all" baseline="0">
                <a:solidFill>
                  <a:srgbClr val="30373B"/>
                </a:solidFill>
                <a:latin typeface="Impact" panose="020B0806030902050204" pitchFamily="34" charset="0"/>
              </a:defRPr>
            </a:lvl1pPr>
          </a:lstStyle>
          <a:p>
            <a:r>
              <a:rPr lang="en-GB" dirty="0"/>
              <a:t>CLICK TO EDIT MASTER TITLE STYLE</a:t>
            </a:r>
          </a:p>
        </p:txBody>
      </p:sp>
      <p:sp>
        <p:nvSpPr>
          <p:cNvPr id="12" name="Text Placeholder 6">
            <a:extLst>
              <a:ext uri="{FF2B5EF4-FFF2-40B4-BE49-F238E27FC236}">
                <a16:creationId xmlns:a16="http://schemas.microsoft.com/office/drawing/2014/main" id="{C07714EE-7627-4E32-98B1-12A8EA78D2BF}"/>
              </a:ext>
            </a:extLst>
          </p:cNvPr>
          <p:cNvSpPr>
            <a:spLocks noGrp="1"/>
          </p:cNvSpPr>
          <p:nvPr>
            <p:ph type="body" sz="quarter" idx="16" hasCustomPrompt="1"/>
          </p:nvPr>
        </p:nvSpPr>
        <p:spPr>
          <a:xfrm>
            <a:off x="269874" y="2633929"/>
            <a:ext cx="4546601" cy="447301"/>
          </a:xfrm>
          <a:noFill/>
        </p:spPr>
        <p:txBody>
          <a:bodyPr rIns="0" anchor="b" anchorCtr="0"/>
          <a:lstStyle>
            <a:lvl1pPr marL="0" indent="0">
              <a:buNone/>
              <a:defRPr sz="2800">
                <a:solidFill>
                  <a:srgbClr val="30373B"/>
                </a:solidFill>
              </a:defRPr>
            </a:lvl1pPr>
          </a:lstStyle>
          <a:p>
            <a:pPr lvl="0"/>
            <a:r>
              <a:rPr lang="en-GB" dirty="0"/>
              <a:t>01</a:t>
            </a:r>
          </a:p>
        </p:txBody>
      </p:sp>
      <p:sp>
        <p:nvSpPr>
          <p:cNvPr id="14" name="Date_GeneralDate" hidden="1">
            <a:extLst>
              <a:ext uri="{FF2B5EF4-FFF2-40B4-BE49-F238E27FC236}">
                <a16:creationId xmlns:a16="http://schemas.microsoft.com/office/drawing/2014/main" id="{13EEEFA2-D345-4540-8827-36283D5932ED}"/>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3" name="Text Placeholder 12">
            <a:extLst>
              <a:ext uri="{FF2B5EF4-FFF2-40B4-BE49-F238E27FC236}">
                <a16:creationId xmlns:a16="http://schemas.microsoft.com/office/drawing/2014/main" id="{E83B4F3C-3309-4DCE-9B6E-8638E0B45E91}"/>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7" name="FLD_PresentationTitle">
            <a:extLst>
              <a:ext uri="{FF2B5EF4-FFF2-40B4-BE49-F238E27FC236}">
                <a16:creationId xmlns:a16="http://schemas.microsoft.com/office/drawing/2014/main" id="{6E01F396-0F99-476F-BE5E-AE5BAE0CE65F}"/>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16" name="Freeform: Shape 15">
            <a:extLst>
              <a:ext uri="{FF2B5EF4-FFF2-40B4-BE49-F238E27FC236}">
                <a16:creationId xmlns:a16="http://schemas.microsoft.com/office/drawing/2014/main" id="{84026F2F-C254-4600-867F-F877C37EA6DD}"/>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GB" dirty="0">
              <a:solidFill>
                <a:srgbClr val="30373B"/>
              </a:solidFill>
            </a:endParaRPr>
          </a:p>
        </p:txBody>
      </p:sp>
      <p:sp>
        <p:nvSpPr>
          <p:cNvPr id="22" name="Text Placeholder 3">
            <a:extLst>
              <a:ext uri="{FF2B5EF4-FFF2-40B4-BE49-F238E27FC236}">
                <a16:creationId xmlns:a16="http://schemas.microsoft.com/office/drawing/2014/main" id="{37387679-15AC-479F-92E8-0F0E1C33D60B}"/>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23" name="Slide Number Placeholder 4">
            <a:extLst>
              <a:ext uri="{FF2B5EF4-FFF2-40B4-BE49-F238E27FC236}">
                <a16:creationId xmlns:a16="http://schemas.microsoft.com/office/drawing/2014/main" id="{EDD2FDA3-F159-491A-A914-5D19F700E29F}"/>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3868754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Image Dark">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69875" y="1556426"/>
            <a:ext cx="4818062" cy="3942085"/>
          </a:xfrm>
          <a:noFill/>
        </p:spPr>
        <p:txBody>
          <a:bodyPr lIns="0" tIns="0" rIns="0"/>
          <a:lstStyle>
            <a:lvl1pPr>
              <a:defRPr sz="7200" cap="all" baseline="0">
                <a:solidFill>
                  <a:srgbClr val="F8F5E7"/>
                </a:solidFill>
                <a:latin typeface="Impact" panose="020B0806030902050204" pitchFamily="34" charset="0"/>
              </a:defRPr>
            </a:lvl1pPr>
          </a:lstStyle>
          <a:p>
            <a:r>
              <a:rPr lang="en-GB" dirty="0"/>
              <a:t>CLICK TO EDIT MASTER TITLE STYLE</a:t>
            </a:r>
          </a:p>
        </p:txBody>
      </p:sp>
      <p:sp>
        <p:nvSpPr>
          <p:cNvPr id="7" name="Text Placeholder 6">
            <a:extLst>
              <a:ext uri="{FF2B5EF4-FFF2-40B4-BE49-F238E27FC236}">
                <a16:creationId xmlns:a16="http://schemas.microsoft.com/office/drawing/2014/main" id="{43E6A12C-68BB-4A46-AD97-9543173E4BFC}"/>
              </a:ext>
            </a:extLst>
          </p:cNvPr>
          <p:cNvSpPr>
            <a:spLocks noGrp="1"/>
          </p:cNvSpPr>
          <p:nvPr>
            <p:ph type="body" sz="quarter" idx="16" hasCustomPrompt="1"/>
          </p:nvPr>
        </p:nvSpPr>
        <p:spPr>
          <a:xfrm>
            <a:off x="269874" y="986118"/>
            <a:ext cx="4546601" cy="447301"/>
          </a:xfrm>
        </p:spPr>
        <p:txBody>
          <a:bodyPr rIns="0" anchor="b" anchorCtr="0"/>
          <a:lstStyle>
            <a:lvl1pPr marL="0" indent="0">
              <a:buNone/>
              <a:defRPr sz="2800">
                <a:solidFill>
                  <a:srgbClr val="F8F5E7"/>
                </a:solidFill>
              </a:defRPr>
            </a:lvl1pPr>
          </a:lstStyle>
          <a:p>
            <a:pPr lvl="0"/>
            <a:r>
              <a:rPr lang="en-GB" dirty="0"/>
              <a:t>01</a:t>
            </a:r>
          </a:p>
        </p:txBody>
      </p:sp>
      <p:sp>
        <p:nvSpPr>
          <p:cNvPr id="11" name="Date_GeneralDate" hidden="1">
            <a:extLst>
              <a:ext uri="{FF2B5EF4-FFF2-40B4-BE49-F238E27FC236}">
                <a16:creationId xmlns:a16="http://schemas.microsoft.com/office/drawing/2014/main" id="{A50787CC-C39B-435B-9E3F-917EDC7EA5C2}"/>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20" name="Picture Placeholder 19">
            <a:extLst>
              <a:ext uri="{FF2B5EF4-FFF2-40B4-BE49-F238E27FC236}">
                <a16:creationId xmlns:a16="http://schemas.microsoft.com/office/drawing/2014/main" id="{D28A0F75-809B-475F-9625-965368680003}"/>
              </a:ext>
            </a:extLst>
          </p:cNvPr>
          <p:cNvSpPr>
            <a:spLocks noGrp="1"/>
          </p:cNvSpPr>
          <p:nvPr>
            <p:ph type="pic" sz="quarter" idx="17"/>
          </p:nvPr>
        </p:nvSpPr>
        <p:spPr>
          <a:xfrm>
            <a:off x="5087937" y="3313867"/>
            <a:ext cx="481806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en-GB" dirty="0"/>
              <a:t>Click icon to add picture</a:t>
            </a:r>
          </a:p>
        </p:txBody>
      </p:sp>
      <p:sp>
        <p:nvSpPr>
          <p:cNvPr id="14" name="FLD_PresentationTitle">
            <a:extLst>
              <a:ext uri="{FF2B5EF4-FFF2-40B4-BE49-F238E27FC236}">
                <a16:creationId xmlns:a16="http://schemas.microsoft.com/office/drawing/2014/main" id="{881808E0-F7C9-4830-A520-938DDB84EEF0}"/>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0" name="Text Placeholder 12">
            <a:extLst>
              <a:ext uri="{FF2B5EF4-FFF2-40B4-BE49-F238E27FC236}">
                <a16:creationId xmlns:a16="http://schemas.microsoft.com/office/drawing/2014/main" id="{8AFC8A4A-07C9-4B11-9A70-1005C5B8FF1C}"/>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21" name="Text Placeholder 3">
            <a:extLst>
              <a:ext uri="{FF2B5EF4-FFF2-40B4-BE49-F238E27FC236}">
                <a16:creationId xmlns:a16="http://schemas.microsoft.com/office/drawing/2014/main" id="{1E873F3F-9ED0-446B-84E5-2AE969243D50}"/>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22" name="Slide Number Placeholder 4">
            <a:extLst>
              <a:ext uri="{FF2B5EF4-FFF2-40B4-BE49-F238E27FC236}">
                <a16:creationId xmlns:a16="http://schemas.microsoft.com/office/drawing/2014/main" id="{6C600DB9-C370-4C2C-A591-A7F4D5B9515E}"/>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1027976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Image ">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40B7F21-6889-46F7-BB5C-8FDE3B947050}"/>
              </a:ext>
            </a:extLst>
          </p:cNvPr>
          <p:cNvSpPr/>
          <p:nvPr userDrawn="1"/>
        </p:nvSpPr>
        <p:spPr>
          <a:xfrm>
            <a:off x="0" y="0"/>
            <a:ext cx="7139587" cy="5498510"/>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69875" y="1556426"/>
            <a:ext cx="4818062" cy="3942085"/>
          </a:xfrm>
          <a:noFill/>
        </p:spPr>
        <p:txBody>
          <a:bodyPr lIns="0" tIns="0" rIns="0"/>
          <a:lstStyle>
            <a:lvl1pPr>
              <a:defRPr sz="7200" cap="all" baseline="0">
                <a:solidFill>
                  <a:srgbClr val="30373B"/>
                </a:solidFill>
                <a:latin typeface="Impact" panose="020B0806030902050204" pitchFamily="34" charset="0"/>
              </a:defRPr>
            </a:lvl1pPr>
          </a:lstStyle>
          <a:p>
            <a:r>
              <a:rPr lang="en-GB" dirty="0"/>
              <a:t>CLICK TO EDIT MASTER TITLE STYLE</a:t>
            </a:r>
          </a:p>
        </p:txBody>
      </p:sp>
      <p:sp>
        <p:nvSpPr>
          <p:cNvPr id="7" name="Text Placeholder 6">
            <a:extLst>
              <a:ext uri="{FF2B5EF4-FFF2-40B4-BE49-F238E27FC236}">
                <a16:creationId xmlns:a16="http://schemas.microsoft.com/office/drawing/2014/main" id="{43E6A12C-68BB-4A46-AD97-9543173E4BFC}"/>
              </a:ext>
            </a:extLst>
          </p:cNvPr>
          <p:cNvSpPr>
            <a:spLocks noGrp="1"/>
          </p:cNvSpPr>
          <p:nvPr>
            <p:ph type="body" sz="quarter" idx="16" hasCustomPrompt="1"/>
          </p:nvPr>
        </p:nvSpPr>
        <p:spPr>
          <a:xfrm>
            <a:off x="269874" y="986118"/>
            <a:ext cx="4546601" cy="447301"/>
          </a:xfrm>
        </p:spPr>
        <p:txBody>
          <a:bodyPr rIns="0" anchor="b" anchorCtr="0"/>
          <a:lstStyle>
            <a:lvl1pPr marL="0" indent="0">
              <a:buNone/>
              <a:defRPr sz="2800">
                <a:solidFill>
                  <a:srgbClr val="30373B"/>
                </a:solidFill>
              </a:defRPr>
            </a:lvl1pPr>
          </a:lstStyle>
          <a:p>
            <a:pPr lvl="0"/>
            <a:r>
              <a:rPr lang="en-GB" dirty="0"/>
              <a:t>01</a:t>
            </a:r>
          </a:p>
        </p:txBody>
      </p:sp>
      <p:sp>
        <p:nvSpPr>
          <p:cNvPr id="11" name="Date_GeneralDate" hidden="1">
            <a:extLst>
              <a:ext uri="{FF2B5EF4-FFF2-40B4-BE49-F238E27FC236}">
                <a16:creationId xmlns:a16="http://schemas.microsoft.com/office/drawing/2014/main" id="{A50787CC-C39B-435B-9E3F-917EDC7EA5C2}"/>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6" name="Picture Placeholder 15">
            <a:extLst>
              <a:ext uri="{FF2B5EF4-FFF2-40B4-BE49-F238E27FC236}">
                <a16:creationId xmlns:a16="http://schemas.microsoft.com/office/drawing/2014/main" id="{A59E3657-65EB-4AC9-A889-2F2DCA5DEF14}"/>
              </a:ext>
            </a:extLst>
          </p:cNvPr>
          <p:cNvSpPr>
            <a:spLocks noGrp="1"/>
          </p:cNvSpPr>
          <p:nvPr>
            <p:ph type="pic" sz="quarter" idx="17"/>
          </p:nvPr>
        </p:nvSpPr>
        <p:spPr>
          <a:xfrm>
            <a:off x="5087937" y="3313867"/>
            <a:ext cx="4818064" cy="3544134"/>
          </a:xfrm>
          <a:custGeom>
            <a:avLst/>
            <a:gdLst>
              <a:gd name="connsiteX0" fmla="*/ 2051650 w 4818064"/>
              <a:gd name="connsiteY0" fmla="*/ 0 h 3544134"/>
              <a:gd name="connsiteX1" fmla="*/ 4818064 w 4818064"/>
              <a:gd name="connsiteY1" fmla="*/ 0 h 3544134"/>
              <a:gd name="connsiteX2" fmla="*/ 4818064 w 4818064"/>
              <a:gd name="connsiteY2" fmla="*/ 3544134 h 3544134"/>
              <a:gd name="connsiteX3" fmla="*/ 0 w 4818064"/>
              <a:gd name="connsiteY3" fmla="*/ 3544134 h 3544134"/>
              <a:gd name="connsiteX4" fmla="*/ 0 w 4818064"/>
              <a:gd name="connsiteY4" fmla="*/ 2184643 h 3544134"/>
              <a:gd name="connsiteX5" fmla="*/ 2051650 w 4818064"/>
              <a:gd name="connsiteY5" fmla="*/ 2184643 h 354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18064" h="3544134">
                <a:moveTo>
                  <a:pt x="2051650" y="0"/>
                </a:moveTo>
                <a:lnTo>
                  <a:pt x="4818064" y="0"/>
                </a:lnTo>
                <a:lnTo>
                  <a:pt x="4818064" y="3544134"/>
                </a:lnTo>
                <a:lnTo>
                  <a:pt x="0" y="3544134"/>
                </a:lnTo>
                <a:lnTo>
                  <a:pt x="0" y="2184643"/>
                </a:lnTo>
                <a:lnTo>
                  <a:pt x="2051650" y="2184643"/>
                </a:lnTo>
                <a:close/>
              </a:path>
            </a:pathLst>
          </a:custGeom>
          <a:solidFill>
            <a:srgbClr val="F3F2F0"/>
          </a:solidFill>
        </p:spPr>
        <p:txBody>
          <a:bodyPr wrap="square" tIns="0" rIns="792000" anchor="ctr" anchorCtr="0">
            <a:noAutofit/>
          </a:bodyPr>
          <a:lstStyle>
            <a:lvl1pPr marL="0" indent="0" algn="r">
              <a:buNone/>
              <a:defRPr>
                <a:solidFill>
                  <a:schemeClr val="tx1"/>
                </a:solidFill>
              </a:defRPr>
            </a:lvl1pPr>
          </a:lstStyle>
          <a:p>
            <a:r>
              <a:rPr lang="en-GB" dirty="0"/>
              <a:t>Click icon to add picture</a:t>
            </a:r>
          </a:p>
        </p:txBody>
      </p:sp>
      <p:sp>
        <p:nvSpPr>
          <p:cNvPr id="10" name="Text Placeholder 12">
            <a:extLst>
              <a:ext uri="{FF2B5EF4-FFF2-40B4-BE49-F238E27FC236}">
                <a16:creationId xmlns:a16="http://schemas.microsoft.com/office/drawing/2014/main" id="{8AFC8A4A-07C9-4B11-9A70-1005C5B8FF1C}"/>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4" name="FLD_PresentationTitle">
            <a:extLst>
              <a:ext uri="{FF2B5EF4-FFF2-40B4-BE49-F238E27FC236}">
                <a16:creationId xmlns:a16="http://schemas.microsoft.com/office/drawing/2014/main" id="{881808E0-F7C9-4830-A520-938DDB84EEF0}"/>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8" name="Text Placeholder 3">
            <a:extLst>
              <a:ext uri="{FF2B5EF4-FFF2-40B4-BE49-F238E27FC236}">
                <a16:creationId xmlns:a16="http://schemas.microsoft.com/office/drawing/2014/main" id="{B9040B11-6DF1-416B-9C6E-E874EEB9508C}"/>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9" name="Slide Number Placeholder 4">
            <a:extLst>
              <a:ext uri="{FF2B5EF4-FFF2-40B4-BE49-F238E27FC236}">
                <a16:creationId xmlns:a16="http://schemas.microsoft.com/office/drawing/2014/main" id="{6DB02FFD-222C-4099-B892-B54C0B21BFEF}"/>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123546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mage Background Dark Text">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69875" y="269875"/>
            <a:ext cx="8855590" cy="1912010"/>
          </a:xfrm>
          <a:noFill/>
        </p:spPr>
        <p:txBody>
          <a:bodyPr lIns="0" tIns="0" rIns="0"/>
          <a:lstStyle>
            <a:lvl1pPr>
              <a:defRPr sz="7200" cap="all" baseline="0">
                <a:solidFill>
                  <a:srgbClr val="30373B"/>
                </a:solidFill>
                <a:latin typeface="Impact" panose="020B0806030902050204" pitchFamily="34" charset="0"/>
              </a:defRPr>
            </a:lvl1pPr>
          </a:lstStyle>
          <a:p>
            <a:r>
              <a:rPr lang="en-GB" dirty="0"/>
              <a:t>CLICK TO EDIT MASTER TITLE STYLE</a:t>
            </a:r>
          </a:p>
        </p:txBody>
      </p:sp>
      <p:sp>
        <p:nvSpPr>
          <p:cNvPr id="9" name="Date_GeneralDate" hidden="1">
            <a:extLst>
              <a:ext uri="{FF2B5EF4-FFF2-40B4-BE49-F238E27FC236}">
                <a16:creationId xmlns:a16="http://schemas.microsoft.com/office/drawing/2014/main" id="{240BC768-C5BF-4938-AD6D-6B4F9A6044C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2" name="Text Placeholder 12">
            <a:extLst>
              <a:ext uri="{FF2B5EF4-FFF2-40B4-BE49-F238E27FC236}">
                <a16:creationId xmlns:a16="http://schemas.microsoft.com/office/drawing/2014/main" id="{3D5E3A00-D9B4-4091-ADDE-3CB649156522}"/>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5" name="FLD_PresentationTitle">
            <a:extLst>
              <a:ext uri="{FF2B5EF4-FFF2-40B4-BE49-F238E27FC236}">
                <a16:creationId xmlns:a16="http://schemas.microsoft.com/office/drawing/2014/main" id="{D65B832A-D7FB-4C3D-83D3-AF6D01B9D449}"/>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1" name="Text Placeholder 3">
            <a:extLst>
              <a:ext uri="{FF2B5EF4-FFF2-40B4-BE49-F238E27FC236}">
                <a16:creationId xmlns:a16="http://schemas.microsoft.com/office/drawing/2014/main" id="{6A01C114-5445-4D95-9191-D6492DEA4582}"/>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3" name="Slide Number Placeholder 4">
            <a:extLst>
              <a:ext uri="{FF2B5EF4-FFF2-40B4-BE49-F238E27FC236}">
                <a16:creationId xmlns:a16="http://schemas.microsoft.com/office/drawing/2014/main" id="{2E036CC1-0BCC-4A4D-8ACA-796A2590C657}"/>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250139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Background">
    <p:spTree>
      <p:nvGrpSpPr>
        <p:cNvPr id="1" name=""/>
        <p:cNvGrpSpPr/>
        <p:nvPr/>
      </p:nvGrpSpPr>
      <p:grpSpPr>
        <a:xfrm>
          <a:off x="0" y="0"/>
          <a:ext cx="0" cy="0"/>
          <a:chOff x="0" y="0"/>
          <a:chExt cx="0" cy="0"/>
        </a:xfrm>
      </p:grpSpPr>
      <p:sp>
        <p:nvSpPr>
          <p:cNvPr id="8" name="Picture Placeholder 13">
            <a:extLst>
              <a:ext uri="{FF2B5EF4-FFF2-40B4-BE49-F238E27FC236}">
                <a16:creationId xmlns:a16="http://schemas.microsoft.com/office/drawing/2014/main" id="{C4CFC32D-2211-4E39-9B91-7B77BE0D1016}"/>
              </a:ext>
            </a:extLst>
          </p:cNvPr>
          <p:cNvSpPr>
            <a:spLocks noGrp="1"/>
          </p:cNvSpPr>
          <p:nvPr>
            <p:ph type="pic" sz="quarter" idx="15"/>
          </p:nvPr>
        </p:nvSpPr>
        <p:spPr>
          <a:xfrm>
            <a:off x="0" y="1"/>
            <a:ext cx="9906001" cy="6858000"/>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2" name="Title 1">
            <a:extLst>
              <a:ext uri="{FF2B5EF4-FFF2-40B4-BE49-F238E27FC236}">
                <a16:creationId xmlns:a16="http://schemas.microsoft.com/office/drawing/2014/main" id="{D2949D33-2E01-4246-97EA-A41F8450A052}"/>
              </a:ext>
            </a:extLst>
          </p:cNvPr>
          <p:cNvSpPr>
            <a:spLocks noGrp="1"/>
          </p:cNvSpPr>
          <p:nvPr>
            <p:ph type="title" hasCustomPrompt="1"/>
          </p:nvPr>
        </p:nvSpPr>
        <p:spPr>
          <a:xfrm>
            <a:off x="269875" y="269875"/>
            <a:ext cx="8855590" cy="1912010"/>
          </a:xfrm>
          <a:noFill/>
        </p:spPr>
        <p:txBody>
          <a:bodyPr lIns="0" tIns="0" rIns="0"/>
          <a:lstStyle>
            <a:lvl1pPr>
              <a:defRPr sz="7200" cap="all" baseline="0">
                <a:solidFill>
                  <a:schemeClr val="bg1"/>
                </a:solidFill>
                <a:latin typeface="Impact" panose="020B0806030902050204" pitchFamily="34" charset="0"/>
              </a:defRPr>
            </a:lvl1pPr>
          </a:lstStyle>
          <a:p>
            <a:r>
              <a:rPr lang="en-GB" dirty="0"/>
              <a:t>CLICK TO EDIT MASTER TITLE STYLE</a:t>
            </a:r>
          </a:p>
        </p:txBody>
      </p:sp>
      <p:sp>
        <p:nvSpPr>
          <p:cNvPr id="9" name="Date_GeneralDate" hidden="1">
            <a:extLst>
              <a:ext uri="{FF2B5EF4-FFF2-40B4-BE49-F238E27FC236}">
                <a16:creationId xmlns:a16="http://schemas.microsoft.com/office/drawing/2014/main" id="{8A19DEDE-3C5C-4852-B411-20E9DD26DD1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2" name="Text Placeholder 12">
            <a:extLst>
              <a:ext uri="{FF2B5EF4-FFF2-40B4-BE49-F238E27FC236}">
                <a16:creationId xmlns:a16="http://schemas.microsoft.com/office/drawing/2014/main" id="{9BFB271B-C35F-4060-AF97-0915956969FF}"/>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bg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bg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bg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5" name="FLD_PresentationTitle">
            <a:extLst>
              <a:ext uri="{FF2B5EF4-FFF2-40B4-BE49-F238E27FC236}">
                <a16:creationId xmlns:a16="http://schemas.microsoft.com/office/drawing/2014/main" id="{6FBA9D73-BE8D-462C-9033-1CCB610E2FBC}"/>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chemeClr val="bg1"/>
                </a:solidFill>
              </a:defRPr>
            </a:lvl1pPr>
          </a:lstStyle>
          <a:p>
            <a:r>
              <a:rPr lang="en-GB" dirty="0"/>
              <a:t>Footer</a:t>
            </a:r>
          </a:p>
        </p:txBody>
      </p:sp>
      <p:sp>
        <p:nvSpPr>
          <p:cNvPr id="11" name="Text Placeholder 3">
            <a:extLst>
              <a:ext uri="{FF2B5EF4-FFF2-40B4-BE49-F238E27FC236}">
                <a16:creationId xmlns:a16="http://schemas.microsoft.com/office/drawing/2014/main" id="{5F2F5A42-514E-432B-82EF-70E2BF65C474}"/>
              </a:ext>
            </a:extLst>
          </p:cNvPr>
          <p:cNvSpPr>
            <a:spLocks noGrp="1"/>
          </p:cNvSpPr>
          <p:nvPr>
            <p:ph type="body" sz="quarter" idx="14" hasCustomPrompt="1"/>
          </p:nvPr>
        </p:nvSpPr>
        <p:spPr>
          <a:xfrm>
            <a:off x="7209383" y="6504110"/>
            <a:ext cx="1978862" cy="106116"/>
          </a:xfrm>
        </p:spPr>
        <p:txBody>
          <a:bodyPr rIns="0"/>
          <a:lstStyle>
            <a:lvl1pPr algn="r">
              <a:defRPr sz="650">
                <a:solidFill>
                  <a:schemeClr val="bg1"/>
                </a:solidFill>
              </a:defRPr>
            </a:lvl1pPr>
            <a:lvl2pPr>
              <a:defRPr sz="650"/>
            </a:lvl2pPr>
            <a:lvl3pPr>
              <a:defRPr sz="650"/>
            </a:lvl3pPr>
            <a:lvl4pPr>
              <a:defRPr sz="650"/>
            </a:lvl4pPr>
            <a:lvl5pPr>
              <a:defRPr sz="650"/>
            </a:lvl5pPr>
          </a:lstStyle>
          <a:p>
            <a:pPr lvl="0"/>
            <a:r>
              <a:rPr lang="en-GB" dirty="0"/>
              <a:t>Tracker</a:t>
            </a:r>
          </a:p>
        </p:txBody>
      </p:sp>
      <p:sp>
        <p:nvSpPr>
          <p:cNvPr id="13" name="Slide Number Placeholder 4">
            <a:extLst>
              <a:ext uri="{FF2B5EF4-FFF2-40B4-BE49-F238E27FC236}">
                <a16:creationId xmlns:a16="http://schemas.microsoft.com/office/drawing/2014/main" id="{562AB11D-C043-4C66-BBDE-B59A269763FE}"/>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chemeClr val="bg1"/>
                </a:solidFill>
              </a:rPr>
              <a:pPr/>
              <a:t>‹#›</a:t>
            </a:fld>
            <a:endParaRPr lang="en-GB" dirty="0">
              <a:solidFill>
                <a:schemeClr val="bg1"/>
              </a:solidFill>
            </a:endParaRPr>
          </a:p>
        </p:txBody>
      </p:sp>
    </p:spTree>
    <p:extLst>
      <p:ext uri="{BB962C8B-B14F-4D97-AF65-F5344CB8AC3E}">
        <p14:creationId xmlns:p14="http://schemas.microsoft.com/office/powerpoint/2010/main" val="1402337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Dark Textbox">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D343B608-0FA4-40B1-89C1-0CF1E0680D77}"/>
              </a:ext>
            </a:extLst>
          </p:cNvPr>
          <p:cNvSpPr>
            <a:spLocks noGrp="1"/>
          </p:cNvSpPr>
          <p:nvPr>
            <p:ph type="pic" sz="quarter" idx="17"/>
          </p:nvPr>
        </p:nvSpPr>
        <p:spPr>
          <a:xfrm>
            <a:off x="0" y="269875"/>
            <a:ext cx="9364663" cy="6588125"/>
          </a:xfrm>
          <a:custGeom>
            <a:avLst/>
            <a:gdLst>
              <a:gd name="connsiteX0" fmla="*/ 0 w 9364663"/>
              <a:gd name="connsiteY0" fmla="*/ 0 h 6588125"/>
              <a:gd name="connsiteX1" fmla="*/ 5086351 w 9364663"/>
              <a:gd name="connsiteY1" fmla="*/ 0 h 6588125"/>
              <a:gd name="connsiteX2" fmla="*/ 5086351 w 9364663"/>
              <a:gd name="connsiteY2" fmla="*/ 1354137 h 6588125"/>
              <a:gd name="connsiteX3" fmla="*/ 9364663 w 9364663"/>
              <a:gd name="connsiteY3" fmla="*/ 1354137 h 6588125"/>
              <a:gd name="connsiteX4" fmla="*/ 9364663 w 9364663"/>
              <a:gd name="connsiteY4" fmla="*/ 6588125 h 6588125"/>
              <a:gd name="connsiteX5" fmla="*/ 0 w 9364663"/>
              <a:gd name="connsiteY5" fmla="*/ 6588125 h 658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64663" h="6588125">
                <a:moveTo>
                  <a:pt x="0" y="0"/>
                </a:moveTo>
                <a:lnTo>
                  <a:pt x="5086351" y="0"/>
                </a:lnTo>
                <a:lnTo>
                  <a:pt x="5086351" y="1354137"/>
                </a:lnTo>
                <a:lnTo>
                  <a:pt x="9364663" y="1354137"/>
                </a:lnTo>
                <a:lnTo>
                  <a:pt x="9364663" y="6588125"/>
                </a:lnTo>
                <a:lnTo>
                  <a:pt x="0" y="6588125"/>
                </a:lnTo>
                <a:close/>
              </a:path>
            </a:pathLst>
          </a:custGeo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8" name="Rectangle 7">
            <a:extLst>
              <a:ext uri="{FF2B5EF4-FFF2-40B4-BE49-F238E27FC236}">
                <a16:creationId xmlns:a16="http://schemas.microsoft.com/office/drawing/2014/main" id="{D0D61EF6-1807-425E-9C9E-B107D160B050}"/>
              </a:ext>
            </a:extLst>
          </p:cNvPr>
          <p:cNvSpPr/>
          <p:nvPr userDrawn="1"/>
        </p:nvSpPr>
        <p:spPr>
          <a:xfrm>
            <a:off x="5086351" y="-1"/>
            <a:ext cx="4819650" cy="1624013"/>
          </a:xfrm>
          <a:prstGeom prst="rect">
            <a:avLst/>
          </a:prstGeom>
          <a:solidFill>
            <a:srgbClr val="2F36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p>
        </p:txBody>
      </p:sp>
      <p:sp>
        <p:nvSpPr>
          <p:cNvPr id="14" name="Text Placeholder 13">
            <a:extLst>
              <a:ext uri="{FF2B5EF4-FFF2-40B4-BE49-F238E27FC236}">
                <a16:creationId xmlns:a16="http://schemas.microsoft.com/office/drawing/2014/main" id="{8D9247E0-37AB-42BC-A6FE-9A2EC4183374}"/>
              </a:ext>
            </a:extLst>
          </p:cNvPr>
          <p:cNvSpPr>
            <a:spLocks noGrp="1"/>
          </p:cNvSpPr>
          <p:nvPr>
            <p:ph type="body" sz="quarter" idx="16"/>
          </p:nvPr>
        </p:nvSpPr>
        <p:spPr>
          <a:xfrm>
            <a:off x="5352837" y="269875"/>
            <a:ext cx="4011826" cy="860282"/>
          </a:xfrm>
        </p:spPr>
        <p:txBody>
          <a:bodyPr/>
          <a:lstStyle>
            <a:lvl1pPr marL="0" indent="0">
              <a:spcBef>
                <a:spcPts val="0"/>
              </a:spcBef>
              <a:buFont typeface="Arial" panose="020B0604020202020204" pitchFamily="34" charset="0"/>
              <a:buChar char="​"/>
              <a:defRPr sz="1400">
                <a:solidFill>
                  <a:srgbClr val="F8F5E7"/>
                </a:solidFill>
              </a:defRPr>
            </a:lvl1pPr>
          </a:lstStyle>
          <a:p>
            <a:pPr lvl="0"/>
            <a:r>
              <a:rPr lang="en-GB" dirty="0"/>
              <a:t>Edit Master text styles</a:t>
            </a:r>
          </a:p>
        </p:txBody>
      </p:sp>
      <p:sp>
        <p:nvSpPr>
          <p:cNvPr id="18" name="Text Placeholder 12">
            <a:extLst>
              <a:ext uri="{FF2B5EF4-FFF2-40B4-BE49-F238E27FC236}">
                <a16:creationId xmlns:a16="http://schemas.microsoft.com/office/drawing/2014/main" id="{BA94D65D-0D89-4B41-9D9D-B55EE8E8D8AB}"/>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9" name="FLD_PresentationTitle">
            <a:extLst>
              <a:ext uri="{FF2B5EF4-FFF2-40B4-BE49-F238E27FC236}">
                <a16:creationId xmlns:a16="http://schemas.microsoft.com/office/drawing/2014/main" id="{A6CB7386-DB66-4D14-B19B-CD45E9817902}"/>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1" name="Text Placeholder 3">
            <a:extLst>
              <a:ext uri="{FF2B5EF4-FFF2-40B4-BE49-F238E27FC236}">
                <a16:creationId xmlns:a16="http://schemas.microsoft.com/office/drawing/2014/main" id="{6FB3715E-2BA3-455E-A281-F893DA70DABC}"/>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2" name="Slide Number Placeholder 4">
            <a:extLst>
              <a:ext uri="{FF2B5EF4-FFF2-40B4-BE49-F238E27FC236}">
                <a16:creationId xmlns:a16="http://schemas.microsoft.com/office/drawing/2014/main" id="{645C0B25-FD42-4348-BDDC-107FE524D468}"/>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
        <p:nvSpPr>
          <p:cNvPr id="15" name="Freeform: Shape 14">
            <a:extLst>
              <a:ext uri="{FF2B5EF4-FFF2-40B4-BE49-F238E27FC236}">
                <a16:creationId xmlns:a16="http://schemas.microsoft.com/office/drawing/2014/main" id="{50D21EC2-DC50-413D-9B1D-B5581B3CB8FB}"/>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bg1"/>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934479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252087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Billede 2"/>
          <p:cNvPicPr>
            <a:picLocks noChangeAspect="1"/>
          </p:cNvPicPr>
          <p:nvPr userDrawn="1"/>
        </p:nvPicPr>
        <p:blipFill rotWithShape="1">
          <a:blip r:embed="rId6" cstate="screen">
            <a:extLst>
              <a:ext uri="{28A0092B-C50C-407E-A947-70E740481C1C}">
                <a14:useLocalDpi xmlns:a14="http://schemas.microsoft.com/office/drawing/2010/main"/>
              </a:ext>
            </a:extLst>
          </a:blip>
          <a:srcRect t="2087" r="3314" b="8658"/>
          <a:stretch/>
        </p:blipFill>
        <p:spPr>
          <a:xfrm>
            <a:off x="0" y="1"/>
            <a:ext cx="9906000" cy="6858000"/>
          </a:xfrm>
          <a:prstGeom prst="rect">
            <a:avLst/>
          </a:prstGeom>
        </p:spPr>
      </p:pic>
      <p:sp>
        <p:nvSpPr>
          <p:cNvPr id="2" name="Title 1"/>
          <p:cNvSpPr>
            <a:spLocks noGrp="1"/>
          </p:cNvSpPr>
          <p:nvPr>
            <p:ph type="ctrTitle" hasCustomPrompt="1"/>
          </p:nvPr>
        </p:nvSpPr>
        <p:spPr>
          <a:xfrm rot="511770">
            <a:off x="3333118" y="3628565"/>
            <a:ext cx="5492054" cy="800219"/>
          </a:xfrm>
        </p:spPr>
        <p:txBody>
          <a:bodyPr lIns="0" tIns="0" rIns="0" bIns="0" anchor="b" anchorCtr="0">
            <a:noAutofit/>
          </a:bodyPr>
          <a:lstStyle>
            <a:lvl1pPr algn="l">
              <a:defRPr sz="2600" b="0" baseline="0">
                <a:solidFill>
                  <a:schemeClr val="tx1"/>
                </a:solidFill>
                <a:latin typeface="Georgia" pitchFamily="18" charset="0"/>
                <a:cs typeface="Arial" pitchFamily="34" charset="0"/>
              </a:defRPr>
            </a:lvl1pPr>
          </a:lstStyle>
          <a:p>
            <a:r>
              <a:rPr lang="en-GB" noProof="0" dirty="0"/>
              <a:t>Write your title here</a:t>
            </a:r>
            <a:br>
              <a:rPr lang="en-GB" noProof="0" dirty="0"/>
            </a:br>
            <a:r>
              <a:rPr lang="en-GB" noProof="0" dirty="0"/>
              <a:t>(max. 2 lines)</a:t>
            </a:r>
          </a:p>
        </p:txBody>
      </p:sp>
      <p:sp>
        <p:nvSpPr>
          <p:cNvPr id="3" name="Subtitle 2"/>
          <p:cNvSpPr>
            <a:spLocks noGrp="1"/>
          </p:cNvSpPr>
          <p:nvPr>
            <p:ph type="subTitle" idx="1" hasCustomPrompt="1"/>
          </p:nvPr>
        </p:nvSpPr>
        <p:spPr>
          <a:xfrm rot="511770">
            <a:off x="3417561" y="3341890"/>
            <a:ext cx="5485506" cy="215444"/>
          </a:xfrm>
        </p:spPr>
        <p:txBody>
          <a:bodyPr lIns="0" tIns="0" rIns="0" bIns="0">
            <a:noAutofit/>
          </a:bodyPr>
          <a:lstStyle>
            <a:lvl1pPr marL="0" indent="0" algn="l">
              <a:buNone/>
              <a:defRPr sz="1400" cap="all"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Date and place (</a:t>
            </a:r>
            <a:r>
              <a:rPr lang="en-GB" noProof="0" dirty="0" err="1"/>
              <a:t>fx</a:t>
            </a:r>
            <a:r>
              <a:rPr lang="en-GB" noProof="0" dirty="0"/>
              <a:t> 1 January 2016)</a:t>
            </a:r>
          </a:p>
        </p:txBody>
      </p:sp>
      <p:sp>
        <p:nvSpPr>
          <p:cNvPr id="8" name="Text Placeholder 7"/>
          <p:cNvSpPr>
            <a:spLocks noGrp="1"/>
          </p:cNvSpPr>
          <p:nvPr>
            <p:ph type="body" sz="quarter" idx="10" hasCustomPrompt="1"/>
          </p:nvPr>
        </p:nvSpPr>
        <p:spPr>
          <a:xfrm rot="511770">
            <a:off x="3244842" y="4483455"/>
            <a:ext cx="5495930" cy="215444"/>
          </a:xfrm>
        </p:spPr>
        <p:txBody>
          <a:bodyPr wrap="square">
            <a:spAutoFit/>
          </a:bodyPr>
          <a:lstStyle>
            <a:lvl1pPr>
              <a:defRPr sz="1400" baseline="0">
                <a:solidFill>
                  <a:schemeClr val="accent4"/>
                </a:solidFill>
                <a:latin typeface="+mn-lt"/>
              </a:defRPr>
            </a:lvl1pPr>
          </a:lstStyle>
          <a:p>
            <a:pPr lvl="0"/>
            <a:r>
              <a:rPr lang="en-GB" noProof="0" dirty="0"/>
              <a:t>Write your subtitle here </a:t>
            </a:r>
          </a:p>
        </p:txBody>
      </p:sp>
      <p:pic>
        <p:nvPicPr>
          <p:cNvPr id="16" name="Picture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799770" y="6148388"/>
            <a:ext cx="1690305" cy="360000"/>
          </a:xfrm>
          <a:prstGeom prst="rect">
            <a:avLst/>
          </a:prstGeom>
        </p:spPr>
      </p:pic>
    </p:spTree>
    <p:extLst>
      <p:ext uri="{BB962C8B-B14F-4D97-AF65-F5344CB8AC3E}">
        <p14:creationId xmlns:p14="http://schemas.microsoft.com/office/powerpoint/2010/main" val="20221296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Textbox">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FB0555E2-BD0C-4A02-AD4E-32867D49F757}"/>
              </a:ext>
            </a:extLst>
          </p:cNvPr>
          <p:cNvSpPr>
            <a:spLocks noGrp="1"/>
          </p:cNvSpPr>
          <p:nvPr>
            <p:ph type="pic" sz="quarter" idx="17"/>
          </p:nvPr>
        </p:nvSpPr>
        <p:spPr>
          <a:xfrm>
            <a:off x="0" y="269875"/>
            <a:ext cx="9364663" cy="6588125"/>
          </a:xfrm>
          <a:custGeom>
            <a:avLst/>
            <a:gdLst>
              <a:gd name="connsiteX0" fmla="*/ 0 w 9364663"/>
              <a:gd name="connsiteY0" fmla="*/ 0 h 6588125"/>
              <a:gd name="connsiteX1" fmla="*/ 5086351 w 9364663"/>
              <a:gd name="connsiteY1" fmla="*/ 0 h 6588125"/>
              <a:gd name="connsiteX2" fmla="*/ 5086351 w 9364663"/>
              <a:gd name="connsiteY2" fmla="*/ 1354137 h 6588125"/>
              <a:gd name="connsiteX3" fmla="*/ 9364663 w 9364663"/>
              <a:gd name="connsiteY3" fmla="*/ 1354137 h 6588125"/>
              <a:gd name="connsiteX4" fmla="*/ 9364663 w 9364663"/>
              <a:gd name="connsiteY4" fmla="*/ 6588125 h 6588125"/>
              <a:gd name="connsiteX5" fmla="*/ 0 w 9364663"/>
              <a:gd name="connsiteY5" fmla="*/ 6588125 h 6588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364663" h="6588125">
                <a:moveTo>
                  <a:pt x="0" y="0"/>
                </a:moveTo>
                <a:lnTo>
                  <a:pt x="5086351" y="0"/>
                </a:lnTo>
                <a:lnTo>
                  <a:pt x="5086351" y="1354137"/>
                </a:lnTo>
                <a:lnTo>
                  <a:pt x="9364663" y="1354137"/>
                </a:lnTo>
                <a:lnTo>
                  <a:pt x="9364663" y="6588125"/>
                </a:lnTo>
                <a:lnTo>
                  <a:pt x="0" y="6588125"/>
                </a:lnTo>
                <a:close/>
              </a:path>
            </a:pathLst>
          </a:custGeo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22" name="Rectangle 21">
            <a:extLst>
              <a:ext uri="{FF2B5EF4-FFF2-40B4-BE49-F238E27FC236}">
                <a16:creationId xmlns:a16="http://schemas.microsoft.com/office/drawing/2014/main" id="{C4155A6E-F306-4973-AF27-C9AE5B9B53A6}"/>
              </a:ext>
            </a:extLst>
          </p:cNvPr>
          <p:cNvSpPr/>
          <p:nvPr userDrawn="1"/>
        </p:nvSpPr>
        <p:spPr>
          <a:xfrm>
            <a:off x="5086351" y="-1"/>
            <a:ext cx="4819650" cy="1624013"/>
          </a:xfrm>
          <a:prstGeom prst="rect">
            <a:avLst/>
          </a:prstGeom>
          <a:solidFill>
            <a:srgbClr val="E2DE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p>
        </p:txBody>
      </p:sp>
      <p:sp>
        <p:nvSpPr>
          <p:cNvPr id="14" name="Text Placeholder 13">
            <a:extLst>
              <a:ext uri="{FF2B5EF4-FFF2-40B4-BE49-F238E27FC236}">
                <a16:creationId xmlns:a16="http://schemas.microsoft.com/office/drawing/2014/main" id="{8D9247E0-37AB-42BC-A6FE-9A2EC4183374}"/>
              </a:ext>
            </a:extLst>
          </p:cNvPr>
          <p:cNvSpPr>
            <a:spLocks noGrp="1"/>
          </p:cNvSpPr>
          <p:nvPr>
            <p:ph type="body" sz="quarter" idx="16"/>
          </p:nvPr>
        </p:nvSpPr>
        <p:spPr>
          <a:xfrm>
            <a:off x="5352837" y="269875"/>
            <a:ext cx="4011826" cy="860282"/>
          </a:xfrm>
        </p:spPr>
        <p:txBody>
          <a:bodyPr/>
          <a:lstStyle>
            <a:lvl1pPr marL="0" indent="0">
              <a:spcBef>
                <a:spcPts val="0"/>
              </a:spcBef>
              <a:buFont typeface="Arial" panose="020B0604020202020204" pitchFamily="34" charset="0"/>
              <a:buChar char="​"/>
              <a:defRPr sz="1400">
                <a:solidFill>
                  <a:srgbClr val="30373B"/>
                </a:solidFill>
              </a:defRPr>
            </a:lvl1pPr>
          </a:lstStyle>
          <a:p>
            <a:pPr lvl="0"/>
            <a:r>
              <a:rPr lang="en-GB" dirty="0"/>
              <a:t>Edit Master text styles</a:t>
            </a:r>
          </a:p>
        </p:txBody>
      </p:sp>
      <p:sp>
        <p:nvSpPr>
          <p:cNvPr id="11" name="Date_GeneralDate" hidden="1">
            <a:extLst>
              <a:ext uri="{FF2B5EF4-FFF2-40B4-BE49-F238E27FC236}">
                <a16:creationId xmlns:a16="http://schemas.microsoft.com/office/drawing/2014/main" id="{DEE51496-9F86-4355-932C-1E122ECAF85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8" name="Text Placeholder 12">
            <a:extLst>
              <a:ext uri="{FF2B5EF4-FFF2-40B4-BE49-F238E27FC236}">
                <a16:creationId xmlns:a16="http://schemas.microsoft.com/office/drawing/2014/main" id="{0A3B9354-6E86-4CEE-9309-8C3EC6622396}"/>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20" name="FLD_PresentationTitle">
            <a:extLst>
              <a:ext uri="{FF2B5EF4-FFF2-40B4-BE49-F238E27FC236}">
                <a16:creationId xmlns:a16="http://schemas.microsoft.com/office/drawing/2014/main" id="{136F1BD7-25F9-43E4-B279-41F77ED3D573}"/>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5" name="Text Placeholder 3">
            <a:extLst>
              <a:ext uri="{FF2B5EF4-FFF2-40B4-BE49-F238E27FC236}">
                <a16:creationId xmlns:a16="http://schemas.microsoft.com/office/drawing/2014/main" id="{7F20AB71-8D38-40AF-AC07-79645D6803BA}"/>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6" name="Slide Number Placeholder 4">
            <a:extLst>
              <a:ext uri="{FF2B5EF4-FFF2-40B4-BE49-F238E27FC236}">
                <a16:creationId xmlns:a16="http://schemas.microsoft.com/office/drawing/2014/main" id="{400A4841-385A-488F-8F84-EA5BFA17D626}"/>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
        <p:nvSpPr>
          <p:cNvPr id="13" name="Freeform: Shape 12">
            <a:extLst>
              <a:ext uri="{FF2B5EF4-FFF2-40B4-BE49-F238E27FC236}">
                <a16:creationId xmlns:a16="http://schemas.microsoft.com/office/drawing/2014/main" id="{34126B63-A6F3-4FA8-B2AD-754940CC0DBF}"/>
              </a:ext>
            </a:extLst>
          </p:cNvPr>
          <p:cNvSpPr/>
          <p:nvPr userDrawn="1">
            <p:custDataLst>
              <p:tags r:id="rId1"/>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525809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ation Dark">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A2970254-F353-4EDB-A690-58705B995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874" y="266717"/>
            <a:ext cx="9364664" cy="6327654"/>
          </a:xfrm>
          <a:prstGeom prst="rect">
            <a:avLst/>
          </a:prstGeom>
        </p:spPr>
      </p:pic>
      <p:sp>
        <p:nvSpPr>
          <p:cNvPr id="12" name="Rectangle 11">
            <a:extLst>
              <a:ext uri="{FF2B5EF4-FFF2-40B4-BE49-F238E27FC236}">
                <a16:creationId xmlns:a16="http://schemas.microsoft.com/office/drawing/2014/main" id="{7E631477-0A36-48AD-8A86-6B33026F533B}"/>
              </a:ext>
            </a:extLst>
          </p:cNvPr>
          <p:cNvSpPr/>
          <p:nvPr userDrawn="1"/>
        </p:nvSpPr>
        <p:spPr>
          <a:xfrm>
            <a:off x="0" y="269875"/>
            <a:ext cx="6581868" cy="5148792"/>
          </a:xfrm>
          <a:prstGeom prst="rect">
            <a:avLst/>
          </a:prstGeom>
          <a:solidFill>
            <a:srgbClr val="30373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dirty="0"/>
          </a:p>
        </p:txBody>
      </p:sp>
      <p:sp>
        <p:nvSpPr>
          <p:cNvPr id="11" name="Date_GeneralDate" hidden="1">
            <a:extLst>
              <a:ext uri="{FF2B5EF4-FFF2-40B4-BE49-F238E27FC236}">
                <a16:creationId xmlns:a16="http://schemas.microsoft.com/office/drawing/2014/main" id="{BC0ECE5E-0625-44AC-A24C-F5A9BBF2422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p:nvPr>
        </p:nvSpPr>
        <p:spPr>
          <a:xfrm>
            <a:off x="266485" y="2092693"/>
            <a:ext cx="4551577" cy="2249014"/>
          </a:xfrm>
        </p:spPr>
        <p:txBody>
          <a:bodyPr/>
          <a:lstStyle>
            <a:lvl1pPr marL="0" indent="0">
              <a:spcBef>
                <a:spcPts val="0"/>
              </a:spcBef>
              <a:buFont typeface="Arial" panose="020B0604020202020204" pitchFamily="34" charset="0"/>
              <a:buChar char="​"/>
              <a:defRPr sz="2800">
                <a:solidFill>
                  <a:srgbClr val="F8F5E7"/>
                </a:solidFill>
              </a:defRPr>
            </a:lvl1pPr>
          </a:lstStyle>
          <a:p>
            <a:pPr lvl="0"/>
            <a:r>
              <a:rPr lang="en-GB" dirty="0"/>
              <a:t>Edit Master tex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E0BCA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en-GB" sz="1000" noProof="0" dirty="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F8F5E7"/>
                </a:solidFill>
              </a:defRPr>
            </a:lvl1pPr>
          </a:lstStyle>
          <a:p>
            <a:pPr lvl="0"/>
            <a:r>
              <a:rPr lang="en-GB" dirty="0"/>
              <a:t>Name</a:t>
            </a:r>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en-GB" sz="9600" dirty="0">
                <a:solidFill>
                  <a:srgbClr val="F8F5E7"/>
                </a:solidFill>
                <a:latin typeface="Impact" panose="020B0806030902050204" pitchFamily="34" charset="0"/>
              </a:rPr>
              <a:t>«</a:t>
            </a:r>
          </a:p>
        </p:txBody>
      </p:sp>
      <p:sp>
        <p:nvSpPr>
          <p:cNvPr id="16" name="Text Placeholder 12">
            <a:extLst>
              <a:ext uri="{FF2B5EF4-FFF2-40B4-BE49-F238E27FC236}">
                <a16:creationId xmlns:a16="http://schemas.microsoft.com/office/drawing/2014/main" id="{04E6DF05-B062-4763-8847-30E4276CD56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7" name="FLD_PresentationTitle">
            <a:extLst>
              <a:ext uri="{FF2B5EF4-FFF2-40B4-BE49-F238E27FC236}">
                <a16:creationId xmlns:a16="http://schemas.microsoft.com/office/drawing/2014/main" id="{BA0BAD94-F063-4CDA-B839-700EC44D0654}"/>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2F363B"/>
                </a:solidFill>
              </a:defRPr>
            </a:lvl1pPr>
          </a:lstStyle>
          <a:p>
            <a:r>
              <a:rPr lang="en-GB" dirty="0"/>
              <a:t>Footer</a:t>
            </a:r>
          </a:p>
        </p:txBody>
      </p:sp>
      <p:sp>
        <p:nvSpPr>
          <p:cNvPr id="19" name="Text Placeholder 3">
            <a:extLst>
              <a:ext uri="{FF2B5EF4-FFF2-40B4-BE49-F238E27FC236}">
                <a16:creationId xmlns:a16="http://schemas.microsoft.com/office/drawing/2014/main" id="{7CC54D5B-0122-42B0-8F3F-935CDD7F8B09}"/>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20" name="Slide Number Placeholder 4">
            <a:extLst>
              <a:ext uri="{FF2B5EF4-FFF2-40B4-BE49-F238E27FC236}">
                <a16:creationId xmlns:a16="http://schemas.microsoft.com/office/drawing/2014/main" id="{361A6182-B3CD-4CA4-935A-24F33BCBB852}"/>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1570703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ation">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0AA8E1C-5FF3-4457-91CC-C953F7790D5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69874" y="266717"/>
            <a:ext cx="9364664" cy="6327654"/>
          </a:xfrm>
          <a:prstGeom prst="rect">
            <a:avLst/>
          </a:prstGeom>
        </p:spPr>
      </p:pic>
      <p:sp>
        <p:nvSpPr>
          <p:cNvPr id="11" name="Date_GeneralDate" hidden="1">
            <a:extLst>
              <a:ext uri="{FF2B5EF4-FFF2-40B4-BE49-F238E27FC236}">
                <a16:creationId xmlns:a16="http://schemas.microsoft.com/office/drawing/2014/main" id="{BC0ECE5E-0625-44AC-A24C-F5A9BBF2422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3" name="Text Placeholder 13">
            <a:extLst>
              <a:ext uri="{FF2B5EF4-FFF2-40B4-BE49-F238E27FC236}">
                <a16:creationId xmlns:a16="http://schemas.microsoft.com/office/drawing/2014/main" id="{38767680-C6C8-4860-8F6A-B5FF8B3542D0}"/>
              </a:ext>
            </a:extLst>
          </p:cNvPr>
          <p:cNvSpPr>
            <a:spLocks noGrp="1"/>
          </p:cNvSpPr>
          <p:nvPr>
            <p:ph type="body" sz="quarter" idx="16"/>
          </p:nvPr>
        </p:nvSpPr>
        <p:spPr>
          <a:xfrm>
            <a:off x="266485" y="2092693"/>
            <a:ext cx="4551577" cy="2249014"/>
          </a:xfrm>
        </p:spPr>
        <p:txBody>
          <a:bodyPr/>
          <a:lstStyle>
            <a:lvl1pPr marL="0" indent="0">
              <a:spcBef>
                <a:spcPts val="0"/>
              </a:spcBef>
              <a:buFont typeface="Arial" panose="020B0604020202020204" pitchFamily="34" charset="0"/>
              <a:buChar char="​"/>
              <a:defRPr sz="2800">
                <a:solidFill>
                  <a:srgbClr val="30373B"/>
                </a:solidFill>
              </a:defRPr>
            </a:lvl1pPr>
          </a:lstStyle>
          <a:p>
            <a:pPr lvl="0"/>
            <a:r>
              <a:rPr lang="en-GB" dirty="0"/>
              <a:t>Edit Master text styles</a:t>
            </a:r>
          </a:p>
        </p:txBody>
      </p:sp>
      <p:sp>
        <p:nvSpPr>
          <p:cNvPr id="4" name="Rectangle 3">
            <a:extLst>
              <a:ext uri="{FF2B5EF4-FFF2-40B4-BE49-F238E27FC236}">
                <a16:creationId xmlns:a16="http://schemas.microsoft.com/office/drawing/2014/main" id="{2B2C56D2-784D-4432-A938-43418D6C4B85}"/>
              </a:ext>
            </a:extLst>
          </p:cNvPr>
          <p:cNvSpPr/>
          <p:nvPr userDrawn="1"/>
        </p:nvSpPr>
        <p:spPr>
          <a:xfrm>
            <a:off x="0" y="0"/>
            <a:ext cx="4816475" cy="1296785"/>
          </a:xfrm>
          <a:prstGeom prst="rect">
            <a:avLst/>
          </a:prstGeom>
          <a:solidFill>
            <a:srgbClr val="F8F5E7"/>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buNone/>
            </a:pPr>
            <a:endParaRPr lang="en-GB" sz="1000" noProof="0" dirty="0">
              <a:solidFill>
                <a:srgbClr val="2F363B"/>
              </a:solidFill>
            </a:endParaRPr>
          </a:p>
        </p:txBody>
      </p:sp>
      <p:sp>
        <p:nvSpPr>
          <p:cNvPr id="18" name="Text Placeholder 13">
            <a:extLst>
              <a:ext uri="{FF2B5EF4-FFF2-40B4-BE49-F238E27FC236}">
                <a16:creationId xmlns:a16="http://schemas.microsoft.com/office/drawing/2014/main" id="{E95E46A2-7940-4BAC-9759-942AABFED48A}"/>
              </a:ext>
            </a:extLst>
          </p:cNvPr>
          <p:cNvSpPr>
            <a:spLocks noGrp="1"/>
          </p:cNvSpPr>
          <p:nvPr>
            <p:ph type="body" sz="quarter" idx="17" hasCustomPrompt="1"/>
          </p:nvPr>
        </p:nvSpPr>
        <p:spPr>
          <a:xfrm>
            <a:off x="269875" y="4611581"/>
            <a:ext cx="4551577" cy="555412"/>
          </a:xfrm>
        </p:spPr>
        <p:txBody>
          <a:bodyPr anchor="b" anchorCtr="0"/>
          <a:lstStyle>
            <a:lvl1pPr marL="0" indent="0">
              <a:spcBef>
                <a:spcPts val="0"/>
              </a:spcBef>
              <a:buFont typeface="Arial" panose="020B0604020202020204" pitchFamily="34" charset="0"/>
              <a:buChar char="​"/>
              <a:defRPr sz="1100">
                <a:solidFill>
                  <a:srgbClr val="30373B"/>
                </a:solidFill>
              </a:defRPr>
            </a:lvl1pPr>
          </a:lstStyle>
          <a:p>
            <a:pPr lvl="0"/>
            <a:r>
              <a:rPr lang="en-GB" dirty="0"/>
              <a:t>Name</a:t>
            </a:r>
          </a:p>
        </p:txBody>
      </p:sp>
      <p:sp>
        <p:nvSpPr>
          <p:cNvPr id="3" name="TextBox 2">
            <a:extLst>
              <a:ext uri="{FF2B5EF4-FFF2-40B4-BE49-F238E27FC236}">
                <a16:creationId xmlns:a16="http://schemas.microsoft.com/office/drawing/2014/main" id="{8EE78B38-E2FC-4D90-ABDF-B7665592C118}"/>
              </a:ext>
            </a:extLst>
          </p:cNvPr>
          <p:cNvSpPr txBox="1"/>
          <p:nvPr userDrawn="1"/>
        </p:nvSpPr>
        <p:spPr>
          <a:xfrm>
            <a:off x="246008" y="490564"/>
            <a:ext cx="2026391" cy="1329595"/>
          </a:xfrm>
          <a:prstGeom prst="rect">
            <a:avLst/>
          </a:prstGeom>
          <a:noFill/>
          <a:ln w="6350">
            <a:noFill/>
            <a:prstDash val="sysDash"/>
          </a:ln>
        </p:spPr>
        <p:txBody>
          <a:bodyPr wrap="square" lIns="0" tIns="0" rIns="0" bIns="0" rtlCol="0">
            <a:spAutoFit/>
          </a:bodyPr>
          <a:lstStyle/>
          <a:p>
            <a:pPr algn="l">
              <a:buFontTx/>
              <a:buNone/>
            </a:pPr>
            <a:r>
              <a:rPr lang="en-GB" sz="9600" dirty="0">
                <a:solidFill>
                  <a:srgbClr val="30373B"/>
                </a:solidFill>
                <a:latin typeface="Impact" panose="020B0806030902050204" pitchFamily="34" charset="0"/>
              </a:rPr>
              <a:t>«</a:t>
            </a:r>
          </a:p>
        </p:txBody>
      </p:sp>
      <p:sp>
        <p:nvSpPr>
          <p:cNvPr id="12" name="Text Placeholder 12">
            <a:extLst>
              <a:ext uri="{FF2B5EF4-FFF2-40B4-BE49-F238E27FC236}">
                <a16:creationId xmlns:a16="http://schemas.microsoft.com/office/drawing/2014/main" id="{CE78D242-0922-4D62-BE1D-B5BFCE7F0075}"/>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chemeClr val="tx1"/>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chemeClr val="tx1"/>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chemeClr val="tx1"/>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6" name="FLD_PresentationTitle">
            <a:extLst>
              <a:ext uri="{FF2B5EF4-FFF2-40B4-BE49-F238E27FC236}">
                <a16:creationId xmlns:a16="http://schemas.microsoft.com/office/drawing/2014/main" id="{BB55041C-DBB0-4478-8AB8-A32771502E31}"/>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chemeClr val="tx1"/>
                </a:solidFill>
              </a:defRPr>
            </a:lvl1pPr>
          </a:lstStyle>
          <a:p>
            <a:r>
              <a:rPr lang="en-GB" dirty="0"/>
              <a:t>Footer</a:t>
            </a:r>
          </a:p>
        </p:txBody>
      </p:sp>
      <p:sp>
        <p:nvSpPr>
          <p:cNvPr id="17" name="Text Placeholder 3">
            <a:extLst>
              <a:ext uri="{FF2B5EF4-FFF2-40B4-BE49-F238E27FC236}">
                <a16:creationId xmlns:a16="http://schemas.microsoft.com/office/drawing/2014/main" id="{F28CF5F2-181D-4BE6-993A-39D2472144BA}"/>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9" name="Slide Number Placeholder 4">
            <a:extLst>
              <a:ext uri="{FF2B5EF4-FFF2-40B4-BE49-F238E27FC236}">
                <a16:creationId xmlns:a16="http://schemas.microsoft.com/office/drawing/2014/main" id="{5684BC98-00B6-47D0-8468-8432DEA0A6B4}"/>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396106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Date_GeneralDate" hidden="1">
            <a:extLst>
              <a:ext uri="{FF2B5EF4-FFF2-40B4-BE49-F238E27FC236}">
                <a16:creationId xmlns:a16="http://schemas.microsoft.com/office/drawing/2014/main" id="{301090E8-9872-44F5-9538-64F91257E247}"/>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1" name="Text Placeholder 12">
            <a:extLst>
              <a:ext uri="{FF2B5EF4-FFF2-40B4-BE49-F238E27FC236}">
                <a16:creationId xmlns:a16="http://schemas.microsoft.com/office/drawing/2014/main" id="{8394D33C-0C5F-40D4-B1BE-30DF44E03DCB}"/>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3" name="FLD_PresentationTitle">
            <a:extLst>
              <a:ext uri="{FF2B5EF4-FFF2-40B4-BE49-F238E27FC236}">
                <a16:creationId xmlns:a16="http://schemas.microsoft.com/office/drawing/2014/main" id="{60E33903-DF31-40DE-85B3-9651FD610AF9}"/>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9" name="Text Placeholder 3">
            <a:extLst>
              <a:ext uri="{FF2B5EF4-FFF2-40B4-BE49-F238E27FC236}">
                <a16:creationId xmlns:a16="http://schemas.microsoft.com/office/drawing/2014/main" id="{2A46B15F-8CFB-4C7A-AE43-B41F949F575A}"/>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2" name="Slide Number Placeholder 4">
            <a:extLst>
              <a:ext uri="{FF2B5EF4-FFF2-40B4-BE49-F238E27FC236}">
                <a16:creationId xmlns:a16="http://schemas.microsoft.com/office/drawing/2014/main" id="{5744F2A6-8B38-4FEF-8EA8-A0102EC0AE07}"/>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2367061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Gri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8F4CE07B-C6FD-4471-956B-FA0BD60C77A7}"/>
              </a:ext>
            </a:extLst>
          </p:cNvPr>
          <p:cNvSpPr/>
          <p:nvPr userDrawn="1"/>
        </p:nvSpPr>
        <p:spPr>
          <a:xfrm>
            <a:off x="269875" y="269875"/>
            <a:ext cx="9364663" cy="6327775"/>
          </a:xfrm>
          <a:custGeom>
            <a:avLst/>
            <a:gdLst>
              <a:gd name="connsiteX0" fmla="*/ 2157895 w 9586368"/>
              <a:gd name="connsiteY0" fmla="*/ 6461491 h 6479439"/>
              <a:gd name="connsiteX1" fmla="*/ 2167802 w 9586368"/>
              <a:gd name="connsiteY1" fmla="*/ 6461491 h 6479439"/>
              <a:gd name="connsiteX2" fmla="*/ 2171820 w 9586368"/>
              <a:gd name="connsiteY2" fmla="*/ 6465529 h 6479439"/>
              <a:gd name="connsiteX3" fmla="*/ 2171820 w 9586368"/>
              <a:gd name="connsiteY3" fmla="*/ 6475400 h 6479439"/>
              <a:gd name="connsiteX4" fmla="*/ 2167802 w 9586368"/>
              <a:gd name="connsiteY4" fmla="*/ 6479439 h 6479439"/>
              <a:gd name="connsiteX5" fmla="*/ 2157895 w 9586368"/>
              <a:gd name="connsiteY5" fmla="*/ 6479439 h 6479439"/>
              <a:gd name="connsiteX6" fmla="*/ 2153871 w 9586368"/>
              <a:gd name="connsiteY6" fmla="*/ 6475400 h 6479439"/>
              <a:gd name="connsiteX7" fmla="*/ 2153871 w 9586368"/>
              <a:gd name="connsiteY7" fmla="*/ 6465529 h 6479439"/>
              <a:gd name="connsiteX8" fmla="*/ 1918509 w 9586368"/>
              <a:gd name="connsiteY8" fmla="*/ 6461491 h 6479439"/>
              <a:gd name="connsiteX9" fmla="*/ 1928419 w 9586368"/>
              <a:gd name="connsiteY9" fmla="*/ 6461491 h 6479439"/>
              <a:gd name="connsiteX10" fmla="*/ 1932437 w 9586368"/>
              <a:gd name="connsiteY10" fmla="*/ 6465529 h 6479439"/>
              <a:gd name="connsiteX11" fmla="*/ 1932437 w 9586368"/>
              <a:gd name="connsiteY11" fmla="*/ 6475400 h 6479439"/>
              <a:gd name="connsiteX12" fmla="*/ 1928419 w 9586368"/>
              <a:gd name="connsiteY12" fmla="*/ 6479439 h 6479439"/>
              <a:gd name="connsiteX13" fmla="*/ 1918509 w 9586368"/>
              <a:gd name="connsiteY13" fmla="*/ 6479439 h 6479439"/>
              <a:gd name="connsiteX14" fmla="*/ 1914490 w 9586368"/>
              <a:gd name="connsiteY14" fmla="*/ 6475400 h 6479439"/>
              <a:gd name="connsiteX15" fmla="*/ 1914490 w 9586368"/>
              <a:gd name="connsiteY15" fmla="*/ 6465529 h 6479439"/>
              <a:gd name="connsiteX16" fmla="*/ 1679200 w 9586368"/>
              <a:gd name="connsiteY16" fmla="*/ 6461491 h 6479439"/>
              <a:gd name="connsiteX17" fmla="*/ 1689110 w 9586368"/>
              <a:gd name="connsiteY17" fmla="*/ 6461491 h 6479439"/>
              <a:gd name="connsiteX18" fmla="*/ 1693128 w 9586368"/>
              <a:gd name="connsiteY18" fmla="*/ 6465529 h 6479439"/>
              <a:gd name="connsiteX19" fmla="*/ 1693128 w 9586368"/>
              <a:gd name="connsiteY19" fmla="*/ 6475400 h 6479439"/>
              <a:gd name="connsiteX20" fmla="*/ 1689110 w 9586368"/>
              <a:gd name="connsiteY20" fmla="*/ 6479439 h 6479439"/>
              <a:gd name="connsiteX21" fmla="*/ 1679200 w 9586368"/>
              <a:gd name="connsiteY21" fmla="*/ 6479439 h 6479439"/>
              <a:gd name="connsiteX22" fmla="*/ 1675180 w 9586368"/>
              <a:gd name="connsiteY22" fmla="*/ 6475400 h 6479439"/>
              <a:gd name="connsiteX23" fmla="*/ 1675180 w 9586368"/>
              <a:gd name="connsiteY23" fmla="*/ 6465529 h 6479439"/>
              <a:gd name="connsiteX24" fmla="*/ 1439885 w 9586368"/>
              <a:gd name="connsiteY24" fmla="*/ 6461491 h 6479439"/>
              <a:gd name="connsiteX25" fmla="*/ 1449795 w 9586368"/>
              <a:gd name="connsiteY25" fmla="*/ 6461491 h 6479439"/>
              <a:gd name="connsiteX26" fmla="*/ 1453813 w 9586368"/>
              <a:gd name="connsiteY26" fmla="*/ 6465529 h 6479439"/>
              <a:gd name="connsiteX27" fmla="*/ 1453813 w 9586368"/>
              <a:gd name="connsiteY27" fmla="*/ 6475400 h 6479439"/>
              <a:gd name="connsiteX28" fmla="*/ 1449795 w 9586368"/>
              <a:gd name="connsiteY28" fmla="*/ 6479439 h 6479439"/>
              <a:gd name="connsiteX29" fmla="*/ 1439885 w 9586368"/>
              <a:gd name="connsiteY29" fmla="*/ 6479439 h 6479439"/>
              <a:gd name="connsiteX30" fmla="*/ 1435865 w 9586368"/>
              <a:gd name="connsiteY30" fmla="*/ 6475400 h 6479439"/>
              <a:gd name="connsiteX31" fmla="*/ 1435865 w 9586368"/>
              <a:gd name="connsiteY31" fmla="*/ 6465529 h 6479439"/>
              <a:gd name="connsiteX32" fmla="*/ 1200570 w 9586368"/>
              <a:gd name="connsiteY32" fmla="*/ 6461491 h 6479439"/>
              <a:gd name="connsiteX33" fmla="*/ 1210480 w 9586368"/>
              <a:gd name="connsiteY33" fmla="*/ 6461491 h 6479439"/>
              <a:gd name="connsiteX34" fmla="*/ 1214498 w 9586368"/>
              <a:gd name="connsiteY34" fmla="*/ 6465529 h 6479439"/>
              <a:gd name="connsiteX35" fmla="*/ 1214498 w 9586368"/>
              <a:gd name="connsiteY35" fmla="*/ 6475400 h 6479439"/>
              <a:gd name="connsiteX36" fmla="*/ 1210480 w 9586368"/>
              <a:gd name="connsiteY36" fmla="*/ 6479439 h 6479439"/>
              <a:gd name="connsiteX37" fmla="*/ 1200570 w 9586368"/>
              <a:gd name="connsiteY37" fmla="*/ 6479439 h 6479439"/>
              <a:gd name="connsiteX38" fmla="*/ 1196551 w 9586368"/>
              <a:gd name="connsiteY38" fmla="*/ 6475400 h 6479439"/>
              <a:gd name="connsiteX39" fmla="*/ 1196551 w 9586368"/>
              <a:gd name="connsiteY39" fmla="*/ 6465529 h 6479439"/>
              <a:gd name="connsiteX40" fmla="*/ 961257 w 9586368"/>
              <a:gd name="connsiteY40" fmla="*/ 6461491 h 6479439"/>
              <a:gd name="connsiteX41" fmla="*/ 971167 w 9586368"/>
              <a:gd name="connsiteY41" fmla="*/ 6461491 h 6479439"/>
              <a:gd name="connsiteX42" fmla="*/ 975186 w 9586368"/>
              <a:gd name="connsiteY42" fmla="*/ 6465529 h 6479439"/>
              <a:gd name="connsiteX43" fmla="*/ 975186 w 9586368"/>
              <a:gd name="connsiteY43" fmla="*/ 6475400 h 6479439"/>
              <a:gd name="connsiteX44" fmla="*/ 971167 w 9586368"/>
              <a:gd name="connsiteY44" fmla="*/ 6479439 h 6479439"/>
              <a:gd name="connsiteX45" fmla="*/ 961257 w 9586368"/>
              <a:gd name="connsiteY45" fmla="*/ 6479439 h 6479439"/>
              <a:gd name="connsiteX46" fmla="*/ 957238 w 9586368"/>
              <a:gd name="connsiteY46" fmla="*/ 6475400 h 6479439"/>
              <a:gd name="connsiteX47" fmla="*/ 957238 w 9586368"/>
              <a:gd name="connsiteY47" fmla="*/ 6465529 h 6479439"/>
              <a:gd name="connsiteX48" fmla="*/ 9572438 w 9586368"/>
              <a:gd name="connsiteY48" fmla="*/ 6461440 h 6479439"/>
              <a:gd name="connsiteX49" fmla="*/ 9582349 w 9586368"/>
              <a:gd name="connsiteY49" fmla="*/ 6461440 h 6479439"/>
              <a:gd name="connsiteX50" fmla="*/ 9586368 w 9586368"/>
              <a:gd name="connsiteY50" fmla="*/ 6465478 h 6479439"/>
              <a:gd name="connsiteX51" fmla="*/ 9586368 w 9586368"/>
              <a:gd name="connsiteY51" fmla="*/ 6475349 h 6479439"/>
              <a:gd name="connsiteX52" fmla="*/ 9582349 w 9586368"/>
              <a:gd name="connsiteY52" fmla="*/ 6479388 h 6479439"/>
              <a:gd name="connsiteX53" fmla="*/ 9572438 w 9586368"/>
              <a:gd name="connsiteY53" fmla="*/ 6479388 h 6479439"/>
              <a:gd name="connsiteX54" fmla="*/ 9568419 w 9586368"/>
              <a:gd name="connsiteY54" fmla="*/ 6475349 h 6479439"/>
              <a:gd name="connsiteX55" fmla="*/ 9568419 w 9586368"/>
              <a:gd name="connsiteY55" fmla="*/ 6465478 h 6479439"/>
              <a:gd name="connsiteX56" fmla="*/ 9333125 w 9586368"/>
              <a:gd name="connsiteY56" fmla="*/ 6461440 h 6479439"/>
              <a:gd name="connsiteX57" fmla="*/ 9343036 w 9586368"/>
              <a:gd name="connsiteY57" fmla="*/ 6461440 h 6479439"/>
              <a:gd name="connsiteX58" fmla="*/ 9347055 w 9586368"/>
              <a:gd name="connsiteY58" fmla="*/ 6465478 h 6479439"/>
              <a:gd name="connsiteX59" fmla="*/ 9347055 w 9586368"/>
              <a:gd name="connsiteY59" fmla="*/ 6475349 h 6479439"/>
              <a:gd name="connsiteX60" fmla="*/ 9343036 w 9586368"/>
              <a:gd name="connsiteY60" fmla="*/ 6479388 h 6479439"/>
              <a:gd name="connsiteX61" fmla="*/ 9333125 w 9586368"/>
              <a:gd name="connsiteY61" fmla="*/ 6479388 h 6479439"/>
              <a:gd name="connsiteX62" fmla="*/ 9329106 w 9586368"/>
              <a:gd name="connsiteY62" fmla="*/ 6475349 h 6479439"/>
              <a:gd name="connsiteX63" fmla="*/ 9329106 w 9586368"/>
              <a:gd name="connsiteY63" fmla="*/ 6465478 h 6479439"/>
              <a:gd name="connsiteX64" fmla="*/ 9093811 w 9586368"/>
              <a:gd name="connsiteY64" fmla="*/ 6461440 h 6479439"/>
              <a:gd name="connsiteX65" fmla="*/ 9103722 w 9586368"/>
              <a:gd name="connsiteY65" fmla="*/ 6461440 h 6479439"/>
              <a:gd name="connsiteX66" fmla="*/ 9107741 w 9586368"/>
              <a:gd name="connsiteY66" fmla="*/ 6465478 h 6479439"/>
              <a:gd name="connsiteX67" fmla="*/ 9107741 w 9586368"/>
              <a:gd name="connsiteY67" fmla="*/ 6475349 h 6479439"/>
              <a:gd name="connsiteX68" fmla="*/ 9103722 w 9586368"/>
              <a:gd name="connsiteY68" fmla="*/ 6479388 h 6479439"/>
              <a:gd name="connsiteX69" fmla="*/ 9093811 w 9586368"/>
              <a:gd name="connsiteY69" fmla="*/ 6479388 h 6479439"/>
              <a:gd name="connsiteX70" fmla="*/ 9089792 w 9586368"/>
              <a:gd name="connsiteY70" fmla="*/ 6475349 h 6479439"/>
              <a:gd name="connsiteX71" fmla="*/ 9089792 w 9586368"/>
              <a:gd name="connsiteY71" fmla="*/ 6465478 h 6479439"/>
              <a:gd name="connsiteX72" fmla="*/ 8854496 w 9586368"/>
              <a:gd name="connsiteY72" fmla="*/ 6461440 h 6479439"/>
              <a:gd name="connsiteX73" fmla="*/ 8864407 w 9586368"/>
              <a:gd name="connsiteY73" fmla="*/ 6461440 h 6479439"/>
              <a:gd name="connsiteX74" fmla="*/ 8868426 w 9586368"/>
              <a:gd name="connsiteY74" fmla="*/ 6465478 h 6479439"/>
              <a:gd name="connsiteX75" fmla="*/ 8868426 w 9586368"/>
              <a:gd name="connsiteY75" fmla="*/ 6475349 h 6479439"/>
              <a:gd name="connsiteX76" fmla="*/ 8864407 w 9586368"/>
              <a:gd name="connsiteY76" fmla="*/ 6479388 h 6479439"/>
              <a:gd name="connsiteX77" fmla="*/ 8854496 w 9586368"/>
              <a:gd name="connsiteY77" fmla="*/ 6479388 h 6479439"/>
              <a:gd name="connsiteX78" fmla="*/ 8850477 w 9586368"/>
              <a:gd name="connsiteY78" fmla="*/ 6475349 h 6479439"/>
              <a:gd name="connsiteX79" fmla="*/ 8850477 w 9586368"/>
              <a:gd name="connsiteY79" fmla="*/ 6465478 h 6479439"/>
              <a:gd name="connsiteX80" fmla="*/ 8615184 w 9586368"/>
              <a:gd name="connsiteY80" fmla="*/ 6461440 h 6479439"/>
              <a:gd name="connsiteX81" fmla="*/ 8625095 w 9586368"/>
              <a:gd name="connsiteY81" fmla="*/ 6461440 h 6479439"/>
              <a:gd name="connsiteX82" fmla="*/ 8629114 w 9586368"/>
              <a:gd name="connsiteY82" fmla="*/ 6465478 h 6479439"/>
              <a:gd name="connsiteX83" fmla="*/ 8629114 w 9586368"/>
              <a:gd name="connsiteY83" fmla="*/ 6475349 h 6479439"/>
              <a:gd name="connsiteX84" fmla="*/ 8625095 w 9586368"/>
              <a:gd name="connsiteY84" fmla="*/ 6479388 h 6479439"/>
              <a:gd name="connsiteX85" fmla="*/ 8615184 w 9586368"/>
              <a:gd name="connsiteY85" fmla="*/ 6479388 h 6479439"/>
              <a:gd name="connsiteX86" fmla="*/ 8611165 w 9586368"/>
              <a:gd name="connsiteY86" fmla="*/ 6475349 h 6479439"/>
              <a:gd name="connsiteX87" fmla="*/ 8611165 w 9586368"/>
              <a:gd name="connsiteY87" fmla="*/ 6465478 h 6479439"/>
              <a:gd name="connsiteX88" fmla="*/ 8375869 w 9586368"/>
              <a:gd name="connsiteY88" fmla="*/ 6461440 h 6479439"/>
              <a:gd name="connsiteX89" fmla="*/ 8385779 w 9586368"/>
              <a:gd name="connsiteY89" fmla="*/ 6461440 h 6479439"/>
              <a:gd name="connsiteX90" fmla="*/ 8389799 w 9586368"/>
              <a:gd name="connsiteY90" fmla="*/ 6465478 h 6479439"/>
              <a:gd name="connsiteX91" fmla="*/ 8389799 w 9586368"/>
              <a:gd name="connsiteY91" fmla="*/ 6475349 h 6479439"/>
              <a:gd name="connsiteX92" fmla="*/ 8385779 w 9586368"/>
              <a:gd name="connsiteY92" fmla="*/ 6479388 h 6479439"/>
              <a:gd name="connsiteX93" fmla="*/ 8375869 w 9586368"/>
              <a:gd name="connsiteY93" fmla="*/ 6479388 h 6479439"/>
              <a:gd name="connsiteX94" fmla="*/ 8371850 w 9586368"/>
              <a:gd name="connsiteY94" fmla="*/ 6475349 h 6479439"/>
              <a:gd name="connsiteX95" fmla="*/ 8371850 w 9586368"/>
              <a:gd name="connsiteY95" fmla="*/ 6465478 h 6479439"/>
              <a:gd name="connsiteX96" fmla="*/ 8136553 w 9586368"/>
              <a:gd name="connsiteY96" fmla="*/ 6461440 h 6479439"/>
              <a:gd name="connsiteX97" fmla="*/ 8146464 w 9586368"/>
              <a:gd name="connsiteY97" fmla="*/ 6461440 h 6479439"/>
              <a:gd name="connsiteX98" fmla="*/ 8150483 w 9586368"/>
              <a:gd name="connsiteY98" fmla="*/ 6465478 h 6479439"/>
              <a:gd name="connsiteX99" fmla="*/ 8150483 w 9586368"/>
              <a:gd name="connsiteY99" fmla="*/ 6475349 h 6479439"/>
              <a:gd name="connsiteX100" fmla="*/ 8146464 w 9586368"/>
              <a:gd name="connsiteY100" fmla="*/ 6479388 h 6479439"/>
              <a:gd name="connsiteX101" fmla="*/ 8136553 w 9586368"/>
              <a:gd name="connsiteY101" fmla="*/ 6479388 h 6479439"/>
              <a:gd name="connsiteX102" fmla="*/ 8132534 w 9586368"/>
              <a:gd name="connsiteY102" fmla="*/ 6475349 h 6479439"/>
              <a:gd name="connsiteX103" fmla="*/ 8132534 w 9586368"/>
              <a:gd name="connsiteY103" fmla="*/ 6465478 h 6479439"/>
              <a:gd name="connsiteX104" fmla="*/ 7897241 w 9586368"/>
              <a:gd name="connsiteY104" fmla="*/ 6461440 h 6479439"/>
              <a:gd name="connsiteX105" fmla="*/ 7907151 w 9586368"/>
              <a:gd name="connsiteY105" fmla="*/ 6461440 h 6479439"/>
              <a:gd name="connsiteX106" fmla="*/ 7911170 w 9586368"/>
              <a:gd name="connsiteY106" fmla="*/ 6465478 h 6479439"/>
              <a:gd name="connsiteX107" fmla="*/ 7911170 w 9586368"/>
              <a:gd name="connsiteY107" fmla="*/ 6475349 h 6479439"/>
              <a:gd name="connsiteX108" fmla="*/ 7907151 w 9586368"/>
              <a:gd name="connsiteY108" fmla="*/ 6479388 h 6479439"/>
              <a:gd name="connsiteX109" fmla="*/ 7897241 w 9586368"/>
              <a:gd name="connsiteY109" fmla="*/ 6479388 h 6479439"/>
              <a:gd name="connsiteX110" fmla="*/ 7893222 w 9586368"/>
              <a:gd name="connsiteY110" fmla="*/ 6475349 h 6479439"/>
              <a:gd name="connsiteX111" fmla="*/ 7893222 w 9586368"/>
              <a:gd name="connsiteY111" fmla="*/ 6465478 h 6479439"/>
              <a:gd name="connsiteX112" fmla="*/ 7657926 w 9586368"/>
              <a:gd name="connsiteY112" fmla="*/ 6461440 h 6479439"/>
              <a:gd name="connsiteX113" fmla="*/ 7667836 w 9586368"/>
              <a:gd name="connsiteY113" fmla="*/ 6461440 h 6479439"/>
              <a:gd name="connsiteX114" fmla="*/ 7671855 w 9586368"/>
              <a:gd name="connsiteY114" fmla="*/ 6465478 h 6479439"/>
              <a:gd name="connsiteX115" fmla="*/ 7671855 w 9586368"/>
              <a:gd name="connsiteY115" fmla="*/ 6475349 h 6479439"/>
              <a:gd name="connsiteX116" fmla="*/ 7667836 w 9586368"/>
              <a:gd name="connsiteY116" fmla="*/ 6479388 h 6479439"/>
              <a:gd name="connsiteX117" fmla="*/ 7657926 w 9586368"/>
              <a:gd name="connsiteY117" fmla="*/ 6479388 h 6479439"/>
              <a:gd name="connsiteX118" fmla="*/ 7653906 w 9586368"/>
              <a:gd name="connsiteY118" fmla="*/ 6475349 h 6479439"/>
              <a:gd name="connsiteX119" fmla="*/ 7653906 w 9586368"/>
              <a:gd name="connsiteY119" fmla="*/ 6465478 h 6479439"/>
              <a:gd name="connsiteX120" fmla="*/ 7418611 w 9586368"/>
              <a:gd name="connsiteY120" fmla="*/ 6461440 h 6479439"/>
              <a:gd name="connsiteX121" fmla="*/ 7428521 w 9586368"/>
              <a:gd name="connsiteY121" fmla="*/ 6461440 h 6479439"/>
              <a:gd name="connsiteX122" fmla="*/ 7432540 w 9586368"/>
              <a:gd name="connsiteY122" fmla="*/ 6465478 h 6479439"/>
              <a:gd name="connsiteX123" fmla="*/ 7432540 w 9586368"/>
              <a:gd name="connsiteY123" fmla="*/ 6475349 h 6479439"/>
              <a:gd name="connsiteX124" fmla="*/ 7428521 w 9586368"/>
              <a:gd name="connsiteY124" fmla="*/ 6479388 h 6479439"/>
              <a:gd name="connsiteX125" fmla="*/ 7418611 w 9586368"/>
              <a:gd name="connsiteY125" fmla="*/ 6479388 h 6479439"/>
              <a:gd name="connsiteX126" fmla="*/ 7414592 w 9586368"/>
              <a:gd name="connsiteY126" fmla="*/ 6475349 h 6479439"/>
              <a:gd name="connsiteX127" fmla="*/ 7414592 w 9586368"/>
              <a:gd name="connsiteY127" fmla="*/ 6465478 h 6479439"/>
              <a:gd name="connsiteX128" fmla="*/ 7179298 w 9586368"/>
              <a:gd name="connsiteY128" fmla="*/ 6461440 h 6479439"/>
              <a:gd name="connsiteX129" fmla="*/ 7189209 w 9586368"/>
              <a:gd name="connsiteY129" fmla="*/ 6461440 h 6479439"/>
              <a:gd name="connsiteX130" fmla="*/ 7193228 w 9586368"/>
              <a:gd name="connsiteY130" fmla="*/ 6465478 h 6479439"/>
              <a:gd name="connsiteX131" fmla="*/ 7193228 w 9586368"/>
              <a:gd name="connsiteY131" fmla="*/ 6475349 h 6479439"/>
              <a:gd name="connsiteX132" fmla="*/ 7189209 w 9586368"/>
              <a:gd name="connsiteY132" fmla="*/ 6479388 h 6479439"/>
              <a:gd name="connsiteX133" fmla="*/ 7179298 w 9586368"/>
              <a:gd name="connsiteY133" fmla="*/ 6479388 h 6479439"/>
              <a:gd name="connsiteX134" fmla="*/ 7175279 w 9586368"/>
              <a:gd name="connsiteY134" fmla="*/ 6475349 h 6479439"/>
              <a:gd name="connsiteX135" fmla="*/ 7175279 w 9586368"/>
              <a:gd name="connsiteY135" fmla="*/ 6465478 h 6479439"/>
              <a:gd name="connsiteX136" fmla="*/ 6939983 w 9586368"/>
              <a:gd name="connsiteY136" fmla="*/ 6461440 h 6479439"/>
              <a:gd name="connsiteX137" fmla="*/ 6949894 w 9586368"/>
              <a:gd name="connsiteY137" fmla="*/ 6461440 h 6479439"/>
              <a:gd name="connsiteX138" fmla="*/ 6953913 w 9586368"/>
              <a:gd name="connsiteY138" fmla="*/ 6465478 h 6479439"/>
              <a:gd name="connsiteX139" fmla="*/ 6953913 w 9586368"/>
              <a:gd name="connsiteY139" fmla="*/ 6475349 h 6479439"/>
              <a:gd name="connsiteX140" fmla="*/ 6949894 w 9586368"/>
              <a:gd name="connsiteY140" fmla="*/ 6479388 h 6479439"/>
              <a:gd name="connsiteX141" fmla="*/ 6939983 w 9586368"/>
              <a:gd name="connsiteY141" fmla="*/ 6479388 h 6479439"/>
              <a:gd name="connsiteX142" fmla="*/ 6935964 w 9586368"/>
              <a:gd name="connsiteY142" fmla="*/ 6475349 h 6479439"/>
              <a:gd name="connsiteX143" fmla="*/ 6935964 w 9586368"/>
              <a:gd name="connsiteY143" fmla="*/ 6465478 h 6479439"/>
              <a:gd name="connsiteX144" fmla="*/ 6700670 w 9586368"/>
              <a:gd name="connsiteY144" fmla="*/ 6461440 h 6479439"/>
              <a:gd name="connsiteX145" fmla="*/ 6710581 w 9586368"/>
              <a:gd name="connsiteY145" fmla="*/ 6461440 h 6479439"/>
              <a:gd name="connsiteX146" fmla="*/ 6714600 w 9586368"/>
              <a:gd name="connsiteY146" fmla="*/ 6465478 h 6479439"/>
              <a:gd name="connsiteX147" fmla="*/ 6714600 w 9586368"/>
              <a:gd name="connsiteY147" fmla="*/ 6475349 h 6479439"/>
              <a:gd name="connsiteX148" fmla="*/ 6710581 w 9586368"/>
              <a:gd name="connsiteY148" fmla="*/ 6479388 h 6479439"/>
              <a:gd name="connsiteX149" fmla="*/ 6700670 w 9586368"/>
              <a:gd name="connsiteY149" fmla="*/ 6479388 h 6479439"/>
              <a:gd name="connsiteX150" fmla="*/ 6696651 w 9586368"/>
              <a:gd name="connsiteY150" fmla="*/ 6475349 h 6479439"/>
              <a:gd name="connsiteX151" fmla="*/ 6696651 w 9586368"/>
              <a:gd name="connsiteY151" fmla="*/ 6465478 h 6479439"/>
              <a:gd name="connsiteX152" fmla="*/ 6461356 w 9586368"/>
              <a:gd name="connsiteY152" fmla="*/ 6461440 h 6479439"/>
              <a:gd name="connsiteX153" fmla="*/ 6471266 w 9586368"/>
              <a:gd name="connsiteY153" fmla="*/ 6461440 h 6479439"/>
              <a:gd name="connsiteX154" fmla="*/ 6475285 w 9586368"/>
              <a:gd name="connsiteY154" fmla="*/ 6465478 h 6479439"/>
              <a:gd name="connsiteX155" fmla="*/ 6475285 w 9586368"/>
              <a:gd name="connsiteY155" fmla="*/ 6475349 h 6479439"/>
              <a:gd name="connsiteX156" fmla="*/ 6471266 w 9586368"/>
              <a:gd name="connsiteY156" fmla="*/ 6479388 h 6479439"/>
              <a:gd name="connsiteX157" fmla="*/ 6461356 w 9586368"/>
              <a:gd name="connsiteY157" fmla="*/ 6479388 h 6479439"/>
              <a:gd name="connsiteX158" fmla="*/ 6457337 w 9586368"/>
              <a:gd name="connsiteY158" fmla="*/ 6475349 h 6479439"/>
              <a:gd name="connsiteX159" fmla="*/ 6457337 w 9586368"/>
              <a:gd name="connsiteY159" fmla="*/ 6465478 h 6479439"/>
              <a:gd name="connsiteX160" fmla="*/ 6222042 w 9586368"/>
              <a:gd name="connsiteY160" fmla="*/ 6461440 h 6479439"/>
              <a:gd name="connsiteX161" fmla="*/ 6231952 w 9586368"/>
              <a:gd name="connsiteY161" fmla="*/ 6461440 h 6479439"/>
              <a:gd name="connsiteX162" fmla="*/ 6235971 w 9586368"/>
              <a:gd name="connsiteY162" fmla="*/ 6465478 h 6479439"/>
              <a:gd name="connsiteX163" fmla="*/ 6235971 w 9586368"/>
              <a:gd name="connsiteY163" fmla="*/ 6475349 h 6479439"/>
              <a:gd name="connsiteX164" fmla="*/ 6231952 w 9586368"/>
              <a:gd name="connsiteY164" fmla="*/ 6479388 h 6479439"/>
              <a:gd name="connsiteX165" fmla="*/ 6222042 w 9586368"/>
              <a:gd name="connsiteY165" fmla="*/ 6479388 h 6479439"/>
              <a:gd name="connsiteX166" fmla="*/ 6218023 w 9586368"/>
              <a:gd name="connsiteY166" fmla="*/ 6475349 h 6479439"/>
              <a:gd name="connsiteX167" fmla="*/ 6218023 w 9586368"/>
              <a:gd name="connsiteY167" fmla="*/ 6465478 h 6479439"/>
              <a:gd name="connsiteX168" fmla="*/ 5982729 w 9586368"/>
              <a:gd name="connsiteY168" fmla="*/ 6461440 h 6479439"/>
              <a:gd name="connsiteX169" fmla="*/ 5992639 w 9586368"/>
              <a:gd name="connsiteY169" fmla="*/ 6461440 h 6479439"/>
              <a:gd name="connsiteX170" fmla="*/ 5996658 w 9586368"/>
              <a:gd name="connsiteY170" fmla="*/ 6465478 h 6479439"/>
              <a:gd name="connsiteX171" fmla="*/ 5996658 w 9586368"/>
              <a:gd name="connsiteY171" fmla="*/ 6475349 h 6479439"/>
              <a:gd name="connsiteX172" fmla="*/ 5992639 w 9586368"/>
              <a:gd name="connsiteY172" fmla="*/ 6479388 h 6479439"/>
              <a:gd name="connsiteX173" fmla="*/ 5982729 w 9586368"/>
              <a:gd name="connsiteY173" fmla="*/ 6479388 h 6479439"/>
              <a:gd name="connsiteX174" fmla="*/ 5978710 w 9586368"/>
              <a:gd name="connsiteY174" fmla="*/ 6475349 h 6479439"/>
              <a:gd name="connsiteX175" fmla="*/ 5978710 w 9586368"/>
              <a:gd name="connsiteY175" fmla="*/ 6465478 h 6479439"/>
              <a:gd name="connsiteX176" fmla="*/ 5743412 w 9586368"/>
              <a:gd name="connsiteY176" fmla="*/ 6461440 h 6479439"/>
              <a:gd name="connsiteX177" fmla="*/ 5753323 w 9586368"/>
              <a:gd name="connsiteY177" fmla="*/ 6461440 h 6479439"/>
              <a:gd name="connsiteX178" fmla="*/ 5757342 w 9586368"/>
              <a:gd name="connsiteY178" fmla="*/ 6465478 h 6479439"/>
              <a:gd name="connsiteX179" fmla="*/ 5757342 w 9586368"/>
              <a:gd name="connsiteY179" fmla="*/ 6475349 h 6479439"/>
              <a:gd name="connsiteX180" fmla="*/ 5753323 w 9586368"/>
              <a:gd name="connsiteY180" fmla="*/ 6479388 h 6479439"/>
              <a:gd name="connsiteX181" fmla="*/ 5743412 w 9586368"/>
              <a:gd name="connsiteY181" fmla="*/ 6479388 h 6479439"/>
              <a:gd name="connsiteX182" fmla="*/ 5739393 w 9586368"/>
              <a:gd name="connsiteY182" fmla="*/ 6475349 h 6479439"/>
              <a:gd name="connsiteX183" fmla="*/ 5739393 w 9586368"/>
              <a:gd name="connsiteY183" fmla="*/ 6465478 h 6479439"/>
              <a:gd name="connsiteX184" fmla="*/ 5504099 w 9586368"/>
              <a:gd name="connsiteY184" fmla="*/ 6461440 h 6479439"/>
              <a:gd name="connsiteX185" fmla="*/ 5514010 w 9586368"/>
              <a:gd name="connsiteY185" fmla="*/ 6461440 h 6479439"/>
              <a:gd name="connsiteX186" fmla="*/ 5518029 w 9586368"/>
              <a:gd name="connsiteY186" fmla="*/ 6465478 h 6479439"/>
              <a:gd name="connsiteX187" fmla="*/ 5518029 w 9586368"/>
              <a:gd name="connsiteY187" fmla="*/ 6475349 h 6479439"/>
              <a:gd name="connsiteX188" fmla="*/ 5514010 w 9586368"/>
              <a:gd name="connsiteY188" fmla="*/ 6479388 h 6479439"/>
              <a:gd name="connsiteX189" fmla="*/ 5504099 w 9586368"/>
              <a:gd name="connsiteY189" fmla="*/ 6479388 h 6479439"/>
              <a:gd name="connsiteX190" fmla="*/ 5500080 w 9586368"/>
              <a:gd name="connsiteY190" fmla="*/ 6475349 h 6479439"/>
              <a:gd name="connsiteX191" fmla="*/ 5500080 w 9586368"/>
              <a:gd name="connsiteY191" fmla="*/ 6465478 h 6479439"/>
              <a:gd name="connsiteX192" fmla="*/ 5264784 w 9586368"/>
              <a:gd name="connsiteY192" fmla="*/ 6461440 h 6479439"/>
              <a:gd name="connsiteX193" fmla="*/ 5274694 w 9586368"/>
              <a:gd name="connsiteY193" fmla="*/ 6461440 h 6479439"/>
              <a:gd name="connsiteX194" fmla="*/ 5278713 w 9586368"/>
              <a:gd name="connsiteY194" fmla="*/ 6465478 h 6479439"/>
              <a:gd name="connsiteX195" fmla="*/ 5278713 w 9586368"/>
              <a:gd name="connsiteY195" fmla="*/ 6475349 h 6479439"/>
              <a:gd name="connsiteX196" fmla="*/ 5274694 w 9586368"/>
              <a:gd name="connsiteY196" fmla="*/ 6479388 h 6479439"/>
              <a:gd name="connsiteX197" fmla="*/ 5264784 w 9586368"/>
              <a:gd name="connsiteY197" fmla="*/ 6479388 h 6479439"/>
              <a:gd name="connsiteX198" fmla="*/ 5260765 w 9586368"/>
              <a:gd name="connsiteY198" fmla="*/ 6475349 h 6479439"/>
              <a:gd name="connsiteX199" fmla="*/ 5260765 w 9586368"/>
              <a:gd name="connsiteY199" fmla="*/ 6465478 h 6479439"/>
              <a:gd name="connsiteX200" fmla="*/ 5025470 w 9586368"/>
              <a:gd name="connsiteY200" fmla="*/ 6461440 h 6479439"/>
              <a:gd name="connsiteX201" fmla="*/ 5035381 w 9586368"/>
              <a:gd name="connsiteY201" fmla="*/ 6461440 h 6479439"/>
              <a:gd name="connsiteX202" fmla="*/ 5039400 w 9586368"/>
              <a:gd name="connsiteY202" fmla="*/ 6465478 h 6479439"/>
              <a:gd name="connsiteX203" fmla="*/ 5039400 w 9586368"/>
              <a:gd name="connsiteY203" fmla="*/ 6475349 h 6479439"/>
              <a:gd name="connsiteX204" fmla="*/ 5035381 w 9586368"/>
              <a:gd name="connsiteY204" fmla="*/ 6479388 h 6479439"/>
              <a:gd name="connsiteX205" fmla="*/ 5025470 w 9586368"/>
              <a:gd name="connsiteY205" fmla="*/ 6479388 h 6479439"/>
              <a:gd name="connsiteX206" fmla="*/ 5021451 w 9586368"/>
              <a:gd name="connsiteY206" fmla="*/ 6475349 h 6479439"/>
              <a:gd name="connsiteX207" fmla="*/ 5021451 w 9586368"/>
              <a:gd name="connsiteY207" fmla="*/ 6465478 h 6479439"/>
              <a:gd name="connsiteX208" fmla="*/ 4786241 w 9586368"/>
              <a:gd name="connsiteY208" fmla="*/ 6461440 h 6479439"/>
              <a:gd name="connsiteX209" fmla="*/ 4796152 w 9586368"/>
              <a:gd name="connsiteY209" fmla="*/ 6461440 h 6479439"/>
              <a:gd name="connsiteX210" fmla="*/ 4800171 w 9586368"/>
              <a:gd name="connsiteY210" fmla="*/ 6465478 h 6479439"/>
              <a:gd name="connsiteX211" fmla="*/ 4800171 w 9586368"/>
              <a:gd name="connsiteY211" fmla="*/ 6475349 h 6479439"/>
              <a:gd name="connsiteX212" fmla="*/ 4796152 w 9586368"/>
              <a:gd name="connsiteY212" fmla="*/ 6479388 h 6479439"/>
              <a:gd name="connsiteX213" fmla="*/ 4786241 w 9586368"/>
              <a:gd name="connsiteY213" fmla="*/ 6479388 h 6479439"/>
              <a:gd name="connsiteX214" fmla="*/ 4782224 w 9586368"/>
              <a:gd name="connsiteY214" fmla="*/ 6475349 h 6479439"/>
              <a:gd name="connsiteX215" fmla="*/ 4782224 w 9586368"/>
              <a:gd name="connsiteY215" fmla="*/ 6465478 h 6479439"/>
              <a:gd name="connsiteX216" fmla="*/ 4546929 w 9586368"/>
              <a:gd name="connsiteY216" fmla="*/ 6461440 h 6479439"/>
              <a:gd name="connsiteX217" fmla="*/ 4556840 w 9586368"/>
              <a:gd name="connsiteY217" fmla="*/ 6461440 h 6479439"/>
              <a:gd name="connsiteX218" fmla="*/ 4560859 w 9586368"/>
              <a:gd name="connsiteY218" fmla="*/ 6465478 h 6479439"/>
              <a:gd name="connsiteX219" fmla="*/ 4560859 w 9586368"/>
              <a:gd name="connsiteY219" fmla="*/ 6475349 h 6479439"/>
              <a:gd name="connsiteX220" fmla="*/ 4556840 w 9586368"/>
              <a:gd name="connsiteY220" fmla="*/ 6479388 h 6479439"/>
              <a:gd name="connsiteX221" fmla="*/ 4546929 w 9586368"/>
              <a:gd name="connsiteY221" fmla="*/ 6479388 h 6479439"/>
              <a:gd name="connsiteX222" fmla="*/ 4542910 w 9586368"/>
              <a:gd name="connsiteY222" fmla="*/ 6475349 h 6479439"/>
              <a:gd name="connsiteX223" fmla="*/ 4542910 w 9586368"/>
              <a:gd name="connsiteY223" fmla="*/ 6465478 h 6479439"/>
              <a:gd name="connsiteX224" fmla="*/ 4307612 w 9586368"/>
              <a:gd name="connsiteY224" fmla="*/ 6461440 h 6479439"/>
              <a:gd name="connsiteX225" fmla="*/ 4317523 w 9586368"/>
              <a:gd name="connsiteY225" fmla="*/ 6461440 h 6479439"/>
              <a:gd name="connsiteX226" fmla="*/ 4321543 w 9586368"/>
              <a:gd name="connsiteY226" fmla="*/ 6465478 h 6479439"/>
              <a:gd name="connsiteX227" fmla="*/ 4321543 w 9586368"/>
              <a:gd name="connsiteY227" fmla="*/ 6475349 h 6479439"/>
              <a:gd name="connsiteX228" fmla="*/ 4317523 w 9586368"/>
              <a:gd name="connsiteY228" fmla="*/ 6479388 h 6479439"/>
              <a:gd name="connsiteX229" fmla="*/ 4307612 w 9586368"/>
              <a:gd name="connsiteY229" fmla="*/ 6479388 h 6479439"/>
              <a:gd name="connsiteX230" fmla="*/ 4303595 w 9586368"/>
              <a:gd name="connsiteY230" fmla="*/ 6475349 h 6479439"/>
              <a:gd name="connsiteX231" fmla="*/ 4303595 w 9586368"/>
              <a:gd name="connsiteY231" fmla="*/ 6465478 h 6479439"/>
              <a:gd name="connsiteX232" fmla="*/ 4068297 w 9586368"/>
              <a:gd name="connsiteY232" fmla="*/ 6461440 h 6479439"/>
              <a:gd name="connsiteX233" fmla="*/ 4078210 w 9586368"/>
              <a:gd name="connsiteY233" fmla="*/ 6461440 h 6479439"/>
              <a:gd name="connsiteX234" fmla="*/ 4082229 w 9586368"/>
              <a:gd name="connsiteY234" fmla="*/ 6465478 h 6479439"/>
              <a:gd name="connsiteX235" fmla="*/ 4082229 w 9586368"/>
              <a:gd name="connsiteY235" fmla="*/ 6475349 h 6479439"/>
              <a:gd name="connsiteX236" fmla="*/ 4078210 w 9586368"/>
              <a:gd name="connsiteY236" fmla="*/ 6479388 h 6479439"/>
              <a:gd name="connsiteX237" fmla="*/ 4068297 w 9586368"/>
              <a:gd name="connsiteY237" fmla="*/ 6479388 h 6479439"/>
              <a:gd name="connsiteX238" fmla="*/ 4064278 w 9586368"/>
              <a:gd name="connsiteY238" fmla="*/ 6475349 h 6479439"/>
              <a:gd name="connsiteX239" fmla="*/ 4064278 w 9586368"/>
              <a:gd name="connsiteY239" fmla="*/ 6465478 h 6479439"/>
              <a:gd name="connsiteX240" fmla="*/ 3828990 w 9586368"/>
              <a:gd name="connsiteY240" fmla="*/ 6461440 h 6479439"/>
              <a:gd name="connsiteX241" fmla="*/ 3838899 w 9586368"/>
              <a:gd name="connsiteY241" fmla="*/ 6461440 h 6479439"/>
              <a:gd name="connsiteX242" fmla="*/ 3842917 w 9586368"/>
              <a:gd name="connsiteY242" fmla="*/ 6465478 h 6479439"/>
              <a:gd name="connsiteX243" fmla="*/ 3842917 w 9586368"/>
              <a:gd name="connsiteY243" fmla="*/ 6475349 h 6479439"/>
              <a:gd name="connsiteX244" fmla="*/ 3838899 w 9586368"/>
              <a:gd name="connsiteY244" fmla="*/ 6479388 h 6479439"/>
              <a:gd name="connsiteX245" fmla="*/ 3828990 w 9586368"/>
              <a:gd name="connsiteY245" fmla="*/ 6479388 h 6479439"/>
              <a:gd name="connsiteX246" fmla="*/ 3824971 w 9586368"/>
              <a:gd name="connsiteY246" fmla="*/ 6475349 h 6479439"/>
              <a:gd name="connsiteX247" fmla="*/ 3824971 w 9586368"/>
              <a:gd name="connsiteY247" fmla="*/ 6465478 h 6479439"/>
              <a:gd name="connsiteX248" fmla="*/ 3589676 w 9586368"/>
              <a:gd name="connsiteY248" fmla="*/ 6461440 h 6479439"/>
              <a:gd name="connsiteX249" fmla="*/ 3599585 w 9586368"/>
              <a:gd name="connsiteY249" fmla="*/ 6461440 h 6479439"/>
              <a:gd name="connsiteX250" fmla="*/ 3603604 w 9586368"/>
              <a:gd name="connsiteY250" fmla="*/ 6465478 h 6479439"/>
              <a:gd name="connsiteX251" fmla="*/ 3603604 w 9586368"/>
              <a:gd name="connsiteY251" fmla="*/ 6475349 h 6479439"/>
              <a:gd name="connsiteX252" fmla="*/ 3599585 w 9586368"/>
              <a:gd name="connsiteY252" fmla="*/ 6479388 h 6479439"/>
              <a:gd name="connsiteX253" fmla="*/ 3589676 w 9586368"/>
              <a:gd name="connsiteY253" fmla="*/ 6479388 h 6479439"/>
              <a:gd name="connsiteX254" fmla="*/ 3585657 w 9586368"/>
              <a:gd name="connsiteY254" fmla="*/ 6475349 h 6479439"/>
              <a:gd name="connsiteX255" fmla="*/ 3585657 w 9586368"/>
              <a:gd name="connsiteY255" fmla="*/ 6465478 h 6479439"/>
              <a:gd name="connsiteX256" fmla="*/ 3350359 w 9586368"/>
              <a:gd name="connsiteY256" fmla="*/ 6461440 h 6479439"/>
              <a:gd name="connsiteX257" fmla="*/ 3360268 w 9586368"/>
              <a:gd name="connsiteY257" fmla="*/ 6461440 h 6479439"/>
              <a:gd name="connsiteX258" fmla="*/ 3364287 w 9586368"/>
              <a:gd name="connsiteY258" fmla="*/ 6465478 h 6479439"/>
              <a:gd name="connsiteX259" fmla="*/ 3364287 w 9586368"/>
              <a:gd name="connsiteY259" fmla="*/ 6475349 h 6479439"/>
              <a:gd name="connsiteX260" fmla="*/ 3360268 w 9586368"/>
              <a:gd name="connsiteY260" fmla="*/ 6479388 h 6479439"/>
              <a:gd name="connsiteX261" fmla="*/ 3350359 w 9586368"/>
              <a:gd name="connsiteY261" fmla="*/ 6479388 h 6479439"/>
              <a:gd name="connsiteX262" fmla="*/ 3346340 w 9586368"/>
              <a:gd name="connsiteY262" fmla="*/ 6475349 h 6479439"/>
              <a:gd name="connsiteX263" fmla="*/ 3346340 w 9586368"/>
              <a:gd name="connsiteY263" fmla="*/ 6465478 h 6479439"/>
              <a:gd name="connsiteX264" fmla="*/ 3111048 w 9586368"/>
              <a:gd name="connsiteY264" fmla="*/ 6461440 h 6479439"/>
              <a:gd name="connsiteX265" fmla="*/ 3120959 w 9586368"/>
              <a:gd name="connsiteY265" fmla="*/ 6461440 h 6479439"/>
              <a:gd name="connsiteX266" fmla="*/ 3124977 w 9586368"/>
              <a:gd name="connsiteY266" fmla="*/ 6465478 h 6479439"/>
              <a:gd name="connsiteX267" fmla="*/ 3124977 w 9586368"/>
              <a:gd name="connsiteY267" fmla="*/ 6475349 h 6479439"/>
              <a:gd name="connsiteX268" fmla="*/ 3120959 w 9586368"/>
              <a:gd name="connsiteY268" fmla="*/ 6479388 h 6479439"/>
              <a:gd name="connsiteX269" fmla="*/ 3111048 w 9586368"/>
              <a:gd name="connsiteY269" fmla="*/ 6479388 h 6479439"/>
              <a:gd name="connsiteX270" fmla="*/ 3107029 w 9586368"/>
              <a:gd name="connsiteY270" fmla="*/ 6475349 h 6479439"/>
              <a:gd name="connsiteX271" fmla="*/ 3107029 w 9586368"/>
              <a:gd name="connsiteY271" fmla="*/ 6465478 h 6479439"/>
              <a:gd name="connsiteX272" fmla="*/ 2871737 w 9586368"/>
              <a:gd name="connsiteY272" fmla="*/ 6461440 h 6479439"/>
              <a:gd name="connsiteX273" fmla="*/ 2881646 w 9586368"/>
              <a:gd name="connsiteY273" fmla="*/ 6461440 h 6479439"/>
              <a:gd name="connsiteX274" fmla="*/ 2885666 w 9586368"/>
              <a:gd name="connsiteY274" fmla="*/ 6465478 h 6479439"/>
              <a:gd name="connsiteX275" fmla="*/ 2885666 w 9586368"/>
              <a:gd name="connsiteY275" fmla="*/ 6475349 h 6479439"/>
              <a:gd name="connsiteX276" fmla="*/ 2881646 w 9586368"/>
              <a:gd name="connsiteY276" fmla="*/ 6479388 h 6479439"/>
              <a:gd name="connsiteX277" fmla="*/ 2871737 w 9586368"/>
              <a:gd name="connsiteY277" fmla="*/ 6479388 h 6479439"/>
              <a:gd name="connsiteX278" fmla="*/ 2867717 w 9586368"/>
              <a:gd name="connsiteY278" fmla="*/ 6475349 h 6479439"/>
              <a:gd name="connsiteX279" fmla="*/ 2867717 w 9586368"/>
              <a:gd name="connsiteY279" fmla="*/ 6465478 h 6479439"/>
              <a:gd name="connsiteX280" fmla="*/ 2632423 w 9586368"/>
              <a:gd name="connsiteY280" fmla="*/ 6461440 h 6479439"/>
              <a:gd name="connsiteX281" fmla="*/ 2642334 w 9586368"/>
              <a:gd name="connsiteY281" fmla="*/ 6461440 h 6479439"/>
              <a:gd name="connsiteX282" fmla="*/ 2646352 w 9586368"/>
              <a:gd name="connsiteY282" fmla="*/ 6465478 h 6479439"/>
              <a:gd name="connsiteX283" fmla="*/ 2646352 w 9586368"/>
              <a:gd name="connsiteY283" fmla="*/ 6475349 h 6479439"/>
              <a:gd name="connsiteX284" fmla="*/ 2642334 w 9586368"/>
              <a:gd name="connsiteY284" fmla="*/ 6479388 h 6479439"/>
              <a:gd name="connsiteX285" fmla="*/ 2632423 w 9586368"/>
              <a:gd name="connsiteY285" fmla="*/ 6479388 h 6479439"/>
              <a:gd name="connsiteX286" fmla="*/ 2628404 w 9586368"/>
              <a:gd name="connsiteY286" fmla="*/ 6475349 h 6479439"/>
              <a:gd name="connsiteX287" fmla="*/ 2628404 w 9586368"/>
              <a:gd name="connsiteY287" fmla="*/ 6465478 h 6479439"/>
              <a:gd name="connsiteX288" fmla="*/ 2393104 w 9586368"/>
              <a:gd name="connsiteY288" fmla="*/ 6461440 h 6479439"/>
              <a:gd name="connsiteX289" fmla="*/ 2403015 w 9586368"/>
              <a:gd name="connsiteY289" fmla="*/ 6461440 h 6479439"/>
              <a:gd name="connsiteX290" fmla="*/ 2407034 w 9586368"/>
              <a:gd name="connsiteY290" fmla="*/ 6465478 h 6479439"/>
              <a:gd name="connsiteX291" fmla="*/ 2407034 w 9586368"/>
              <a:gd name="connsiteY291" fmla="*/ 6475349 h 6479439"/>
              <a:gd name="connsiteX292" fmla="*/ 2403015 w 9586368"/>
              <a:gd name="connsiteY292" fmla="*/ 6479388 h 6479439"/>
              <a:gd name="connsiteX293" fmla="*/ 2393104 w 9586368"/>
              <a:gd name="connsiteY293" fmla="*/ 6479388 h 6479439"/>
              <a:gd name="connsiteX294" fmla="*/ 2389087 w 9586368"/>
              <a:gd name="connsiteY294" fmla="*/ 6475349 h 6479439"/>
              <a:gd name="connsiteX295" fmla="*/ 2389087 w 9586368"/>
              <a:gd name="connsiteY295" fmla="*/ 6465478 h 6479439"/>
              <a:gd name="connsiteX296" fmla="*/ 721958 w 9586368"/>
              <a:gd name="connsiteY296" fmla="*/ 6461440 h 6479439"/>
              <a:gd name="connsiteX297" fmla="*/ 731868 w 9586368"/>
              <a:gd name="connsiteY297" fmla="*/ 6461440 h 6479439"/>
              <a:gd name="connsiteX298" fmla="*/ 735887 w 9586368"/>
              <a:gd name="connsiteY298" fmla="*/ 6465478 h 6479439"/>
              <a:gd name="connsiteX299" fmla="*/ 735887 w 9586368"/>
              <a:gd name="connsiteY299" fmla="*/ 6475349 h 6479439"/>
              <a:gd name="connsiteX300" fmla="*/ 731868 w 9586368"/>
              <a:gd name="connsiteY300" fmla="*/ 6479388 h 6479439"/>
              <a:gd name="connsiteX301" fmla="*/ 721958 w 9586368"/>
              <a:gd name="connsiteY301" fmla="*/ 6479388 h 6479439"/>
              <a:gd name="connsiteX302" fmla="*/ 717939 w 9586368"/>
              <a:gd name="connsiteY302" fmla="*/ 6475349 h 6479439"/>
              <a:gd name="connsiteX303" fmla="*/ 717939 w 9586368"/>
              <a:gd name="connsiteY303" fmla="*/ 6465478 h 6479439"/>
              <a:gd name="connsiteX304" fmla="*/ 482646 w 9586368"/>
              <a:gd name="connsiteY304" fmla="*/ 6461440 h 6479439"/>
              <a:gd name="connsiteX305" fmla="*/ 492556 w 9586368"/>
              <a:gd name="connsiteY305" fmla="*/ 6461440 h 6479439"/>
              <a:gd name="connsiteX306" fmla="*/ 496575 w 9586368"/>
              <a:gd name="connsiteY306" fmla="*/ 6465478 h 6479439"/>
              <a:gd name="connsiteX307" fmla="*/ 496575 w 9586368"/>
              <a:gd name="connsiteY307" fmla="*/ 6475349 h 6479439"/>
              <a:gd name="connsiteX308" fmla="*/ 492556 w 9586368"/>
              <a:gd name="connsiteY308" fmla="*/ 6479388 h 6479439"/>
              <a:gd name="connsiteX309" fmla="*/ 482646 w 9586368"/>
              <a:gd name="connsiteY309" fmla="*/ 6479388 h 6479439"/>
              <a:gd name="connsiteX310" fmla="*/ 478627 w 9586368"/>
              <a:gd name="connsiteY310" fmla="*/ 6475349 h 6479439"/>
              <a:gd name="connsiteX311" fmla="*/ 478627 w 9586368"/>
              <a:gd name="connsiteY311" fmla="*/ 6465478 h 6479439"/>
              <a:gd name="connsiteX312" fmla="*/ 243332 w 9586368"/>
              <a:gd name="connsiteY312" fmla="*/ 6461440 h 6479439"/>
              <a:gd name="connsiteX313" fmla="*/ 253242 w 9586368"/>
              <a:gd name="connsiteY313" fmla="*/ 6461440 h 6479439"/>
              <a:gd name="connsiteX314" fmla="*/ 257261 w 9586368"/>
              <a:gd name="connsiteY314" fmla="*/ 6465478 h 6479439"/>
              <a:gd name="connsiteX315" fmla="*/ 257261 w 9586368"/>
              <a:gd name="connsiteY315" fmla="*/ 6475349 h 6479439"/>
              <a:gd name="connsiteX316" fmla="*/ 253242 w 9586368"/>
              <a:gd name="connsiteY316" fmla="*/ 6479388 h 6479439"/>
              <a:gd name="connsiteX317" fmla="*/ 243332 w 9586368"/>
              <a:gd name="connsiteY317" fmla="*/ 6479388 h 6479439"/>
              <a:gd name="connsiteX318" fmla="*/ 239313 w 9586368"/>
              <a:gd name="connsiteY318" fmla="*/ 6475349 h 6479439"/>
              <a:gd name="connsiteX319" fmla="*/ 239313 w 9586368"/>
              <a:gd name="connsiteY319" fmla="*/ 6465478 h 6479439"/>
              <a:gd name="connsiteX320" fmla="*/ 4019 w 9586368"/>
              <a:gd name="connsiteY320" fmla="*/ 6461440 h 6479439"/>
              <a:gd name="connsiteX321" fmla="*/ 13929 w 9586368"/>
              <a:gd name="connsiteY321" fmla="*/ 6461440 h 6479439"/>
              <a:gd name="connsiteX322" fmla="*/ 17949 w 9586368"/>
              <a:gd name="connsiteY322" fmla="*/ 6465478 h 6479439"/>
              <a:gd name="connsiteX323" fmla="*/ 17949 w 9586368"/>
              <a:gd name="connsiteY323" fmla="*/ 6475349 h 6479439"/>
              <a:gd name="connsiteX324" fmla="*/ 13929 w 9586368"/>
              <a:gd name="connsiteY324" fmla="*/ 6479388 h 6479439"/>
              <a:gd name="connsiteX325" fmla="*/ 4019 w 9586368"/>
              <a:gd name="connsiteY325" fmla="*/ 6479388 h 6479439"/>
              <a:gd name="connsiteX326" fmla="*/ 0 w 9586368"/>
              <a:gd name="connsiteY326" fmla="*/ 6475349 h 6479439"/>
              <a:gd name="connsiteX327" fmla="*/ 0 w 9586368"/>
              <a:gd name="connsiteY327" fmla="*/ 6465478 h 6479439"/>
              <a:gd name="connsiteX328" fmla="*/ 9572438 w 9586368"/>
              <a:gd name="connsiteY328" fmla="*/ 6222160 h 6479439"/>
              <a:gd name="connsiteX329" fmla="*/ 9582349 w 9586368"/>
              <a:gd name="connsiteY329" fmla="*/ 6222160 h 6479439"/>
              <a:gd name="connsiteX330" fmla="*/ 9586368 w 9586368"/>
              <a:gd name="connsiteY330" fmla="*/ 6226198 h 6479439"/>
              <a:gd name="connsiteX331" fmla="*/ 9586368 w 9586368"/>
              <a:gd name="connsiteY331" fmla="*/ 6236069 h 6479439"/>
              <a:gd name="connsiteX332" fmla="*/ 9582349 w 9586368"/>
              <a:gd name="connsiteY332" fmla="*/ 6240109 h 6479439"/>
              <a:gd name="connsiteX333" fmla="*/ 9572438 w 9586368"/>
              <a:gd name="connsiteY333" fmla="*/ 6240109 h 6479439"/>
              <a:gd name="connsiteX334" fmla="*/ 9568419 w 9586368"/>
              <a:gd name="connsiteY334" fmla="*/ 6236069 h 6479439"/>
              <a:gd name="connsiteX335" fmla="*/ 9568419 w 9586368"/>
              <a:gd name="connsiteY335" fmla="*/ 6226198 h 6479439"/>
              <a:gd name="connsiteX336" fmla="*/ 9333125 w 9586368"/>
              <a:gd name="connsiteY336" fmla="*/ 6222160 h 6479439"/>
              <a:gd name="connsiteX337" fmla="*/ 9343036 w 9586368"/>
              <a:gd name="connsiteY337" fmla="*/ 6222160 h 6479439"/>
              <a:gd name="connsiteX338" fmla="*/ 9347055 w 9586368"/>
              <a:gd name="connsiteY338" fmla="*/ 6226198 h 6479439"/>
              <a:gd name="connsiteX339" fmla="*/ 9347055 w 9586368"/>
              <a:gd name="connsiteY339" fmla="*/ 6236069 h 6479439"/>
              <a:gd name="connsiteX340" fmla="*/ 9343036 w 9586368"/>
              <a:gd name="connsiteY340" fmla="*/ 6240109 h 6479439"/>
              <a:gd name="connsiteX341" fmla="*/ 9333125 w 9586368"/>
              <a:gd name="connsiteY341" fmla="*/ 6240109 h 6479439"/>
              <a:gd name="connsiteX342" fmla="*/ 9329106 w 9586368"/>
              <a:gd name="connsiteY342" fmla="*/ 6236069 h 6479439"/>
              <a:gd name="connsiteX343" fmla="*/ 9329106 w 9586368"/>
              <a:gd name="connsiteY343" fmla="*/ 6226198 h 6479439"/>
              <a:gd name="connsiteX344" fmla="*/ 9093811 w 9586368"/>
              <a:gd name="connsiteY344" fmla="*/ 6222160 h 6479439"/>
              <a:gd name="connsiteX345" fmla="*/ 9103722 w 9586368"/>
              <a:gd name="connsiteY345" fmla="*/ 6222160 h 6479439"/>
              <a:gd name="connsiteX346" fmla="*/ 9107741 w 9586368"/>
              <a:gd name="connsiteY346" fmla="*/ 6226198 h 6479439"/>
              <a:gd name="connsiteX347" fmla="*/ 9107741 w 9586368"/>
              <a:gd name="connsiteY347" fmla="*/ 6236069 h 6479439"/>
              <a:gd name="connsiteX348" fmla="*/ 9103722 w 9586368"/>
              <a:gd name="connsiteY348" fmla="*/ 6240109 h 6479439"/>
              <a:gd name="connsiteX349" fmla="*/ 9093811 w 9586368"/>
              <a:gd name="connsiteY349" fmla="*/ 6240109 h 6479439"/>
              <a:gd name="connsiteX350" fmla="*/ 9089792 w 9586368"/>
              <a:gd name="connsiteY350" fmla="*/ 6236069 h 6479439"/>
              <a:gd name="connsiteX351" fmla="*/ 9089792 w 9586368"/>
              <a:gd name="connsiteY351" fmla="*/ 6226198 h 6479439"/>
              <a:gd name="connsiteX352" fmla="*/ 8854496 w 9586368"/>
              <a:gd name="connsiteY352" fmla="*/ 6222160 h 6479439"/>
              <a:gd name="connsiteX353" fmla="*/ 8864407 w 9586368"/>
              <a:gd name="connsiteY353" fmla="*/ 6222160 h 6479439"/>
              <a:gd name="connsiteX354" fmla="*/ 8868426 w 9586368"/>
              <a:gd name="connsiteY354" fmla="*/ 6226198 h 6479439"/>
              <a:gd name="connsiteX355" fmla="*/ 8868426 w 9586368"/>
              <a:gd name="connsiteY355" fmla="*/ 6236069 h 6479439"/>
              <a:gd name="connsiteX356" fmla="*/ 8864407 w 9586368"/>
              <a:gd name="connsiteY356" fmla="*/ 6240109 h 6479439"/>
              <a:gd name="connsiteX357" fmla="*/ 8854496 w 9586368"/>
              <a:gd name="connsiteY357" fmla="*/ 6240109 h 6479439"/>
              <a:gd name="connsiteX358" fmla="*/ 8850477 w 9586368"/>
              <a:gd name="connsiteY358" fmla="*/ 6236069 h 6479439"/>
              <a:gd name="connsiteX359" fmla="*/ 8850477 w 9586368"/>
              <a:gd name="connsiteY359" fmla="*/ 6226198 h 6479439"/>
              <a:gd name="connsiteX360" fmla="*/ 8615184 w 9586368"/>
              <a:gd name="connsiteY360" fmla="*/ 6222160 h 6479439"/>
              <a:gd name="connsiteX361" fmla="*/ 8625095 w 9586368"/>
              <a:gd name="connsiteY361" fmla="*/ 6222160 h 6479439"/>
              <a:gd name="connsiteX362" fmla="*/ 8629114 w 9586368"/>
              <a:gd name="connsiteY362" fmla="*/ 6226198 h 6479439"/>
              <a:gd name="connsiteX363" fmla="*/ 8629114 w 9586368"/>
              <a:gd name="connsiteY363" fmla="*/ 6236069 h 6479439"/>
              <a:gd name="connsiteX364" fmla="*/ 8625095 w 9586368"/>
              <a:gd name="connsiteY364" fmla="*/ 6240109 h 6479439"/>
              <a:gd name="connsiteX365" fmla="*/ 8615184 w 9586368"/>
              <a:gd name="connsiteY365" fmla="*/ 6240109 h 6479439"/>
              <a:gd name="connsiteX366" fmla="*/ 8611165 w 9586368"/>
              <a:gd name="connsiteY366" fmla="*/ 6236069 h 6479439"/>
              <a:gd name="connsiteX367" fmla="*/ 8611165 w 9586368"/>
              <a:gd name="connsiteY367" fmla="*/ 6226198 h 6479439"/>
              <a:gd name="connsiteX368" fmla="*/ 8375869 w 9586368"/>
              <a:gd name="connsiteY368" fmla="*/ 6222160 h 6479439"/>
              <a:gd name="connsiteX369" fmla="*/ 8385779 w 9586368"/>
              <a:gd name="connsiteY369" fmla="*/ 6222160 h 6479439"/>
              <a:gd name="connsiteX370" fmla="*/ 8389799 w 9586368"/>
              <a:gd name="connsiteY370" fmla="*/ 6226198 h 6479439"/>
              <a:gd name="connsiteX371" fmla="*/ 8389799 w 9586368"/>
              <a:gd name="connsiteY371" fmla="*/ 6236069 h 6479439"/>
              <a:gd name="connsiteX372" fmla="*/ 8385779 w 9586368"/>
              <a:gd name="connsiteY372" fmla="*/ 6240109 h 6479439"/>
              <a:gd name="connsiteX373" fmla="*/ 8375869 w 9586368"/>
              <a:gd name="connsiteY373" fmla="*/ 6240109 h 6479439"/>
              <a:gd name="connsiteX374" fmla="*/ 8371850 w 9586368"/>
              <a:gd name="connsiteY374" fmla="*/ 6236069 h 6479439"/>
              <a:gd name="connsiteX375" fmla="*/ 8371850 w 9586368"/>
              <a:gd name="connsiteY375" fmla="*/ 6226198 h 6479439"/>
              <a:gd name="connsiteX376" fmla="*/ 8136553 w 9586368"/>
              <a:gd name="connsiteY376" fmla="*/ 6222160 h 6479439"/>
              <a:gd name="connsiteX377" fmla="*/ 8146464 w 9586368"/>
              <a:gd name="connsiteY377" fmla="*/ 6222160 h 6479439"/>
              <a:gd name="connsiteX378" fmla="*/ 8150483 w 9586368"/>
              <a:gd name="connsiteY378" fmla="*/ 6226198 h 6479439"/>
              <a:gd name="connsiteX379" fmla="*/ 8150483 w 9586368"/>
              <a:gd name="connsiteY379" fmla="*/ 6236069 h 6479439"/>
              <a:gd name="connsiteX380" fmla="*/ 8146464 w 9586368"/>
              <a:gd name="connsiteY380" fmla="*/ 6240109 h 6479439"/>
              <a:gd name="connsiteX381" fmla="*/ 8136553 w 9586368"/>
              <a:gd name="connsiteY381" fmla="*/ 6240109 h 6479439"/>
              <a:gd name="connsiteX382" fmla="*/ 8132534 w 9586368"/>
              <a:gd name="connsiteY382" fmla="*/ 6236069 h 6479439"/>
              <a:gd name="connsiteX383" fmla="*/ 8132534 w 9586368"/>
              <a:gd name="connsiteY383" fmla="*/ 6226198 h 6479439"/>
              <a:gd name="connsiteX384" fmla="*/ 7897241 w 9586368"/>
              <a:gd name="connsiteY384" fmla="*/ 6222160 h 6479439"/>
              <a:gd name="connsiteX385" fmla="*/ 7907151 w 9586368"/>
              <a:gd name="connsiteY385" fmla="*/ 6222160 h 6479439"/>
              <a:gd name="connsiteX386" fmla="*/ 7911170 w 9586368"/>
              <a:gd name="connsiteY386" fmla="*/ 6226198 h 6479439"/>
              <a:gd name="connsiteX387" fmla="*/ 7911170 w 9586368"/>
              <a:gd name="connsiteY387" fmla="*/ 6236069 h 6479439"/>
              <a:gd name="connsiteX388" fmla="*/ 7907151 w 9586368"/>
              <a:gd name="connsiteY388" fmla="*/ 6240109 h 6479439"/>
              <a:gd name="connsiteX389" fmla="*/ 7897241 w 9586368"/>
              <a:gd name="connsiteY389" fmla="*/ 6240109 h 6479439"/>
              <a:gd name="connsiteX390" fmla="*/ 7893222 w 9586368"/>
              <a:gd name="connsiteY390" fmla="*/ 6236069 h 6479439"/>
              <a:gd name="connsiteX391" fmla="*/ 7893222 w 9586368"/>
              <a:gd name="connsiteY391" fmla="*/ 6226198 h 6479439"/>
              <a:gd name="connsiteX392" fmla="*/ 7657926 w 9586368"/>
              <a:gd name="connsiteY392" fmla="*/ 6222160 h 6479439"/>
              <a:gd name="connsiteX393" fmla="*/ 7667836 w 9586368"/>
              <a:gd name="connsiteY393" fmla="*/ 6222160 h 6479439"/>
              <a:gd name="connsiteX394" fmla="*/ 7671855 w 9586368"/>
              <a:gd name="connsiteY394" fmla="*/ 6226198 h 6479439"/>
              <a:gd name="connsiteX395" fmla="*/ 7671855 w 9586368"/>
              <a:gd name="connsiteY395" fmla="*/ 6236069 h 6479439"/>
              <a:gd name="connsiteX396" fmla="*/ 7667836 w 9586368"/>
              <a:gd name="connsiteY396" fmla="*/ 6240109 h 6479439"/>
              <a:gd name="connsiteX397" fmla="*/ 7657926 w 9586368"/>
              <a:gd name="connsiteY397" fmla="*/ 6240109 h 6479439"/>
              <a:gd name="connsiteX398" fmla="*/ 7653906 w 9586368"/>
              <a:gd name="connsiteY398" fmla="*/ 6236069 h 6479439"/>
              <a:gd name="connsiteX399" fmla="*/ 7653906 w 9586368"/>
              <a:gd name="connsiteY399" fmla="*/ 6226198 h 6479439"/>
              <a:gd name="connsiteX400" fmla="*/ 7418611 w 9586368"/>
              <a:gd name="connsiteY400" fmla="*/ 6222160 h 6479439"/>
              <a:gd name="connsiteX401" fmla="*/ 7428521 w 9586368"/>
              <a:gd name="connsiteY401" fmla="*/ 6222160 h 6479439"/>
              <a:gd name="connsiteX402" fmla="*/ 7432540 w 9586368"/>
              <a:gd name="connsiteY402" fmla="*/ 6226198 h 6479439"/>
              <a:gd name="connsiteX403" fmla="*/ 7432540 w 9586368"/>
              <a:gd name="connsiteY403" fmla="*/ 6236069 h 6479439"/>
              <a:gd name="connsiteX404" fmla="*/ 7428521 w 9586368"/>
              <a:gd name="connsiteY404" fmla="*/ 6240109 h 6479439"/>
              <a:gd name="connsiteX405" fmla="*/ 7418611 w 9586368"/>
              <a:gd name="connsiteY405" fmla="*/ 6240109 h 6479439"/>
              <a:gd name="connsiteX406" fmla="*/ 7414592 w 9586368"/>
              <a:gd name="connsiteY406" fmla="*/ 6236069 h 6479439"/>
              <a:gd name="connsiteX407" fmla="*/ 7414592 w 9586368"/>
              <a:gd name="connsiteY407" fmla="*/ 6226198 h 6479439"/>
              <a:gd name="connsiteX408" fmla="*/ 7179298 w 9586368"/>
              <a:gd name="connsiteY408" fmla="*/ 6222160 h 6479439"/>
              <a:gd name="connsiteX409" fmla="*/ 7189209 w 9586368"/>
              <a:gd name="connsiteY409" fmla="*/ 6222160 h 6479439"/>
              <a:gd name="connsiteX410" fmla="*/ 7193228 w 9586368"/>
              <a:gd name="connsiteY410" fmla="*/ 6226198 h 6479439"/>
              <a:gd name="connsiteX411" fmla="*/ 7193228 w 9586368"/>
              <a:gd name="connsiteY411" fmla="*/ 6236069 h 6479439"/>
              <a:gd name="connsiteX412" fmla="*/ 7189209 w 9586368"/>
              <a:gd name="connsiteY412" fmla="*/ 6240109 h 6479439"/>
              <a:gd name="connsiteX413" fmla="*/ 7179298 w 9586368"/>
              <a:gd name="connsiteY413" fmla="*/ 6240109 h 6479439"/>
              <a:gd name="connsiteX414" fmla="*/ 7175279 w 9586368"/>
              <a:gd name="connsiteY414" fmla="*/ 6236069 h 6479439"/>
              <a:gd name="connsiteX415" fmla="*/ 7175279 w 9586368"/>
              <a:gd name="connsiteY415" fmla="*/ 6226198 h 6479439"/>
              <a:gd name="connsiteX416" fmla="*/ 6939983 w 9586368"/>
              <a:gd name="connsiteY416" fmla="*/ 6222160 h 6479439"/>
              <a:gd name="connsiteX417" fmla="*/ 6949894 w 9586368"/>
              <a:gd name="connsiteY417" fmla="*/ 6222160 h 6479439"/>
              <a:gd name="connsiteX418" fmla="*/ 6953913 w 9586368"/>
              <a:gd name="connsiteY418" fmla="*/ 6226198 h 6479439"/>
              <a:gd name="connsiteX419" fmla="*/ 6953913 w 9586368"/>
              <a:gd name="connsiteY419" fmla="*/ 6236069 h 6479439"/>
              <a:gd name="connsiteX420" fmla="*/ 6949894 w 9586368"/>
              <a:gd name="connsiteY420" fmla="*/ 6240109 h 6479439"/>
              <a:gd name="connsiteX421" fmla="*/ 6939983 w 9586368"/>
              <a:gd name="connsiteY421" fmla="*/ 6240109 h 6479439"/>
              <a:gd name="connsiteX422" fmla="*/ 6935964 w 9586368"/>
              <a:gd name="connsiteY422" fmla="*/ 6236069 h 6479439"/>
              <a:gd name="connsiteX423" fmla="*/ 6935964 w 9586368"/>
              <a:gd name="connsiteY423" fmla="*/ 6226198 h 6479439"/>
              <a:gd name="connsiteX424" fmla="*/ 6700670 w 9586368"/>
              <a:gd name="connsiteY424" fmla="*/ 6222160 h 6479439"/>
              <a:gd name="connsiteX425" fmla="*/ 6710581 w 9586368"/>
              <a:gd name="connsiteY425" fmla="*/ 6222160 h 6479439"/>
              <a:gd name="connsiteX426" fmla="*/ 6714600 w 9586368"/>
              <a:gd name="connsiteY426" fmla="*/ 6226198 h 6479439"/>
              <a:gd name="connsiteX427" fmla="*/ 6714600 w 9586368"/>
              <a:gd name="connsiteY427" fmla="*/ 6236069 h 6479439"/>
              <a:gd name="connsiteX428" fmla="*/ 6710581 w 9586368"/>
              <a:gd name="connsiteY428" fmla="*/ 6240109 h 6479439"/>
              <a:gd name="connsiteX429" fmla="*/ 6700670 w 9586368"/>
              <a:gd name="connsiteY429" fmla="*/ 6240109 h 6479439"/>
              <a:gd name="connsiteX430" fmla="*/ 6696651 w 9586368"/>
              <a:gd name="connsiteY430" fmla="*/ 6236069 h 6479439"/>
              <a:gd name="connsiteX431" fmla="*/ 6696651 w 9586368"/>
              <a:gd name="connsiteY431" fmla="*/ 6226198 h 6479439"/>
              <a:gd name="connsiteX432" fmla="*/ 6461356 w 9586368"/>
              <a:gd name="connsiteY432" fmla="*/ 6222160 h 6479439"/>
              <a:gd name="connsiteX433" fmla="*/ 6471266 w 9586368"/>
              <a:gd name="connsiteY433" fmla="*/ 6222160 h 6479439"/>
              <a:gd name="connsiteX434" fmla="*/ 6475285 w 9586368"/>
              <a:gd name="connsiteY434" fmla="*/ 6226198 h 6479439"/>
              <a:gd name="connsiteX435" fmla="*/ 6475285 w 9586368"/>
              <a:gd name="connsiteY435" fmla="*/ 6236069 h 6479439"/>
              <a:gd name="connsiteX436" fmla="*/ 6471266 w 9586368"/>
              <a:gd name="connsiteY436" fmla="*/ 6240109 h 6479439"/>
              <a:gd name="connsiteX437" fmla="*/ 6461356 w 9586368"/>
              <a:gd name="connsiteY437" fmla="*/ 6240109 h 6479439"/>
              <a:gd name="connsiteX438" fmla="*/ 6457337 w 9586368"/>
              <a:gd name="connsiteY438" fmla="*/ 6236069 h 6479439"/>
              <a:gd name="connsiteX439" fmla="*/ 6457337 w 9586368"/>
              <a:gd name="connsiteY439" fmla="*/ 6226198 h 6479439"/>
              <a:gd name="connsiteX440" fmla="*/ 6222042 w 9586368"/>
              <a:gd name="connsiteY440" fmla="*/ 6222160 h 6479439"/>
              <a:gd name="connsiteX441" fmla="*/ 6231952 w 9586368"/>
              <a:gd name="connsiteY441" fmla="*/ 6222160 h 6479439"/>
              <a:gd name="connsiteX442" fmla="*/ 6235971 w 9586368"/>
              <a:gd name="connsiteY442" fmla="*/ 6226198 h 6479439"/>
              <a:gd name="connsiteX443" fmla="*/ 6235971 w 9586368"/>
              <a:gd name="connsiteY443" fmla="*/ 6236069 h 6479439"/>
              <a:gd name="connsiteX444" fmla="*/ 6231952 w 9586368"/>
              <a:gd name="connsiteY444" fmla="*/ 6240109 h 6479439"/>
              <a:gd name="connsiteX445" fmla="*/ 6222042 w 9586368"/>
              <a:gd name="connsiteY445" fmla="*/ 6240109 h 6479439"/>
              <a:gd name="connsiteX446" fmla="*/ 6218023 w 9586368"/>
              <a:gd name="connsiteY446" fmla="*/ 6236069 h 6479439"/>
              <a:gd name="connsiteX447" fmla="*/ 6218023 w 9586368"/>
              <a:gd name="connsiteY447" fmla="*/ 6226198 h 6479439"/>
              <a:gd name="connsiteX448" fmla="*/ 5982729 w 9586368"/>
              <a:gd name="connsiteY448" fmla="*/ 6222160 h 6479439"/>
              <a:gd name="connsiteX449" fmla="*/ 5992639 w 9586368"/>
              <a:gd name="connsiteY449" fmla="*/ 6222160 h 6479439"/>
              <a:gd name="connsiteX450" fmla="*/ 5996658 w 9586368"/>
              <a:gd name="connsiteY450" fmla="*/ 6226198 h 6479439"/>
              <a:gd name="connsiteX451" fmla="*/ 5996658 w 9586368"/>
              <a:gd name="connsiteY451" fmla="*/ 6236069 h 6479439"/>
              <a:gd name="connsiteX452" fmla="*/ 5992639 w 9586368"/>
              <a:gd name="connsiteY452" fmla="*/ 6240109 h 6479439"/>
              <a:gd name="connsiteX453" fmla="*/ 5982729 w 9586368"/>
              <a:gd name="connsiteY453" fmla="*/ 6240109 h 6479439"/>
              <a:gd name="connsiteX454" fmla="*/ 5978710 w 9586368"/>
              <a:gd name="connsiteY454" fmla="*/ 6236069 h 6479439"/>
              <a:gd name="connsiteX455" fmla="*/ 5978710 w 9586368"/>
              <a:gd name="connsiteY455" fmla="*/ 6226198 h 6479439"/>
              <a:gd name="connsiteX456" fmla="*/ 5743412 w 9586368"/>
              <a:gd name="connsiteY456" fmla="*/ 6222160 h 6479439"/>
              <a:gd name="connsiteX457" fmla="*/ 5753323 w 9586368"/>
              <a:gd name="connsiteY457" fmla="*/ 6222160 h 6479439"/>
              <a:gd name="connsiteX458" fmla="*/ 5757342 w 9586368"/>
              <a:gd name="connsiteY458" fmla="*/ 6226198 h 6479439"/>
              <a:gd name="connsiteX459" fmla="*/ 5757342 w 9586368"/>
              <a:gd name="connsiteY459" fmla="*/ 6236069 h 6479439"/>
              <a:gd name="connsiteX460" fmla="*/ 5753323 w 9586368"/>
              <a:gd name="connsiteY460" fmla="*/ 6240109 h 6479439"/>
              <a:gd name="connsiteX461" fmla="*/ 5743412 w 9586368"/>
              <a:gd name="connsiteY461" fmla="*/ 6240109 h 6479439"/>
              <a:gd name="connsiteX462" fmla="*/ 5739393 w 9586368"/>
              <a:gd name="connsiteY462" fmla="*/ 6236069 h 6479439"/>
              <a:gd name="connsiteX463" fmla="*/ 5739393 w 9586368"/>
              <a:gd name="connsiteY463" fmla="*/ 6226198 h 6479439"/>
              <a:gd name="connsiteX464" fmla="*/ 5504099 w 9586368"/>
              <a:gd name="connsiteY464" fmla="*/ 6222160 h 6479439"/>
              <a:gd name="connsiteX465" fmla="*/ 5514010 w 9586368"/>
              <a:gd name="connsiteY465" fmla="*/ 6222160 h 6479439"/>
              <a:gd name="connsiteX466" fmla="*/ 5518029 w 9586368"/>
              <a:gd name="connsiteY466" fmla="*/ 6226198 h 6479439"/>
              <a:gd name="connsiteX467" fmla="*/ 5518029 w 9586368"/>
              <a:gd name="connsiteY467" fmla="*/ 6236069 h 6479439"/>
              <a:gd name="connsiteX468" fmla="*/ 5514010 w 9586368"/>
              <a:gd name="connsiteY468" fmla="*/ 6240109 h 6479439"/>
              <a:gd name="connsiteX469" fmla="*/ 5504099 w 9586368"/>
              <a:gd name="connsiteY469" fmla="*/ 6240109 h 6479439"/>
              <a:gd name="connsiteX470" fmla="*/ 5500080 w 9586368"/>
              <a:gd name="connsiteY470" fmla="*/ 6236069 h 6479439"/>
              <a:gd name="connsiteX471" fmla="*/ 5500080 w 9586368"/>
              <a:gd name="connsiteY471" fmla="*/ 6226198 h 6479439"/>
              <a:gd name="connsiteX472" fmla="*/ 5264784 w 9586368"/>
              <a:gd name="connsiteY472" fmla="*/ 6222160 h 6479439"/>
              <a:gd name="connsiteX473" fmla="*/ 5274694 w 9586368"/>
              <a:gd name="connsiteY473" fmla="*/ 6222160 h 6479439"/>
              <a:gd name="connsiteX474" fmla="*/ 5278713 w 9586368"/>
              <a:gd name="connsiteY474" fmla="*/ 6226198 h 6479439"/>
              <a:gd name="connsiteX475" fmla="*/ 5278713 w 9586368"/>
              <a:gd name="connsiteY475" fmla="*/ 6236069 h 6479439"/>
              <a:gd name="connsiteX476" fmla="*/ 5274694 w 9586368"/>
              <a:gd name="connsiteY476" fmla="*/ 6240109 h 6479439"/>
              <a:gd name="connsiteX477" fmla="*/ 5264784 w 9586368"/>
              <a:gd name="connsiteY477" fmla="*/ 6240109 h 6479439"/>
              <a:gd name="connsiteX478" fmla="*/ 5260765 w 9586368"/>
              <a:gd name="connsiteY478" fmla="*/ 6236069 h 6479439"/>
              <a:gd name="connsiteX479" fmla="*/ 5260765 w 9586368"/>
              <a:gd name="connsiteY479" fmla="*/ 6226198 h 6479439"/>
              <a:gd name="connsiteX480" fmla="*/ 5025470 w 9586368"/>
              <a:gd name="connsiteY480" fmla="*/ 6222160 h 6479439"/>
              <a:gd name="connsiteX481" fmla="*/ 5035381 w 9586368"/>
              <a:gd name="connsiteY481" fmla="*/ 6222160 h 6479439"/>
              <a:gd name="connsiteX482" fmla="*/ 5039400 w 9586368"/>
              <a:gd name="connsiteY482" fmla="*/ 6226198 h 6479439"/>
              <a:gd name="connsiteX483" fmla="*/ 5039400 w 9586368"/>
              <a:gd name="connsiteY483" fmla="*/ 6236069 h 6479439"/>
              <a:gd name="connsiteX484" fmla="*/ 5035381 w 9586368"/>
              <a:gd name="connsiteY484" fmla="*/ 6240109 h 6479439"/>
              <a:gd name="connsiteX485" fmla="*/ 5025470 w 9586368"/>
              <a:gd name="connsiteY485" fmla="*/ 6240109 h 6479439"/>
              <a:gd name="connsiteX486" fmla="*/ 5021451 w 9586368"/>
              <a:gd name="connsiteY486" fmla="*/ 6236069 h 6479439"/>
              <a:gd name="connsiteX487" fmla="*/ 5021451 w 9586368"/>
              <a:gd name="connsiteY487" fmla="*/ 6226198 h 6479439"/>
              <a:gd name="connsiteX488" fmla="*/ 4786241 w 9586368"/>
              <a:gd name="connsiteY488" fmla="*/ 6222160 h 6479439"/>
              <a:gd name="connsiteX489" fmla="*/ 4796152 w 9586368"/>
              <a:gd name="connsiteY489" fmla="*/ 6222160 h 6479439"/>
              <a:gd name="connsiteX490" fmla="*/ 4800171 w 9586368"/>
              <a:gd name="connsiteY490" fmla="*/ 6226198 h 6479439"/>
              <a:gd name="connsiteX491" fmla="*/ 4800171 w 9586368"/>
              <a:gd name="connsiteY491" fmla="*/ 6236069 h 6479439"/>
              <a:gd name="connsiteX492" fmla="*/ 4796152 w 9586368"/>
              <a:gd name="connsiteY492" fmla="*/ 6240109 h 6479439"/>
              <a:gd name="connsiteX493" fmla="*/ 4786241 w 9586368"/>
              <a:gd name="connsiteY493" fmla="*/ 6240109 h 6479439"/>
              <a:gd name="connsiteX494" fmla="*/ 4782224 w 9586368"/>
              <a:gd name="connsiteY494" fmla="*/ 6236069 h 6479439"/>
              <a:gd name="connsiteX495" fmla="*/ 4782224 w 9586368"/>
              <a:gd name="connsiteY495" fmla="*/ 6226198 h 6479439"/>
              <a:gd name="connsiteX496" fmla="*/ 4546929 w 9586368"/>
              <a:gd name="connsiteY496" fmla="*/ 6222160 h 6479439"/>
              <a:gd name="connsiteX497" fmla="*/ 4556840 w 9586368"/>
              <a:gd name="connsiteY497" fmla="*/ 6222160 h 6479439"/>
              <a:gd name="connsiteX498" fmla="*/ 4560859 w 9586368"/>
              <a:gd name="connsiteY498" fmla="*/ 6226198 h 6479439"/>
              <a:gd name="connsiteX499" fmla="*/ 4560859 w 9586368"/>
              <a:gd name="connsiteY499" fmla="*/ 6236069 h 6479439"/>
              <a:gd name="connsiteX500" fmla="*/ 4556840 w 9586368"/>
              <a:gd name="connsiteY500" fmla="*/ 6240109 h 6479439"/>
              <a:gd name="connsiteX501" fmla="*/ 4546929 w 9586368"/>
              <a:gd name="connsiteY501" fmla="*/ 6240109 h 6479439"/>
              <a:gd name="connsiteX502" fmla="*/ 4542910 w 9586368"/>
              <a:gd name="connsiteY502" fmla="*/ 6236069 h 6479439"/>
              <a:gd name="connsiteX503" fmla="*/ 4542910 w 9586368"/>
              <a:gd name="connsiteY503" fmla="*/ 6226198 h 6479439"/>
              <a:gd name="connsiteX504" fmla="*/ 4307612 w 9586368"/>
              <a:gd name="connsiteY504" fmla="*/ 6222160 h 6479439"/>
              <a:gd name="connsiteX505" fmla="*/ 4317523 w 9586368"/>
              <a:gd name="connsiteY505" fmla="*/ 6222160 h 6479439"/>
              <a:gd name="connsiteX506" fmla="*/ 4321543 w 9586368"/>
              <a:gd name="connsiteY506" fmla="*/ 6226198 h 6479439"/>
              <a:gd name="connsiteX507" fmla="*/ 4321543 w 9586368"/>
              <a:gd name="connsiteY507" fmla="*/ 6236069 h 6479439"/>
              <a:gd name="connsiteX508" fmla="*/ 4317523 w 9586368"/>
              <a:gd name="connsiteY508" fmla="*/ 6240109 h 6479439"/>
              <a:gd name="connsiteX509" fmla="*/ 4307612 w 9586368"/>
              <a:gd name="connsiteY509" fmla="*/ 6240109 h 6479439"/>
              <a:gd name="connsiteX510" fmla="*/ 4303595 w 9586368"/>
              <a:gd name="connsiteY510" fmla="*/ 6236069 h 6479439"/>
              <a:gd name="connsiteX511" fmla="*/ 4303595 w 9586368"/>
              <a:gd name="connsiteY511" fmla="*/ 6226198 h 6479439"/>
              <a:gd name="connsiteX512" fmla="*/ 4068297 w 9586368"/>
              <a:gd name="connsiteY512" fmla="*/ 6222160 h 6479439"/>
              <a:gd name="connsiteX513" fmla="*/ 4078210 w 9586368"/>
              <a:gd name="connsiteY513" fmla="*/ 6222160 h 6479439"/>
              <a:gd name="connsiteX514" fmla="*/ 4082229 w 9586368"/>
              <a:gd name="connsiteY514" fmla="*/ 6226198 h 6479439"/>
              <a:gd name="connsiteX515" fmla="*/ 4082229 w 9586368"/>
              <a:gd name="connsiteY515" fmla="*/ 6236069 h 6479439"/>
              <a:gd name="connsiteX516" fmla="*/ 4078210 w 9586368"/>
              <a:gd name="connsiteY516" fmla="*/ 6240109 h 6479439"/>
              <a:gd name="connsiteX517" fmla="*/ 4068297 w 9586368"/>
              <a:gd name="connsiteY517" fmla="*/ 6240109 h 6479439"/>
              <a:gd name="connsiteX518" fmla="*/ 4064278 w 9586368"/>
              <a:gd name="connsiteY518" fmla="*/ 6236069 h 6479439"/>
              <a:gd name="connsiteX519" fmla="*/ 4064278 w 9586368"/>
              <a:gd name="connsiteY519" fmla="*/ 6226198 h 6479439"/>
              <a:gd name="connsiteX520" fmla="*/ 3828990 w 9586368"/>
              <a:gd name="connsiteY520" fmla="*/ 6222160 h 6479439"/>
              <a:gd name="connsiteX521" fmla="*/ 3838899 w 9586368"/>
              <a:gd name="connsiteY521" fmla="*/ 6222160 h 6479439"/>
              <a:gd name="connsiteX522" fmla="*/ 3842917 w 9586368"/>
              <a:gd name="connsiteY522" fmla="*/ 6226198 h 6479439"/>
              <a:gd name="connsiteX523" fmla="*/ 3842917 w 9586368"/>
              <a:gd name="connsiteY523" fmla="*/ 6236069 h 6479439"/>
              <a:gd name="connsiteX524" fmla="*/ 3838899 w 9586368"/>
              <a:gd name="connsiteY524" fmla="*/ 6240109 h 6479439"/>
              <a:gd name="connsiteX525" fmla="*/ 3828990 w 9586368"/>
              <a:gd name="connsiteY525" fmla="*/ 6240109 h 6479439"/>
              <a:gd name="connsiteX526" fmla="*/ 3824971 w 9586368"/>
              <a:gd name="connsiteY526" fmla="*/ 6236069 h 6479439"/>
              <a:gd name="connsiteX527" fmla="*/ 3824971 w 9586368"/>
              <a:gd name="connsiteY527" fmla="*/ 6226198 h 6479439"/>
              <a:gd name="connsiteX528" fmla="*/ 3589676 w 9586368"/>
              <a:gd name="connsiteY528" fmla="*/ 6222160 h 6479439"/>
              <a:gd name="connsiteX529" fmla="*/ 3599585 w 9586368"/>
              <a:gd name="connsiteY529" fmla="*/ 6222160 h 6479439"/>
              <a:gd name="connsiteX530" fmla="*/ 3603604 w 9586368"/>
              <a:gd name="connsiteY530" fmla="*/ 6226198 h 6479439"/>
              <a:gd name="connsiteX531" fmla="*/ 3603604 w 9586368"/>
              <a:gd name="connsiteY531" fmla="*/ 6236069 h 6479439"/>
              <a:gd name="connsiteX532" fmla="*/ 3599585 w 9586368"/>
              <a:gd name="connsiteY532" fmla="*/ 6240109 h 6479439"/>
              <a:gd name="connsiteX533" fmla="*/ 3589676 w 9586368"/>
              <a:gd name="connsiteY533" fmla="*/ 6240109 h 6479439"/>
              <a:gd name="connsiteX534" fmla="*/ 3585657 w 9586368"/>
              <a:gd name="connsiteY534" fmla="*/ 6236069 h 6479439"/>
              <a:gd name="connsiteX535" fmla="*/ 3585657 w 9586368"/>
              <a:gd name="connsiteY535" fmla="*/ 6226198 h 6479439"/>
              <a:gd name="connsiteX536" fmla="*/ 3350359 w 9586368"/>
              <a:gd name="connsiteY536" fmla="*/ 6222160 h 6479439"/>
              <a:gd name="connsiteX537" fmla="*/ 3360268 w 9586368"/>
              <a:gd name="connsiteY537" fmla="*/ 6222160 h 6479439"/>
              <a:gd name="connsiteX538" fmla="*/ 3364287 w 9586368"/>
              <a:gd name="connsiteY538" fmla="*/ 6226198 h 6479439"/>
              <a:gd name="connsiteX539" fmla="*/ 3364287 w 9586368"/>
              <a:gd name="connsiteY539" fmla="*/ 6236069 h 6479439"/>
              <a:gd name="connsiteX540" fmla="*/ 3360268 w 9586368"/>
              <a:gd name="connsiteY540" fmla="*/ 6240109 h 6479439"/>
              <a:gd name="connsiteX541" fmla="*/ 3350359 w 9586368"/>
              <a:gd name="connsiteY541" fmla="*/ 6240109 h 6479439"/>
              <a:gd name="connsiteX542" fmla="*/ 3346340 w 9586368"/>
              <a:gd name="connsiteY542" fmla="*/ 6236069 h 6479439"/>
              <a:gd name="connsiteX543" fmla="*/ 3346340 w 9586368"/>
              <a:gd name="connsiteY543" fmla="*/ 6226198 h 6479439"/>
              <a:gd name="connsiteX544" fmla="*/ 3111048 w 9586368"/>
              <a:gd name="connsiteY544" fmla="*/ 6222160 h 6479439"/>
              <a:gd name="connsiteX545" fmla="*/ 3120959 w 9586368"/>
              <a:gd name="connsiteY545" fmla="*/ 6222160 h 6479439"/>
              <a:gd name="connsiteX546" fmla="*/ 3124977 w 9586368"/>
              <a:gd name="connsiteY546" fmla="*/ 6226198 h 6479439"/>
              <a:gd name="connsiteX547" fmla="*/ 3124977 w 9586368"/>
              <a:gd name="connsiteY547" fmla="*/ 6236069 h 6479439"/>
              <a:gd name="connsiteX548" fmla="*/ 3120959 w 9586368"/>
              <a:gd name="connsiteY548" fmla="*/ 6240109 h 6479439"/>
              <a:gd name="connsiteX549" fmla="*/ 3111048 w 9586368"/>
              <a:gd name="connsiteY549" fmla="*/ 6240109 h 6479439"/>
              <a:gd name="connsiteX550" fmla="*/ 3107029 w 9586368"/>
              <a:gd name="connsiteY550" fmla="*/ 6236069 h 6479439"/>
              <a:gd name="connsiteX551" fmla="*/ 3107029 w 9586368"/>
              <a:gd name="connsiteY551" fmla="*/ 6226198 h 6479439"/>
              <a:gd name="connsiteX552" fmla="*/ 2871737 w 9586368"/>
              <a:gd name="connsiteY552" fmla="*/ 6222160 h 6479439"/>
              <a:gd name="connsiteX553" fmla="*/ 2881646 w 9586368"/>
              <a:gd name="connsiteY553" fmla="*/ 6222160 h 6479439"/>
              <a:gd name="connsiteX554" fmla="*/ 2885666 w 9586368"/>
              <a:gd name="connsiteY554" fmla="*/ 6226198 h 6479439"/>
              <a:gd name="connsiteX555" fmla="*/ 2885666 w 9586368"/>
              <a:gd name="connsiteY555" fmla="*/ 6236069 h 6479439"/>
              <a:gd name="connsiteX556" fmla="*/ 2881646 w 9586368"/>
              <a:gd name="connsiteY556" fmla="*/ 6240109 h 6479439"/>
              <a:gd name="connsiteX557" fmla="*/ 2871737 w 9586368"/>
              <a:gd name="connsiteY557" fmla="*/ 6240109 h 6479439"/>
              <a:gd name="connsiteX558" fmla="*/ 2867717 w 9586368"/>
              <a:gd name="connsiteY558" fmla="*/ 6236069 h 6479439"/>
              <a:gd name="connsiteX559" fmla="*/ 2867717 w 9586368"/>
              <a:gd name="connsiteY559" fmla="*/ 6226198 h 6479439"/>
              <a:gd name="connsiteX560" fmla="*/ 2632423 w 9586368"/>
              <a:gd name="connsiteY560" fmla="*/ 6222160 h 6479439"/>
              <a:gd name="connsiteX561" fmla="*/ 2642334 w 9586368"/>
              <a:gd name="connsiteY561" fmla="*/ 6222160 h 6479439"/>
              <a:gd name="connsiteX562" fmla="*/ 2646352 w 9586368"/>
              <a:gd name="connsiteY562" fmla="*/ 6226198 h 6479439"/>
              <a:gd name="connsiteX563" fmla="*/ 2646352 w 9586368"/>
              <a:gd name="connsiteY563" fmla="*/ 6236069 h 6479439"/>
              <a:gd name="connsiteX564" fmla="*/ 2642334 w 9586368"/>
              <a:gd name="connsiteY564" fmla="*/ 6240109 h 6479439"/>
              <a:gd name="connsiteX565" fmla="*/ 2632423 w 9586368"/>
              <a:gd name="connsiteY565" fmla="*/ 6240109 h 6479439"/>
              <a:gd name="connsiteX566" fmla="*/ 2628404 w 9586368"/>
              <a:gd name="connsiteY566" fmla="*/ 6236069 h 6479439"/>
              <a:gd name="connsiteX567" fmla="*/ 2628404 w 9586368"/>
              <a:gd name="connsiteY567" fmla="*/ 6226198 h 6479439"/>
              <a:gd name="connsiteX568" fmla="*/ 2393104 w 9586368"/>
              <a:gd name="connsiteY568" fmla="*/ 6222160 h 6479439"/>
              <a:gd name="connsiteX569" fmla="*/ 2403015 w 9586368"/>
              <a:gd name="connsiteY569" fmla="*/ 6222160 h 6479439"/>
              <a:gd name="connsiteX570" fmla="*/ 2407034 w 9586368"/>
              <a:gd name="connsiteY570" fmla="*/ 6226198 h 6479439"/>
              <a:gd name="connsiteX571" fmla="*/ 2407034 w 9586368"/>
              <a:gd name="connsiteY571" fmla="*/ 6236069 h 6479439"/>
              <a:gd name="connsiteX572" fmla="*/ 2403015 w 9586368"/>
              <a:gd name="connsiteY572" fmla="*/ 6240109 h 6479439"/>
              <a:gd name="connsiteX573" fmla="*/ 2393104 w 9586368"/>
              <a:gd name="connsiteY573" fmla="*/ 6240109 h 6479439"/>
              <a:gd name="connsiteX574" fmla="*/ 2389087 w 9586368"/>
              <a:gd name="connsiteY574" fmla="*/ 6236069 h 6479439"/>
              <a:gd name="connsiteX575" fmla="*/ 2389087 w 9586368"/>
              <a:gd name="connsiteY575" fmla="*/ 6226198 h 6479439"/>
              <a:gd name="connsiteX576" fmla="*/ 2157818 w 9586368"/>
              <a:gd name="connsiteY576" fmla="*/ 6222160 h 6479439"/>
              <a:gd name="connsiteX577" fmla="*/ 2167728 w 9586368"/>
              <a:gd name="connsiteY577" fmla="*/ 6222160 h 6479439"/>
              <a:gd name="connsiteX578" fmla="*/ 2171746 w 9586368"/>
              <a:gd name="connsiteY578" fmla="*/ 6226198 h 6479439"/>
              <a:gd name="connsiteX579" fmla="*/ 2171746 w 9586368"/>
              <a:gd name="connsiteY579" fmla="*/ 6236069 h 6479439"/>
              <a:gd name="connsiteX580" fmla="*/ 2167728 w 9586368"/>
              <a:gd name="connsiteY580" fmla="*/ 6240109 h 6479439"/>
              <a:gd name="connsiteX581" fmla="*/ 2157818 w 9586368"/>
              <a:gd name="connsiteY581" fmla="*/ 6240109 h 6479439"/>
              <a:gd name="connsiteX582" fmla="*/ 2153799 w 9586368"/>
              <a:gd name="connsiteY582" fmla="*/ 6236069 h 6479439"/>
              <a:gd name="connsiteX583" fmla="*/ 2153799 w 9586368"/>
              <a:gd name="connsiteY583" fmla="*/ 6226198 h 6479439"/>
              <a:gd name="connsiteX584" fmla="*/ 1918509 w 9586368"/>
              <a:gd name="connsiteY584" fmla="*/ 6222160 h 6479439"/>
              <a:gd name="connsiteX585" fmla="*/ 1928419 w 9586368"/>
              <a:gd name="connsiteY585" fmla="*/ 6222160 h 6479439"/>
              <a:gd name="connsiteX586" fmla="*/ 1932438 w 9586368"/>
              <a:gd name="connsiteY586" fmla="*/ 6226198 h 6479439"/>
              <a:gd name="connsiteX587" fmla="*/ 1932438 w 9586368"/>
              <a:gd name="connsiteY587" fmla="*/ 6236069 h 6479439"/>
              <a:gd name="connsiteX588" fmla="*/ 1928419 w 9586368"/>
              <a:gd name="connsiteY588" fmla="*/ 6240109 h 6479439"/>
              <a:gd name="connsiteX589" fmla="*/ 1918509 w 9586368"/>
              <a:gd name="connsiteY589" fmla="*/ 6240109 h 6479439"/>
              <a:gd name="connsiteX590" fmla="*/ 1914490 w 9586368"/>
              <a:gd name="connsiteY590" fmla="*/ 6236069 h 6479439"/>
              <a:gd name="connsiteX591" fmla="*/ 1914490 w 9586368"/>
              <a:gd name="connsiteY591" fmla="*/ 6226198 h 6479439"/>
              <a:gd name="connsiteX592" fmla="*/ 1679200 w 9586368"/>
              <a:gd name="connsiteY592" fmla="*/ 6222160 h 6479439"/>
              <a:gd name="connsiteX593" fmla="*/ 1689110 w 9586368"/>
              <a:gd name="connsiteY593" fmla="*/ 6222160 h 6479439"/>
              <a:gd name="connsiteX594" fmla="*/ 1693129 w 9586368"/>
              <a:gd name="connsiteY594" fmla="*/ 6226198 h 6479439"/>
              <a:gd name="connsiteX595" fmla="*/ 1693129 w 9586368"/>
              <a:gd name="connsiteY595" fmla="*/ 6236069 h 6479439"/>
              <a:gd name="connsiteX596" fmla="*/ 1689110 w 9586368"/>
              <a:gd name="connsiteY596" fmla="*/ 6240109 h 6479439"/>
              <a:gd name="connsiteX597" fmla="*/ 1679200 w 9586368"/>
              <a:gd name="connsiteY597" fmla="*/ 6240109 h 6479439"/>
              <a:gd name="connsiteX598" fmla="*/ 1675182 w 9586368"/>
              <a:gd name="connsiteY598" fmla="*/ 6236069 h 6479439"/>
              <a:gd name="connsiteX599" fmla="*/ 1675182 w 9586368"/>
              <a:gd name="connsiteY599" fmla="*/ 6226198 h 6479439"/>
              <a:gd name="connsiteX600" fmla="*/ 1439885 w 9586368"/>
              <a:gd name="connsiteY600" fmla="*/ 6222160 h 6479439"/>
              <a:gd name="connsiteX601" fmla="*/ 1449795 w 9586368"/>
              <a:gd name="connsiteY601" fmla="*/ 6222160 h 6479439"/>
              <a:gd name="connsiteX602" fmla="*/ 1453814 w 9586368"/>
              <a:gd name="connsiteY602" fmla="*/ 6226198 h 6479439"/>
              <a:gd name="connsiteX603" fmla="*/ 1453814 w 9586368"/>
              <a:gd name="connsiteY603" fmla="*/ 6236069 h 6479439"/>
              <a:gd name="connsiteX604" fmla="*/ 1449795 w 9586368"/>
              <a:gd name="connsiteY604" fmla="*/ 6240109 h 6479439"/>
              <a:gd name="connsiteX605" fmla="*/ 1439885 w 9586368"/>
              <a:gd name="connsiteY605" fmla="*/ 6240109 h 6479439"/>
              <a:gd name="connsiteX606" fmla="*/ 1435866 w 9586368"/>
              <a:gd name="connsiteY606" fmla="*/ 6236069 h 6479439"/>
              <a:gd name="connsiteX607" fmla="*/ 1435866 w 9586368"/>
              <a:gd name="connsiteY607" fmla="*/ 6226198 h 6479439"/>
              <a:gd name="connsiteX608" fmla="*/ 1200570 w 9586368"/>
              <a:gd name="connsiteY608" fmla="*/ 6222160 h 6479439"/>
              <a:gd name="connsiteX609" fmla="*/ 1210481 w 9586368"/>
              <a:gd name="connsiteY609" fmla="*/ 6222160 h 6479439"/>
              <a:gd name="connsiteX610" fmla="*/ 1214499 w 9586368"/>
              <a:gd name="connsiteY610" fmla="*/ 6226198 h 6479439"/>
              <a:gd name="connsiteX611" fmla="*/ 1214499 w 9586368"/>
              <a:gd name="connsiteY611" fmla="*/ 6236069 h 6479439"/>
              <a:gd name="connsiteX612" fmla="*/ 1210481 w 9586368"/>
              <a:gd name="connsiteY612" fmla="*/ 6240109 h 6479439"/>
              <a:gd name="connsiteX613" fmla="*/ 1200570 w 9586368"/>
              <a:gd name="connsiteY613" fmla="*/ 6240109 h 6479439"/>
              <a:gd name="connsiteX614" fmla="*/ 1196551 w 9586368"/>
              <a:gd name="connsiteY614" fmla="*/ 6236069 h 6479439"/>
              <a:gd name="connsiteX615" fmla="*/ 1196551 w 9586368"/>
              <a:gd name="connsiteY615" fmla="*/ 6226198 h 6479439"/>
              <a:gd name="connsiteX616" fmla="*/ 961258 w 9586368"/>
              <a:gd name="connsiteY616" fmla="*/ 6222160 h 6479439"/>
              <a:gd name="connsiteX617" fmla="*/ 971167 w 9586368"/>
              <a:gd name="connsiteY617" fmla="*/ 6222160 h 6479439"/>
              <a:gd name="connsiteX618" fmla="*/ 975186 w 9586368"/>
              <a:gd name="connsiteY618" fmla="*/ 6226198 h 6479439"/>
              <a:gd name="connsiteX619" fmla="*/ 975186 w 9586368"/>
              <a:gd name="connsiteY619" fmla="*/ 6236069 h 6479439"/>
              <a:gd name="connsiteX620" fmla="*/ 971167 w 9586368"/>
              <a:gd name="connsiteY620" fmla="*/ 6240109 h 6479439"/>
              <a:gd name="connsiteX621" fmla="*/ 961258 w 9586368"/>
              <a:gd name="connsiteY621" fmla="*/ 6240109 h 6479439"/>
              <a:gd name="connsiteX622" fmla="*/ 957239 w 9586368"/>
              <a:gd name="connsiteY622" fmla="*/ 6236069 h 6479439"/>
              <a:gd name="connsiteX623" fmla="*/ 957239 w 9586368"/>
              <a:gd name="connsiteY623" fmla="*/ 6226198 h 6479439"/>
              <a:gd name="connsiteX624" fmla="*/ 721959 w 9586368"/>
              <a:gd name="connsiteY624" fmla="*/ 6222160 h 6479439"/>
              <a:gd name="connsiteX625" fmla="*/ 731869 w 9586368"/>
              <a:gd name="connsiteY625" fmla="*/ 6222160 h 6479439"/>
              <a:gd name="connsiteX626" fmla="*/ 735888 w 9586368"/>
              <a:gd name="connsiteY626" fmla="*/ 6226198 h 6479439"/>
              <a:gd name="connsiteX627" fmla="*/ 735888 w 9586368"/>
              <a:gd name="connsiteY627" fmla="*/ 6236069 h 6479439"/>
              <a:gd name="connsiteX628" fmla="*/ 731869 w 9586368"/>
              <a:gd name="connsiteY628" fmla="*/ 6240109 h 6479439"/>
              <a:gd name="connsiteX629" fmla="*/ 721959 w 9586368"/>
              <a:gd name="connsiteY629" fmla="*/ 6240109 h 6479439"/>
              <a:gd name="connsiteX630" fmla="*/ 717940 w 9586368"/>
              <a:gd name="connsiteY630" fmla="*/ 6236069 h 6479439"/>
              <a:gd name="connsiteX631" fmla="*/ 717940 w 9586368"/>
              <a:gd name="connsiteY631" fmla="*/ 6226198 h 6479439"/>
              <a:gd name="connsiteX632" fmla="*/ 482646 w 9586368"/>
              <a:gd name="connsiteY632" fmla="*/ 6222160 h 6479439"/>
              <a:gd name="connsiteX633" fmla="*/ 492557 w 9586368"/>
              <a:gd name="connsiteY633" fmla="*/ 6222160 h 6479439"/>
              <a:gd name="connsiteX634" fmla="*/ 496576 w 9586368"/>
              <a:gd name="connsiteY634" fmla="*/ 6226198 h 6479439"/>
              <a:gd name="connsiteX635" fmla="*/ 496576 w 9586368"/>
              <a:gd name="connsiteY635" fmla="*/ 6236069 h 6479439"/>
              <a:gd name="connsiteX636" fmla="*/ 492557 w 9586368"/>
              <a:gd name="connsiteY636" fmla="*/ 6240109 h 6479439"/>
              <a:gd name="connsiteX637" fmla="*/ 482646 w 9586368"/>
              <a:gd name="connsiteY637" fmla="*/ 6240109 h 6479439"/>
              <a:gd name="connsiteX638" fmla="*/ 478627 w 9586368"/>
              <a:gd name="connsiteY638" fmla="*/ 6236069 h 6479439"/>
              <a:gd name="connsiteX639" fmla="*/ 478627 w 9586368"/>
              <a:gd name="connsiteY639" fmla="*/ 6226198 h 6479439"/>
              <a:gd name="connsiteX640" fmla="*/ 243333 w 9586368"/>
              <a:gd name="connsiteY640" fmla="*/ 6222160 h 6479439"/>
              <a:gd name="connsiteX641" fmla="*/ 253243 w 9586368"/>
              <a:gd name="connsiteY641" fmla="*/ 6222160 h 6479439"/>
              <a:gd name="connsiteX642" fmla="*/ 257263 w 9586368"/>
              <a:gd name="connsiteY642" fmla="*/ 6226198 h 6479439"/>
              <a:gd name="connsiteX643" fmla="*/ 257263 w 9586368"/>
              <a:gd name="connsiteY643" fmla="*/ 6236069 h 6479439"/>
              <a:gd name="connsiteX644" fmla="*/ 253243 w 9586368"/>
              <a:gd name="connsiteY644" fmla="*/ 6240109 h 6479439"/>
              <a:gd name="connsiteX645" fmla="*/ 243333 w 9586368"/>
              <a:gd name="connsiteY645" fmla="*/ 6240109 h 6479439"/>
              <a:gd name="connsiteX646" fmla="*/ 239314 w 9586368"/>
              <a:gd name="connsiteY646" fmla="*/ 6236069 h 6479439"/>
              <a:gd name="connsiteX647" fmla="*/ 239314 w 9586368"/>
              <a:gd name="connsiteY647" fmla="*/ 6226198 h 6479439"/>
              <a:gd name="connsiteX648" fmla="*/ 4020 w 9586368"/>
              <a:gd name="connsiteY648" fmla="*/ 6222160 h 6479439"/>
              <a:gd name="connsiteX649" fmla="*/ 13930 w 9586368"/>
              <a:gd name="connsiteY649" fmla="*/ 6222160 h 6479439"/>
              <a:gd name="connsiteX650" fmla="*/ 17949 w 9586368"/>
              <a:gd name="connsiteY650" fmla="*/ 6226198 h 6479439"/>
              <a:gd name="connsiteX651" fmla="*/ 17949 w 9586368"/>
              <a:gd name="connsiteY651" fmla="*/ 6236069 h 6479439"/>
              <a:gd name="connsiteX652" fmla="*/ 13930 w 9586368"/>
              <a:gd name="connsiteY652" fmla="*/ 6240109 h 6479439"/>
              <a:gd name="connsiteX653" fmla="*/ 4020 w 9586368"/>
              <a:gd name="connsiteY653" fmla="*/ 6240109 h 6479439"/>
              <a:gd name="connsiteX654" fmla="*/ 1 w 9586368"/>
              <a:gd name="connsiteY654" fmla="*/ 6236069 h 6479439"/>
              <a:gd name="connsiteX655" fmla="*/ 1 w 9586368"/>
              <a:gd name="connsiteY655" fmla="*/ 6226198 h 6479439"/>
              <a:gd name="connsiteX656" fmla="*/ 2157818 w 9586368"/>
              <a:gd name="connsiteY656" fmla="*/ 5982881 h 6479439"/>
              <a:gd name="connsiteX657" fmla="*/ 2167728 w 9586368"/>
              <a:gd name="connsiteY657" fmla="*/ 5982881 h 6479439"/>
              <a:gd name="connsiteX658" fmla="*/ 2171747 w 9586368"/>
              <a:gd name="connsiteY658" fmla="*/ 5986919 h 6479439"/>
              <a:gd name="connsiteX659" fmla="*/ 2171747 w 9586368"/>
              <a:gd name="connsiteY659" fmla="*/ 5996790 h 6479439"/>
              <a:gd name="connsiteX660" fmla="*/ 2167728 w 9586368"/>
              <a:gd name="connsiteY660" fmla="*/ 6000829 h 6479439"/>
              <a:gd name="connsiteX661" fmla="*/ 2157818 w 9586368"/>
              <a:gd name="connsiteY661" fmla="*/ 6000829 h 6479439"/>
              <a:gd name="connsiteX662" fmla="*/ 2153799 w 9586368"/>
              <a:gd name="connsiteY662" fmla="*/ 5996790 h 6479439"/>
              <a:gd name="connsiteX663" fmla="*/ 2153799 w 9586368"/>
              <a:gd name="connsiteY663" fmla="*/ 5986919 h 6479439"/>
              <a:gd name="connsiteX664" fmla="*/ 1918509 w 9586368"/>
              <a:gd name="connsiteY664" fmla="*/ 5982881 h 6479439"/>
              <a:gd name="connsiteX665" fmla="*/ 1928420 w 9586368"/>
              <a:gd name="connsiteY665" fmla="*/ 5982881 h 6479439"/>
              <a:gd name="connsiteX666" fmla="*/ 1932438 w 9586368"/>
              <a:gd name="connsiteY666" fmla="*/ 5986919 h 6479439"/>
              <a:gd name="connsiteX667" fmla="*/ 1932438 w 9586368"/>
              <a:gd name="connsiteY667" fmla="*/ 5996790 h 6479439"/>
              <a:gd name="connsiteX668" fmla="*/ 1928420 w 9586368"/>
              <a:gd name="connsiteY668" fmla="*/ 6000829 h 6479439"/>
              <a:gd name="connsiteX669" fmla="*/ 1918509 w 9586368"/>
              <a:gd name="connsiteY669" fmla="*/ 6000829 h 6479439"/>
              <a:gd name="connsiteX670" fmla="*/ 1914490 w 9586368"/>
              <a:gd name="connsiteY670" fmla="*/ 5996790 h 6479439"/>
              <a:gd name="connsiteX671" fmla="*/ 1914490 w 9586368"/>
              <a:gd name="connsiteY671" fmla="*/ 5986919 h 6479439"/>
              <a:gd name="connsiteX672" fmla="*/ 1679201 w 9586368"/>
              <a:gd name="connsiteY672" fmla="*/ 5982881 h 6479439"/>
              <a:gd name="connsiteX673" fmla="*/ 1689111 w 9586368"/>
              <a:gd name="connsiteY673" fmla="*/ 5982881 h 6479439"/>
              <a:gd name="connsiteX674" fmla="*/ 1693129 w 9586368"/>
              <a:gd name="connsiteY674" fmla="*/ 5986919 h 6479439"/>
              <a:gd name="connsiteX675" fmla="*/ 1693129 w 9586368"/>
              <a:gd name="connsiteY675" fmla="*/ 5996790 h 6479439"/>
              <a:gd name="connsiteX676" fmla="*/ 1689111 w 9586368"/>
              <a:gd name="connsiteY676" fmla="*/ 6000829 h 6479439"/>
              <a:gd name="connsiteX677" fmla="*/ 1679201 w 9586368"/>
              <a:gd name="connsiteY677" fmla="*/ 6000829 h 6479439"/>
              <a:gd name="connsiteX678" fmla="*/ 1675182 w 9586368"/>
              <a:gd name="connsiteY678" fmla="*/ 5996790 h 6479439"/>
              <a:gd name="connsiteX679" fmla="*/ 1675182 w 9586368"/>
              <a:gd name="connsiteY679" fmla="*/ 5986919 h 6479439"/>
              <a:gd name="connsiteX680" fmla="*/ 1439886 w 9586368"/>
              <a:gd name="connsiteY680" fmla="*/ 5982881 h 6479439"/>
              <a:gd name="connsiteX681" fmla="*/ 1449796 w 9586368"/>
              <a:gd name="connsiteY681" fmla="*/ 5982881 h 6479439"/>
              <a:gd name="connsiteX682" fmla="*/ 1453814 w 9586368"/>
              <a:gd name="connsiteY682" fmla="*/ 5986919 h 6479439"/>
              <a:gd name="connsiteX683" fmla="*/ 1453814 w 9586368"/>
              <a:gd name="connsiteY683" fmla="*/ 5996790 h 6479439"/>
              <a:gd name="connsiteX684" fmla="*/ 1449796 w 9586368"/>
              <a:gd name="connsiteY684" fmla="*/ 6000829 h 6479439"/>
              <a:gd name="connsiteX685" fmla="*/ 1439886 w 9586368"/>
              <a:gd name="connsiteY685" fmla="*/ 6000829 h 6479439"/>
              <a:gd name="connsiteX686" fmla="*/ 1435866 w 9586368"/>
              <a:gd name="connsiteY686" fmla="*/ 5996790 h 6479439"/>
              <a:gd name="connsiteX687" fmla="*/ 1435866 w 9586368"/>
              <a:gd name="connsiteY687" fmla="*/ 5986919 h 6479439"/>
              <a:gd name="connsiteX688" fmla="*/ 1200571 w 9586368"/>
              <a:gd name="connsiteY688" fmla="*/ 5982881 h 6479439"/>
              <a:gd name="connsiteX689" fmla="*/ 1210481 w 9586368"/>
              <a:gd name="connsiteY689" fmla="*/ 5982881 h 6479439"/>
              <a:gd name="connsiteX690" fmla="*/ 1214500 w 9586368"/>
              <a:gd name="connsiteY690" fmla="*/ 5986919 h 6479439"/>
              <a:gd name="connsiteX691" fmla="*/ 1214500 w 9586368"/>
              <a:gd name="connsiteY691" fmla="*/ 5996790 h 6479439"/>
              <a:gd name="connsiteX692" fmla="*/ 1210481 w 9586368"/>
              <a:gd name="connsiteY692" fmla="*/ 6000829 h 6479439"/>
              <a:gd name="connsiteX693" fmla="*/ 1200571 w 9586368"/>
              <a:gd name="connsiteY693" fmla="*/ 6000829 h 6479439"/>
              <a:gd name="connsiteX694" fmla="*/ 1196553 w 9586368"/>
              <a:gd name="connsiteY694" fmla="*/ 5996790 h 6479439"/>
              <a:gd name="connsiteX695" fmla="*/ 1196553 w 9586368"/>
              <a:gd name="connsiteY695" fmla="*/ 5986919 h 6479439"/>
              <a:gd name="connsiteX696" fmla="*/ 961258 w 9586368"/>
              <a:gd name="connsiteY696" fmla="*/ 5982881 h 6479439"/>
              <a:gd name="connsiteX697" fmla="*/ 971168 w 9586368"/>
              <a:gd name="connsiteY697" fmla="*/ 5982881 h 6479439"/>
              <a:gd name="connsiteX698" fmla="*/ 975187 w 9586368"/>
              <a:gd name="connsiteY698" fmla="*/ 5986919 h 6479439"/>
              <a:gd name="connsiteX699" fmla="*/ 975187 w 9586368"/>
              <a:gd name="connsiteY699" fmla="*/ 5996790 h 6479439"/>
              <a:gd name="connsiteX700" fmla="*/ 971168 w 9586368"/>
              <a:gd name="connsiteY700" fmla="*/ 6000829 h 6479439"/>
              <a:gd name="connsiteX701" fmla="*/ 961258 w 9586368"/>
              <a:gd name="connsiteY701" fmla="*/ 6000829 h 6479439"/>
              <a:gd name="connsiteX702" fmla="*/ 957239 w 9586368"/>
              <a:gd name="connsiteY702" fmla="*/ 5996790 h 6479439"/>
              <a:gd name="connsiteX703" fmla="*/ 957239 w 9586368"/>
              <a:gd name="connsiteY703" fmla="*/ 5986919 h 6479439"/>
              <a:gd name="connsiteX704" fmla="*/ 9572438 w 9586368"/>
              <a:gd name="connsiteY704" fmla="*/ 5982829 h 6479439"/>
              <a:gd name="connsiteX705" fmla="*/ 9582349 w 9586368"/>
              <a:gd name="connsiteY705" fmla="*/ 5982829 h 6479439"/>
              <a:gd name="connsiteX706" fmla="*/ 9586368 w 9586368"/>
              <a:gd name="connsiteY706" fmla="*/ 5986868 h 6479439"/>
              <a:gd name="connsiteX707" fmla="*/ 9586368 w 9586368"/>
              <a:gd name="connsiteY707" fmla="*/ 5996739 h 6479439"/>
              <a:gd name="connsiteX708" fmla="*/ 9582349 w 9586368"/>
              <a:gd name="connsiteY708" fmla="*/ 6000778 h 6479439"/>
              <a:gd name="connsiteX709" fmla="*/ 9572438 w 9586368"/>
              <a:gd name="connsiteY709" fmla="*/ 6000778 h 6479439"/>
              <a:gd name="connsiteX710" fmla="*/ 9568419 w 9586368"/>
              <a:gd name="connsiteY710" fmla="*/ 5996739 h 6479439"/>
              <a:gd name="connsiteX711" fmla="*/ 9568419 w 9586368"/>
              <a:gd name="connsiteY711" fmla="*/ 5986868 h 6479439"/>
              <a:gd name="connsiteX712" fmla="*/ 9333125 w 9586368"/>
              <a:gd name="connsiteY712" fmla="*/ 5982829 h 6479439"/>
              <a:gd name="connsiteX713" fmla="*/ 9343036 w 9586368"/>
              <a:gd name="connsiteY713" fmla="*/ 5982829 h 6479439"/>
              <a:gd name="connsiteX714" fmla="*/ 9347055 w 9586368"/>
              <a:gd name="connsiteY714" fmla="*/ 5986868 h 6479439"/>
              <a:gd name="connsiteX715" fmla="*/ 9347055 w 9586368"/>
              <a:gd name="connsiteY715" fmla="*/ 5996739 h 6479439"/>
              <a:gd name="connsiteX716" fmla="*/ 9343036 w 9586368"/>
              <a:gd name="connsiteY716" fmla="*/ 6000778 h 6479439"/>
              <a:gd name="connsiteX717" fmla="*/ 9333125 w 9586368"/>
              <a:gd name="connsiteY717" fmla="*/ 6000778 h 6479439"/>
              <a:gd name="connsiteX718" fmla="*/ 9329106 w 9586368"/>
              <a:gd name="connsiteY718" fmla="*/ 5996739 h 6479439"/>
              <a:gd name="connsiteX719" fmla="*/ 9329106 w 9586368"/>
              <a:gd name="connsiteY719" fmla="*/ 5986868 h 6479439"/>
              <a:gd name="connsiteX720" fmla="*/ 9093811 w 9586368"/>
              <a:gd name="connsiteY720" fmla="*/ 5982829 h 6479439"/>
              <a:gd name="connsiteX721" fmla="*/ 9103722 w 9586368"/>
              <a:gd name="connsiteY721" fmla="*/ 5982829 h 6479439"/>
              <a:gd name="connsiteX722" fmla="*/ 9107741 w 9586368"/>
              <a:gd name="connsiteY722" fmla="*/ 5986868 h 6479439"/>
              <a:gd name="connsiteX723" fmla="*/ 9107741 w 9586368"/>
              <a:gd name="connsiteY723" fmla="*/ 5996739 h 6479439"/>
              <a:gd name="connsiteX724" fmla="*/ 9103722 w 9586368"/>
              <a:gd name="connsiteY724" fmla="*/ 6000778 h 6479439"/>
              <a:gd name="connsiteX725" fmla="*/ 9093811 w 9586368"/>
              <a:gd name="connsiteY725" fmla="*/ 6000778 h 6479439"/>
              <a:gd name="connsiteX726" fmla="*/ 9089792 w 9586368"/>
              <a:gd name="connsiteY726" fmla="*/ 5996739 h 6479439"/>
              <a:gd name="connsiteX727" fmla="*/ 9089792 w 9586368"/>
              <a:gd name="connsiteY727" fmla="*/ 5986868 h 6479439"/>
              <a:gd name="connsiteX728" fmla="*/ 8854496 w 9586368"/>
              <a:gd name="connsiteY728" fmla="*/ 5982829 h 6479439"/>
              <a:gd name="connsiteX729" fmla="*/ 8864407 w 9586368"/>
              <a:gd name="connsiteY729" fmla="*/ 5982829 h 6479439"/>
              <a:gd name="connsiteX730" fmla="*/ 8868426 w 9586368"/>
              <a:gd name="connsiteY730" fmla="*/ 5986868 h 6479439"/>
              <a:gd name="connsiteX731" fmla="*/ 8868426 w 9586368"/>
              <a:gd name="connsiteY731" fmla="*/ 5996739 h 6479439"/>
              <a:gd name="connsiteX732" fmla="*/ 8864407 w 9586368"/>
              <a:gd name="connsiteY732" fmla="*/ 6000778 h 6479439"/>
              <a:gd name="connsiteX733" fmla="*/ 8854496 w 9586368"/>
              <a:gd name="connsiteY733" fmla="*/ 6000778 h 6479439"/>
              <a:gd name="connsiteX734" fmla="*/ 8850477 w 9586368"/>
              <a:gd name="connsiteY734" fmla="*/ 5996739 h 6479439"/>
              <a:gd name="connsiteX735" fmla="*/ 8850477 w 9586368"/>
              <a:gd name="connsiteY735" fmla="*/ 5986868 h 6479439"/>
              <a:gd name="connsiteX736" fmla="*/ 8615184 w 9586368"/>
              <a:gd name="connsiteY736" fmla="*/ 5982829 h 6479439"/>
              <a:gd name="connsiteX737" fmla="*/ 8625095 w 9586368"/>
              <a:gd name="connsiteY737" fmla="*/ 5982829 h 6479439"/>
              <a:gd name="connsiteX738" fmla="*/ 8629114 w 9586368"/>
              <a:gd name="connsiteY738" fmla="*/ 5986868 h 6479439"/>
              <a:gd name="connsiteX739" fmla="*/ 8629114 w 9586368"/>
              <a:gd name="connsiteY739" fmla="*/ 5996739 h 6479439"/>
              <a:gd name="connsiteX740" fmla="*/ 8625095 w 9586368"/>
              <a:gd name="connsiteY740" fmla="*/ 6000778 h 6479439"/>
              <a:gd name="connsiteX741" fmla="*/ 8615184 w 9586368"/>
              <a:gd name="connsiteY741" fmla="*/ 6000778 h 6479439"/>
              <a:gd name="connsiteX742" fmla="*/ 8611165 w 9586368"/>
              <a:gd name="connsiteY742" fmla="*/ 5996739 h 6479439"/>
              <a:gd name="connsiteX743" fmla="*/ 8611165 w 9586368"/>
              <a:gd name="connsiteY743" fmla="*/ 5986868 h 6479439"/>
              <a:gd name="connsiteX744" fmla="*/ 8375869 w 9586368"/>
              <a:gd name="connsiteY744" fmla="*/ 5982829 h 6479439"/>
              <a:gd name="connsiteX745" fmla="*/ 8385779 w 9586368"/>
              <a:gd name="connsiteY745" fmla="*/ 5982829 h 6479439"/>
              <a:gd name="connsiteX746" fmla="*/ 8389799 w 9586368"/>
              <a:gd name="connsiteY746" fmla="*/ 5986868 h 6479439"/>
              <a:gd name="connsiteX747" fmla="*/ 8389799 w 9586368"/>
              <a:gd name="connsiteY747" fmla="*/ 5996739 h 6479439"/>
              <a:gd name="connsiteX748" fmla="*/ 8385779 w 9586368"/>
              <a:gd name="connsiteY748" fmla="*/ 6000778 h 6479439"/>
              <a:gd name="connsiteX749" fmla="*/ 8375869 w 9586368"/>
              <a:gd name="connsiteY749" fmla="*/ 6000778 h 6479439"/>
              <a:gd name="connsiteX750" fmla="*/ 8371850 w 9586368"/>
              <a:gd name="connsiteY750" fmla="*/ 5996739 h 6479439"/>
              <a:gd name="connsiteX751" fmla="*/ 8371850 w 9586368"/>
              <a:gd name="connsiteY751" fmla="*/ 5986868 h 6479439"/>
              <a:gd name="connsiteX752" fmla="*/ 8136553 w 9586368"/>
              <a:gd name="connsiteY752" fmla="*/ 5982829 h 6479439"/>
              <a:gd name="connsiteX753" fmla="*/ 8146464 w 9586368"/>
              <a:gd name="connsiteY753" fmla="*/ 5982829 h 6479439"/>
              <a:gd name="connsiteX754" fmla="*/ 8150483 w 9586368"/>
              <a:gd name="connsiteY754" fmla="*/ 5986868 h 6479439"/>
              <a:gd name="connsiteX755" fmla="*/ 8150483 w 9586368"/>
              <a:gd name="connsiteY755" fmla="*/ 5996739 h 6479439"/>
              <a:gd name="connsiteX756" fmla="*/ 8146464 w 9586368"/>
              <a:gd name="connsiteY756" fmla="*/ 6000778 h 6479439"/>
              <a:gd name="connsiteX757" fmla="*/ 8136553 w 9586368"/>
              <a:gd name="connsiteY757" fmla="*/ 6000778 h 6479439"/>
              <a:gd name="connsiteX758" fmla="*/ 8132534 w 9586368"/>
              <a:gd name="connsiteY758" fmla="*/ 5996739 h 6479439"/>
              <a:gd name="connsiteX759" fmla="*/ 8132534 w 9586368"/>
              <a:gd name="connsiteY759" fmla="*/ 5986868 h 6479439"/>
              <a:gd name="connsiteX760" fmla="*/ 7897241 w 9586368"/>
              <a:gd name="connsiteY760" fmla="*/ 5982829 h 6479439"/>
              <a:gd name="connsiteX761" fmla="*/ 7907151 w 9586368"/>
              <a:gd name="connsiteY761" fmla="*/ 5982829 h 6479439"/>
              <a:gd name="connsiteX762" fmla="*/ 7911170 w 9586368"/>
              <a:gd name="connsiteY762" fmla="*/ 5986868 h 6479439"/>
              <a:gd name="connsiteX763" fmla="*/ 7911170 w 9586368"/>
              <a:gd name="connsiteY763" fmla="*/ 5996739 h 6479439"/>
              <a:gd name="connsiteX764" fmla="*/ 7907151 w 9586368"/>
              <a:gd name="connsiteY764" fmla="*/ 6000778 h 6479439"/>
              <a:gd name="connsiteX765" fmla="*/ 7897241 w 9586368"/>
              <a:gd name="connsiteY765" fmla="*/ 6000778 h 6479439"/>
              <a:gd name="connsiteX766" fmla="*/ 7893222 w 9586368"/>
              <a:gd name="connsiteY766" fmla="*/ 5996739 h 6479439"/>
              <a:gd name="connsiteX767" fmla="*/ 7893222 w 9586368"/>
              <a:gd name="connsiteY767" fmla="*/ 5986868 h 6479439"/>
              <a:gd name="connsiteX768" fmla="*/ 7657926 w 9586368"/>
              <a:gd name="connsiteY768" fmla="*/ 5982829 h 6479439"/>
              <a:gd name="connsiteX769" fmla="*/ 7667836 w 9586368"/>
              <a:gd name="connsiteY769" fmla="*/ 5982829 h 6479439"/>
              <a:gd name="connsiteX770" fmla="*/ 7671855 w 9586368"/>
              <a:gd name="connsiteY770" fmla="*/ 5986868 h 6479439"/>
              <a:gd name="connsiteX771" fmla="*/ 7671855 w 9586368"/>
              <a:gd name="connsiteY771" fmla="*/ 5996739 h 6479439"/>
              <a:gd name="connsiteX772" fmla="*/ 7667836 w 9586368"/>
              <a:gd name="connsiteY772" fmla="*/ 6000778 h 6479439"/>
              <a:gd name="connsiteX773" fmla="*/ 7657926 w 9586368"/>
              <a:gd name="connsiteY773" fmla="*/ 6000778 h 6479439"/>
              <a:gd name="connsiteX774" fmla="*/ 7653906 w 9586368"/>
              <a:gd name="connsiteY774" fmla="*/ 5996739 h 6479439"/>
              <a:gd name="connsiteX775" fmla="*/ 7653906 w 9586368"/>
              <a:gd name="connsiteY775" fmla="*/ 5986868 h 6479439"/>
              <a:gd name="connsiteX776" fmla="*/ 7418611 w 9586368"/>
              <a:gd name="connsiteY776" fmla="*/ 5982829 h 6479439"/>
              <a:gd name="connsiteX777" fmla="*/ 7428521 w 9586368"/>
              <a:gd name="connsiteY777" fmla="*/ 5982829 h 6479439"/>
              <a:gd name="connsiteX778" fmla="*/ 7432540 w 9586368"/>
              <a:gd name="connsiteY778" fmla="*/ 5986868 h 6479439"/>
              <a:gd name="connsiteX779" fmla="*/ 7432540 w 9586368"/>
              <a:gd name="connsiteY779" fmla="*/ 5996739 h 6479439"/>
              <a:gd name="connsiteX780" fmla="*/ 7428521 w 9586368"/>
              <a:gd name="connsiteY780" fmla="*/ 6000778 h 6479439"/>
              <a:gd name="connsiteX781" fmla="*/ 7418611 w 9586368"/>
              <a:gd name="connsiteY781" fmla="*/ 6000778 h 6479439"/>
              <a:gd name="connsiteX782" fmla="*/ 7414592 w 9586368"/>
              <a:gd name="connsiteY782" fmla="*/ 5996739 h 6479439"/>
              <a:gd name="connsiteX783" fmla="*/ 7414592 w 9586368"/>
              <a:gd name="connsiteY783" fmla="*/ 5986868 h 6479439"/>
              <a:gd name="connsiteX784" fmla="*/ 7179298 w 9586368"/>
              <a:gd name="connsiteY784" fmla="*/ 5982829 h 6479439"/>
              <a:gd name="connsiteX785" fmla="*/ 7189209 w 9586368"/>
              <a:gd name="connsiteY785" fmla="*/ 5982829 h 6479439"/>
              <a:gd name="connsiteX786" fmla="*/ 7193228 w 9586368"/>
              <a:gd name="connsiteY786" fmla="*/ 5986868 h 6479439"/>
              <a:gd name="connsiteX787" fmla="*/ 7193228 w 9586368"/>
              <a:gd name="connsiteY787" fmla="*/ 5996739 h 6479439"/>
              <a:gd name="connsiteX788" fmla="*/ 7189209 w 9586368"/>
              <a:gd name="connsiteY788" fmla="*/ 6000778 h 6479439"/>
              <a:gd name="connsiteX789" fmla="*/ 7179298 w 9586368"/>
              <a:gd name="connsiteY789" fmla="*/ 6000778 h 6479439"/>
              <a:gd name="connsiteX790" fmla="*/ 7175279 w 9586368"/>
              <a:gd name="connsiteY790" fmla="*/ 5996739 h 6479439"/>
              <a:gd name="connsiteX791" fmla="*/ 7175279 w 9586368"/>
              <a:gd name="connsiteY791" fmla="*/ 5986868 h 6479439"/>
              <a:gd name="connsiteX792" fmla="*/ 6939983 w 9586368"/>
              <a:gd name="connsiteY792" fmla="*/ 5982829 h 6479439"/>
              <a:gd name="connsiteX793" fmla="*/ 6949894 w 9586368"/>
              <a:gd name="connsiteY793" fmla="*/ 5982829 h 6479439"/>
              <a:gd name="connsiteX794" fmla="*/ 6953913 w 9586368"/>
              <a:gd name="connsiteY794" fmla="*/ 5986868 h 6479439"/>
              <a:gd name="connsiteX795" fmla="*/ 6953913 w 9586368"/>
              <a:gd name="connsiteY795" fmla="*/ 5996739 h 6479439"/>
              <a:gd name="connsiteX796" fmla="*/ 6949894 w 9586368"/>
              <a:gd name="connsiteY796" fmla="*/ 6000778 h 6479439"/>
              <a:gd name="connsiteX797" fmla="*/ 6939983 w 9586368"/>
              <a:gd name="connsiteY797" fmla="*/ 6000778 h 6479439"/>
              <a:gd name="connsiteX798" fmla="*/ 6935964 w 9586368"/>
              <a:gd name="connsiteY798" fmla="*/ 5996739 h 6479439"/>
              <a:gd name="connsiteX799" fmla="*/ 6935964 w 9586368"/>
              <a:gd name="connsiteY799" fmla="*/ 5986868 h 6479439"/>
              <a:gd name="connsiteX800" fmla="*/ 6700670 w 9586368"/>
              <a:gd name="connsiteY800" fmla="*/ 5982829 h 6479439"/>
              <a:gd name="connsiteX801" fmla="*/ 6710581 w 9586368"/>
              <a:gd name="connsiteY801" fmla="*/ 5982829 h 6479439"/>
              <a:gd name="connsiteX802" fmla="*/ 6714600 w 9586368"/>
              <a:gd name="connsiteY802" fmla="*/ 5986868 h 6479439"/>
              <a:gd name="connsiteX803" fmla="*/ 6714600 w 9586368"/>
              <a:gd name="connsiteY803" fmla="*/ 5996739 h 6479439"/>
              <a:gd name="connsiteX804" fmla="*/ 6710581 w 9586368"/>
              <a:gd name="connsiteY804" fmla="*/ 6000778 h 6479439"/>
              <a:gd name="connsiteX805" fmla="*/ 6700670 w 9586368"/>
              <a:gd name="connsiteY805" fmla="*/ 6000778 h 6479439"/>
              <a:gd name="connsiteX806" fmla="*/ 6696651 w 9586368"/>
              <a:gd name="connsiteY806" fmla="*/ 5996739 h 6479439"/>
              <a:gd name="connsiteX807" fmla="*/ 6696651 w 9586368"/>
              <a:gd name="connsiteY807" fmla="*/ 5986868 h 6479439"/>
              <a:gd name="connsiteX808" fmla="*/ 6461356 w 9586368"/>
              <a:gd name="connsiteY808" fmla="*/ 5982829 h 6479439"/>
              <a:gd name="connsiteX809" fmla="*/ 6471266 w 9586368"/>
              <a:gd name="connsiteY809" fmla="*/ 5982829 h 6479439"/>
              <a:gd name="connsiteX810" fmla="*/ 6475285 w 9586368"/>
              <a:gd name="connsiteY810" fmla="*/ 5986868 h 6479439"/>
              <a:gd name="connsiteX811" fmla="*/ 6475285 w 9586368"/>
              <a:gd name="connsiteY811" fmla="*/ 5996739 h 6479439"/>
              <a:gd name="connsiteX812" fmla="*/ 6471266 w 9586368"/>
              <a:gd name="connsiteY812" fmla="*/ 6000778 h 6479439"/>
              <a:gd name="connsiteX813" fmla="*/ 6461356 w 9586368"/>
              <a:gd name="connsiteY813" fmla="*/ 6000778 h 6479439"/>
              <a:gd name="connsiteX814" fmla="*/ 6457337 w 9586368"/>
              <a:gd name="connsiteY814" fmla="*/ 5996739 h 6479439"/>
              <a:gd name="connsiteX815" fmla="*/ 6457337 w 9586368"/>
              <a:gd name="connsiteY815" fmla="*/ 5986868 h 6479439"/>
              <a:gd name="connsiteX816" fmla="*/ 6222042 w 9586368"/>
              <a:gd name="connsiteY816" fmla="*/ 5982829 h 6479439"/>
              <a:gd name="connsiteX817" fmla="*/ 6231952 w 9586368"/>
              <a:gd name="connsiteY817" fmla="*/ 5982829 h 6479439"/>
              <a:gd name="connsiteX818" fmla="*/ 6235971 w 9586368"/>
              <a:gd name="connsiteY818" fmla="*/ 5986868 h 6479439"/>
              <a:gd name="connsiteX819" fmla="*/ 6235971 w 9586368"/>
              <a:gd name="connsiteY819" fmla="*/ 5996739 h 6479439"/>
              <a:gd name="connsiteX820" fmla="*/ 6231952 w 9586368"/>
              <a:gd name="connsiteY820" fmla="*/ 6000778 h 6479439"/>
              <a:gd name="connsiteX821" fmla="*/ 6222042 w 9586368"/>
              <a:gd name="connsiteY821" fmla="*/ 6000778 h 6479439"/>
              <a:gd name="connsiteX822" fmla="*/ 6218023 w 9586368"/>
              <a:gd name="connsiteY822" fmla="*/ 5996739 h 6479439"/>
              <a:gd name="connsiteX823" fmla="*/ 6218023 w 9586368"/>
              <a:gd name="connsiteY823" fmla="*/ 5986868 h 6479439"/>
              <a:gd name="connsiteX824" fmla="*/ 5982729 w 9586368"/>
              <a:gd name="connsiteY824" fmla="*/ 5982829 h 6479439"/>
              <a:gd name="connsiteX825" fmla="*/ 5992639 w 9586368"/>
              <a:gd name="connsiteY825" fmla="*/ 5982829 h 6479439"/>
              <a:gd name="connsiteX826" fmla="*/ 5996658 w 9586368"/>
              <a:gd name="connsiteY826" fmla="*/ 5986868 h 6479439"/>
              <a:gd name="connsiteX827" fmla="*/ 5996658 w 9586368"/>
              <a:gd name="connsiteY827" fmla="*/ 5996739 h 6479439"/>
              <a:gd name="connsiteX828" fmla="*/ 5992639 w 9586368"/>
              <a:gd name="connsiteY828" fmla="*/ 6000778 h 6479439"/>
              <a:gd name="connsiteX829" fmla="*/ 5982729 w 9586368"/>
              <a:gd name="connsiteY829" fmla="*/ 6000778 h 6479439"/>
              <a:gd name="connsiteX830" fmla="*/ 5978710 w 9586368"/>
              <a:gd name="connsiteY830" fmla="*/ 5996739 h 6479439"/>
              <a:gd name="connsiteX831" fmla="*/ 5978710 w 9586368"/>
              <a:gd name="connsiteY831" fmla="*/ 5986868 h 6479439"/>
              <a:gd name="connsiteX832" fmla="*/ 5743412 w 9586368"/>
              <a:gd name="connsiteY832" fmla="*/ 5982829 h 6479439"/>
              <a:gd name="connsiteX833" fmla="*/ 5753323 w 9586368"/>
              <a:gd name="connsiteY833" fmla="*/ 5982829 h 6479439"/>
              <a:gd name="connsiteX834" fmla="*/ 5757342 w 9586368"/>
              <a:gd name="connsiteY834" fmla="*/ 5986868 h 6479439"/>
              <a:gd name="connsiteX835" fmla="*/ 5757342 w 9586368"/>
              <a:gd name="connsiteY835" fmla="*/ 5996739 h 6479439"/>
              <a:gd name="connsiteX836" fmla="*/ 5753323 w 9586368"/>
              <a:gd name="connsiteY836" fmla="*/ 6000778 h 6479439"/>
              <a:gd name="connsiteX837" fmla="*/ 5743412 w 9586368"/>
              <a:gd name="connsiteY837" fmla="*/ 6000778 h 6479439"/>
              <a:gd name="connsiteX838" fmla="*/ 5739393 w 9586368"/>
              <a:gd name="connsiteY838" fmla="*/ 5996739 h 6479439"/>
              <a:gd name="connsiteX839" fmla="*/ 5739393 w 9586368"/>
              <a:gd name="connsiteY839" fmla="*/ 5986868 h 6479439"/>
              <a:gd name="connsiteX840" fmla="*/ 5504099 w 9586368"/>
              <a:gd name="connsiteY840" fmla="*/ 5982829 h 6479439"/>
              <a:gd name="connsiteX841" fmla="*/ 5514010 w 9586368"/>
              <a:gd name="connsiteY841" fmla="*/ 5982829 h 6479439"/>
              <a:gd name="connsiteX842" fmla="*/ 5518029 w 9586368"/>
              <a:gd name="connsiteY842" fmla="*/ 5986868 h 6479439"/>
              <a:gd name="connsiteX843" fmla="*/ 5518029 w 9586368"/>
              <a:gd name="connsiteY843" fmla="*/ 5996739 h 6479439"/>
              <a:gd name="connsiteX844" fmla="*/ 5514010 w 9586368"/>
              <a:gd name="connsiteY844" fmla="*/ 6000778 h 6479439"/>
              <a:gd name="connsiteX845" fmla="*/ 5504099 w 9586368"/>
              <a:gd name="connsiteY845" fmla="*/ 6000778 h 6479439"/>
              <a:gd name="connsiteX846" fmla="*/ 5500080 w 9586368"/>
              <a:gd name="connsiteY846" fmla="*/ 5996739 h 6479439"/>
              <a:gd name="connsiteX847" fmla="*/ 5500080 w 9586368"/>
              <a:gd name="connsiteY847" fmla="*/ 5986868 h 6479439"/>
              <a:gd name="connsiteX848" fmla="*/ 5264784 w 9586368"/>
              <a:gd name="connsiteY848" fmla="*/ 5982829 h 6479439"/>
              <a:gd name="connsiteX849" fmla="*/ 5274694 w 9586368"/>
              <a:gd name="connsiteY849" fmla="*/ 5982829 h 6479439"/>
              <a:gd name="connsiteX850" fmla="*/ 5278713 w 9586368"/>
              <a:gd name="connsiteY850" fmla="*/ 5986868 h 6479439"/>
              <a:gd name="connsiteX851" fmla="*/ 5278713 w 9586368"/>
              <a:gd name="connsiteY851" fmla="*/ 5996739 h 6479439"/>
              <a:gd name="connsiteX852" fmla="*/ 5274694 w 9586368"/>
              <a:gd name="connsiteY852" fmla="*/ 6000778 h 6479439"/>
              <a:gd name="connsiteX853" fmla="*/ 5264784 w 9586368"/>
              <a:gd name="connsiteY853" fmla="*/ 6000778 h 6479439"/>
              <a:gd name="connsiteX854" fmla="*/ 5260765 w 9586368"/>
              <a:gd name="connsiteY854" fmla="*/ 5996739 h 6479439"/>
              <a:gd name="connsiteX855" fmla="*/ 5260765 w 9586368"/>
              <a:gd name="connsiteY855" fmla="*/ 5986868 h 6479439"/>
              <a:gd name="connsiteX856" fmla="*/ 5025470 w 9586368"/>
              <a:gd name="connsiteY856" fmla="*/ 5982829 h 6479439"/>
              <a:gd name="connsiteX857" fmla="*/ 5035381 w 9586368"/>
              <a:gd name="connsiteY857" fmla="*/ 5982829 h 6479439"/>
              <a:gd name="connsiteX858" fmla="*/ 5039400 w 9586368"/>
              <a:gd name="connsiteY858" fmla="*/ 5986868 h 6479439"/>
              <a:gd name="connsiteX859" fmla="*/ 5039400 w 9586368"/>
              <a:gd name="connsiteY859" fmla="*/ 5996739 h 6479439"/>
              <a:gd name="connsiteX860" fmla="*/ 5035381 w 9586368"/>
              <a:gd name="connsiteY860" fmla="*/ 6000778 h 6479439"/>
              <a:gd name="connsiteX861" fmla="*/ 5025470 w 9586368"/>
              <a:gd name="connsiteY861" fmla="*/ 6000778 h 6479439"/>
              <a:gd name="connsiteX862" fmla="*/ 5021451 w 9586368"/>
              <a:gd name="connsiteY862" fmla="*/ 5996739 h 6479439"/>
              <a:gd name="connsiteX863" fmla="*/ 5021451 w 9586368"/>
              <a:gd name="connsiteY863" fmla="*/ 5986868 h 6479439"/>
              <a:gd name="connsiteX864" fmla="*/ 4786241 w 9586368"/>
              <a:gd name="connsiteY864" fmla="*/ 5982829 h 6479439"/>
              <a:gd name="connsiteX865" fmla="*/ 4796152 w 9586368"/>
              <a:gd name="connsiteY865" fmla="*/ 5982829 h 6479439"/>
              <a:gd name="connsiteX866" fmla="*/ 4800171 w 9586368"/>
              <a:gd name="connsiteY866" fmla="*/ 5986868 h 6479439"/>
              <a:gd name="connsiteX867" fmla="*/ 4800171 w 9586368"/>
              <a:gd name="connsiteY867" fmla="*/ 5996739 h 6479439"/>
              <a:gd name="connsiteX868" fmla="*/ 4796152 w 9586368"/>
              <a:gd name="connsiteY868" fmla="*/ 6000778 h 6479439"/>
              <a:gd name="connsiteX869" fmla="*/ 4786241 w 9586368"/>
              <a:gd name="connsiteY869" fmla="*/ 6000778 h 6479439"/>
              <a:gd name="connsiteX870" fmla="*/ 4782224 w 9586368"/>
              <a:gd name="connsiteY870" fmla="*/ 5996739 h 6479439"/>
              <a:gd name="connsiteX871" fmla="*/ 4782224 w 9586368"/>
              <a:gd name="connsiteY871" fmla="*/ 5986868 h 6479439"/>
              <a:gd name="connsiteX872" fmla="*/ 4546929 w 9586368"/>
              <a:gd name="connsiteY872" fmla="*/ 5982829 h 6479439"/>
              <a:gd name="connsiteX873" fmla="*/ 4556840 w 9586368"/>
              <a:gd name="connsiteY873" fmla="*/ 5982829 h 6479439"/>
              <a:gd name="connsiteX874" fmla="*/ 4560859 w 9586368"/>
              <a:gd name="connsiteY874" fmla="*/ 5986868 h 6479439"/>
              <a:gd name="connsiteX875" fmla="*/ 4560859 w 9586368"/>
              <a:gd name="connsiteY875" fmla="*/ 5996739 h 6479439"/>
              <a:gd name="connsiteX876" fmla="*/ 4556840 w 9586368"/>
              <a:gd name="connsiteY876" fmla="*/ 6000778 h 6479439"/>
              <a:gd name="connsiteX877" fmla="*/ 4546929 w 9586368"/>
              <a:gd name="connsiteY877" fmla="*/ 6000778 h 6479439"/>
              <a:gd name="connsiteX878" fmla="*/ 4542910 w 9586368"/>
              <a:gd name="connsiteY878" fmla="*/ 5996739 h 6479439"/>
              <a:gd name="connsiteX879" fmla="*/ 4542910 w 9586368"/>
              <a:gd name="connsiteY879" fmla="*/ 5986868 h 6479439"/>
              <a:gd name="connsiteX880" fmla="*/ 4307612 w 9586368"/>
              <a:gd name="connsiteY880" fmla="*/ 5982829 h 6479439"/>
              <a:gd name="connsiteX881" fmla="*/ 4317523 w 9586368"/>
              <a:gd name="connsiteY881" fmla="*/ 5982829 h 6479439"/>
              <a:gd name="connsiteX882" fmla="*/ 4321543 w 9586368"/>
              <a:gd name="connsiteY882" fmla="*/ 5986868 h 6479439"/>
              <a:gd name="connsiteX883" fmla="*/ 4321543 w 9586368"/>
              <a:gd name="connsiteY883" fmla="*/ 5996739 h 6479439"/>
              <a:gd name="connsiteX884" fmla="*/ 4317523 w 9586368"/>
              <a:gd name="connsiteY884" fmla="*/ 6000778 h 6479439"/>
              <a:gd name="connsiteX885" fmla="*/ 4307612 w 9586368"/>
              <a:gd name="connsiteY885" fmla="*/ 6000778 h 6479439"/>
              <a:gd name="connsiteX886" fmla="*/ 4303595 w 9586368"/>
              <a:gd name="connsiteY886" fmla="*/ 5996739 h 6479439"/>
              <a:gd name="connsiteX887" fmla="*/ 4303595 w 9586368"/>
              <a:gd name="connsiteY887" fmla="*/ 5986868 h 6479439"/>
              <a:gd name="connsiteX888" fmla="*/ 4068297 w 9586368"/>
              <a:gd name="connsiteY888" fmla="*/ 5982829 h 6479439"/>
              <a:gd name="connsiteX889" fmla="*/ 4078210 w 9586368"/>
              <a:gd name="connsiteY889" fmla="*/ 5982829 h 6479439"/>
              <a:gd name="connsiteX890" fmla="*/ 4082229 w 9586368"/>
              <a:gd name="connsiteY890" fmla="*/ 5986868 h 6479439"/>
              <a:gd name="connsiteX891" fmla="*/ 4082229 w 9586368"/>
              <a:gd name="connsiteY891" fmla="*/ 5996739 h 6479439"/>
              <a:gd name="connsiteX892" fmla="*/ 4078210 w 9586368"/>
              <a:gd name="connsiteY892" fmla="*/ 6000778 h 6479439"/>
              <a:gd name="connsiteX893" fmla="*/ 4068297 w 9586368"/>
              <a:gd name="connsiteY893" fmla="*/ 6000778 h 6479439"/>
              <a:gd name="connsiteX894" fmla="*/ 4064278 w 9586368"/>
              <a:gd name="connsiteY894" fmla="*/ 5996739 h 6479439"/>
              <a:gd name="connsiteX895" fmla="*/ 4064278 w 9586368"/>
              <a:gd name="connsiteY895" fmla="*/ 5986868 h 6479439"/>
              <a:gd name="connsiteX896" fmla="*/ 3828990 w 9586368"/>
              <a:gd name="connsiteY896" fmla="*/ 5982829 h 6479439"/>
              <a:gd name="connsiteX897" fmla="*/ 3838899 w 9586368"/>
              <a:gd name="connsiteY897" fmla="*/ 5982829 h 6479439"/>
              <a:gd name="connsiteX898" fmla="*/ 3842917 w 9586368"/>
              <a:gd name="connsiteY898" fmla="*/ 5986868 h 6479439"/>
              <a:gd name="connsiteX899" fmla="*/ 3842917 w 9586368"/>
              <a:gd name="connsiteY899" fmla="*/ 5996739 h 6479439"/>
              <a:gd name="connsiteX900" fmla="*/ 3838899 w 9586368"/>
              <a:gd name="connsiteY900" fmla="*/ 6000778 h 6479439"/>
              <a:gd name="connsiteX901" fmla="*/ 3828990 w 9586368"/>
              <a:gd name="connsiteY901" fmla="*/ 6000778 h 6479439"/>
              <a:gd name="connsiteX902" fmla="*/ 3824971 w 9586368"/>
              <a:gd name="connsiteY902" fmla="*/ 5996739 h 6479439"/>
              <a:gd name="connsiteX903" fmla="*/ 3824971 w 9586368"/>
              <a:gd name="connsiteY903" fmla="*/ 5986868 h 6479439"/>
              <a:gd name="connsiteX904" fmla="*/ 3589676 w 9586368"/>
              <a:gd name="connsiteY904" fmla="*/ 5982829 h 6479439"/>
              <a:gd name="connsiteX905" fmla="*/ 3599585 w 9586368"/>
              <a:gd name="connsiteY905" fmla="*/ 5982829 h 6479439"/>
              <a:gd name="connsiteX906" fmla="*/ 3603604 w 9586368"/>
              <a:gd name="connsiteY906" fmla="*/ 5986868 h 6479439"/>
              <a:gd name="connsiteX907" fmla="*/ 3603604 w 9586368"/>
              <a:gd name="connsiteY907" fmla="*/ 5996739 h 6479439"/>
              <a:gd name="connsiteX908" fmla="*/ 3599585 w 9586368"/>
              <a:gd name="connsiteY908" fmla="*/ 6000778 h 6479439"/>
              <a:gd name="connsiteX909" fmla="*/ 3589676 w 9586368"/>
              <a:gd name="connsiteY909" fmla="*/ 6000778 h 6479439"/>
              <a:gd name="connsiteX910" fmla="*/ 3585657 w 9586368"/>
              <a:gd name="connsiteY910" fmla="*/ 5996739 h 6479439"/>
              <a:gd name="connsiteX911" fmla="*/ 3585657 w 9586368"/>
              <a:gd name="connsiteY911" fmla="*/ 5986868 h 6479439"/>
              <a:gd name="connsiteX912" fmla="*/ 3350359 w 9586368"/>
              <a:gd name="connsiteY912" fmla="*/ 5982829 h 6479439"/>
              <a:gd name="connsiteX913" fmla="*/ 3360268 w 9586368"/>
              <a:gd name="connsiteY913" fmla="*/ 5982829 h 6479439"/>
              <a:gd name="connsiteX914" fmla="*/ 3364287 w 9586368"/>
              <a:gd name="connsiteY914" fmla="*/ 5986868 h 6479439"/>
              <a:gd name="connsiteX915" fmla="*/ 3364287 w 9586368"/>
              <a:gd name="connsiteY915" fmla="*/ 5996739 h 6479439"/>
              <a:gd name="connsiteX916" fmla="*/ 3360268 w 9586368"/>
              <a:gd name="connsiteY916" fmla="*/ 6000778 h 6479439"/>
              <a:gd name="connsiteX917" fmla="*/ 3350359 w 9586368"/>
              <a:gd name="connsiteY917" fmla="*/ 6000778 h 6479439"/>
              <a:gd name="connsiteX918" fmla="*/ 3346340 w 9586368"/>
              <a:gd name="connsiteY918" fmla="*/ 5996739 h 6479439"/>
              <a:gd name="connsiteX919" fmla="*/ 3346340 w 9586368"/>
              <a:gd name="connsiteY919" fmla="*/ 5986868 h 6479439"/>
              <a:gd name="connsiteX920" fmla="*/ 3111048 w 9586368"/>
              <a:gd name="connsiteY920" fmla="*/ 5982829 h 6479439"/>
              <a:gd name="connsiteX921" fmla="*/ 3120959 w 9586368"/>
              <a:gd name="connsiteY921" fmla="*/ 5982829 h 6479439"/>
              <a:gd name="connsiteX922" fmla="*/ 3124977 w 9586368"/>
              <a:gd name="connsiteY922" fmla="*/ 5986868 h 6479439"/>
              <a:gd name="connsiteX923" fmla="*/ 3124977 w 9586368"/>
              <a:gd name="connsiteY923" fmla="*/ 5996739 h 6479439"/>
              <a:gd name="connsiteX924" fmla="*/ 3120959 w 9586368"/>
              <a:gd name="connsiteY924" fmla="*/ 6000778 h 6479439"/>
              <a:gd name="connsiteX925" fmla="*/ 3111048 w 9586368"/>
              <a:gd name="connsiteY925" fmla="*/ 6000778 h 6479439"/>
              <a:gd name="connsiteX926" fmla="*/ 3107029 w 9586368"/>
              <a:gd name="connsiteY926" fmla="*/ 5996739 h 6479439"/>
              <a:gd name="connsiteX927" fmla="*/ 3107029 w 9586368"/>
              <a:gd name="connsiteY927" fmla="*/ 5986868 h 6479439"/>
              <a:gd name="connsiteX928" fmla="*/ 2871737 w 9586368"/>
              <a:gd name="connsiteY928" fmla="*/ 5982829 h 6479439"/>
              <a:gd name="connsiteX929" fmla="*/ 2881646 w 9586368"/>
              <a:gd name="connsiteY929" fmla="*/ 5982829 h 6479439"/>
              <a:gd name="connsiteX930" fmla="*/ 2885666 w 9586368"/>
              <a:gd name="connsiteY930" fmla="*/ 5986868 h 6479439"/>
              <a:gd name="connsiteX931" fmla="*/ 2885666 w 9586368"/>
              <a:gd name="connsiteY931" fmla="*/ 5996739 h 6479439"/>
              <a:gd name="connsiteX932" fmla="*/ 2881646 w 9586368"/>
              <a:gd name="connsiteY932" fmla="*/ 6000778 h 6479439"/>
              <a:gd name="connsiteX933" fmla="*/ 2871737 w 9586368"/>
              <a:gd name="connsiteY933" fmla="*/ 6000778 h 6479439"/>
              <a:gd name="connsiteX934" fmla="*/ 2867717 w 9586368"/>
              <a:gd name="connsiteY934" fmla="*/ 5996739 h 6479439"/>
              <a:gd name="connsiteX935" fmla="*/ 2867717 w 9586368"/>
              <a:gd name="connsiteY935" fmla="*/ 5986868 h 6479439"/>
              <a:gd name="connsiteX936" fmla="*/ 2632423 w 9586368"/>
              <a:gd name="connsiteY936" fmla="*/ 5982829 h 6479439"/>
              <a:gd name="connsiteX937" fmla="*/ 2642334 w 9586368"/>
              <a:gd name="connsiteY937" fmla="*/ 5982829 h 6479439"/>
              <a:gd name="connsiteX938" fmla="*/ 2646352 w 9586368"/>
              <a:gd name="connsiteY938" fmla="*/ 5986868 h 6479439"/>
              <a:gd name="connsiteX939" fmla="*/ 2646352 w 9586368"/>
              <a:gd name="connsiteY939" fmla="*/ 5996739 h 6479439"/>
              <a:gd name="connsiteX940" fmla="*/ 2642334 w 9586368"/>
              <a:gd name="connsiteY940" fmla="*/ 6000778 h 6479439"/>
              <a:gd name="connsiteX941" fmla="*/ 2632423 w 9586368"/>
              <a:gd name="connsiteY941" fmla="*/ 6000778 h 6479439"/>
              <a:gd name="connsiteX942" fmla="*/ 2628404 w 9586368"/>
              <a:gd name="connsiteY942" fmla="*/ 5996739 h 6479439"/>
              <a:gd name="connsiteX943" fmla="*/ 2628404 w 9586368"/>
              <a:gd name="connsiteY943" fmla="*/ 5986868 h 6479439"/>
              <a:gd name="connsiteX944" fmla="*/ 2393104 w 9586368"/>
              <a:gd name="connsiteY944" fmla="*/ 5982829 h 6479439"/>
              <a:gd name="connsiteX945" fmla="*/ 2403015 w 9586368"/>
              <a:gd name="connsiteY945" fmla="*/ 5982829 h 6479439"/>
              <a:gd name="connsiteX946" fmla="*/ 2407034 w 9586368"/>
              <a:gd name="connsiteY946" fmla="*/ 5986868 h 6479439"/>
              <a:gd name="connsiteX947" fmla="*/ 2407034 w 9586368"/>
              <a:gd name="connsiteY947" fmla="*/ 5996739 h 6479439"/>
              <a:gd name="connsiteX948" fmla="*/ 2403015 w 9586368"/>
              <a:gd name="connsiteY948" fmla="*/ 6000778 h 6479439"/>
              <a:gd name="connsiteX949" fmla="*/ 2393104 w 9586368"/>
              <a:gd name="connsiteY949" fmla="*/ 6000778 h 6479439"/>
              <a:gd name="connsiteX950" fmla="*/ 2389087 w 9586368"/>
              <a:gd name="connsiteY950" fmla="*/ 5996739 h 6479439"/>
              <a:gd name="connsiteX951" fmla="*/ 2389087 w 9586368"/>
              <a:gd name="connsiteY951" fmla="*/ 5986868 h 6479439"/>
              <a:gd name="connsiteX952" fmla="*/ 721960 w 9586368"/>
              <a:gd name="connsiteY952" fmla="*/ 5982829 h 6479439"/>
              <a:gd name="connsiteX953" fmla="*/ 731869 w 9586368"/>
              <a:gd name="connsiteY953" fmla="*/ 5982829 h 6479439"/>
              <a:gd name="connsiteX954" fmla="*/ 735888 w 9586368"/>
              <a:gd name="connsiteY954" fmla="*/ 5986868 h 6479439"/>
              <a:gd name="connsiteX955" fmla="*/ 735888 w 9586368"/>
              <a:gd name="connsiteY955" fmla="*/ 5996739 h 6479439"/>
              <a:gd name="connsiteX956" fmla="*/ 731869 w 9586368"/>
              <a:gd name="connsiteY956" fmla="*/ 6000778 h 6479439"/>
              <a:gd name="connsiteX957" fmla="*/ 721960 w 9586368"/>
              <a:gd name="connsiteY957" fmla="*/ 6000778 h 6479439"/>
              <a:gd name="connsiteX958" fmla="*/ 717940 w 9586368"/>
              <a:gd name="connsiteY958" fmla="*/ 5996739 h 6479439"/>
              <a:gd name="connsiteX959" fmla="*/ 717940 w 9586368"/>
              <a:gd name="connsiteY959" fmla="*/ 5986868 h 6479439"/>
              <a:gd name="connsiteX960" fmla="*/ 482647 w 9586368"/>
              <a:gd name="connsiteY960" fmla="*/ 5982829 h 6479439"/>
              <a:gd name="connsiteX961" fmla="*/ 492557 w 9586368"/>
              <a:gd name="connsiteY961" fmla="*/ 5982829 h 6479439"/>
              <a:gd name="connsiteX962" fmla="*/ 496576 w 9586368"/>
              <a:gd name="connsiteY962" fmla="*/ 5986868 h 6479439"/>
              <a:gd name="connsiteX963" fmla="*/ 496576 w 9586368"/>
              <a:gd name="connsiteY963" fmla="*/ 5996739 h 6479439"/>
              <a:gd name="connsiteX964" fmla="*/ 492557 w 9586368"/>
              <a:gd name="connsiteY964" fmla="*/ 6000778 h 6479439"/>
              <a:gd name="connsiteX965" fmla="*/ 482647 w 9586368"/>
              <a:gd name="connsiteY965" fmla="*/ 6000778 h 6479439"/>
              <a:gd name="connsiteX966" fmla="*/ 478628 w 9586368"/>
              <a:gd name="connsiteY966" fmla="*/ 5996739 h 6479439"/>
              <a:gd name="connsiteX967" fmla="*/ 478628 w 9586368"/>
              <a:gd name="connsiteY967" fmla="*/ 5986868 h 6479439"/>
              <a:gd name="connsiteX968" fmla="*/ 243334 w 9586368"/>
              <a:gd name="connsiteY968" fmla="*/ 5982829 h 6479439"/>
              <a:gd name="connsiteX969" fmla="*/ 253244 w 9586368"/>
              <a:gd name="connsiteY969" fmla="*/ 5982829 h 6479439"/>
              <a:gd name="connsiteX970" fmla="*/ 257263 w 9586368"/>
              <a:gd name="connsiteY970" fmla="*/ 5986868 h 6479439"/>
              <a:gd name="connsiteX971" fmla="*/ 257263 w 9586368"/>
              <a:gd name="connsiteY971" fmla="*/ 5996739 h 6479439"/>
              <a:gd name="connsiteX972" fmla="*/ 253244 w 9586368"/>
              <a:gd name="connsiteY972" fmla="*/ 6000778 h 6479439"/>
              <a:gd name="connsiteX973" fmla="*/ 243334 w 9586368"/>
              <a:gd name="connsiteY973" fmla="*/ 6000778 h 6479439"/>
              <a:gd name="connsiteX974" fmla="*/ 239315 w 9586368"/>
              <a:gd name="connsiteY974" fmla="*/ 5996739 h 6479439"/>
              <a:gd name="connsiteX975" fmla="*/ 239315 w 9586368"/>
              <a:gd name="connsiteY975" fmla="*/ 5986868 h 6479439"/>
              <a:gd name="connsiteX976" fmla="*/ 4021 w 9586368"/>
              <a:gd name="connsiteY976" fmla="*/ 5982829 h 6479439"/>
              <a:gd name="connsiteX977" fmla="*/ 13931 w 9586368"/>
              <a:gd name="connsiteY977" fmla="*/ 5982829 h 6479439"/>
              <a:gd name="connsiteX978" fmla="*/ 17950 w 9586368"/>
              <a:gd name="connsiteY978" fmla="*/ 5986868 h 6479439"/>
              <a:gd name="connsiteX979" fmla="*/ 17950 w 9586368"/>
              <a:gd name="connsiteY979" fmla="*/ 5996739 h 6479439"/>
              <a:gd name="connsiteX980" fmla="*/ 13931 w 9586368"/>
              <a:gd name="connsiteY980" fmla="*/ 6000778 h 6479439"/>
              <a:gd name="connsiteX981" fmla="*/ 4021 w 9586368"/>
              <a:gd name="connsiteY981" fmla="*/ 6000778 h 6479439"/>
              <a:gd name="connsiteX982" fmla="*/ 1 w 9586368"/>
              <a:gd name="connsiteY982" fmla="*/ 5996739 h 6479439"/>
              <a:gd name="connsiteX983" fmla="*/ 1 w 9586368"/>
              <a:gd name="connsiteY983" fmla="*/ 5986868 h 6479439"/>
              <a:gd name="connsiteX984" fmla="*/ 2157818 w 9586368"/>
              <a:gd name="connsiteY984" fmla="*/ 5743551 h 6479439"/>
              <a:gd name="connsiteX985" fmla="*/ 2167728 w 9586368"/>
              <a:gd name="connsiteY985" fmla="*/ 5743551 h 6479439"/>
              <a:gd name="connsiteX986" fmla="*/ 2171747 w 9586368"/>
              <a:gd name="connsiteY986" fmla="*/ 5747589 h 6479439"/>
              <a:gd name="connsiteX987" fmla="*/ 2171747 w 9586368"/>
              <a:gd name="connsiteY987" fmla="*/ 5757460 h 6479439"/>
              <a:gd name="connsiteX988" fmla="*/ 2167728 w 9586368"/>
              <a:gd name="connsiteY988" fmla="*/ 5761499 h 6479439"/>
              <a:gd name="connsiteX989" fmla="*/ 2157818 w 9586368"/>
              <a:gd name="connsiteY989" fmla="*/ 5761499 h 6479439"/>
              <a:gd name="connsiteX990" fmla="*/ 2153799 w 9586368"/>
              <a:gd name="connsiteY990" fmla="*/ 5757460 h 6479439"/>
              <a:gd name="connsiteX991" fmla="*/ 2153799 w 9586368"/>
              <a:gd name="connsiteY991" fmla="*/ 5747589 h 6479439"/>
              <a:gd name="connsiteX992" fmla="*/ 1918510 w 9586368"/>
              <a:gd name="connsiteY992" fmla="*/ 5743551 h 6479439"/>
              <a:gd name="connsiteX993" fmla="*/ 1928420 w 9586368"/>
              <a:gd name="connsiteY993" fmla="*/ 5743551 h 6479439"/>
              <a:gd name="connsiteX994" fmla="*/ 1932438 w 9586368"/>
              <a:gd name="connsiteY994" fmla="*/ 5747589 h 6479439"/>
              <a:gd name="connsiteX995" fmla="*/ 1932438 w 9586368"/>
              <a:gd name="connsiteY995" fmla="*/ 5757460 h 6479439"/>
              <a:gd name="connsiteX996" fmla="*/ 1928420 w 9586368"/>
              <a:gd name="connsiteY996" fmla="*/ 5761499 h 6479439"/>
              <a:gd name="connsiteX997" fmla="*/ 1918510 w 9586368"/>
              <a:gd name="connsiteY997" fmla="*/ 5761499 h 6479439"/>
              <a:gd name="connsiteX998" fmla="*/ 1914490 w 9586368"/>
              <a:gd name="connsiteY998" fmla="*/ 5757460 h 6479439"/>
              <a:gd name="connsiteX999" fmla="*/ 1914490 w 9586368"/>
              <a:gd name="connsiteY999" fmla="*/ 5747589 h 6479439"/>
              <a:gd name="connsiteX1000" fmla="*/ 1679201 w 9586368"/>
              <a:gd name="connsiteY1000" fmla="*/ 5743551 h 6479439"/>
              <a:gd name="connsiteX1001" fmla="*/ 1689112 w 9586368"/>
              <a:gd name="connsiteY1001" fmla="*/ 5743551 h 6479439"/>
              <a:gd name="connsiteX1002" fmla="*/ 1693131 w 9586368"/>
              <a:gd name="connsiteY1002" fmla="*/ 5747589 h 6479439"/>
              <a:gd name="connsiteX1003" fmla="*/ 1693131 w 9586368"/>
              <a:gd name="connsiteY1003" fmla="*/ 5757460 h 6479439"/>
              <a:gd name="connsiteX1004" fmla="*/ 1689112 w 9586368"/>
              <a:gd name="connsiteY1004" fmla="*/ 5761499 h 6479439"/>
              <a:gd name="connsiteX1005" fmla="*/ 1679201 w 9586368"/>
              <a:gd name="connsiteY1005" fmla="*/ 5761499 h 6479439"/>
              <a:gd name="connsiteX1006" fmla="*/ 1675183 w 9586368"/>
              <a:gd name="connsiteY1006" fmla="*/ 5757460 h 6479439"/>
              <a:gd name="connsiteX1007" fmla="*/ 1675183 w 9586368"/>
              <a:gd name="connsiteY1007" fmla="*/ 5747589 h 6479439"/>
              <a:gd name="connsiteX1008" fmla="*/ 1439886 w 9586368"/>
              <a:gd name="connsiteY1008" fmla="*/ 5743551 h 6479439"/>
              <a:gd name="connsiteX1009" fmla="*/ 1449797 w 9586368"/>
              <a:gd name="connsiteY1009" fmla="*/ 5743551 h 6479439"/>
              <a:gd name="connsiteX1010" fmla="*/ 1453815 w 9586368"/>
              <a:gd name="connsiteY1010" fmla="*/ 5747589 h 6479439"/>
              <a:gd name="connsiteX1011" fmla="*/ 1453815 w 9586368"/>
              <a:gd name="connsiteY1011" fmla="*/ 5757460 h 6479439"/>
              <a:gd name="connsiteX1012" fmla="*/ 1449797 w 9586368"/>
              <a:gd name="connsiteY1012" fmla="*/ 5761499 h 6479439"/>
              <a:gd name="connsiteX1013" fmla="*/ 1439886 w 9586368"/>
              <a:gd name="connsiteY1013" fmla="*/ 5761499 h 6479439"/>
              <a:gd name="connsiteX1014" fmla="*/ 1435868 w 9586368"/>
              <a:gd name="connsiteY1014" fmla="*/ 5757460 h 6479439"/>
              <a:gd name="connsiteX1015" fmla="*/ 1435868 w 9586368"/>
              <a:gd name="connsiteY1015" fmla="*/ 5747589 h 6479439"/>
              <a:gd name="connsiteX1016" fmla="*/ 1200572 w 9586368"/>
              <a:gd name="connsiteY1016" fmla="*/ 5743551 h 6479439"/>
              <a:gd name="connsiteX1017" fmla="*/ 1210482 w 9586368"/>
              <a:gd name="connsiteY1017" fmla="*/ 5743551 h 6479439"/>
              <a:gd name="connsiteX1018" fmla="*/ 1214500 w 9586368"/>
              <a:gd name="connsiteY1018" fmla="*/ 5747589 h 6479439"/>
              <a:gd name="connsiteX1019" fmla="*/ 1214500 w 9586368"/>
              <a:gd name="connsiteY1019" fmla="*/ 5757460 h 6479439"/>
              <a:gd name="connsiteX1020" fmla="*/ 1210482 w 9586368"/>
              <a:gd name="connsiteY1020" fmla="*/ 5761499 h 6479439"/>
              <a:gd name="connsiteX1021" fmla="*/ 1200572 w 9586368"/>
              <a:gd name="connsiteY1021" fmla="*/ 5761499 h 6479439"/>
              <a:gd name="connsiteX1022" fmla="*/ 1196553 w 9586368"/>
              <a:gd name="connsiteY1022" fmla="*/ 5757460 h 6479439"/>
              <a:gd name="connsiteX1023" fmla="*/ 1196553 w 9586368"/>
              <a:gd name="connsiteY1023" fmla="*/ 5747589 h 6479439"/>
              <a:gd name="connsiteX1024" fmla="*/ 961259 w 9586368"/>
              <a:gd name="connsiteY1024" fmla="*/ 5743551 h 6479439"/>
              <a:gd name="connsiteX1025" fmla="*/ 971169 w 9586368"/>
              <a:gd name="connsiteY1025" fmla="*/ 5743551 h 6479439"/>
              <a:gd name="connsiteX1026" fmla="*/ 975188 w 9586368"/>
              <a:gd name="connsiteY1026" fmla="*/ 5747589 h 6479439"/>
              <a:gd name="connsiteX1027" fmla="*/ 975188 w 9586368"/>
              <a:gd name="connsiteY1027" fmla="*/ 5757460 h 6479439"/>
              <a:gd name="connsiteX1028" fmla="*/ 971169 w 9586368"/>
              <a:gd name="connsiteY1028" fmla="*/ 5761499 h 6479439"/>
              <a:gd name="connsiteX1029" fmla="*/ 961259 w 9586368"/>
              <a:gd name="connsiteY1029" fmla="*/ 5761499 h 6479439"/>
              <a:gd name="connsiteX1030" fmla="*/ 957240 w 9586368"/>
              <a:gd name="connsiteY1030" fmla="*/ 5757460 h 6479439"/>
              <a:gd name="connsiteX1031" fmla="*/ 957240 w 9586368"/>
              <a:gd name="connsiteY1031" fmla="*/ 5747589 h 6479439"/>
              <a:gd name="connsiteX1032" fmla="*/ 9572438 w 9586368"/>
              <a:gd name="connsiteY1032" fmla="*/ 5743499 h 6479439"/>
              <a:gd name="connsiteX1033" fmla="*/ 9582349 w 9586368"/>
              <a:gd name="connsiteY1033" fmla="*/ 5743499 h 6479439"/>
              <a:gd name="connsiteX1034" fmla="*/ 9586368 w 9586368"/>
              <a:gd name="connsiteY1034" fmla="*/ 5747537 h 6479439"/>
              <a:gd name="connsiteX1035" fmla="*/ 9586368 w 9586368"/>
              <a:gd name="connsiteY1035" fmla="*/ 5757408 h 6479439"/>
              <a:gd name="connsiteX1036" fmla="*/ 9582349 w 9586368"/>
              <a:gd name="connsiteY1036" fmla="*/ 5761447 h 6479439"/>
              <a:gd name="connsiteX1037" fmla="*/ 9572438 w 9586368"/>
              <a:gd name="connsiteY1037" fmla="*/ 5761447 h 6479439"/>
              <a:gd name="connsiteX1038" fmla="*/ 9568419 w 9586368"/>
              <a:gd name="connsiteY1038" fmla="*/ 5757408 h 6479439"/>
              <a:gd name="connsiteX1039" fmla="*/ 9568419 w 9586368"/>
              <a:gd name="connsiteY1039" fmla="*/ 5747537 h 6479439"/>
              <a:gd name="connsiteX1040" fmla="*/ 9333125 w 9586368"/>
              <a:gd name="connsiteY1040" fmla="*/ 5743499 h 6479439"/>
              <a:gd name="connsiteX1041" fmla="*/ 9343036 w 9586368"/>
              <a:gd name="connsiteY1041" fmla="*/ 5743499 h 6479439"/>
              <a:gd name="connsiteX1042" fmla="*/ 9347055 w 9586368"/>
              <a:gd name="connsiteY1042" fmla="*/ 5747537 h 6479439"/>
              <a:gd name="connsiteX1043" fmla="*/ 9347055 w 9586368"/>
              <a:gd name="connsiteY1043" fmla="*/ 5757408 h 6479439"/>
              <a:gd name="connsiteX1044" fmla="*/ 9343036 w 9586368"/>
              <a:gd name="connsiteY1044" fmla="*/ 5761447 h 6479439"/>
              <a:gd name="connsiteX1045" fmla="*/ 9333125 w 9586368"/>
              <a:gd name="connsiteY1045" fmla="*/ 5761447 h 6479439"/>
              <a:gd name="connsiteX1046" fmla="*/ 9329106 w 9586368"/>
              <a:gd name="connsiteY1046" fmla="*/ 5757408 h 6479439"/>
              <a:gd name="connsiteX1047" fmla="*/ 9329106 w 9586368"/>
              <a:gd name="connsiteY1047" fmla="*/ 5747537 h 6479439"/>
              <a:gd name="connsiteX1048" fmla="*/ 9093811 w 9586368"/>
              <a:gd name="connsiteY1048" fmla="*/ 5743499 h 6479439"/>
              <a:gd name="connsiteX1049" fmla="*/ 9103722 w 9586368"/>
              <a:gd name="connsiteY1049" fmla="*/ 5743499 h 6479439"/>
              <a:gd name="connsiteX1050" fmla="*/ 9107741 w 9586368"/>
              <a:gd name="connsiteY1050" fmla="*/ 5747537 h 6479439"/>
              <a:gd name="connsiteX1051" fmla="*/ 9107741 w 9586368"/>
              <a:gd name="connsiteY1051" fmla="*/ 5757408 h 6479439"/>
              <a:gd name="connsiteX1052" fmla="*/ 9103722 w 9586368"/>
              <a:gd name="connsiteY1052" fmla="*/ 5761447 h 6479439"/>
              <a:gd name="connsiteX1053" fmla="*/ 9093811 w 9586368"/>
              <a:gd name="connsiteY1053" fmla="*/ 5761447 h 6479439"/>
              <a:gd name="connsiteX1054" fmla="*/ 9089792 w 9586368"/>
              <a:gd name="connsiteY1054" fmla="*/ 5757408 h 6479439"/>
              <a:gd name="connsiteX1055" fmla="*/ 9089792 w 9586368"/>
              <a:gd name="connsiteY1055" fmla="*/ 5747537 h 6479439"/>
              <a:gd name="connsiteX1056" fmla="*/ 8854496 w 9586368"/>
              <a:gd name="connsiteY1056" fmla="*/ 5743499 h 6479439"/>
              <a:gd name="connsiteX1057" fmla="*/ 8864407 w 9586368"/>
              <a:gd name="connsiteY1057" fmla="*/ 5743499 h 6479439"/>
              <a:gd name="connsiteX1058" fmla="*/ 8868426 w 9586368"/>
              <a:gd name="connsiteY1058" fmla="*/ 5747537 h 6479439"/>
              <a:gd name="connsiteX1059" fmla="*/ 8868426 w 9586368"/>
              <a:gd name="connsiteY1059" fmla="*/ 5757408 h 6479439"/>
              <a:gd name="connsiteX1060" fmla="*/ 8864407 w 9586368"/>
              <a:gd name="connsiteY1060" fmla="*/ 5761447 h 6479439"/>
              <a:gd name="connsiteX1061" fmla="*/ 8854496 w 9586368"/>
              <a:gd name="connsiteY1061" fmla="*/ 5761447 h 6479439"/>
              <a:gd name="connsiteX1062" fmla="*/ 8850477 w 9586368"/>
              <a:gd name="connsiteY1062" fmla="*/ 5757408 h 6479439"/>
              <a:gd name="connsiteX1063" fmla="*/ 8850477 w 9586368"/>
              <a:gd name="connsiteY1063" fmla="*/ 5747537 h 6479439"/>
              <a:gd name="connsiteX1064" fmla="*/ 8615184 w 9586368"/>
              <a:gd name="connsiteY1064" fmla="*/ 5743499 h 6479439"/>
              <a:gd name="connsiteX1065" fmla="*/ 8625095 w 9586368"/>
              <a:gd name="connsiteY1065" fmla="*/ 5743499 h 6479439"/>
              <a:gd name="connsiteX1066" fmla="*/ 8629114 w 9586368"/>
              <a:gd name="connsiteY1066" fmla="*/ 5747537 h 6479439"/>
              <a:gd name="connsiteX1067" fmla="*/ 8629114 w 9586368"/>
              <a:gd name="connsiteY1067" fmla="*/ 5757408 h 6479439"/>
              <a:gd name="connsiteX1068" fmla="*/ 8625095 w 9586368"/>
              <a:gd name="connsiteY1068" fmla="*/ 5761447 h 6479439"/>
              <a:gd name="connsiteX1069" fmla="*/ 8615184 w 9586368"/>
              <a:gd name="connsiteY1069" fmla="*/ 5761447 h 6479439"/>
              <a:gd name="connsiteX1070" fmla="*/ 8611165 w 9586368"/>
              <a:gd name="connsiteY1070" fmla="*/ 5757408 h 6479439"/>
              <a:gd name="connsiteX1071" fmla="*/ 8611165 w 9586368"/>
              <a:gd name="connsiteY1071" fmla="*/ 5747537 h 6479439"/>
              <a:gd name="connsiteX1072" fmla="*/ 8375869 w 9586368"/>
              <a:gd name="connsiteY1072" fmla="*/ 5743499 h 6479439"/>
              <a:gd name="connsiteX1073" fmla="*/ 8385779 w 9586368"/>
              <a:gd name="connsiteY1073" fmla="*/ 5743499 h 6479439"/>
              <a:gd name="connsiteX1074" fmla="*/ 8389799 w 9586368"/>
              <a:gd name="connsiteY1074" fmla="*/ 5747537 h 6479439"/>
              <a:gd name="connsiteX1075" fmla="*/ 8389799 w 9586368"/>
              <a:gd name="connsiteY1075" fmla="*/ 5757408 h 6479439"/>
              <a:gd name="connsiteX1076" fmla="*/ 8385779 w 9586368"/>
              <a:gd name="connsiteY1076" fmla="*/ 5761447 h 6479439"/>
              <a:gd name="connsiteX1077" fmla="*/ 8375869 w 9586368"/>
              <a:gd name="connsiteY1077" fmla="*/ 5761447 h 6479439"/>
              <a:gd name="connsiteX1078" fmla="*/ 8371850 w 9586368"/>
              <a:gd name="connsiteY1078" fmla="*/ 5757408 h 6479439"/>
              <a:gd name="connsiteX1079" fmla="*/ 8371850 w 9586368"/>
              <a:gd name="connsiteY1079" fmla="*/ 5747537 h 6479439"/>
              <a:gd name="connsiteX1080" fmla="*/ 8136553 w 9586368"/>
              <a:gd name="connsiteY1080" fmla="*/ 5743499 h 6479439"/>
              <a:gd name="connsiteX1081" fmla="*/ 8146464 w 9586368"/>
              <a:gd name="connsiteY1081" fmla="*/ 5743499 h 6479439"/>
              <a:gd name="connsiteX1082" fmla="*/ 8150483 w 9586368"/>
              <a:gd name="connsiteY1082" fmla="*/ 5747537 h 6479439"/>
              <a:gd name="connsiteX1083" fmla="*/ 8150483 w 9586368"/>
              <a:gd name="connsiteY1083" fmla="*/ 5757408 h 6479439"/>
              <a:gd name="connsiteX1084" fmla="*/ 8146464 w 9586368"/>
              <a:gd name="connsiteY1084" fmla="*/ 5761447 h 6479439"/>
              <a:gd name="connsiteX1085" fmla="*/ 8136553 w 9586368"/>
              <a:gd name="connsiteY1085" fmla="*/ 5761447 h 6479439"/>
              <a:gd name="connsiteX1086" fmla="*/ 8132534 w 9586368"/>
              <a:gd name="connsiteY1086" fmla="*/ 5757408 h 6479439"/>
              <a:gd name="connsiteX1087" fmla="*/ 8132534 w 9586368"/>
              <a:gd name="connsiteY1087" fmla="*/ 5747537 h 6479439"/>
              <a:gd name="connsiteX1088" fmla="*/ 7897241 w 9586368"/>
              <a:gd name="connsiteY1088" fmla="*/ 5743499 h 6479439"/>
              <a:gd name="connsiteX1089" fmla="*/ 7907151 w 9586368"/>
              <a:gd name="connsiteY1089" fmla="*/ 5743499 h 6479439"/>
              <a:gd name="connsiteX1090" fmla="*/ 7911170 w 9586368"/>
              <a:gd name="connsiteY1090" fmla="*/ 5747537 h 6479439"/>
              <a:gd name="connsiteX1091" fmla="*/ 7911170 w 9586368"/>
              <a:gd name="connsiteY1091" fmla="*/ 5757408 h 6479439"/>
              <a:gd name="connsiteX1092" fmla="*/ 7907151 w 9586368"/>
              <a:gd name="connsiteY1092" fmla="*/ 5761447 h 6479439"/>
              <a:gd name="connsiteX1093" fmla="*/ 7897241 w 9586368"/>
              <a:gd name="connsiteY1093" fmla="*/ 5761447 h 6479439"/>
              <a:gd name="connsiteX1094" fmla="*/ 7893222 w 9586368"/>
              <a:gd name="connsiteY1094" fmla="*/ 5757408 h 6479439"/>
              <a:gd name="connsiteX1095" fmla="*/ 7893222 w 9586368"/>
              <a:gd name="connsiteY1095" fmla="*/ 5747537 h 6479439"/>
              <a:gd name="connsiteX1096" fmla="*/ 7657926 w 9586368"/>
              <a:gd name="connsiteY1096" fmla="*/ 5743499 h 6479439"/>
              <a:gd name="connsiteX1097" fmla="*/ 7667836 w 9586368"/>
              <a:gd name="connsiteY1097" fmla="*/ 5743499 h 6479439"/>
              <a:gd name="connsiteX1098" fmla="*/ 7671855 w 9586368"/>
              <a:gd name="connsiteY1098" fmla="*/ 5747537 h 6479439"/>
              <a:gd name="connsiteX1099" fmla="*/ 7671855 w 9586368"/>
              <a:gd name="connsiteY1099" fmla="*/ 5757408 h 6479439"/>
              <a:gd name="connsiteX1100" fmla="*/ 7667836 w 9586368"/>
              <a:gd name="connsiteY1100" fmla="*/ 5761447 h 6479439"/>
              <a:gd name="connsiteX1101" fmla="*/ 7657926 w 9586368"/>
              <a:gd name="connsiteY1101" fmla="*/ 5761447 h 6479439"/>
              <a:gd name="connsiteX1102" fmla="*/ 7653906 w 9586368"/>
              <a:gd name="connsiteY1102" fmla="*/ 5757408 h 6479439"/>
              <a:gd name="connsiteX1103" fmla="*/ 7653906 w 9586368"/>
              <a:gd name="connsiteY1103" fmla="*/ 5747537 h 6479439"/>
              <a:gd name="connsiteX1104" fmla="*/ 7418611 w 9586368"/>
              <a:gd name="connsiteY1104" fmla="*/ 5743499 h 6479439"/>
              <a:gd name="connsiteX1105" fmla="*/ 7428521 w 9586368"/>
              <a:gd name="connsiteY1105" fmla="*/ 5743499 h 6479439"/>
              <a:gd name="connsiteX1106" fmla="*/ 7432540 w 9586368"/>
              <a:gd name="connsiteY1106" fmla="*/ 5747537 h 6479439"/>
              <a:gd name="connsiteX1107" fmla="*/ 7432540 w 9586368"/>
              <a:gd name="connsiteY1107" fmla="*/ 5757408 h 6479439"/>
              <a:gd name="connsiteX1108" fmla="*/ 7428521 w 9586368"/>
              <a:gd name="connsiteY1108" fmla="*/ 5761447 h 6479439"/>
              <a:gd name="connsiteX1109" fmla="*/ 7418611 w 9586368"/>
              <a:gd name="connsiteY1109" fmla="*/ 5761447 h 6479439"/>
              <a:gd name="connsiteX1110" fmla="*/ 7414592 w 9586368"/>
              <a:gd name="connsiteY1110" fmla="*/ 5757408 h 6479439"/>
              <a:gd name="connsiteX1111" fmla="*/ 7414592 w 9586368"/>
              <a:gd name="connsiteY1111" fmla="*/ 5747537 h 6479439"/>
              <a:gd name="connsiteX1112" fmla="*/ 7179298 w 9586368"/>
              <a:gd name="connsiteY1112" fmla="*/ 5743499 h 6479439"/>
              <a:gd name="connsiteX1113" fmla="*/ 7189209 w 9586368"/>
              <a:gd name="connsiteY1113" fmla="*/ 5743499 h 6479439"/>
              <a:gd name="connsiteX1114" fmla="*/ 7193228 w 9586368"/>
              <a:gd name="connsiteY1114" fmla="*/ 5747537 h 6479439"/>
              <a:gd name="connsiteX1115" fmla="*/ 7193228 w 9586368"/>
              <a:gd name="connsiteY1115" fmla="*/ 5757408 h 6479439"/>
              <a:gd name="connsiteX1116" fmla="*/ 7189209 w 9586368"/>
              <a:gd name="connsiteY1116" fmla="*/ 5761447 h 6479439"/>
              <a:gd name="connsiteX1117" fmla="*/ 7179298 w 9586368"/>
              <a:gd name="connsiteY1117" fmla="*/ 5761447 h 6479439"/>
              <a:gd name="connsiteX1118" fmla="*/ 7175279 w 9586368"/>
              <a:gd name="connsiteY1118" fmla="*/ 5757408 h 6479439"/>
              <a:gd name="connsiteX1119" fmla="*/ 7175279 w 9586368"/>
              <a:gd name="connsiteY1119" fmla="*/ 5747537 h 6479439"/>
              <a:gd name="connsiteX1120" fmla="*/ 6939983 w 9586368"/>
              <a:gd name="connsiteY1120" fmla="*/ 5743499 h 6479439"/>
              <a:gd name="connsiteX1121" fmla="*/ 6949894 w 9586368"/>
              <a:gd name="connsiteY1121" fmla="*/ 5743499 h 6479439"/>
              <a:gd name="connsiteX1122" fmla="*/ 6953913 w 9586368"/>
              <a:gd name="connsiteY1122" fmla="*/ 5747537 h 6479439"/>
              <a:gd name="connsiteX1123" fmla="*/ 6953913 w 9586368"/>
              <a:gd name="connsiteY1123" fmla="*/ 5757408 h 6479439"/>
              <a:gd name="connsiteX1124" fmla="*/ 6949894 w 9586368"/>
              <a:gd name="connsiteY1124" fmla="*/ 5761447 h 6479439"/>
              <a:gd name="connsiteX1125" fmla="*/ 6939983 w 9586368"/>
              <a:gd name="connsiteY1125" fmla="*/ 5761447 h 6479439"/>
              <a:gd name="connsiteX1126" fmla="*/ 6935964 w 9586368"/>
              <a:gd name="connsiteY1126" fmla="*/ 5757408 h 6479439"/>
              <a:gd name="connsiteX1127" fmla="*/ 6935964 w 9586368"/>
              <a:gd name="connsiteY1127" fmla="*/ 5747537 h 6479439"/>
              <a:gd name="connsiteX1128" fmla="*/ 6700670 w 9586368"/>
              <a:gd name="connsiteY1128" fmla="*/ 5743499 h 6479439"/>
              <a:gd name="connsiteX1129" fmla="*/ 6710581 w 9586368"/>
              <a:gd name="connsiteY1129" fmla="*/ 5743499 h 6479439"/>
              <a:gd name="connsiteX1130" fmla="*/ 6714600 w 9586368"/>
              <a:gd name="connsiteY1130" fmla="*/ 5747537 h 6479439"/>
              <a:gd name="connsiteX1131" fmla="*/ 6714600 w 9586368"/>
              <a:gd name="connsiteY1131" fmla="*/ 5757408 h 6479439"/>
              <a:gd name="connsiteX1132" fmla="*/ 6710581 w 9586368"/>
              <a:gd name="connsiteY1132" fmla="*/ 5761447 h 6479439"/>
              <a:gd name="connsiteX1133" fmla="*/ 6700670 w 9586368"/>
              <a:gd name="connsiteY1133" fmla="*/ 5761447 h 6479439"/>
              <a:gd name="connsiteX1134" fmla="*/ 6696651 w 9586368"/>
              <a:gd name="connsiteY1134" fmla="*/ 5757408 h 6479439"/>
              <a:gd name="connsiteX1135" fmla="*/ 6696651 w 9586368"/>
              <a:gd name="connsiteY1135" fmla="*/ 5747537 h 6479439"/>
              <a:gd name="connsiteX1136" fmla="*/ 6461356 w 9586368"/>
              <a:gd name="connsiteY1136" fmla="*/ 5743499 h 6479439"/>
              <a:gd name="connsiteX1137" fmla="*/ 6471266 w 9586368"/>
              <a:gd name="connsiteY1137" fmla="*/ 5743499 h 6479439"/>
              <a:gd name="connsiteX1138" fmla="*/ 6475285 w 9586368"/>
              <a:gd name="connsiteY1138" fmla="*/ 5747537 h 6479439"/>
              <a:gd name="connsiteX1139" fmla="*/ 6475285 w 9586368"/>
              <a:gd name="connsiteY1139" fmla="*/ 5757408 h 6479439"/>
              <a:gd name="connsiteX1140" fmla="*/ 6471266 w 9586368"/>
              <a:gd name="connsiteY1140" fmla="*/ 5761447 h 6479439"/>
              <a:gd name="connsiteX1141" fmla="*/ 6461356 w 9586368"/>
              <a:gd name="connsiteY1141" fmla="*/ 5761447 h 6479439"/>
              <a:gd name="connsiteX1142" fmla="*/ 6457337 w 9586368"/>
              <a:gd name="connsiteY1142" fmla="*/ 5757408 h 6479439"/>
              <a:gd name="connsiteX1143" fmla="*/ 6457337 w 9586368"/>
              <a:gd name="connsiteY1143" fmla="*/ 5747537 h 6479439"/>
              <a:gd name="connsiteX1144" fmla="*/ 6222042 w 9586368"/>
              <a:gd name="connsiteY1144" fmla="*/ 5743499 h 6479439"/>
              <a:gd name="connsiteX1145" fmla="*/ 6231952 w 9586368"/>
              <a:gd name="connsiteY1145" fmla="*/ 5743499 h 6479439"/>
              <a:gd name="connsiteX1146" fmla="*/ 6235971 w 9586368"/>
              <a:gd name="connsiteY1146" fmla="*/ 5747537 h 6479439"/>
              <a:gd name="connsiteX1147" fmla="*/ 6235971 w 9586368"/>
              <a:gd name="connsiteY1147" fmla="*/ 5757408 h 6479439"/>
              <a:gd name="connsiteX1148" fmla="*/ 6231952 w 9586368"/>
              <a:gd name="connsiteY1148" fmla="*/ 5761447 h 6479439"/>
              <a:gd name="connsiteX1149" fmla="*/ 6222042 w 9586368"/>
              <a:gd name="connsiteY1149" fmla="*/ 5761447 h 6479439"/>
              <a:gd name="connsiteX1150" fmla="*/ 6218023 w 9586368"/>
              <a:gd name="connsiteY1150" fmla="*/ 5757408 h 6479439"/>
              <a:gd name="connsiteX1151" fmla="*/ 6218023 w 9586368"/>
              <a:gd name="connsiteY1151" fmla="*/ 5747537 h 6479439"/>
              <a:gd name="connsiteX1152" fmla="*/ 5982729 w 9586368"/>
              <a:gd name="connsiteY1152" fmla="*/ 5743499 h 6479439"/>
              <a:gd name="connsiteX1153" fmla="*/ 5992639 w 9586368"/>
              <a:gd name="connsiteY1153" fmla="*/ 5743499 h 6479439"/>
              <a:gd name="connsiteX1154" fmla="*/ 5996658 w 9586368"/>
              <a:gd name="connsiteY1154" fmla="*/ 5747537 h 6479439"/>
              <a:gd name="connsiteX1155" fmla="*/ 5996658 w 9586368"/>
              <a:gd name="connsiteY1155" fmla="*/ 5757408 h 6479439"/>
              <a:gd name="connsiteX1156" fmla="*/ 5992639 w 9586368"/>
              <a:gd name="connsiteY1156" fmla="*/ 5761447 h 6479439"/>
              <a:gd name="connsiteX1157" fmla="*/ 5982729 w 9586368"/>
              <a:gd name="connsiteY1157" fmla="*/ 5761447 h 6479439"/>
              <a:gd name="connsiteX1158" fmla="*/ 5978710 w 9586368"/>
              <a:gd name="connsiteY1158" fmla="*/ 5757408 h 6479439"/>
              <a:gd name="connsiteX1159" fmla="*/ 5978710 w 9586368"/>
              <a:gd name="connsiteY1159" fmla="*/ 5747537 h 6479439"/>
              <a:gd name="connsiteX1160" fmla="*/ 5743412 w 9586368"/>
              <a:gd name="connsiteY1160" fmla="*/ 5743499 h 6479439"/>
              <a:gd name="connsiteX1161" fmla="*/ 5753323 w 9586368"/>
              <a:gd name="connsiteY1161" fmla="*/ 5743499 h 6479439"/>
              <a:gd name="connsiteX1162" fmla="*/ 5757342 w 9586368"/>
              <a:gd name="connsiteY1162" fmla="*/ 5747537 h 6479439"/>
              <a:gd name="connsiteX1163" fmla="*/ 5757342 w 9586368"/>
              <a:gd name="connsiteY1163" fmla="*/ 5757408 h 6479439"/>
              <a:gd name="connsiteX1164" fmla="*/ 5753323 w 9586368"/>
              <a:gd name="connsiteY1164" fmla="*/ 5761447 h 6479439"/>
              <a:gd name="connsiteX1165" fmla="*/ 5743412 w 9586368"/>
              <a:gd name="connsiteY1165" fmla="*/ 5761447 h 6479439"/>
              <a:gd name="connsiteX1166" fmla="*/ 5739393 w 9586368"/>
              <a:gd name="connsiteY1166" fmla="*/ 5757408 h 6479439"/>
              <a:gd name="connsiteX1167" fmla="*/ 5739393 w 9586368"/>
              <a:gd name="connsiteY1167" fmla="*/ 5747537 h 6479439"/>
              <a:gd name="connsiteX1168" fmla="*/ 5504099 w 9586368"/>
              <a:gd name="connsiteY1168" fmla="*/ 5743499 h 6479439"/>
              <a:gd name="connsiteX1169" fmla="*/ 5514010 w 9586368"/>
              <a:gd name="connsiteY1169" fmla="*/ 5743499 h 6479439"/>
              <a:gd name="connsiteX1170" fmla="*/ 5518029 w 9586368"/>
              <a:gd name="connsiteY1170" fmla="*/ 5747537 h 6479439"/>
              <a:gd name="connsiteX1171" fmla="*/ 5518029 w 9586368"/>
              <a:gd name="connsiteY1171" fmla="*/ 5757408 h 6479439"/>
              <a:gd name="connsiteX1172" fmla="*/ 5514010 w 9586368"/>
              <a:gd name="connsiteY1172" fmla="*/ 5761447 h 6479439"/>
              <a:gd name="connsiteX1173" fmla="*/ 5504099 w 9586368"/>
              <a:gd name="connsiteY1173" fmla="*/ 5761447 h 6479439"/>
              <a:gd name="connsiteX1174" fmla="*/ 5500080 w 9586368"/>
              <a:gd name="connsiteY1174" fmla="*/ 5757408 h 6479439"/>
              <a:gd name="connsiteX1175" fmla="*/ 5500080 w 9586368"/>
              <a:gd name="connsiteY1175" fmla="*/ 5747537 h 6479439"/>
              <a:gd name="connsiteX1176" fmla="*/ 5264784 w 9586368"/>
              <a:gd name="connsiteY1176" fmla="*/ 5743499 h 6479439"/>
              <a:gd name="connsiteX1177" fmla="*/ 5274694 w 9586368"/>
              <a:gd name="connsiteY1177" fmla="*/ 5743499 h 6479439"/>
              <a:gd name="connsiteX1178" fmla="*/ 5278713 w 9586368"/>
              <a:gd name="connsiteY1178" fmla="*/ 5747537 h 6479439"/>
              <a:gd name="connsiteX1179" fmla="*/ 5278713 w 9586368"/>
              <a:gd name="connsiteY1179" fmla="*/ 5757408 h 6479439"/>
              <a:gd name="connsiteX1180" fmla="*/ 5274694 w 9586368"/>
              <a:gd name="connsiteY1180" fmla="*/ 5761447 h 6479439"/>
              <a:gd name="connsiteX1181" fmla="*/ 5264784 w 9586368"/>
              <a:gd name="connsiteY1181" fmla="*/ 5761447 h 6479439"/>
              <a:gd name="connsiteX1182" fmla="*/ 5260765 w 9586368"/>
              <a:gd name="connsiteY1182" fmla="*/ 5757408 h 6479439"/>
              <a:gd name="connsiteX1183" fmla="*/ 5260765 w 9586368"/>
              <a:gd name="connsiteY1183" fmla="*/ 5747537 h 6479439"/>
              <a:gd name="connsiteX1184" fmla="*/ 5025470 w 9586368"/>
              <a:gd name="connsiteY1184" fmla="*/ 5743499 h 6479439"/>
              <a:gd name="connsiteX1185" fmla="*/ 5035381 w 9586368"/>
              <a:gd name="connsiteY1185" fmla="*/ 5743499 h 6479439"/>
              <a:gd name="connsiteX1186" fmla="*/ 5039400 w 9586368"/>
              <a:gd name="connsiteY1186" fmla="*/ 5747537 h 6479439"/>
              <a:gd name="connsiteX1187" fmla="*/ 5039400 w 9586368"/>
              <a:gd name="connsiteY1187" fmla="*/ 5757408 h 6479439"/>
              <a:gd name="connsiteX1188" fmla="*/ 5035381 w 9586368"/>
              <a:gd name="connsiteY1188" fmla="*/ 5761447 h 6479439"/>
              <a:gd name="connsiteX1189" fmla="*/ 5025470 w 9586368"/>
              <a:gd name="connsiteY1189" fmla="*/ 5761447 h 6479439"/>
              <a:gd name="connsiteX1190" fmla="*/ 5021451 w 9586368"/>
              <a:gd name="connsiteY1190" fmla="*/ 5757408 h 6479439"/>
              <a:gd name="connsiteX1191" fmla="*/ 5021451 w 9586368"/>
              <a:gd name="connsiteY1191" fmla="*/ 5747537 h 6479439"/>
              <a:gd name="connsiteX1192" fmla="*/ 4786241 w 9586368"/>
              <a:gd name="connsiteY1192" fmla="*/ 5743499 h 6479439"/>
              <a:gd name="connsiteX1193" fmla="*/ 4796152 w 9586368"/>
              <a:gd name="connsiteY1193" fmla="*/ 5743499 h 6479439"/>
              <a:gd name="connsiteX1194" fmla="*/ 4800171 w 9586368"/>
              <a:gd name="connsiteY1194" fmla="*/ 5747537 h 6479439"/>
              <a:gd name="connsiteX1195" fmla="*/ 4800171 w 9586368"/>
              <a:gd name="connsiteY1195" fmla="*/ 5757408 h 6479439"/>
              <a:gd name="connsiteX1196" fmla="*/ 4796152 w 9586368"/>
              <a:gd name="connsiteY1196" fmla="*/ 5761447 h 6479439"/>
              <a:gd name="connsiteX1197" fmla="*/ 4786241 w 9586368"/>
              <a:gd name="connsiteY1197" fmla="*/ 5761447 h 6479439"/>
              <a:gd name="connsiteX1198" fmla="*/ 4782224 w 9586368"/>
              <a:gd name="connsiteY1198" fmla="*/ 5757408 h 6479439"/>
              <a:gd name="connsiteX1199" fmla="*/ 4782224 w 9586368"/>
              <a:gd name="connsiteY1199" fmla="*/ 5747537 h 6479439"/>
              <a:gd name="connsiteX1200" fmla="*/ 4546929 w 9586368"/>
              <a:gd name="connsiteY1200" fmla="*/ 5743499 h 6479439"/>
              <a:gd name="connsiteX1201" fmla="*/ 4556840 w 9586368"/>
              <a:gd name="connsiteY1201" fmla="*/ 5743499 h 6479439"/>
              <a:gd name="connsiteX1202" fmla="*/ 4560859 w 9586368"/>
              <a:gd name="connsiteY1202" fmla="*/ 5747537 h 6479439"/>
              <a:gd name="connsiteX1203" fmla="*/ 4560859 w 9586368"/>
              <a:gd name="connsiteY1203" fmla="*/ 5757408 h 6479439"/>
              <a:gd name="connsiteX1204" fmla="*/ 4556840 w 9586368"/>
              <a:gd name="connsiteY1204" fmla="*/ 5761447 h 6479439"/>
              <a:gd name="connsiteX1205" fmla="*/ 4546929 w 9586368"/>
              <a:gd name="connsiteY1205" fmla="*/ 5761447 h 6479439"/>
              <a:gd name="connsiteX1206" fmla="*/ 4542910 w 9586368"/>
              <a:gd name="connsiteY1206" fmla="*/ 5757408 h 6479439"/>
              <a:gd name="connsiteX1207" fmla="*/ 4542910 w 9586368"/>
              <a:gd name="connsiteY1207" fmla="*/ 5747537 h 6479439"/>
              <a:gd name="connsiteX1208" fmla="*/ 4307612 w 9586368"/>
              <a:gd name="connsiteY1208" fmla="*/ 5743499 h 6479439"/>
              <a:gd name="connsiteX1209" fmla="*/ 4317523 w 9586368"/>
              <a:gd name="connsiteY1209" fmla="*/ 5743499 h 6479439"/>
              <a:gd name="connsiteX1210" fmla="*/ 4321543 w 9586368"/>
              <a:gd name="connsiteY1210" fmla="*/ 5747537 h 6479439"/>
              <a:gd name="connsiteX1211" fmla="*/ 4321543 w 9586368"/>
              <a:gd name="connsiteY1211" fmla="*/ 5757408 h 6479439"/>
              <a:gd name="connsiteX1212" fmla="*/ 4317523 w 9586368"/>
              <a:gd name="connsiteY1212" fmla="*/ 5761447 h 6479439"/>
              <a:gd name="connsiteX1213" fmla="*/ 4307612 w 9586368"/>
              <a:gd name="connsiteY1213" fmla="*/ 5761447 h 6479439"/>
              <a:gd name="connsiteX1214" fmla="*/ 4303595 w 9586368"/>
              <a:gd name="connsiteY1214" fmla="*/ 5757408 h 6479439"/>
              <a:gd name="connsiteX1215" fmla="*/ 4303595 w 9586368"/>
              <a:gd name="connsiteY1215" fmla="*/ 5747537 h 6479439"/>
              <a:gd name="connsiteX1216" fmla="*/ 4068297 w 9586368"/>
              <a:gd name="connsiteY1216" fmla="*/ 5743499 h 6479439"/>
              <a:gd name="connsiteX1217" fmla="*/ 4078210 w 9586368"/>
              <a:gd name="connsiteY1217" fmla="*/ 5743499 h 6479439"/>
              <a:gd name="connsiteX1218" fmla="*/ 4082229 w 9586368"/>
              <a:gd name="connsiteY1218" fmla="*/ 5747537 h 6479439"/>
              <a:gd name="connsiteX1219" fmla="*/ 4082229 w 9586368"/>
              <a:gd name="connsiteY1219" fmla="*/ 5757408 h 6479439"/>
              <a:gd name="connsiteX1220" fmla="*/ 4078210 w 9586368"/>
              <a:gd name="connsiteY1220" fmla="*/ 5761447 h 6479439"/>
              <a:gd name="connsiteX1221" fmla="*/ 4068297 w 9586368"/>
              <a:gd name="connsiteY1221" fmla="*/ 5761447 h 6479439"/>
              <a:gd name="connsiteX1222" fmla="*/ 4064278 w 9586368"/>
              <a:gd name="connsiteY1222" fmla="*/ 5757408 h 6479439"/>
              <a:gd name="connsiteX1223" fmla="*/ 4064278 w 9586368"/>
              <a:gd name="connsiteY1223" fmla="*/ 5747537 h 6479439"/>
              <a:gd name="connsiteX1224" fmla="*/ 3828990 w 9586368"/>
              <a:gd name="connsiteY1224" fmla="*/ 5743499 h 6479439"/>
              <a:gd name="connsiteX1225" fmla="*/ 3838899 w 9586368"/>
              <a:gd name="connsiteY1225" fmla="*/ 5743499 h 6479439"/>
              <a:gd name="connsiteX1226" fmla="*/ 3842917 w 9586368"/>
              <a:gd name="connsiteY1226" fmla="*/ 5747537 h 6479439"/>
              <a:gd name="connsiteX1227" fmla="*/ 3842917 w 9586368"/>
              <a:gd name="connsiteY1227" fmla="*/ 5757408 h 6479439"/>
              <a:gd name="connsiteX1228" fmla="*/ 3838899 w 9586368"/>
              <a:gd name="connsiteY1228" fmla="*/ 5761447 h 6479439"/>
              <a:gd name="connsiteX1229" fmla="*/ 3828990 w 9586368"/>
              <a:gd name="connsiteY1229" fmla="*/ 5761447 h 6479439"/>
              <a:gd name="connsiteX1230" fmla="*/ 3824971 w 9586368"/>
              <a:gd name="connsiteY1230" fmla="*/ 5757408 h 6479439"/>
              <a:gd name="connsiteX1231" fmla="*/ 3824971 w 9586368"/>
              <a:gd name="connsiteY1231" fmla="*/ 5747537 h 6479439"/>
              <a:gd name="connsiteX1232" fmla="*/ 3589676 w 9586368"/>
              <a:gd name="connsiteY1232" fmla="*/ 5743499 h 6479439"/>
              <a:gd name="connsiteX1233" fmla="*/ 3599585 w 9586368"/>
              <a:gd name="connsiteY1233" fmla="*/ 5743499 h 6479439"/>
              <a:gd name="connsiteX1234" fmla="*/ 3603604 w 9586368"/>
              <a:gd name="connsiteY1234" fmla="*/ 5747537 h 6479439"/>
              <a:gd name="connsiteX1235" fmla="*/ 3603604 w 9586368"/>
              <a:gd name="connsiteY1235" fmla="*/ 5757408 h 6479439"/>
              <a:gd name="connsiteX1236" fmla="*/ 3599585 w 9586368"/>
              <a:gd name="connsiteY1236" fmla="*/ 5761447 h 6479439"/>
              <a:gd name="connsiteX1237" fmla="*/ 3589676 w 9586368"/>
              <a:gd name="connsiteY1237" fmla="*/ 5761447 h 6479439"/>
              <a:gd name="connsiteX1238" fmla="*/ 3585657 w 9586368"/>
              <a:gd name="connsiteY1238" fmla="*/ 5757408 h 6479439"/>
              <a:gd name="connsiteX1239" fmla="*/ 3585657 w 9586368"/>
              <a:gd name="connsiteY1239" fmla="*/ 5747537 h 6479439"/>
              <a:gd name="connsiteX1240" fmla="*/ 3350359 w 9586368"/>
              <a:gd name="connsiteY1240" fmla="*/ 5743499 h 6479439"/>
              <a:gd name="connsiteX1241" fmla="*/ 3360268 w 9586368"/>
              <a:gd name="connsiteY1241" fmla="*/ 5743499 h 6479439"/>
              <a:gd name="connsiteX1242" fmla="*/ 3364287 w 9586368"/>
              <a:gd name="connsiteY1242" fmla="*/ 5747537 h 6479439"/>
              <a:gd name="connsiteX1243" fmla="*/ 3364287 w 9586368"/>
              <a:gd name="connsiteY1243" fmla="*/ 5757408 h 6479439"/>
              <a:gd name="connsiteX1244" fmla="*/ 3360268 w 9586368"/>
              <a:gd name="connsiteY1244" fmla="*/ 5761447 h 6479439"/>
              <a:gd name="connsiteX1245" fmla="*/ 3350359 w 9586368"/>
              <a:gd name="connsiteY1245" fmla="*/ 5761447 h 6479439"/>
              <a:gd name="connsiteX1246" fmla="*/ 3346340 w 9586368"/>
              <a:gd name="connsiteY1246" fmla="*/ 5757408 h 6479439"/>
              <a:gd name="connsiteX1247" fmla="*/ 3346340 w 9586368"/>
              <a:gd name="connsiteY1247" fmla="*/ 5747537 h 6479439"/>
              <a:gd name="connsiteX1248" fmla="*/ 3111048 w 9586368"/>
              <a:gd name="connsiteY1248" fmla="*/ 5743499 h 6479439"/>
              <a:gd name="connsiteX1249" fmla="*/ 3120959 w 9586368"/>
              <a:gd name="connsiteY1249" fmla="*/ 5743499 h 6479439"/>
              <a:gd name="connsiteX1250" fmla="*/ 3124977 w 9586368"/>
              <a:gd name="connsiteY1250" fmla="*/ 5747537 h 6479439"/>
              <a:gd name="connsiteX1251" fmla="*/ 3124977 w 9586368"/>
              <a:gd name="connsiteY1251" fmla="*/ 5757408 h 6479439"/>
              <a:gd name="connsiteX1252" fmla="*/ 3120959 w 9586368"/>
              <a:gd name="connsiteY1252" fmla="*/ 5761447 h 6479439"/>
              <a:gd name="connsiteX1253" fmla="*/ 3111048 w 9586368"/>
              <a:gd name="connsiteY1253" fmla="*/ 5761447 h 6479439"/>
              <a:gd name="connsiteX1254" fmla="*/ 3107029 w 9586368"/>
              <a:gd name="connsiteY1254" fmla="*/ 5757408 h 6479439"/>
              <a:gd name="connsiteX1255" fmla="*/ 3107029 w 9586368"/>
              <a:gd name="connsiteY1255" fmla="*/ 5747537 h 6479439"/>
              <a:gd name="connsiteX1256" fmla="*/ 2871737 w 9586368"/>
              <a:gd name="connsiteY1256" fmla="*/ 5743499 h 6479439"/>
              <a:gd name="connsiteX1257" fmla="*/ 2881646 w 9586368"/>
              <a:gd name="connsiteY1257" fmla="*/ 5743499 h 6479439"/>
              <a:gd name="connsiteX1258" fmla="*/ 2885666 w 9586368"/>
              <a:gd name="connsiteY1258" fmla="*/ 5747537 h 6479439"/>
              <a:gd name="connsiteX1259" fmla="*/ 2885666 w 9586368"/>
              <a:gd name="connsiteY1259" fmla="*/ 5757408 h 6479439"/>
              <a:gd name="connsiteX1260" fmla="*/ 2881646 w 9586368"/>
              <a:gd name="connsiteY1260" fmla="*/ 5761447 h 6479439"/>
              <a:gd name="connsiteX1261" fmla="*/ 2871737 w 9586368"/>
              <a:gd name="connsiteY1261" fmla="*/ 5761447 h 6479439"/>
              <a:gd name="connsiteX1262" fmla="*/ 2867717 w 9586368"/>
              <a:gd name="connsiteY1262" fmla="*/ 5757408 h 6479439"/>
              <a:gd name="connsiteX1263" fmla="*/ 2867717 w 9586368"/>
              <a:gd name="connsiteY1263" fmla="*/ 5747537 h 6479439"/>
              <a:gd name="connsiteX1264" fmla="*/ 2632423 w 9586368"/>
              <a:gd name="connsiteY1264" fmla="*/ 5743499 h 6479439"/>
              <a:gd name="connsiteX1265" fmla="*/ 2642334 w 9586368"/>
              <a:gd name="connsiteY1265" fmla="*/ 5743499 h 6479439"/>
              <a:gd name="connsiteX1266" fmla="*/ 2646352 w 9586368"/>
              <a:gd name="connsiteY1266" fmla="*/ 5747537 h 6479439"/>
              <a:gd name="connsiteX1267" fmla="*/ 2646352 w 9586368"/>
              <a:gd name="connsiteY1267" fmla="*/ 5757408 h 6479439"/>
              <a:gd name="connsiteX1268" fmla="*/ 2642334 w 9586368"/>
              <a:gd name="connsiteY1268" fmla="*/ 5761447 h 6479439"/>
              <a:gd name="connsiteX1269" fmla="*/ 2632423 w 9586368"/>
              <a:gd name="connsiteY1269" fmla="*/ 5761447 h 6479439"/>
              <a:gd name="connsiteX1270" fmla="*/ 2628404 w 9586368"/>
              <a:gd name="connsiteY1270" fmla="*/ 5757408 h 6479439"/>
              <a:gd name="connsiteX1271" fmla="*/ 2628404 w 9586368"/>
              <a:gd name="connsiteY1271" fmla="*/ 5747537 h 6479439"/>
              <a:gd name="connsiteX1272" fmla="*/ 2393104 w 9586368"/>
              <a:gd name="connsiteY1272" fmla="*/ 5743499 h 6479439"/>
              <a:gd name="connsiteX1273" fmla="*/ 2403015 w 9586368"/>
              <a:gd name="connsiteY1273" fmla="*/ 5743499 h 6479439"/>
              <a:gd name="connsiteX1274" fmla="*/ 2407034 w 9586368"/>
              <a:gd name="connsiteY1274" fmla="*/ 5747537 h 6479439"/>
              <a:gd name="connsiteX1275" fmla="*/ 2407034 w 9586368"/>
              <a:gd name="connsiteY1275" fmla="*/ 5757408 h 6479439"/>
              <a:gd name="connsiteX1276" fmla="*/ 2403015 w 9586368"/>
              <a:gd name="connsiteY1276" fmla="*/ 5761447 h 6479439"/>
              <a:gd name="connsiteX1277" fmla="*/ 2393104 w 9586368"/>
              <a:gd name="connsiteY1277" fmla="*/ 5761447 h 6479439"/>
              <a:gd name="connsiteX1278" fmla="*/ 2389087 w 9586368"/>
              <a:gd name="connsiteY1278" fmla="*/ 5757408 h 6479439"/>
              <a:gd name="connsiteX1279" fmla="*/ 2389087 w 9586368"/>
              <a:gd name="connsiteY1279" fmla="*/ 5747537 h 6479439"/>
              <a:gd name="connsiteX1280" fmla="*/ 721960 w 9586368"/>
              <a:gd name="connsiteY1280" fmla="*/ 5743499 h 6479439"/>
              <a:gd name="connsiteX1281" fmla="*/ 731871 w 9586368"/>
              <a:gd name="connsiteY1281" fmla="*/ 5743499 h 6479439"/>
              <a:gd name="connsiteX1282" fmla="*/ 735889 w 9586368"/>
              <a:gd name="connsiteY1282" fmla="*/ 5747537 h 6479439"/>
              <a:gd name="connsiteX1283" fmla="*/ 735889 w 9586368"/>
              <a:gd name="connsiteY1283" fmla="*/ 5757408 h 6479439"/>
              <a:gd name="connsiteX1284" fmla="*/ 731871 w 9586368"/>
              <a:gd name="connsiteY1284" fmla="*/ 5761447 h 6479439"/>
              <a:gd name="connsiteX1285" fmla="*/ 721960 w 9586368"/>
              <a:gd name="connsiteY1285" fmla="*/ 5761447 h 6479439"/>
              <a:gd name="connsiteX1286" fmla="*/ 717941 w 9586368"/>
              <a:gd name="connsiteY1286" fmla="*/ 5757408 h 6479439"/>
              <a:gd name="connsiteX1287" fmla="*/ 717941 w 9586368"/>
              <a:gd name="connsiteY1287" fmla="*/ 5747537 h 6479439"/>
              <a:gd name="connsiteX1288" fmla="*/ 482648 w 9586368"/>
              <a:gd name="connsiteY1288" fmla="*/ 5743499 h 6479439"/>
              <a:gd name="connsiteX1289" fmla="*/ 492558 w 9586368"/>
              <a:gd name="connsiteY1289" fmla="*/ 5743499 h 6479439"/>
              <a:gd name="connsiteX1290" fmla="*/ 496578 w 9586368"/>
              <a:gd name="connsiteY1290" fmla="*/ 5747537 h 6479439"/>
              <a:gd name="connsiteX1291" fmla="*/ 496578 w 9586368"/>
              <a:gd name="connsiteY1291" fmla="*/ 5757408 h 6479439"/>
              <a:gd name="connsiteX1292" fmla="*/ 492558 w 9586368"/>
              <a:gd name="connsiteY1292" fmla="*/ 5761447 h 6479439"/>
              <a:gd name="connsiteX1293" fmla="*/ 482648 w 9586368"/>
              <a:gd name="connsiteY1293" fmla="*/ 5761447 h 6479439"/>
              <a:gd name="connsiteX1294" fmla="*/ 478629 w 9586368"/>
              <a:gd name="connsiteY1294" fmla="*/ 5757408 h 6479439"/>
              <a:gd name="connsiteX1295" fmla="*/ 478629 w 9586368"/>
              <a:gd name="connsiteY1295" fmla="*/ 5747537 h 6479439"/>
              <a:gd name="connsiteX1296" fmla="*/ 243334 w 9586368"/>
              <a:gd name="connsiteY1296" fmla="*/ 5743499 h 6479439"/>
              <a:gd name="connsiteX1297" fmla="*/ 253245 w 9586368"/>
              <a:gd name="connsiteY1297" fmla="*/ 5743499 h 6479439"/>
              <a:gd name="connsiteX1298" fmla="*/ 257264 w 9586368"/>
              <a:gd name="connsiteY1298" fmla="*/ 5747537 h 6479439"/>
              <a:gd name="connsiteX1299" fmla="*/ 257264 w 9586368"/>
              <a:gd name="connsiteY1299" fmla="*/ 5757408 h 6479439"/>
              <a:gd name="connsiteX1300" fmla="*/ 253245 w 9586368"/>
              <a:gd name="connsiteY1300" fmla="*/ 5761447 h 6479439"/>
              <a:gd name="connsiteX1301" fmla="*/ 243334 w 9586368"/>
              <a:gd name="connsiteY1301" fmla="*/ 5761447 h 6479439"/>
              <a:gd name="connsiteX1302" fmla="*/ 239315 w 9586368"/>
              <a:gd name="connsiteY1302" fmla="*/ 5757408 h 6479439"/>
              <a:gd name="connsiteX1303" fmla="*/ 239315 w 9586368"/>
              <a:gd name="connsiteY1303" fmla="*/ 5747537 h 6479439"/>
              <a:gd name="connsiteX1304" fmla="*/ 4021 w 9586368"/>
              <a:gd name="connsiteY1304" fmla="*/ 5743499 h 6479439"/>
              <a:gd name="connsiteX1305" fmla="*/ 13932 w 9586368"/>
              <a:gd name="connsiteY1305" fmla="*/ 5743499 h 6479439"/>
              <a:gd name="connsiteX1306" fmla="*/ 17950 w 9586368"/>
              <a:gd name="connsiteY1306" fmla="*/ 5747537 h 6479439"/>
              <a:gd name="connsiteX1307" fmla="*/ 17950 w 9586368"/>
              <a:gd name="connsiteY1307" fmla="*/ 5757408 h 6479439"/>
              <a:gd name="connsiteX1308" fmla="*/ 13932 w 9586368"/>
              <a:gd name="connsiteY1308" fmla="*/ 5761447 h 6479439"/>
              <a:gd name="connsiteX1309" fmla="*/ 4021 w 9586368"/>
              <a:gd name="connsiteY1309" fmla="*/ 5761447 h 6479439"/>
              <a:gd name="connsiteX1310" fmla="*/ 2 w 9586368"/>
              <a:gd name="connsiteY1310" fmla="*/ 5757408 h 6479439"/>
              <a:gd name="connsiteX1311" fmla="*/ 2 w 9586368"/>
              <a:gd name="connsiteY1311" fmla="*/ 5747537 h 6479439"/>
              <a:gd name="connsiteX1312" fmla="*/ 9572438 w 9586368"/>
              <a:gd name="connsiteY1312" fmla="*/ 5504220 h 6479439"/>
              <a:gd name="connsiteX1313" fmla="*/ 9582349 w 9586368"/>
              <a:gd name="connsiteY1313" fmla="*/ 5504220 h 6479439"/>
              <a:gd name="connsiteX1314" fmla="*/ 9586368 w 9586368"/>
              <a:gd name="connsiteY1314" fmla="*/ 5508258 h 6479439"/>
              <a:gd name="connsiteX1315" fmla="*/ 9586368 w 9586368"/>
              <a:gd name="connsiteY1315" fmla="*/ 5518129 h 6479439"/>
              <a:gd name="connsiteX1316" fmla="*/ 9582349 w 9586368"/>
              <a:gd name="connsiteY1316" fmla="*/ 5522168 h 6479439"/>
              <a:gd name="connsiteX1317" fmla="*/ 9572438 w 9586368"/>
              <a:gd name="connsiteY1317" fmla="*/ 5522168 h 6479439"/>
              <a:gd name="connsiteX1318" fmla="*/ 9568419 w 9586368"/>
              <a:gd name="connsiteY1318" fmla="*/ 5518129 h 6479439"/>
              <a:gd name="connsiteX1319" fmla="*/ 9568419 w 9586368"/>
              <a:gd name="connsiteY1319" fmla="*/ 5508258 h 6479439"/>
              <a:gd name="connsiteX1320" fmla="*/ 9333125 w 9586368"/>
              <a:gd name="connsiteY1320" fmla="*/ 5504220 h 6479439"/>
              <a:gd name="connsiteX1321" fmla="*/ 9343036 w 9586368"/>
              <a:gd name="connsiteY1321" fmla="*/ 5504220 h 6479439"/>
              <a:gd name="connsiteX1322" fmla="*/ 9347055 w 9586368"/>
              <a:gd name="connsiteY1322" fmla="*/ 5508258 h 6479439"/>
              <a:gd name="connsiteX1323" fmla="*/ 9347055 w 9586368"/>
              <a:gd name="connsiteY1323" fmla="*/ 5518129 h 6479439"/>
              <a:gd name="connsiteX1324" fmla="*/ 9343036 w 9586368"/>
              <a:gd name="connsiteY1324" fmla="*/ 5522168 h 6479439"/>
              <a:gd name="connsiteX1325" fmla="*/ 9333125 w 9586368"/>
              <a:gd name="connsiteY1325" fmla="*/ 5522168 h 6479439"/>
              <a:gd name="connsiteX1326" fmla="*/ 9329106 w 9586368"/>
              <a:gd name="connsiteY1326" fmla="*/ 5518129 h 6479439"/>
              <a:gd name="connsiteX1327" fmla="*/ 9329106 w 9586368"/>
              <a:gd name="connsiteY1327" fmla="*/ 5508258 h 6479439"/>
              <a:gd name="connsiteX1328" fmla="*/ 9093811 w 9586368"/>
              <a:gd name="connsiteY1328" fmla="*/ 5504220 h 6479439"/>
              <a:gd name="connsiteX1329" fmla="*/ 9103722 w 9586368"/>
              <a:gd name="connsiteY1329" fmla="*/ 5504220 h 6479439"/>
              <a:gd name="connsiteX1330" fmla="*/ 9107741 w 9586368"/>
              <a:gd name="connsiteY1330" fmla="*/ 5508258 h 6479439"/>
              <a:gd name="connsiteX1331" fmla="*/ 9107741 w 9586368"/>
              <a:gd name="connsiteY1331" fmla="*/ 5518129 h 6479439"/>
              <a:gd name="connsiteX1332" fmla="*/ 9103722 w 9586368"/>
              <a:gd name="connsiteY1332" fmla="*/ 5522168 h 6479439"/>
              <a:gd name="connsiteX1333" fmla="*/ 9093811 w 9586368"/>
              <a:gd name="connsiteY1333" fmla="*/ 5522168 h 6479439"/>
              <a:gd name="connsiteX1334" fmla="*/ 9089792 w 9586368"/>
              <a:gd name="connsiteY1334" fmla="*/ 5518129 h 6479439"/>
              <a:gd name="connsiteX1335" fmla="*/ 9089792 w 9586368"/>
              <a:gd name="connsiteY1335" fmla="*/ 5508258 h 6479439"/>
              <a:gd name="connsiteX1336" fmla="*/ 8854496 w 9586368"/>
              <a:gd name="connsiteY1336" fmla="*/ 5504220 h 6479439"/>
              <a:gd name="connsiteX1337" fmla="*/ 8864407 w 9586368"/>
              <a:gd name="connsiteY1337" fmla="*/ 5504220 h 6479439"/>
              <a:gd name="connsiteX1338" fmla="*/ 8868426 w 9586368"/>
              <a:gd name="connsiteY1338" fmla="*/ 5508258 h 6479439"/>
              <a:gd name="connsiteX1339" fmla="*/ 8868426 w 9586368"/>
              <a:gd name="connsiteY1339" fmla="*/ 5518129 h 6479439"/>
              <a:gd name="connsiteX1340" fmla="*/ 8864407 w 9586368"/>
              <a:gd name="connsiteY1340" fmla="*/ 5522168 h 6479439"/>
              <a:gd name="connsiteX1341" fmla="*/ 8854496 w 9586368"/>
              <a:gd name="connsiteY1341" fmla="*/ 5522168 h 6479439"/>
              <a:gd name="connsiteX1342" fmla="*/ 8850477 w 9586368"/>
              <a:gd name="connsiteY1342" fmla="*/ 5518129 h 6479439"/>
              <a:gd name="connsiteX1343" fmla="*/ 8850477 w 9586368"/>
              <a:gd name="connsiteY1343" fmla="*/ 5508258 h 6479439"/>
              <a:gd name="connsiteX1344" fmla="*/ 8615184 w 9586368"/>
              <a:gd name="connsiteY1344" fmla="*/ 5504220 h 6479439"/>
              <a:gd name="connsiteX1345" fmla="*/ 8625095 w 9586368"/>
              <a:gd name="connsiteY1345" fmla="*/ 5504220 h 6479439"/>
              <a:gd name="connsiteX1346" fmla="*/ 8629114 w 9586368"/>
              <a:gd name="connsiteY1346" fmla="*/ 5508258 h 6479439"/>
              <a:gd name="connsiteX1347" fmla="*/ 8629114 w 9586368"/>
              <a:gd name="connsiteY1347" fmla="*/ 5518129 h 6479439"/>
              <a:gd name="connsiteX1348" fmla="*/ 8625095 w 9586368"/>
              <a:gd name="connsiteY1348" fmla="*/ 5522168 h 6479439"/>
              <a:gd name="connsiteX1349" fmla="*/ 8615184 w 9586368"/>
              <a:gd name="connsiteY1349" fmla="*/ 5522168 h 6479439"/>
              <a:gd name="connsiteX1350" fmla="*/ 8611165 w 9586368"/>
              <a:gd name="connsiteY1350" fmla="*/ 5518129 h 6479439"/>
              <a:gd name="connsiteX1351" fmla="*/ 8611165 w 9586368"/>
              <a:gd name="connsiteY1351" fmla="*/ 5508258 h 6479439"/>
              <a:gd name="connsiteX1352" fmla="*/ 8375869 w 9586368"/>
              <a:gd name="connsiteY1352" fmla="*/ 5504220 h 6479439"/>
              <a:gd name="connsiteX1353" fmla="*/ 8385779 w 9586368"/>
              <a:gd name="connsiteY1353" fmla="*/ 5504220 h 6479439"/>
              <a:gd name="connsiteX1354" fmla="*/ 8389799 w 9586368"/>
              <a:gd name="connsiteY1354" fmla="*/ 5508258 h 6479439"/>
              <a:gd name="connsiteX1355" fmla="*/ 8389799 w 9586368"/>
              <a:gd name="connsiteY1355" fmla="*/ 5518129 h 6479439"/>
              <a:gd name="connsiteX1356" fmla="*/ 8385779 w 9586368"/>
              <a:gd name="connsiteY1356" fmla="*/ 5522168 h 6479439"/>
              <a:gd name="connsiteX1357" fmla="*/ 8375869 w 9586368"/>
              <a:gd name="connsiteY1357" fmla="*/ 5522168 h 6479439"/>
              <a:gd name="connsiteX1358" fmla="*/ 8371850 w 9586368"/>
              <a:gd name="connsiteY1358" fmla="*/ 5518129 h 6479439"/>
              <a:gd name="connsiteX1359" fmla="*/ 8371850 w 9586368"/>
              <a:gd name="connsiteY1359" fmla="*/ 5508258 h 6479439"/>
              <a:gd name="connsiteX1360" fmla="*/ 8136553 w 9586368"/>
              <a:gd name="connsiteY1360" fmla="*/ 5504220 h 6479439"/>
              <a:gd name="connsiteX1361" fmla="*/ 8146464 w 9586368"/>
              <a:gd name="connsiteY1361" fmla="*/ 5504220 h 6479439"/>
              <a:gd name="connsiteX1362" fmla="*/ 8150483 w 9586368"/>
              <a:gd name="connsiteY1362" fmla="*/ 5508258 h 6479439"/>
              <a:gd name="connsiteX1363" fmla="*/ 8150483 w 9586368"/>
              <a:gd name="connsiteY1363" fmla="*/ 5518129 h 6479439"/>
              <a:gd name="connsiteX1364" fmla="*/ 8146464 w 9586368"/>
              <a:gd name="connsiteY1364" fmla="*/ 5522168 h 6479439"/>
              <a:gd name="connsiteX1365" fmla="*/ 8136553 w 9586368"/>
              <a:gd name="connsiteY1365" fmla="*/ 5522168 h 6479439"/>
              <a:gd name="connsiteX1366" fmla="*/ 8132534 w 9586368"/>
              <a:gd name="connsiteY1366" fmla="*/ 5518129 h 6479439"/>
              <a:gd name="connsiteX1367" fmla="*/ 8132534 w 9586368"/>
              <a:gd name="connsiteY1367" fmla="*/ 5508258 h 6479439"/>
              <a:gd name="connsiteX1368" fmla="*/ 7897241 w 9586368"/>
              <a:gd name="connsiteY1368" fmla="*/ 5504220 h 6479439"/>
              <a:gd name="connsiteX1369" fmla="*/ 7907151 w 9586368"/>
              <a:gd name="connsiteY1369" fmla="*/ 5504220 h 6479439"/>
              <a:gd name="connsiteX1370" fmla="*/ 7911170 w 9586368"/>
              <a:gd name="connsiteY1370" fmla="*/ 5508258 h 6479439"/>
              <a:gd name="connsiteX1371" fmla="*/ 7911170 w 9586368"/>
              <a:gd name="connsiteY1371" fmla="*/ 5518129 h 6479439"/>
              <a:gd name="connsiteX1372" fmla="*/ 7907151 w 9586368"/>
              <a:gd name="connsiteY1372" fmla="*/ 5522168 h 6479439"/>
              <a:gd name="connsiteX1373" fmla="*/ 7897241 w 9586368"/>
              <a:gd name="connsiteY1373" fmla="*/ 5522168 h 6479439"/>
              <a:gd name="connsiteX1374" fmla="*/ 7893222 w 9586368"/>
              <a:gd name="connsiteY1374" fmla="*/ 5518129 h 6479439"/>
              <a:gd name="connsiteX1375" fmla="*/ 7893222 w 9586368"/>
              <a:gd name="connsiteY1375" fmla="*/ 5508258 h 6479439"/>
              <a:gd name="connsiteX1376" fmla="*/ 7657926 w 9586368"/>
              <a:gd name="connsiteY1376" fmla="*/ 5504220 h 6479439"/>
              <a:gd name="connsiteX1377" fmla="*/ 7667836 w 9586368"/>
              <a:gd name="connsiteY1377" fmla="*/ 5504220 h 6479439"/>
              <a:gd name="connsiteX1378" fmla="*/ 7671855 w 9586368"/>
              <a:gd name="connsiteY1378" fmla="*/ 5508258 h 6479439"/>
              <a:gd name="connsiteX1379" fmla="*/ 7671855 w 9586368"/>
              <a:gd name="connsiteY1379" fmla="*/ 5518129 h 6479439"/>
              <a:gd name="connsiteX1380" fmla="*/ 7667836 w 9586368"/>
              <a:gd name="connsiteY1380" fmla="*/ 5522168 h 6479439"/>
              <a:gd name="connsiteX1381" fmla="*/ 7657926 w 9586368"/>
              <a:gd name="connsiteY1381" fmla="*/ 5522168 h 6479439"/>
              <a:gd name="connsiteX1382" fmla="*/ 7653906 w 9586368"/>
              <a:gd name="connsiteY1382" fmla="*/ 5518129 h 6479439"/>
              <a:gd name="connsiteX1383" fmla="*/ 7653906 w 9586368"/>
              <a:gd name="connsiteY1383" fmla="*/ 5508258 h 6479439"/>
              <a:gd name="connsiteX1384" fmla="*/ 7418611 w 9586368"/>
              <a:gd name="connsiteY1384" fmla="*/ 5504220 h 6479439"/>
              <a:gd name="connsiteX1385" fmla="*/ 7428521 w 9586368"/>
              <a:gd name="connsiteY1385" fmla="*/ 5504220 h 6479439"/>
              <a:gd name="connsiteX1386" fmla="*/ 7432540 w 9586368"/>
              <a:gd name="connsiteY1386" fmla="*/ 5508258 h 6479439"/>
              <a:gd name="connsiteX1387" fmla="*/ 7432540 w 9586368"/>
              <a:gd name="connsiteY1387" fmla="*/ 5518129 h 6479439"/>
              <a:gd name="connsiteX1388" fmla="*/ 7428521 w 9586368"/>
              <a:gd name="connsiteY1388" fmla="*/ 5522168 h 6479439"/>
              <a:gd name="connsiteX1389" fmla="*/ 7418611 w 9586368"/>
              <a:gd name="connsiteY1389" fmla="*/ 5522168 h 6479439"/>
              <a:gd name="connsiteX1390" fmla="*/ 7414592 w 9586368"/>
              <a:gd name="connsiteY1390" fmla="*/ 5518129 h 6479439"/>
              <a:gd name="connsiteX1391" fmla="*/ 7414592 w 9586368"/>
              <a:gd name="connsiteY1391" fmla="*/ 5508258 h 6479439"/>
              <a:gd name="connsiteX1392" fmla="*/ 7179298 w 9586368"/>
              <a:gd name="connsiteY1392" fmla="*/ 5504220 h 6479439"/>
              <a:gd name="connsiteX1393" fmla="*/ 7189209 w 9586368"/>
              <a:gd name="connsiteY1393" fmla="*/ 5504220 h 6479439"/>
              <a:gd name="connsiteX1394" fmla="*/ 7193228 w 9586368"/>
              <a:gd name="connsiteY1394" fmla="*/ 5508258 h 6479439"/>
              <a:gd name="connsiteX1395" fmla="*/ 7193228 w 9586368"/>
              <a:gd name="connsiteY1395" fmla="*/ 5518129 h 6479439"/>
              <a:gd name="connsiteX1396" fmla="*/ 7189209 w 9586368"/>
              <a:gd name="connsiteY1396" fmla="*/ 5522168 h 6479439"/>
              <a:gd name="connsiteX1397" fmla="*/ 7179298 w 9586368"/>
              <a:gd name="connsiteY1397" fmla="*/ 5522168 h 6479439"/>
              <a:gd name="connsiteX1398" fmla="*/ 7175279 w 9586368"/>
              <a:gd name="connsiteY1398" fmla="*/ 5518129 h 6479439"/>
              <a:gd name="connsiteX1399" fmla="*/ 7175279 w 9586368"/>
              <a:gd name="connsiteY1399" fmla="*/ 5508258 h 6479439"/>
              <a:gd name="connsiteX1400" fmla="*/ 6939983 w 9586368"/>
              <a:gd name="connsiteY1400" fmla="*/ 5504220 h 6479439"/>
              <a:gd name="connsiteX1401" fmla="*/ 6949894 w 9586368"/>
              <a:gd name="connsiteY1401" fmla="*/ 5504220 h 6479439"/>
              <a:gd name="connsiteX1402" fmla="*/ 6953913 w 9586368"/>
              <a:gd name="connsiteY1402" fmla="*/ 5508258 h 6479439"/>
              <a:gd name="connsiteX1403" fmla="*/ 6953913 w 9586368"/>
              <a:gd name="connsiteY1403" fmla="*/ 5518129 h 6479439"/>
              <a:gd name="connsiteX1404" fmla="*/ 6949894 w 9586368"/>
              <a:gd name="connsiteY1404" fmla="*/ 5522168 h 6479439"/>
              <a:gd name="connsiteX1405" fmla="*/ 6939983 w 9586368"/>
              <a:gd name="connsiteY1405" fmla="*/ 5522168 h 6479439"/>
              <a:gd name="connsiteX1406" fmla="*/ 6935964 w 9586368"/>
              <a:gd name="connsiteY1406" fmla="*/ 5518129 h 6479439"/>
              <a:gd name="connsiteX1407" fmla="*/ 6935964 w 9586368"/>
              <a:gd name="connsiteY1407" fmla="*/ 5508258 h 6479439"/>
              <a:gd name="connsiteX1408" fmla="*/ 6700670 w 9586368"/>
              <a:gd name="connsiteY1408" fmla="*/ 5504220 h 6479439"/>
              <a:gd name="connsiteX1409" fmla="*/ 6710581 w 9586368"/>
              <a:gd name="connsiteY1409" fmla="*/ 5504220 h 6479439"/>
              <a:gd name="connsiteX1410" fmla="*/ 6714600 w 9586368"/>
              <a:gd name="connsiteY1410" fmla="*/ 5508258 h 6479439"/>
              <a:gd name="connsiteX1411" fmla="*/ 6714600 w 9586368"/>
              <a:gd name="connsiteY1411" fmla="*/ 5518129 h 6479439"/>
              <a:gd name="connsiteX1412" fmla="*/ 6710581 w 9586368"/>
              <a:gd name="connsiteY1412" fmla="*/ 5522168 h 6479439"/>
              <a:gd name="connsiteX1413" fmla="*/ 6700670 w 9586368"/>
              <a:gd name="connsiteY1413" fmla="*/ 5522168 h 6479439"/>
              <a:gd name="connsiteX1414" fmla="*/ 6696651 w 9586368"/>
              <a:gd name="connsiteY1414" fmla="*/ 5518129 h 6479439"/>
              <a:gd name="connsiteX1415" fmla="*/ 6696651 w 9586368"/>
              <a:gd name="connsiteY1415" fmla="*/ 5508258 h 6479439"/>
              <a:gd name="connsiteX1416" fmla="*/ 6461356 w 9586368"/>
              <a:gd name="connsiteY1416" fmla="*/ 5504220 h 6479439"/>
              <a:gd name="connsiteX1417" fmla="*/ 6471266 w 9586368"/>
              <a:gd name="connsiteY1417" fmla="*/ 5504220 h 6479439"/>
              <a:gd name="connsiteX1418" fmla="*/ 6475285 w 9586368"/>
              <a:gd name="connsiteY1418" fmla="*/ 5508258 h 6479439"/>
              <a:gd name="connsiteX1419" fmla="*/ 6475285 w 9586368"/>
              <a:gd name="connsiteY1419" fmla="*/ 5518129 h 6479439"/>
              <a:gd name="connsiteX1420" fmla="*/ 6471266 w 9586368"/>
              <a:gd name="connsiteY1420" fmla="*/ 5522168 h 6479439"/>
              <a:gd name="connsiteX1421" fmla="*/ 6461356 w 9586368"/>
              <a:gd name="connsiteY1421" fmla="*/ 5522168 h 6479439"/>
              <a:gd name="connsiteX1422" fmla="*/ 6457337 w 9586368"/>
              <a:gd name="connsiteY1422" fmla="*/ 5518129 h 6479439"/>
              <a:gd name="connsiteX1423" fmla="*/ 6457337 w 9586368"/>
              <a:gd name="connsiteY1423" fmla="*/ 5508258 h 6479439"/>
              <a:gd name="connsiteX1424" fmla="*/ 6222042 w 9586368"/>
              <a:gd name="connsiteY1424" fmla="*/ 5504220 h 6479439"/>
              <a:gd name="connsiteX1425" fmla="*/ 6231952 w 9586368"/>
              <a:gd name="connsiteY1425" fmla="*/ 5504220 h 6479439"/>
              <a:gd name="connsiteX1426" fmla="*/ 6235971 w 9586368"/>
              <a:gd name="connsiteY1426" fmla="*/ 5508258 h 6479439"/>
              <a:gd name="connsiteX1427" fmla="*/ 6235971 w 9586368"/>
              <a:gd name="connsiteY1427" fmla="*/ 5518129 h 6479439"/>
              <a:gd name="connsiteX1428" fmla="*/ 6231952 w 9586368"/>
              <a:gd name="connsiteY1428" fmla="*/ 5522168 h 6479439"/>
              <a:gd name="connsiteX1429" fmla="*/ 6222042 w 9586368"/>
              <a:gd name="connsiteY1429" fmla="*/ 5522168 h 6479439"/>
              <a:gd name="connsiteX1430" fmla="*/ 6218023 w 9586368"/>
              <a:gd name="connsiteY1430" fmla="*/ 5518129 h 6479439"/>
              <a:gd name="connsiteX1431" fmla="*/ 6218023 w 9586368"/>
              <a:gd name="connsiteY1431" fmla="*/ 5508258 h 6479439"/>
              <a:gd name="connsiteX1432" fmla="*/ 5982729 w 9586368"/>
              <a:gd name="connsiteY1432" fmla="*/ 5504220 h 6479439"/>
              <a:gd name="connsiteX1433" fmla="*/ 5992639 w 9586368"/>
              <a:gd name="connsiteY1433" fmla="*/ 5504220 h 6479439"/>
              <a:gd name="connsiteX1434" fmla="*/ 5996658 w 9586368"/>
              <a:gd name="connsiteY1434" fmla="*/ 5508258 h 6479439"/>
              <a:gd name="connsiteX1435" fmla="*/ 5996658 w 9586368"/>
              <a:gd name="connsiteY1435" fmla="*/ 5518129 h 6479439"/>
              <a:gd name="connsiteX1436" fmla="*/ 5992639 w 9586368"/>
              <a:gd name="connsiteY1436" fmla="*/ 5522168 h 6479439"/>
              <a:gd name="connsiteX1437" fmla="*/ 5982729 w 9586368"/>
              <a:gd name="connsiteY1437" fmla="*/ 5522168 h 6479439"/>
              <a:gd name="connsiteX1438" fmla="*/ 5978710 w 9586368"/>
              <a:gd name="connsiteY1438" fmla="*/ 5518129 h 6479439"/>
              <a:gd name="connsiteX1439" fmla="*/ 5978710 w 9586368"/>
              <a:gd name="connsiteY1439" fmla="*/ 5508258 h 6479439"/>
              <a:gd name="connsiteX1440" fmla="*/ 5743412 w 9586368"/>
              <a:gd name="connsiteY1440" fmla="*/ 5504220 h 6479439"/>
              <a:gd name="connsiteX1441" fmla="*/ 5753323 w 9586368"/>
              <a:gd name="connsiteY1441" fmla="*/ 5504220 h 6479439"/>
              <a:gd name="connsiteX1442" fmla="*/ 5757342 w 9586368"/>
              <a:gd name="connsiteY1442" fmla="*/ 5508258 h 6479439"/>
              <a:gd name="connsiteX1443" fmla="*/ 5757342 w 9586368"/>
              <a:gd name="connsiteY1443" fmla="*/ 5518129 h 6479439"/>
              <a:gd name="connsiteX1444" fmla="*/ 5753323 w 9586368"/>
              <a:gd name="connsiteY1444" fmla="*/ 5522168 h 6479439"/>
              <a:gd name="connsiteX1445" fmla="*/ 5743412 w 9586368"/>
              <a:gd name="connsiteY1445" fmla="*/ 5522168 h 6479439"/>
              <a:gd name="connsiteX1446" fmla="*/ 5739393 w 9586368"/>
              <a:gd name="connsiteY1446" fmla="*/ 5518129 h 6479439"/>
              <a:gd name="connsiteX1447" fmla="*/ 5739393 w 9586368"/>
              <a:gd name="connsiteY1447" fmla="*/ 5508258 h 6479439"/>
              <a:gd name="connsiteX1448" fmla="*/ 5504099 w 9586368"/>
              <a:gd name="connsiteY1448" fmla="*/ 5504220 h 6479439"/>
              <a:gd name="connsiteX1449" fmla="*/ 5514010 w 9586368"/>
              <a:gd name="connsiteY1449" fmla="*/ 5504220 h 6479439"/>
              <a:gd name="connsiteX1450" fmla="*/ 5518029 w 9586368"/>
              <a:gd name="connsiteY1450" fmla="*/ 5508258 h 6479439"/>
              <a:gd name="connsiteX1451" fmla="*/ 5518029 w 9586368"/>
              <a:gd name="connsiteY1451" fmla="*/ 5518129 h 6479439"/>
              <a:gd name="connsiteX1452" fmla="*/ 5514010 w 9586368"/>
              <a:gd name="connsiteY1452" fmla="*/ 5522168 h 6479439"/>
              <a:gd name="connsiteX1453" fmla="*/ 5504099 w 9586368"/>
              <a:gd name="connsiteY1453" fmla="*/ 5522168 h 6479439"/>
              <a:gd name="connsiteX1454" fmla="*/ 5500080 w 9586368"/>
              <a:gd name="connsiteY1454" fmla="*/ 5518129 h 6479439"/>
              <a:gd name="connsiteX1455" fmla="*/ 5500080 w 9586368"/>
              <a:gd name="connsiteY1455" fmla="*/ 5508258 h 6479439"/>
              <a:gd name="connsiteX1456" fmla="*/ 5264784 w 9586368"/>
              <a:gd name="connsiteY1456" fmla="*/ 5504220 h 6479439"/>
              <a:gd name="connsiteX1457" fmla="*/ 5274694 w 9586368"/>
              <a:gd name="connsiteY1457" fmla="*/ 5504220 h 6479439"/>
              <a:gd name="connsiteX1458" fmla="*/ 5278713 w 9586368"/>
              <a:gd name="connsiteY1458" fmla="*/ 5508258 h 6479439"/>
              <a:gd name="connsiteX1459" fmla="*/ 5278713 w 9586368"/>
              <a:gd name="connsiteY1459" fmla="*/ 5518129 h 6479439"/>
              <a:gd name="connsiteX1460" fmla="*/ 5274694 w 9586368"/>
              <a:gd name="connsiteY1460" fmla="*/ 5522168 h 6479439"/>
              <a:gd name="connsiteX1461" fmla="*/ 5264784 w 9586368"/>
              <a:gd name="connsiteY1461" fmla="*/ 5522168 h 6479439"/>
              <a:gd name="connsiteX1462" fmla="*/ 5260765 w 9586368"/>
              <a:gd name="connsiteY1462" fmla="*/ 5518129 h 6479439"/>
              <a:gd name="connsiteX1463" fmla="*/ 5260765 w 9586368"/>
              <a:gd name="connsiteY1463" fmla="*/ 5508258 h 6479439"/>
              <a:gd name="connsiteX1464" fmla="*/ 5025470 w 9586368"/>
              <a:gd name="connsiteY1464" fmla="*/ 5504220 h 6479439"/>
              <a:gd name="connsiteX1465" fmla="*/ 5035381 w 9586368"/>
              <a:gd name="connsiteY1465" fmla="*/ 5504220 h 6479439"/>
              <a:gd name="connsiteX1466" fmla="*/ 5039400 w 9586368"/>
              <a:gd name="connsiteY1466" fmla="*/ 5508258 h 6479439"/>
              <a:gd name="connsiteX1467" fmla="*/ 5039400 w 9586368"/>
              <a:gd name="connsiteY1467" fmla="*/ 5518129 h 6479439"/>
              <a:gd name="connsiteX1468" fmla="*/ 5035381 w 9586368"/>
              <a:gd name="connsiteY1468" fmla="*/ 5522168 h 6479439"/>
              <a:gd name="connsiteX1469" fmla="*/ 5025470 w 9586368"/>
              <a:gd name="connsiteY1469" fmla="*/ 5522168 h 6479439"/>
              <a:gd name="connsiteX1470" fmla="*/ 5021451 w 9586368"/>
              <a:gd name="connsiteY1470" fmla="*/ 5518129 h 6479439"/>
              <a:gd name="connsiteX1471" fmla="*/ 5021451 w 9586368"/>
              <a:gd name="connsiteY1471" fmla="*/ 5508258 h 6479439"/>
              <a:gd name="connsiteX1472" fmla="*/ 4786241 w 9586368"/>
              <a:gd name="connsiteY1472" fmla="*/ 5504220 h 6479439"/>
              <a:gd name="connsiteX1473" fmla="*/ 4796152 w 9586368"/>
              <a:gd name="connsiteY1473" fmla="*/ 5504220 h 6479439"/>
              <a:gd name="connsiteX1474" fmla="*/ 4800171 w 9586368"/>
              <a:gd name="connsiteY1474" fmla="*/ 5508258 h 6479439"/>
              <a:gd name="connsiteX1475" fmla="*/ 4800171 w 9586368"/>
              <a:gd name="connsiteY1475" fmla="*/ 5518129 h 6479439"/>
              <a:gd name="connsiteX1476" fmla="*/ 4796152 w 9586368"/>
              <a:gd name="connsiteY1476" fmla="*/ 5522168 h 6479439"/>
              <a:gd name="connsiteX1477" fmla="*/ 4786241 w 9586368"/>
              <a:gd name="connsiteY1477" fmla="*/ 5522168 h 6479439"/>
              <a:gd name="connsiteX1478" fmla="*/ 4782224 w 9586368"/>
              <a:gd name="connsiteY1478" fmla="*/ 5518129 h 6479439"/>
              <a:gd name="connsiteX1479" fmla="*/ 4782224 w 9586368"/>
              <a:gd name="connsiteY1479" fmla="*/ 5508258 h 6479439"/>
              <a:gd name="connsiteX1480" fmla="*/ 4546929 w 9586368"/>
              <a:gd name="connsiteY1480" fmla="*/ 5504220 h 6479439"/>
              <a:gd name="connsiteX1481" fmla="*/ 4556840 w 9586368"/>
              <a:gd name="connsiteY1481" fmla="*/ 5504220 h 6479439"/>
              <a:gd name="connsiteX1482" fmla="*/ 4560859 w 9586368"/>
              <a:gd name="connsiteY1482" fmla="*/ 5508258 h 6479439"/>
              <a:gd name="connsiteX1483" fmla="*/ 4560859 w 9586368"/>
              <a:gd name="connsiteY1483" fmla="*/ 5518129 h 6479439"/>
              <a:gd name="connsiteX1484" fmla="*/ 4556840 w 9586368"/>
              <a:gd name="connsiteY1484" fmla="*/ 5522168 h 6479439"/>
              <a:gd name="connsiteX1485" fmla="*/ 4546929 w 9586368"/>
              <a:gd name="connsiteY1485" fmla="*/ 5522168 h 6479439"/>
              <a:gd name="connsiteX1486" fmla="*/ 4542910 w 9586368"/>
              <a:gd name="connsiteY1486" fmla="*/ 5518129 h 6479439"/>
              <a:gd name="connsiteX1487" fmla="*/ 4542910 w 9586368"/>
              <a:gd name="connsiteY1487" fmla="*/ 5508258 h 6479439"/>
              <a:gd name="connsiteX1488" fmla="*/ 4307612 w 9586368"/>
              <a:gd name="connsiteY1488" fmla="*/ 5504220 h 6479439"/>
              <a:gd name="connsiteX1489" fmla="*/ 4317523 w 9586368"/>
              <a:gd name="connsiteY1489" fmla="*/ 5504220 h 6479439"/>
              <a:gd name="connsiteX1490" fmla="*/ 4321543 w 9586368"/>
              <a:gd name="connsiteY1490" fmla="*/ 5508258 h 6479439"/>
              <a:gd name="connsiteX1491" fmla="*/ 4321543 w 9586368"/>
              <a:gd name="connsiteY1491" fmla="*/ 5518129 h 6479439"/>
              <a:gd name="connsiteX1492" fmla="*/ 4317523 w 9586368"/>
              <a:gd name="connsiteY1492" fmla="*/ 5522168 h 6479439"/>
              <a:gd name="connsiteX1493" fmla="*/ 4307612 w 9586368"/>
              <a:gd name="connsiteY1493" fmla="*/ 5522168 h 6479439"/>
              <a:gd name="connsiteX1494" fmla="*/ 4303595 w 9586368"/>
              <a:gd name="connsiteY1494" fmla="*/ 5518129 h 6479439"/>
              <a:gd name="connsiteX1495" fmla="*/ 4303595 w 9586368"/>
              <a:gd name="connsiteY1495" fmla="*/ 5508258 h 6479439"/>
              <a:gd name="connsiteX1496" fmla="*/ 4068297 w 9586368"/>
              <a:gd name="connsiteY1496" fmla="*/ 5504220 h 6479439"/>
              <a:gd name="connsiteX1497" fmla="*/ 4078210 w 9586368"/>
              <a:gd name="connsiteY1497" fmla="*/ 5504220 h 6479439"/>
              <a:gd name="connsiteX1498" fmla="*/ 4082229 w 9586368"/>
              <a:gd name="connsiteY1498" fmla="*/ 5508258 h 6479439"/>
              <a:gd name="connsiteX1499" fmla="*/ 4082229 w 9586368"/>
              <a:gd name="connsiteY1499" fmla="*/ 5518129 h 6479439"/>
              <a:gd name="connsiteX1500" fmla="*/ 4078210 w 9586368"/>
              <a:gd name="connsiteY1500" fmla="*/ 5522168 h 6479439"/>
              <a:gd name="connsiteX1501" fmla="*/ 4068297 w 9586368"/>
              <a:gd name="connsiteY1501" fmla="*/ 5522168 h 6479439"/>
              <a:gd name="connsiteX1502" fmla="*/ 4064278 w 9586368"/>
              <a:gd name="connsiteY1502" fmla="*/ 5518129 h 6479439"/>
              <a:gd name="connsiteX1503" fmla="*/ 4064278 w 9586368"/>
              <a:gd name="connsiteY1503" fmla="*/ 5508258 h 6479439"/>
              <a:gd name="connsiteX1504" fmla="*/ 3828990 w 9586368"/>
              <a:gd name="connsiteY1504" fmla="*/ 5504220 h 6479439"/>
              <a:gd name="connsiteX1505" fmla="*/ 3838899 w 9586368"/>
              <a:gd name="connsiteY1505" fmla="*/ 5504220 h 6479439"/>
              <a:gd name="connsiteX1506" fmla="*/ 3842917 w 9586368"/>
              <a:gd name="connsiteY1506" fmla="*/ 5508258 h 6479439"/>
              <a:gd name="connsiteX1507" fmla="*/ 3842917 w 9586368"/>
              <a:gd name="connsiteY1507" fmla="*/ 5518129 h 6479439"/>
              <a:gd name="connsiteX1508" fmla="*/ 3838899 w 9586368"/>
              <a:gd name="connsiteY1508" fmla="*/ 5522168 h 6479439"/>
              <a:gd name="connsiteX1509" fmla="*/ 3828990 w 9586368"/>
              <a:gd name="connsiteY1509" fmla="*/ 5522168 h 6479439"/>
              <a:gd name="connsiteX1510" fmla="*/ 3824971 w 9586368"/>
              <a:gd name="connsiteY1510" fmla="*/ 5518129 h 6479439"/>
              <a:gd name="connsiteX1511" fmla="*/ 3824971 w 9586368"/>
              <a:gd name="connsiteY1511" fmla="*/ 5508258 h 6479439"/>
              <a:gd name="connsiteX1512" fmla="*/ 3589676 w 9586368"/>
              <a:gd name="connsiteY1512" fmla="*/ 5504220 h 6479439"/>
              <a:gd name="connsiteX1513" fmla="*/ 3599585 w 9586368"/>
              <a:gd name="connsiteY1513" fmla="*/ 5504220 h 6479439"/>
              <a:gd name="connsiteX1514" fmla="*/ 3603604 w 9586368"/>
              <a:gd name="connsiteY1514" fmla="*/ 5508258 h 6479439"/>
              <a:gd name="connsiteX1515" fmla="*/ 3603604 w 9586368"/>
              <a:gd name="connsiteY1515" fmla="*/ 5518129 h 6479439"/>
              <a:gd name="connsiteX1516" fmla="*/ 3599585 w 9586368"/>
              <a:gd name="connsiteY1516" fmla="*/ 5522168 h 6479439"/>
              <a:gd name="connsiteX1517" fmla="*/ 3589676 w 9586368"/>
              <a:gd name="connsiteY1517" fmla="*/ 5522168 h 6479439"/>
              <a:gd name="connsiteX1518" fmla="*/ 3585657 w 9586368"/>
              <a:gd name="connsiteY1518" fmla="*/ 5518129 h 6479439"/>
              <a:gd name="connsiteX1519" fmla="*/ 3585657 w 9586368"/>
              <a:gd name="connsiteY1519" fmla="*/ 5508258 h 6479439"/>
              <a:gd name="connsiteX1520" fmla="*/ 3350359 w 9586368"/>
              <a:gd name="connsiteY1520" fmla="*/ 5504220 h 6479439"/>
              <a:gd name="connsiteX1521" fmla="*/ 3360268 w 9586368"/>
              <a:gd name="connsiteY1521" fmla="*/ 5504220 h 6479439"/>
              <a:gd name="connsiteX1522" fmla="*/ 3364287 w 9586368"/>
              <a:gd name="connsiteY1522" fmla="*/ 5508258 h 6479439"/>
              <a:gd name="connsiteX1523" fmla="*/ 3364287 w 9586368"/>
              <a:gd name="connsiteY1523" fmla="*/ 5518129 h 6479439"/>
              <a:gd name="connsiteX1524" fmla="*/ 3360268 w 9586368"/>
              <a:gd name="connsiteY1524" fmla="*/ 5522168 h 6479439"/>
              <a:gd name="connsiteX1525" fmla="*/ 3350359 w 9586368"/>
              <a:gd name="connsiteY1525" fmla="*/ 5522168 h 6479439"/>
              <a:gd name="connsiteX1526" fmla="*/ 3346340 w 9586368"/>
              <a:gd name="connsiteY1526" fmla="*/ 5518129 h 6479439"/>
              <a:gd name="connsiteX1527" fmla="*/ 3346340 w 9586368"/>
              <a:gd name="connsiteY1527" fmla="*/ 5508258 h 6479439"/>
              <a:gd name="connsiteX1528" fmla="*/ 3111048 w 9586368"/>
              <a:gd name="connsiteY1528" fmla="*/ 5504220 h 6479439"/>
              <a:gd name="connsiteX1529" fmla="*/ 3120959 w 9586368"/>
              <a:gd name="connsiteY1529" fmla="*/ 5504220 h 6479439"/>
              <a:gd name="connsiteX1530" fmla="*/ 3124977 w 9586368"/>
              <a:gd name="connsiteY1530" fmla="*/ 5508258 h 6479439"/>
              <a:gd name="connsiteX1531" fmla="*/ 3124977 w 9586368"/>
              <a:gd name="connsiteY1531" fmla="*/ 5518129 h 6479439"/>
              <a:gd name="connsiteX1532" fmla="*/ 3120959 w 9586368"/>
              <a:gd name="connsiteY1532" fmla="*/ 5522168 h 6479439"/>
              <a:gd name="connsiteX1533" fmla="*/ 3111048 w 9586368"/>
              <a:gd name="connsiteY1533" fmla="*/ 5522168 h 6479439"/>
              <a:gd name="connsiteX1534" fmla="*/ 3107029 w 9586368"/>
              <a:gd name="connsiteY1534" fmla="*/ 5518129 h 6479439"/>
              <a:gd name="connsiteX1535" fmla="*/ 3107029 w 9586368"/>
              <a:gd name="connsiteY1535" fmla="*/ 5508258 h 6479439"/>
              <a:gd name="connsiteX1536" fmla="*/ 2871737 w 9586368"/>
              <a:gd name="connsiteY1536" fmla="*/ 5504220 h 6479439"/>
              <a:gd name="connsiteX1537" fmla="*/ 2881646 w 9586368"/>
              <a:gd name="connsiteY1537" fmla="*/ 5504220 h 6479439"/>
              <a:gd name="connsiteX1538" fmla="*/ 2885666 w 9586368"/>
              <a:gd name="connsiteY1538" fmla="*/ 5508258 h 6479439"/>
              <a:gd name="connsiteX1539" fmla="*/ 2885666 w 9586368"/>
              <a:gd name="connsiteY1539" fmla="*/ 5518129 h 6479439"/>
              <a:gd name="connsiteX1540" fmla="*/ 2881646 w 9586368"/>
              <a:gd name="connsiteY1540" fmla="*/ 5522168 h 6479439"/>
              <a:gd name="connsiteX1541" fmla="*/ 2871737 w 9586368"/>
              <a:gd name="connsiteY1541" fmla="*/ 5522168 h 6479439"/>
              <a:gd name="connsiteX1542" fmla="*/ 2867717 w 9586368"/>
              <a:gd name="connsiteY1542" fmla="*/ 5518129 h 6479439"/>
              <a:gd name="connsiteX1543" fmla="*/ 2867717 w 9586368"/>
              <a:gd name="connsiteY1543" fmla="*/ 5508258 h 6479439"/>
              <a:gd name="connsiteX1544" fmla="*/ 2632423 w 9586368"/>
              <a:gd name="connsiteY1544" fmla="*/ 5504220 h 6479439"/>
              <a:gd name="connsiteX1545" fmla="*/ 2642334 w 9586368"/>
              <a:gd name="connsiteY1545" fmla="*/ 5504220 h 6479439"/>
              <a:gd name="connsiteX1546" fmla="*/ 2646352 w 9586368"/>
              <a:gd name="connsiteY1546" fmla="*/ 5508258 h 6479439"/>
              <a:gd name="connsiteX1547" fmla="*/ 2646352 w 9586368"/>
              <a:gd name="connsiteY1547" fmla="*/ 5518129 h 6479439"/>
              <a:gd name="connsiteX1548" fmla="*/ 2642334 w 9586368"/>
              <a:gd name="connsiteY1548" fmla="*/ 5522168 h 6479439"/>
              <a:gd name="connsiteX1549" fmla="*/ 2632423 w 9586368"/>
              <a:gd name="connsiteY1549" fmla="*/ 5522168 h 6479439"/>
              <a:gd name="connsiteX1550" fmla="*/ 2628404 w 9586368"/>
              <a:gd name="connsiteY1550" fmla="*/ 5518129 h 6479439"/>
              <a:gd name="connsiteX1551" fmla="*/ 2628404 w 9586368"/>
              <a:gd name="connsiteY1551" fmla="*/ 5508258 h 6479439"/>
              <a:gd name="connsiteX1552" fmla="*/ 2393104 w 9586368"/>
              <a:gd name="connsiteY1552" fmla="*/ 5504220 h 6479439"/>
              <a:gd name="connsiteX1553" fmla="*/ 2403015 w 9586368"/>
              <a:gd name="connsiteY1553" fmla="*/ 5504220 h 6479439"/>
              <a:gd name="connsiteX1554" fmla="*/ 2407034 w 9586368"/>
              <a:gd name="connsiteY1554" fmla="*/ 5508258 h 6479439"/>
              <a:gd name="connsiteX1555" fmla="*/ 2407034 w 9586368"/>
              <a:gd name="connsiteY1555" fmla="*/ 5518129 h 6479439"/>
              <a:gd name="connsiteX1556" fmla="*/ 2403015 w 9586368"/>
              <a:gd name="connsiteY1556" fmla="*/ 5522168 h 6479439"/>
              <a:gd name="connsiteX1557" fmla="*/ 2393104 w 9586368"/>
              <a:gd name="connsiteY1557" fmla="*/ 5522168 h 6479439"/>
              <a:gd name="connsiteX1558" fmla="*/ 2389087 w 9586368"/>
              <a:gd name="connsiteY1558" fmla="*/ 5518129 h 6479439"/>
              <a:gd name="connsiteX1559" fmla="*/ 2389087 w 9586368"/>
              <a:gd name="connsiteY1559" fmla="*/ 5508258 h 6479439"/>
              <a:gd name="connsiteX1560" fmla="*/ 2157818 w 9586368"/>
              <a:gd name="connsiteY1560" fmla="*/ 5504220 h 6479439"/>
              <a:gd name="connsiteX1561" fmla="*/ 2167728 w 9586368"/>
              <a:gd name="connsiteY1561" fmla="*/ 5504220 h 6479439"/>
              <a:gd name="connsiteX1562" fmla="*/ 2171748 w 9586368"/>
              <a:gd name="connsiteY1562" fmla="*/ 5508258 h 6479439"/>
              <a:gd name="connsiteX1563" fmla="*/ 2171748 w 9586368"/>
              <a:gd name="connsiteY1563" fmla="*/ 5518129 h 6479439"/>
              <a:gd name="connsiteX1564" fmla="*/ 2167728 w 9586368"/>
              <a:gd name="connsiteY1564" fmla="*/ 5522168 h 6479439"/>
              <a:gd name="connsiteX1565" fmla="*/ 2157818 w 9586368"/>
              <a:gd name="connsiteY1565" fmla="*/ 5522168 h 6479439"/>
              <a:gd name="connsiteX1566" fmla="*/ 2153799 w 9586368"/>
              <a:gd name="connsiteY1566" fmla="*/ 5518129 h 6479439"/>
              <a:gd name="connsiteX1567" fmla="*/ 2153799 w 9586368"/>
              <a:gd name="connsiteY1567" fmla="*/ 5508258 h 6479439"/>
              <a:gd name="connsiteX1568" fmla="*/ 1918510 w 9586368"/>
              <a:gd name="connsiteY1568" fmla="*/ 5504220 h 6479439"/>
              <a:gd name="connsiteX1569" fmla="*/ 1928420 w 9586368"/>
              <a:gd name="connsiteY1569" fmla="*/ 5504220 h 6479439"/>
              <a:gd name="connsiteX1570" fmla="*/ 1932438 w 9586368"/>
              <a:gd name="connsiteY1570" fmla="*/ 5508258 h 6479439"/>
              <a:gd name="connsiteX1571" fmla="*/ 1932438 w 9586368"/>
              <a:gd name="connsiteY1571" fmla="*/ 5518129 h 6479439"/>
              <a:gd name="connsiteX1572" fmla="*/ 1928420 w 9586368"/>
              <a:gd name="connsiteY1572" fmla="*/ 5522168 h 6479439"/>
              <a:gd name="connsiteX1573" fmla="*/ 1918510 w 9586368"/>
              <a:gd name="connsiteY1573" fmla="*/ 5522168 h 6479439"/>
              <a:gd name="connsiteX1574" fmla="*/ 1914490 w 9586368"/>
              <a:gd name="connsiteY1574" fmla="*/ 5518129 h 6479439"/>
              <a:gd name="connsiteX1575" fmla="*/ 1914490 w 9586368"/>
              <a:gd name="connsiteY1575" fmla="*/ 5508258 h 6479439"/>
              <a:gd name="connsiteX1576" fmla="*/ 1679202 w 9586368"/>
              <a:gd name="connsiteY1576" fmla="*/ 5504220 h 6479439"/>
              <a:gd name="connsiteX1577" fmla="*/ 1689112 w 9586368"/>
              <a:gd name="connsiteY1577" fmla="*/ 5504220 h 6479439"/>
              <a:gd name="connsiteX1578" fmla="*/ 1693132 w 9586368"/>
              <a:gd name="connsiteY1578" fmla="*/ 5508258 h 6479439"/>
              <a:gd name="connsiteX1579" fmla="*/ 1693132 w 9586368"/>
              <a:gd name="connsiteY1579" fmla="*/ 5518129 h 6479439"/>
              <a:gd name="connsiteX1580" fmla="*/ 1689112 w 9586368"/>
              <a:gd name="connsiteY1580" fmla="*/ 5522168 h 6479439"/>
              <a:gd name="connsiteX1581" fmla="*/ 1679202 w 9586368"/>
              <a:gd name="connsiteY1581" fmla="*/ 5522168 h 6479439"/>
              <a:gd name="connsiteX1582" fmla="*/ 1675184 w 9586368"/>
              <a:gd name="connsiteY1582" fmla="*/ 5518129 h 6479439"/>
              <a:gd name="connsiteX1583" fmla="*/ 1675184 w 9586368"/>
              <a:gd name="connsiteY1583" fmla="*/ 5508258 h 6479439"/>
              <a:gd name="connsiteX1584" fmla="*/ 1439887 w 9586368"/>
              <a:gd name="connsiteY1584" fmla="*/ 5504220 h 6479439"/>
              <a:gd name="connsiteX1585" fmla="*/ 1449797 w 9586368"/>
              <a:gd name="connsiteY1585" fmla="*/ 5504220 h 6479439"/>
              <a:gd name="connsiteX1586" fmla="*/ 1453815 w 9586368"/>
              <a:gd name="connsiteY1586" fmla="*/ 5508258 h 6479439"/>
              <a:gd name="connsiteX1587" fmla="*/ 1453815 w 9586368"/>
              <a:gd name="connsiteY1587" fmla="*/ 5518129 h 6479439"/>
              <a:gd name="connsiteX1588" fmla="*/ 1449797 w 9586368"/>
              <a:gd name="connsiteY1588" fmla="*/ 5522168 h 6479439"/>
              <a:gd name="connsiteX1589" fmla="*/ 1439887 w 9586368"/>
              <a:gd name="connsiteY1589" fmla="*/ 5522168 h 6479439"/>
              <a:gd name="connsiteX1590" fmla="*/ 1435869 w 9586368"/>
              <a:gd name="connsiteY1590" fmla="*/ 5518129 h 6479439"/>
              <a:gd name="connsiteX1591" fmla="*/ 1435869 w 9586368"/>
              <a:gd name="connsiteY1591" fmla="*/ 5508258 h 6479439"/>
              <a:gd name="connsiteX1592" fmla="*/ 1200572 w 9586368"/>
              <a:gd name="connsiteY1592" fmla="*/ 5504220 h 6479439"/>
              <a:gd name="connsiteX1593" fmla="*/ 1210483 w 9586368"/>
              <a:gd name="connsiteY1593" fmla="*/ 5504220 h 6479439"/>
              <a:gd name="connsiteX1594" fmla="*/ 1214501 w 9586368"/>
              <a:gd name="connsiteY1594" fmla="*/ 5508258 h 6479439"/>
              <a:gd name="connsiteX1595" fmla="*/ 1214501 w 9586368"/>
              <a:gd name="connsiteY1595" fmla="*/ 5518129 h 6479439"/>
              <a:gd name="connsiteX1596" fmla="*/ 1210483 w 9586368"/>
              <a:gd name="connsiteY1596" fmla="*/ 5522168 h 6479439"/>
              <a:gd name="connsiteX1597" fmla="*/ 1200572 w 9586368"/>
              <a:gd name="connsiteY1597" fmla="*/ 5522168 h 6479439"/>
              <a:gd name="connsiteX1598" fmla="*/ 1196554 w 9586368"/>
              <a:gd name="connsiteY1598" fmla="*/ 5518129 h 6479439"/>
              <a:gd name="connsiteX1599" fmla="*/ 1196554 w 9586368"/>
              <a:gd name="connsiteY1599" fmla="*/ 5508258 h 6479439"/>
              <a:gd name="connsiteX1600" fmla="*/ 961260 w 9586368"/>
              <a:gd name="connsiteY1600" fmla="*/ 5504220 h 6479439"/>
              <a:gd name="connsiteX1601" fmla="*/ 971169 w 9586368"/>
              <a:gd name="connsiteY1601" fmla="*/ 5504220 h 6479439"/>
              <a:gd name="connsiteX1602" fmla="*/ 975189 w 9586368"/>
              <a:gd name="connsiteY1602" fmla="*/ 5508258 h 6479439"/>
              <a:gd name="connsiteX1603" fmla="*/ 975189 w 9586368"/>
              <a:gd name="connsiteY1603" fmla="*/ 5518129 h 6479439"/>
              <a:gd name="connsiteX1604" fmla="*/ 971169 w 9586368"/>
              <a:gd name="connsiteY1604" fmla="*/ 5522168 h 6479439"/>
              <a:gd name="connsiteX1605" fmla="*/ 961260 w 9586368"/>
              <a:gd name="connsiteY1605" fmla="*/ 5522168 h 6479439"/>
              <a:gd name="connsiteX1606" fmla="*/ 957241 w 9586368"/>
              <a:gd name="connsiteY1606" fmla="*/ 5518129 h 6479439"/>
              <a:gd name="connsiteX1607" fmla="*/ 957241 w 9586368"/>
              <a:gd name="connsiteY1607" fmla="*/ 5508258 h 6479439"/>
              <a:gd name="connsiteX1608" fmla="*/ 721961 w 9586368"/>
              <a:gd name="connsiteY1608" fmla="*/ 5504220 h 6479439"/>
              <a:gd name="connsiteX1609" fmla="*/ 731871 w 9586368"/>
              <a:gd name="connsiteY1609" fmla="*/ 5504220 h 6479439"/>
              <a:gd name="connsiteX1610" fmla="*/ 735890 w 9586368"/>
              <a:gd name="connsiteY1610" fmla="*/ 5508258 h 6479439"/>
              <a:gd name="connsiteX1611" fmla="*/ 735890 w 9586368"/>
              <a:gd name="connsiteY1611" fmla="*/ 5518129 h 6479439"/>
              <a:gd name="connsiteX1612" fmla="*/ 731871 w 9586368"/>
              <a:gd name="connsiteY1612" fmla="*/ 5522168 h 6479439"/>
              <a:gd name="connsiteX1613" fmla="*/ 721961 w 9586368"/>
              <a:gd name="connsiteY1613" fmla="*/ 5522168 h 6479439"/>
              <a:gd name="connsiteX1614" fmla="*/ 717942 w 9586368"/>
              <a:gd name="connsiteY1614" fmla="*/ 5518129 h 6479439"/>
              <a:gd name="connsiteX1615" fmla="*/ 717942 w 9586368"/>
              <a:gd name="connsiteY1615" fmla="*/ 5508258 h 6479439"/>
              <a:gd name="connsiteX1616" fmla="*/ 482649 w 9586368"/>
              <a:gd name="connsiteY1616" fmla="*/ 5504220 h 6479439"/>
              <a:gd name="connsiteX1617" fmla="*/ 492559 w 9586368"/>
              <a:gd name="connsiteY1617" fmla="*/ 5504220 h 6479439"/>
              <a:gd name="connsiteX1618" fmla="*/ 496578 w 9586368"/>
              <a:gd name="connsiteY1618" fmla="*/ 5508258 h 6479439"/>
              <a:gd name="connsiteX1619" fmla="*/ 496578 w 9586368"/>
              <a:gd name="connsiteY1619" fmla="*/ 5518129 h 6479439"/>
              <a:gd name="connsiteX1620" fmla="*/ 492559 w 9586368"/>
              <a:gd name="connsiteY1620" fmla="*/ 5522168 h 6479439"/>
              <a:gd name="connsiteX1621" fmla="*/ 482649 w 9586368"/>
              <a:gd name="connsiteY1621" fmla="*/ 5522168 h 6479439"/>
              <a:gd name="connsiteX1622" fmla="*/ 478630 w 9586368"/>
              <a:gd name="connsiteY1622" fmla="*/ 5518129 h 6479439"/>
              <a:gd name="connsiteX1623" fmla="*/ 478630 w 9586368"/>
              <a:gd name="connsiteY1623" fmla="*/ 5508258 h 6479439"/>
              <a:gd name="connsiteX1624" fmla="*/ 243335 w 9586368"/>
              <a:gd name="connsiteY1624" fmla="*/ 5504220 h 6479439"/>
              <a:gd name="connsiteX1625" fmla="*/ 253245 w 9586368"/>
              <a:gd name="connsiteY1625" fmla="*/ 5504220 h 6479439"/>
              <a:gd name="connsiteX1626" fmla="*/ 257264 w 9586368"/>
              <a:gd name="connsiteY1626" fmla="*/ 5508258 h 6479439"/>
              <a:gd name="connsiteX1627" fmla="*/ 257264 w 9586368"/>
              <a:gd name="connsiteY1627" fmla="*/ 5518129 h 6479439"/>
              <a:gd name="connsiteX1628" fmla="*/ 253245 w 9586368"/>
              <a:gd name="connsiteY1628" fmla="*/ 5522168 h 6479439"/>
              <a:gd name="connsiteX1629" fmla="*/ 243335 w 9586368"/>
              <a:gd name="connsiteY1629" fmla="*/ 5522168 h 6479439"/>
              <a:gd name="connsiteX1630" fmla="*/ 239316 w 9586368"/>
              <a:gd name="connsiteY1630" fmla="*/ 5518129 h 6479439"/>
              <a:gd name="connsiteX1631" fmla="*/ 239316 w 9586368"/>
              <a:gd name="connsiteY1631" fmla="*/ 5508258 h 6479439"/>
              <a:gd name="connsiteX1632" fmla="*/ 4022 w 9586368"/>
              <a:gd name="connsiteY1632" fmla="*/ 5504220 h 6479439"/>
              <a:gd name="connsiteX1633" fmla="*/ 13932 w 9586368"/>
              <a:gd name="connsiteY1633" fmla="*/ 5504220 h 6479439"/>
              <a:gd name="connsiteX1634" fmla="*/ 17951 w 9586368"/>
              <a:gd name="connsiteY1634" fmla="*/ 5508258 h 6479439"/>
              <a:gd name="connsiteX1635" fmla="*/ 17951 w 9586368"/>
              <a:gd name="connsiteY1635" fmla="*/ 5518129 h 6479439"/>
              <a:gd name="connsiteX1636" fmla="*/ 13932 w 9586368"/>
              <a:gd name="connsiteY1636" fmla="*/ 5522168 h 6479439"/>
              <a:gd name="connsiteX1637" fmla="*/ 4022 w 9586368"/>
              <a:gd name="connsiteY1637" fmla="*/ 5522168 h 6479439"/>
              <a:gd name="connsiteX1638" fmla="*/ 3 w 9586368"/>
              <a:gd name="connsiteY1638" fmla="*/ 5518129 h 6479439"/>
              <a:gd name="connsiteX1639" fmla="*/ 3 w 9586368"/>
              <a:gd name="connsiteY1639" fmla="*/ 5508258 h 6479439"/>
              <a:gd name="connsiteX1640" fmla="*/ 2157818 w 9586368"/>
              <a:gd name="connsiteY1640" fmla="*/ 5264940 h 6479439"/>
              <a:gd name="connsiteX1641" fmla="*/ 2167729 w 9586368"/>
              <a:gd name="connsiteY1641" fmla="*/ 5264940 h 6479439"/>
              <a:gd name="connsiteX1642" fmla="*/ 2171748 w 9586368"/>
              <a:gd name="connsiteY1642" fmla="*/ 5268978 h 6479439"/>
              <a:gd name="connsiteX1643" fmla="*/ 2171748 w 9586368"/>
              <a:gd name="connsiteY1643" fmla="*/ 5278849 h 6479439"/>
              <a:gd name="connsiteX1644" fmla="*/ 2167729 w 9586368"/>
              <a:gd name="connsiteY1644" fmla="*/ 5282888 h 6479439"/>
              <a:gd name="connsiteX1645" fmla="*/ 2157818 w 9586368"/>
              <a:gd name="connsiteY1645" fmla="*/ 5282888 h 6479439"/>
              <a:gd name="connsiteX1646" fmla="*/ 2153799 w 9586368"/>
              <a:gd name="connsiteY1646" fmla="*/ 5278849 h 6479439"/>
              <a:gd name="connsiteX1647" fmla="*/ 2153799 w 9586368"/>
              <a:gd name="connsiteY1647" fmla="*/ 5268978 h 6479439"/>
              <a:gd name="connsiteX1648" fmla="*/ 1918510 w 9586368"/>
              <a:gd name="connsiteY1648" fmla="*/ 5264940 h 6479439"/>
              <a:gd name="connsiteX1649" fmla="*/ 1928420 w 9586368"/>
              <a:gd name="connsiteY1649" fmla="*/ 5264940 h 6479439"/>
              <a:gd name="connsiteX1650" fmla="*/ 1932438 w 9586368"/>
              <a:gd name="connsiteY1650" fmla="*/ 5268978 h 6479439"/>
              <a:gd name="connsiteX1651" fmla="*/ 1932438 w 9586368"/>
              <a:gd name="connsiteY1651" fmla="*/ 5278849 h 6479439"/>
              <a:gd name="connsiteX1652" fmla="*/ 1928420 w 9586368"/>
              <a:gd name="connsiteY1652" fmla="*/ 5282888 h 6479439"/>
              <a:gd name="connsiteX1653" fmla="*/ 1918510 w 9586368"/>
              <a:gd name="connsiteY1653" fmla="*/ 5282888 h 6479439"/>
              <a:gd name="connsiteX1654" fmla="*/ 1914492 w 9586368"/>
              <a:gd name="connsiteY1654" fmla="*/ 5278849 h 6479439"/>
              <a:gd name="connsiteX1655" fmla="*/ 1914492 w 9586368"/>
              <a:gd name="connsiteY1655" fmla="*/ 5268978 h 6479439"/>
              <a:gd name="connsiteX1656" fmla="*/ 1679204 w 9586368"/>
              <a:gd name="connsiteY1656" fmla="*/ 5264940 h 6479439"/>
              <a:gd name="connsiteX1657" fmla="*/ 1689113 w 9586368"/>
              <a:gd name="connsiteY1657" fmla="*/ 5264940 h 6479439"/>
              <a:gd name="connsiteX1658" fmla="*/ 1693132 w 9586368"/>
              <a:gd name="connsiteY1658" fmla="*/ 5268978 h 6479439"/>
              <a:gd name="connsiteX1659" fmla="*/ 1693132 w 9586368"/>
              <a:gd name="connsiteY1659" fmla="*/ 5278849 h 6479439"/>
              <a:gd name="connsiteX1660" fmla="*/ 1689113 w 9586368"/>
              <a:gd name="connsiteY1660" fmla="*/ 5282888 h 6479439"/>
              <a:gd name="connsiteX1661" fmla="*/ 1679204 w 9586368"/>
              <a:gd name="connsiteY1661" fmla="*/ 5282888 h 6479439"/>
              <a:gd name="connsiteX1662" fmla="*/ 1675184 w 9586368"/>
              <a:gd name="connsiteY1662" fmla="*/ 5278849 h 6479439"/>
              <a:gd name="connsiteX1663" fmla="*/ 1675184 w 9586368"/>
              <a:gd name="connsiteY1663" fmla="*/ 5268978 h 6479439"/>
              <a:gd name="connsiteX1664" fmla="*/ 1439889 w 9586368"/>
              <a:gd name="connsiteY1664" fmla="*/ 5264940 h 6479439"/>
              <a:gd name="connsiteX1665" fmla="*/ 1449798 w 9586368"/>
              <a:gd name="connsiteY1665" fmla="*/ 5264940 h 6479439"/>
              <a:gd name="connsiteX1666" fmla="*/ 1453817 w 9586368"/>
              <a:gd name="connsiteY1666" fmla="*/ 5268978 h 6479439"/>
              <a:gd name="connsiteX1667" fmla="*/ 1453817 w 9586368"/>
              <a:gd name="connsiteY1667" fmla="*/ 5278849 h 6479439"/>
              <a:gd name="connsiteX1668" fmla="*/ 1449798 w 9586368"/>
              <a:gd name="connsiteY1668" fmla="*/ 5282888 h 6479439"/>
              <a:gd name="connsiteX1669" fmla="*/ 1439889 w 9586368"/>
              <a:gd name="connsiteY1669" fmla="*/ 5282888 h 6479439"/>
              <a:gd name="connsiteX1670" fmla="*/ 1435869 w 9586368"/>
              <a:gd name="connsiteY1670" fmla="*/ 5278849 h 6479439"/>
              <a:gd name="connsiteX1671" fmla="*/ 1435869 w 9586368"/>
              <a:gd name="connsiteY1671" fmla="*/ 5268978 h 6479439"/>
              <a:gd name="connsiteX1672" fmla="*/ 1200573 w 9586368"/>
              <a:gd name="connsiteY1672" fmla="*/ 5264940 h 6479439"/>
              <a:gd name="connsiteX1673" fmla="*/ 1210483 w 9586368"/>
              <a:gd name="connsiteY1673" fmla="*/ 5264940 h 6479439"/>
              <a:gd name="connsiteX1674" fmla="*/ 1214502 w 9586368"/>
              <a:gd name="connsiteY1674" fmla="*/ 5268978 h 6479439"/>
              <a:gd name="connsiteX1675" fmla="*/ 1214502 w 9586368"/>
              <a:gd name="connsiteY1675" fmla="*/ 5278849 h 6479439"/>
              <a:gd name="connsiteX1676" fmla="*/ 1210483 w 9586368"/>
              <a:gd name="connsiteY1676" fmla="*/ 5282888 h 6479439"/>
              <a:gd name="connsiteX1677" fmla="*/ 1200573 w 9586368"/>
              <a:gd name="connsiteY1677" fmla="*/ 5282888 h 6479439"/>
              <a:gd name="connsiteX1678" fmla="*/ 1196554 w 9586368"/>
              <a:gd name="connsiteY1678" fmla="*/ 5278849 h 6479439"/>
              <a:gd name="connsiteX1679" fmla="*/ 1196554 w 9586368"/>
              <a:gd name="connsiteY1679" fmla="*/ 5268978 h 6479439"/>
              <a:gd name="connsiteX1680" fmla="*/ 961260 w 9586368"/>
              <a:gd name="connsiteY1680" fmla="*/ 5264940 h 6479439"/>
              <a:gd name="connsiteX1681" fmla="*/ 971171 w 9586368"/>
              <a:gd name="connsiteY1681" fmla="*/ 5264940 h 6479439"/>
              <a:gd name="connsiteX1682" fmla="*/ 975189 w 9586368"/>
              <a:gd name="connsiteY1682" fmla="*/ 5268978 h 6479439"/>
              <a:gd name="connsiteX1683" fmla="*/ 975189 w 9586368"/>
              <a:gd name="connsiteY1683" fmla="*/ 5278849 h 6479439"/>
              <a:gd name="connsiteX1684" fmla="*/ 971171 w 9586368"/>
              <a:gd name="connsiteY1684" fmla="*/ 5282888 h 6479439"/>
              <a:gd name="connsiteX1685" fmla="*/ 961260 w 9586368"/>
              <a:gd name="connsiteY1685" fmla="*/ 5282888 h 6479439"/>
              <a:gd name="connsiteX1686" fmla="*/ 957241 w 9586368"/>
              <a:gd name="connsiteY1686" fmla="*/ 5278849 h 6479439"/>
              <a:gd name="connsiteX1687" fmla="*/ 957241 w 9586368"/>
              <a:gd name="connsiteY1687" fmla="*/ 5268978 h 6479439"/>
              <a:gd name="connsiteX1688" fmla="*/ 9572438 w 9586368"/>
              <a:gd name="connsiteY1688" fmla="*/ 5264889 h 6479439"/>
              <a:gd name="connsiteX1689" fmla="*/ 9582349 w 9586368"/>
              <a:gd name="connsiteY1689" fmla="*/ 5264889 h 6479439"/>
              <a:gd name="connsiteX1690" fmla="*/ 9586368 w 9586368"/>
              <a:gd name="connsiteY1690" fmla="*/ 5268928 h 6479439"/>
              <a:gd name="connsiteX1691" fmla="*/ 9586368 w 9586368"/>
              <a:gd name="connsiteY1691" fmla="*/ 5278799 h 6479439"/>
              <a:gd name="connsiteX1692" fmla="*/ 9582349 w 9586368"/>
              <a:gd name="connsiteY1692" fmla="*/ 5282838 h 6479439"/>
              <a:gd name="connsiteX1693" fmla="*/ 9572438 w 9586368"/>
              <a:gd name="connsiteY1693" fmla="*/ 5282838 h 6479439"/>
              <a:gd name="connsiteX1694" fmla="*/ 9568419 w 9586368"/>
              <a:gd name="connsiteY1694" fmla="*/ 5278799 h 6479439"/>
              <a:gd name="connsiteX1695" fmla="*/ 9568419 w 9586368"/>
              <a:gd name="connsiteY1695" fmla="*/ 5268928 h 6479439"/>
              <a:gd name="connsiteX1696" fmla="*/ 9333125 w 9586368"/>
              <a:gd name="connsiteY1696" fmla="*/ 5264889 h 6479439"/>
              <a:gd name="connsiteX1697" fmla="*/ 9343036 w 9586368"/>
              <a:gd name="connsiteY1697" fmla="*/ 5264889 h 6479439"/>
              <a:gd name="connsiteX1698" fmla="*/ 9347055 w 9586368"/>
              <a:gd name="connsiteY1698" fmla="*/ 5268928 h 6479439"/>
              <a:gd name="connsiteX1699" fmla="*/ 9347055 w 9586368"/>
              <a:gd name="connsiteY1699" fmla="*/ 5278799 h 6479439"/>
              <a:gd name="connsiteX1700" fmla="*/ 9343036 w 9586368"/>
              <a:gd name="connsiteY1700" fmla="*/ 5282838 h 6479439"/>
              <a:gd name="connsiteX1701" fmla="*/ 9333125 w 9586368"/>
              <a:gd name="connsiteY1701" fmla="*/ 5282838 h 6479439"/>
              <a:gd name="connsiteX1702" fmla="*/ 9329106 w 9586368"/>
              <a:gd name="connsiteY1702" fmla="*/ 5278799 h 6479439"/>
              <a:gd name="connsiteX1703" fmla="*/ 9329106 w 9586368"/>
              <a:gd name="connsiteY1703" fmla="*/ 5268928 h 6479439"/>
              <a:gd name="connsiteX1704" fmla="*/ 9093811 w 9586368"/>
              <a:gd name="connsiteY1704" fmla="*/ 5264889 h 6479439"/>
              <a:gd name="connsiteX1705" fmla="*/ 9103722 w 9586368"/>
              <a:gd name="connsiteY1705" fmla="*/ 5264889 h 6479439"/>
              <a:gd name="connsiteX1706" fmla="*/ 9107741 w 9586368"/>
              <a:gd name="connsiteY1706" fmla="*/ 5268928 h 6479439"/>
              <a:gd name="connsiteX1707" fmla="*/ 9107741 w 9586368"/>
              <a:gd name="connsiteY1707" fmla="*/ 5278799 h 6479439"/>
              <a:gd name="connsiteX1708" fmla="*/ 9103722 w 9586368"/>
              <a:gd name="connsiteY1708" fmla="*/ 5282838 h 6479439"/>
              <a:gd name="connsiteX1709" fmla="*/ 9093811 w 9586368"/>
              <a:gd name="connsiteY1709" fmla="*/ 5282838 h 6479439"/>
              <a:gd name="connsiteX1710" fmla="*/ 9089792 w 9586368"/>
              <a:gd name="connsiteY1710" fmla="*/ 5278799 h 6479439"/>
              <a:gd name="connsiteX1711" fmla="*/ 9089792 w 9586368"/>
              <a:gd name="connsiteY1711" fmla="*/ 5268928 h 6479439"/>
              <a:gd name="connsiteX1712" fmla="*/ 8854496 w 9586368"/>
              <a:gd name="connsiteY1712" fmla="*/ 5264889 h 6479439"/>
              <a:gd name="connsiteX1713" fmla="*/ 8864407 w 9586368"/>
              <a:gd name="connsiteY1713" fmla="*/ 5264889 h 6479439"/>
              <a:gd name="connsiteX1714" fmla="*/ 8868426 w 9586368"/>
              <a:gd name="connsiteY1714" fmla="*/ 5268928 h 6479439"/>
              <a:gd name="connsiteX1715" fmla="*/ 8868426 w 9586368"/>
              <a:gd name="connsiteY1715" fmla="*/ 5278799 h 6479439"/>
              <a:gd name="connsiteX1716" fmla="*/ 8864407 w 9586368"/>
              <a:gd name="connsiteY1716" fmla="*/ 5282838 h 6479439"/>
              <a:gd name="connsiteX1717" fmla="*/ 8854496 w 9586368"/>
              <a:gd name="connsiteY1717" fmla="*/ 5282838 h 6479439"/>
              <a:gd name="connsiteX1718" fmla="*/ 8850477 w 9586368"/>
              <a:gd name="connsiteY1718" fmla="*/ 5278799 h 6479439"/>
              <a:gd name="connsiteX1719" fmla="*/ 8850477 w 9586368"/>
              <a:gd name="connsiteY1719" fmla="*/ 5268928 h 6479439"/>
              <a:gd name="connsiteX1720" fmla="*/ 8615184 w 9586368"/>
              <a:gd name="connsiteY1720" fmla="*/ 5264889 h 6479439"/>
              <a:gd name="connsiteX1721" fmla="*/ 8625095 w 9586368"/>
              <a:gd name="connsiteY1721" fmla="*/ 5264889 h 6479439"/>
              <a:gd name="connsiteX1722" fmla="*/ 8629114 w 9586368"/>
              <a:gd name="connsiteY1722" fmla="*/ 5268928 h 6479439"/>
              <a:gd name="connsiteX1723" fmla="*/ 8629114 w 9586368"/>
              <a:gd name="connsiteY1723" fmla="*/ 5278799 h 6479439"/>
              <a:gd name="connsiteX1724" fmla="*/ 8625095 w 9586368"/>
              <a:gd name="connsiteY1724" fmla="*/ 5282838 h 6479439"/>
              <a:gd name="connsiteX1725" fmla="*/ 8615184 w 9586368"/>
              <a:gd name="connsiteY1725" fmla="*/ 5282838 h 6479439"/>
              <a:gd name="connsiteX1726" fmla="*/ 8611165 w 9586368"/>
              <a:gd name="connsiteY1726" fmla="*/ 5278799 h 6479439"/>
              <a:gd name="connsiteX1727" fmla="*/ 8611165 w 9586368"/>
              <a:gd name="connsiteY1727" fmla="*/ 5268928 h 6479439"/>
              <a:gd name="connsiteX1728" fmla="*/ 8375869 w 9586368"/>
              <a:gd name="connsiteY1728" fmla="*/ 5264889 h 6479439"/>
              <a:gd name="connsiteX1729" fmla="*/ 8385779 w 9586368"/>
              <a:gd name="connsiteY1729" fmla="*/ 5264889 h 6479439"/>
              <a:gd name="connsiteX1730" fmla="*/ 8389799 w 9586368"/>
              <a:gd name="connsiteY1730" fmla="*/ 5268928 h 6479439"/>
              <a:gd name="connsiteX1731" fmla="*/ 8389799 w 9586368"/>
              <a:gd name="connsiteY1731" fmla="*/ 5278799 h 6479439"/>
              <a:gd name="connsiteX1732" fmla="*/ 8385779 w 9586368"/>
              <a:gd name="connsiteY1732" fmla="*/ 5282838 h 6479439"/>
              <a:gd name="connsiteX1733" fmla="*/ 8375869 w 9586368"/>
              <a:gd name="connsiteY1733" fmla="*/ 5282838 h 6479439"/>
              <a:gd name="connsiteX1734" fmla="*/ 8371850 w 9586368"/>
              <a:gd name="connsiteY1734" fmla="*/ 5278799 h 6479439"/>
              <a:gd name="connsiteX1735" fmla="*/ 8371850 w 9586368"/>
              <a:gd name="connsiteY1735" fmla="*/ 5268928 h 6479439"/>
              <a:gd name="connsiteX1736" fmla="*/ 8136553 w 9586368"/>
              <a:gd name="connsiteY1736" fmla="*/ 5264889 h 6479439"/>
              <a:gd name="connsiteX1737" fmla="*/ 8146464 w 9586368"/>
              <a:gd name="connsiteY1737" fmla="*/ 5264889 h 6479439"/>
              <a:gd name="connsiteX1738" fmla="*/ 8150483 w 9586368"/>
              <a:gd name="connsiteY1738" fmla="*/ 5268928 h 6479439"/>
              <a:gd name="connsiteX1739" fmla="*/ 8150483 w 9586368"/>
              <a:gd name="connsiteY1739" fmla="*/ 5278799 h 6479439"/>
              <a:gd name="connsiteX1740" fmla="*/ 8146464 w 9586368"/>
              <a:gd name="connsiteY1740" fmla="*/ 5282838 h 6479439"/>
              <a:gd name="connsiteX1741" fmla="*/ 8136553 w 9586368"/>
              <a:gd name="connsiteY1741" fmla="*/ 5282838 h 6479439"/>
              <a:gd name="connsiteX1742" fmla="*/ 8132534 w 9586368"/>
              <a:gd name="connsiteY1742" fmla="*/ 5278799 h 6479439"/>
              <a:gd name="connsiteX1743" fmla="*/ 8132534 w 9586368"/>
              <a:gd name="connsiteY1743" fmla="*/ 5268928 h 6479439"/>
              <a:gd name="connsiteX1744" fmla="*/ 7897241 w 9586368"/>
              <a:gd name="connsiteY1744" fmla="*/ 5264889 h 6479439"/>
              <a:gd name="connsiteX1745" fmla="*/ 7907151 w 9586368"/>
              <a:gd name="connsiteY1745" fmla="*/ 5264889 h 6479439"/>
              <a:gd name="connsiteX1746" fmla="*/ 7911170 w 9586368"/>
              <a:gd name="connsiteY1746" fmla="*/ 5268928 h 6479439"/>
              <a:gd name="connsiteX1747" fmla="*/ 7911170 w 9586368"/>
              <a:gd name="connsiteY1747" fmla="*/ 5278799 h 6479439"/>
              <a:gd name="connsiteX1748" fmla="*/ 7907151 w 9586368"/>
              <a:gd name="connsiteY1748" fmla="*/ 5282838 h 6479439"/>
              <a:gd name="connsiteX1749" fmla="*/ 7897241 w 9586368"/>
              <a:gd name="connsiteY1749" fmla="*/ 5282838 h 6479439"/>
              <a:gd name="connsiteX1750" fmla="*/ 7893222 w 9586368"/>
              <a:gd name="connsiteY1750" fmla="*/ 5278799 h 6479439"/>
              <a:gd name="connsiteX1751" fmla="*/ 7893222 w 9586368"/>
              <a:gd name="connsiteY1751" fmla="*/ 5268928 h 6479439"/>
              <a:gd name="connsiteX1752" fmla="*/ 7657926 w 9586368"/>
              <a:gd name="connsiteY1752" fmla="*/ 5264889 h 6479439"/>
              <a:gd name="connsiteX1753" fmla="*/ 7667836 w 9586368"/>
              <a:gd name="connsiteY1753" fmla="*/ 5264889 h 6479439"/>
              <a:gd name="connsiteX1754" fmla="*/ 7671855 w 9586368"/>
              <a:gd name="connsiteY1754" fmla="*/ 5268928 h 6479439"/>
              <a:gd name="connsiteX1755" fmla="*/ 7671855 w 9586368"/>
              <a:gd name="connsiteY1755" fmla="*/ 5278799 h 6479439"/>
              <a:gd name="connsiteX1756" fmla="*/ 7667836 w 9586368"/>
              <a:gd name="connsiteY1756" fmla="*/ 5282838 h 6479439"/>
              <a:gd name="connsiteX1757" fmla="*/ 7657926 w 9586368"/>
              <a:gd name="connsiteY1757" fmla="*/ 5282838 h 6479439"/>
              <a:gd name="connsiteX1758" fmla="*/ 7653906 w 9586368"/>
              <a:gd name="connsiteY1758" fmla="*/ 5278799 h 6479439"/>
              <a:gd name="connsiteX1759" fmla="*/ 7653906 w 9586368"/>
              <a:gd name="connsiteY1759" fmla="*/ 5268928 h 6479439"/>
              <a:gd name="connsiteX1760" fmla="*/ 7418611 w 9586368"/>
              <a:gd name="connsiteY1760" fmla="*/ 5264889 h 6479439"/>
              <a:gd name="connsiteX1761" fmla="*/ 7428521 w 9586368"/>
              <a:gd name="connsiteY1761" fmla="*/ 5264889 h 6479439"/>
              <a:gd name="connsiteX1762" fmla="*/ 7432540 w 9586368"/>
              <a:gd name="connsiteY1762" fmla="*/ 5268928 h 6479439"/>
              <a:gd name="connsiteX1763" fmla="*/ 7432540 w 9586368"/>
              <a:gd name="connsiteY1763" fmla="*/ 5278799 h 6479439"/>
              <a:gd name="connsiteX1764" fmla="*/ 7428521 w 9586368"/>
              <a:gd name="connsiteY1764" fmla="*/ 5282838 h 6479439"/>
              <a:gd name="connsiteX1765" fmla="*/ 7418611 w 9586368"/>
              <a:gd name="connsiteY1765" fmla="*/ 5282838 h 6479439"/>
              <a:gd name="connsiteX1766" fmla="*/ 7414592 w 9586368"/>
              <a:gd name="connsiteY1766" fmla="*/ 5278799 h 6479439"/>
              <a:gd name="connsiteX1767" fmla="*/ 7414592 w 9586368"/>
              <a:gd name="connsiteY1767" fmla="*/ 5268928 h 6479439"/>
              <a:gd name="connsiteX1768" fmla="*/ 7179298 w 9586368"/>
              <a:gd name="connsiteY1768" fmla="*/ 5264889 h 6479439"/>
              <a:gd name="connsiteX1769" fmla="*/ 7189209 w 9586368"/>
              <a:gd name="connsiteY1769" fmla="*/ 5264889 h 6479439"/>
              <a:gd name="connsiteX1770" fmla="*/ 7193228 w 9586368"/>
              <a:gd name="connsiteY1770" fmla="*/ 5268928 h 6479439"/>
              <a:gd name="connsiteX1771" fmla="*/ 7193228 w 9586368"/>
              <a:gd name="connsiteY1771" fmla="*/ 5278799 h 6479439"/>
              <a:gd name="connsiteX1772" fmla="*/ 7189209 w 9586368"/>
              <a:gd name="connsiteY1772" fmla="*/ 5282838 h 6479439"/>
              <a:gd name="connsiteX1773" fmla="*/ 7179298 w 9586368"/>
              <a:gd name="connsiteY1773" fmla="*/ 5282838 h 6479439"/>
              <a:gd name="connsiteX1774" fmla="*/ 7175279 w 9586368"/>
              <a:gd name="connsiteY1774" fmla="*/ 5278799 h 6479439"/>
              <a:gd name="connsiteX1775" fmla="*/ 7175279 w 9586368"/>
              <a:gd name="connsiteY1775" fmla="*/ 5268928 h 6479439"/>
              <a:gd name="connsiteX1776" fmla="*/ 6939983 w 9586368"/>
              <a:gd name="connsiteY1776" fmla="*/ 5264889 h 6479439"/>
              <a:gd name="connsiteX1777" fmla="*/ 6949894 w 9586368"/>
              <a:gd name="connsiteY1777" fmla="*/ 5264889 h 6479439"/>
              <a:gd name="connsiteX1778" fmla="*/ 6953913 w 9586368"/>
              <a:gd name="connsiteY1778" fmla="*/ 5268928 h 6479439"/>
              <a:gd name="connsiteX1779" fmla="*/ 6953913 w 9586368"/>
              <a:gd name="connsiteY1779" fmla="*/ 5278799 h 6479439"/>
              <a:gd name="connsiteX1780" fmla="*/ 6949894 w 9586368"/>
              <a:gd name="connsiteY1780" fmla="*/ 5282838 h 6479439"/>
              <a:gd name="connsiteX1781" fmla="*/ 6939983 w 9586368"/>
              <a:gd name="connsiteY1781" fmla="*/ 5282838 h 6479439"/>
              <a:gd name="connsiteX1782" fmla="*/ 6935964 w 9586368"/>
              <a:gd name="connsiteY1782" fmla="*/ 5278799 h 6479439"/>
              <a:gd name="connsiteX1783" fmla="*/ 6935964 w 9586368"/>
              <a:gd name="connsiteY1783" fmla="*/ 5268928 h 6479439"/>
              <a:gd name="connsiteX1784" fmla="*/ 6700670 w 9586368"/>
              <a:gd name="connsiteY1784" fmla="*/ 5264889 h 6479439"/>
              <a:gd name="connsiteX1785" fmla="*/ 6710581 w 9586368"/>
              <a:gd name="connsiteY1785" fmla="*/ 5264889 h 6479439"/>
              <a:gd name="connsiteX1786" fmla="*/ 6714600 w 9586368"/>
              <a:gd name="connsiteY1786" fmla="*/ 5268928 h 6479439"/>
              <a:gd name="connsiteX1787" fmla="*/ 6714600 w 9586368"/>
              <a:gd name="connsiteY1787" fmla="*/ 5278799 h 6479439"/>
              <a:gd name="connsiteX1788" fmla="*/ 6710581 w 9586368"/>
              <a:gd name="connsiteY1788" fmla="*/ 5282838 h 6479439"/>
              <a:gd name="connsiteX1789" fmla="*/ 6700670 w 9586368"/>
              <a:gd name="connsiteY1789" fmla="*/ 5282838 h 6479439"/>
              <a:gd name="connsiteX1790" fmla="*/ 6696651 w 9586368"/>
              <a:gd name="connsiteY1790" fmla="*/ 5278799 h 6479439"/>
              <a:gd name="connsiteX1791" fmla="*/ 6696651 w 9586368"/>
              <a:gd name="connsiteY1791" fmla="*/ 5268928 h 6479439"/>
              <a:gd name="connsiteX1792" fmla="*/ 6461356 w 9586368"/>
              <a:gd name="connsiteY1792" fmla="*/ 5264889 h 6479439"/>
              <a:gd name="connsiteX1793" fmla="*/ 6471266 w 9586368"/>
              <a:gd name="connsiteY1793" fmla="*/ 5264889 h 6479439"/>
              <a:gd name="connsiteX1794" fmla="*/ 6475285 w 9586368"/>
              <a:gd name="connsiteY1794" fmla="*/ 5268928 h 6479439"/>
              <a:gd name="connsiteX1795" fmla="*/ 6475285 w 9586368"/>
              <a:gd name="connsiteY1795" fmla="*/ 5278799 h 6479439"/>
              <a:gd name="connsiteX1796" fmla="*/ 6471266 w 9586368"/>
              <a:gd name="connsiteY1796" fmla="*/ 5282838 h 6479439"/>
              <a:gd name="connsiteX1797" fmla="*/ 6461356 w 9586368"/>
              <a:gd name="connsiteY1797" fmla="*/ 5282838 h 6479439"/>
              <a:gd name="connsiteX1798" fmla="*/ 6457337 w 9586368"/>
              <a:gd name="connsiteY1798" fmla="*/ 5278799 h 6479439"/>
              <a:gd name="connsiteX1799" fmla="*/ 6457337 w 9586368"/>
              <a:gd name="connsiteY1799" fmla="*/ 5268928 h 6479439"/>
              <a:gd name="connsiteX1800" fmla="*/ 6222042 w 9586368"/>
              <a:gd name="connsiteY1800" fmla="*/ 5264889 h 6479439"/>
              <a:gd name="connsiteX1801" fmla="*/ 6231952 w 9586368"/>
              <a:gd name="connsiteY1801" fmla="*/ 5264889 h 6479439"/>
              <a:gd name="connsiteX1802" fmla="*/ 6235971 w 9586368"/>
              <a:gd name="connsiteY1802" fmla="*/ 5268928 h 6479439"/>
              <a:gd name="connsiteX1803" fmla="*/ 6235971 w 9586368"/>
              <a:gd name="connsiteY1803" fmla="*/ 5278799 h 6479439"/>
              <a:gd name="connsiteX1804" fmla="*/ 6231952 w 9586368"/>
              <a:gd name="connsiteY1804" fmla="*/ 5282838 h 6479439"/>
              <a:gd name="connsiteX1805" fmla="*/ 6222042 w 9586368"/>
              <a:gd name="connsiteY1805" fmla="*/ 5282838 h 6479439"/>
              <a:gd name="connsiteX1806" fmla="*/ 6218023 w 9586368"/>
              <a:gd name="connsiteY1806" fmla="*/ 5278799 h 6479439"/>
              <a:gd name="connsiteX1807" fmla="*/ 6218023 w 9586368"/>
              <a:gd name="connsiteY1807" fmla="*/ 5268928 h 6479439"/>
              <a:gd name="connsiteX1808" fmla="*/ 5982729 w 9586368"/>
              <a:gd name="connsiteY1808" fmla="*/ 5264889 h 6479439"/>
              <a:gd name="connsiteX1809" fmla="*/ 5992639 w 9586368"/>
              <a:gd name="connsiteY1809" fmla="*/ 5264889 h 6479439"/>
              <a:gd name="connsiteX1810" fmla="*/ 5996658 w 9586368"/>
              <a:gd name="connsiteY1810" fmla="*/ 5268928 h 6479439"/>
              <a:gd name="connsiteX1811" fmla="*/ 5996658 w 9586368"/>
              <a:gd name="connsiteY1811" fmla="*/ 5278799 h 6479439"/>
              <a:gd name="connsiteX1812" fmla="*/ 5992639 w 9586368"/>
              <a:gd name="connsiteY1812" fmla="*/ 5282838 h 6479439"/>
              <a:gd name="connsiteX1813" fmla="*/ 5982729 w 9586368"/>
              <a:gd name="connsiteY1813" fmla="*/ 5282838 h 6479439"/>
              <a:gd name="connsiteX1814" fmla="*/ 5978710 w 9586368"/>
              <a:gd name="connsiteY1814" fmla="*/ 5278799 h 6479439"/>
              <a:gd name="connsiteX1815" fmla="*/ 5978710 w 9586368"/>
              <a:gd name="connsiteY1815" fmla="*/ 5268928 h 6479439"/>
              <a:gd name="connsiteX1816" fmla="*/ 5743412 w 9586368"/>
              <a:gd name="connsiteY1816" fmla="*/ 5264889 h 6479439"/>
              <a:gd name="connsiteX1817" fmla="*/ 5753323 w 9586368"/>
              <a:gd name="connsiteY1817" fmla="*/ 5264889 h 6479439"/>
              <a:gd name="connsiteX1818" fmla="*/ 5757342 w 9586368"/>
              <a:gd name="connsiteY1818" fmla="*/ 5268928 h 6479439"/>
              <a:gd name="connsiteX1819" fmla="*/ 5757342 w 9586368"/>
              <a:gd name="connsiteY1819" fmla="*/ 5278799 h 6479439"/>
              <a:gd name="connsiteX1820" fmla="*/ 5753323 w 9586368"/>
              <a:gd name="connsiteY1820" fmla="*/ 5282838 h 6479439"/>
              <a:gd name="connsiteX1821" fmla="*/ 5743412 w 9586368"/>
              <a:gd name="connsiteY1821" fmla="*/ 5282838 h 6479439"/>
              <a:gd name="connsiteX1822" fmla="*/ 5739393 w 9586368"/>
              <a:gd name="connsiteY1822" fmla="*/ 5278799 h 6479439"/>
              <a:gd name="connsiteX1823" fmla="*/ 5739393 w 9586368"/>
              <a:gd name="connsiteY1823" fmla="*/ 5268928 h 6479439"/>
              <a:gd name="connsiteX1824" fmla="*/ 5504099 w 9586368"/>
              <a:gd name="connsiteY1824" fmla="*/ 5264889 h 6479439"/>
              <a:gd name="connsiteX1825" fmla="*/ 5514010 w 9586368"/>
              <a:gd name="connsiteY1825" fmla="*/ 5264889 h 6479439"/>
              <a:gd name="connsiteX1826" fmla="*/ 5518029 w 9586368"/>
              <a:gd name="connsiteY1826" fmla="*/ 5268928 h 6479439"/>
              <a:gd name="connsiteX1827" fmla="*/ 5518029 w 9586368"/>
              <a:gd name="connsiteY1827" fmla="*/ 5278799 h 6479439"/>
              <a:gd name="connsiteX1828" fmla="*/ 5514010 w 9586368"/>
              <a:gd name="connsiteY1828" fmla="*/ 5282838 h 6479439"/>
              <a:gd name="connsiteX1829" fmla="*/ 5504099 w 9586368"/>
              <a:gd name="connsiteY1829" fmla="*/ 5282838 h 6479439"/>
              <a:gd name="connsiteX1830" fmla="*/ 5500080 w 9586368"/>
              <a:gd name="connsiteY1830" fmla="*/ 5278799 h 6479439"/>
              <a:gd name="connsiteX1831" fmla="*/ 5500080 w 9586368"/>
              <a:gd name="connsiteY1831" fmla="*/ 5268928 h 6479439"/>
              <a:gd name="connsiteX1832" fmla="*/ 5264784 w 9586368"/>
              <a:gd name="connsiteY1832" fmla="*/ 5264889 h 6479439"/>
              <a:gd name="connsiteX1833" fmla="*/ 5274694 w 9586368"/>
              <a:gd name="connsiteY1833" fmla="*/ 5264889 h 6479439"/>
              <a:gd name="connsiteX1834" fmla="*/ 5278713 w 9586368"/>
              <a:gd name="connsiteY1834" fmla="*/ 5268928 h 6479439"/>
              <a:gd name="connsiteX1835" fmla="*/ 5278713 w 9586368"/>
              <a:gd name="connsiteY1835" fmla="*/ 5278799 h 6479439"/>
              <a:gd name="connsiteX1836" fmla="*/ 5274694 w 9586368"/>
              <a:gd name="connsiteY1836" fmla="*/ 5282838 h 6479439"/>
              <a:gd name="connsiteX1837" fmla="*/ 5264784 w 9586368"/>
              <a:gd name="connsiteY1837" fmla="*/ 5282838 h 6479439"/>
              <a:gd name="connsiteX1838" fmla="*/ 5260765 w 9586368"/>
              <a:gd name="connsiteY1838" fmla="*/ 5278799 h 6479439"/>
              <a:gd name="connsiteX1839" fmla="*/ 5260765 w 9586368"/>
              <a:gd name="connsiteY1839" fmla="*/ 5268928 h 6479439"/>
              <a:gd name="connsiteX1840" fmla="*/ 5025470 w 9586368"/>
              <a:gd name="connsiteY1840" fmla="*/ 5264889 h 6479439"/>
              <a:gd name="connsiteX1841" fmla="*/ 5035381 w 9586368"/>
              <a:gd name="connsiteY1841" fmla="*/ 5264889 h 6479439"/>
              <a:gd name="connsiteX1842" fmla="*/ 5039400 w 9586368"/>
              <a:gd name="connsiteY1842" fmla="*/ 5268928 h 6479439"/>
              <a:gd name="connsiteX1843" fmla="*/ 5039400 w 9586368"/>
              <a:gd name="connsiteY1843" fmla="*/ 5278799 h 6479439"/>
              <a:gd name="connsiteX1844" fmla="*/ 5035381 w 9586368"/>
              <a:gd name="connsiteY1844" fmla="*/ 5282838 h 6479439"/>
              <a:gd name="connsiteX1845" fmla="*/ 5025470 w 9586368"/>
              <a:gd name="connsiteY1845" fmla="*/ 5282838 h 6479439"/>
              <a:gd name="connsiteX1846" fmla="*/ 5021451 w 9586368"/>
              <a:gd name="connsiteY1846" fmla="*/ 5278799 h 6479439"/>
              <a:gd name="connsiteX1847" fmla="*/ 5021451 w 9586368"/>
              <a:gd name="connsiteY1847" fmla="*/ 5268928 h 6479439"/>
              <a:gd name="connsiteX1848" fmla="*/ 4786241 w 9586368"/>
              <a:gd name="connsiteY1848" fmla="*/ 5264889 h 6479439"/>
              <a:gd name="connsiteX1849" fmla="*/ 4796152 w 9586368"/>
              <a:gd name="connsiteY1849" fmla="*/ 5264889 h 6479439"/>
              <a:gd name="connsiteX1850" fmla="*/ 4800171 w 9586368"/>
              <a:gd name="connsiteY1850" fmla="*/ 5268928 h 6479439"/>
              <a:gd name="connsiteX1851" fmla="*/ 4800171 w 9586368"/>
              <a:gd name="connsiteY1851" fmla="*/ 5278799 h 6479439"/>
              <a:gd name="connsiteX1852" fmla="*/ 4796152 w 9586368"/>
              <a:gd name="connsiteY1852" fmla="*/ 5282838 h 6479439"/>
              <a:gd name="connsiteX1853" fmla="*/ 4786241 w 9586368"/>
              <a:gd name="connsiteY1853" fmla="*/ 5282838 h 6479439"/>
              <a:gd name="connsiteX1854" fmla="*/ 4782224 w 9586368"/>
              <a:gd name="connsiteY1854" fmla="*/ 5278799 h 6479439"/>
              <a:gd name="connsiteX1855" fmla="*/ 4782224 w 9586368"/>
              <a:gd name="connsiteY1855" fmla="*/ 5268928 h 6479439"/>
              <a:gd name="connsiteX1856" fmla="*/ 4546929 w 9586368"/>
              <a:gd name="connsiteY1856" fmla="*/ 5264889 h 6479439"/>
              <a:gd name="connsiteX1857" fmla="*/ 4556840 w 9586368"/>
              <a:gd name="connsiteY1857" fmla="*/ 5264889 h 6479439"/>
              <a:gd name="connsiteX1858" fmla="*/ 4560859 w 9586368"/>
              <a:gd name="connsiteY1858" fmla="*/ 5268928 h 6479439"/>
              <a:gd name="connsiteX1859" fmla="*/ 4560859 w 9586368"/>
              <a:gd name="connsiteY1859" fmla="*/ 5278799 h 6479439"/>
              <a:gd name="connsiteX1860" fmla="*/ 4556840 w 9586368"/>
              <a:gd name="connsiteY1860" fmla="*/ 5282838 h 6479439"/>
              <a:gd name="connsiteX1861" fmla="*/ 4546929 w 9586368"/>
              <a:gd name="connsiteY1861" fmla="*/ 5282838 h 6479439"/>
              <a:gd name="connsiteX1862" fmla="*/ 4542910 w 9586368"/>
              <a:gd name="connsiteY1862" fmla="*/ 5278799 h 6479439"/>
              <a:gd name="connsiteX1863" fmla="*/ 4542910 w 9586368"/>
              <a:gd name="connsiteY1863" fmla="*/ 5268928 h 6479439"/>
              <a:gd name="connsiteX1864" fmla="*/ 4307612 w 9586368"/>
              <a:gd name="connsiteY1864" fmla="*/ 5264889 h 6479439"/>
              <a:gd name="connsiteX1865" fmla="*/ 4317523 w 9586368"/>
              <a:gd name="connsiteY1865" fmla="*/ 5264889 h 6479439"/>
              <a:gd name="connsiteX1866" fmla="*/ 4321543 w 9586368"/>
              <a:gd name="connsiteY1866" fmla="*/ 5268928 h 6479439"/>
              <a:gd name="connsiteX1867" fmla="*/ 4321543 w 9586368"/>
              <a:gd name="connsiteY1867" fmla="*/ 5278799 h 6479439"/>
              <a:gd name="connsiteX1868" fmla="*/ 4317523 w 9586368"/>
              <a:gd name="connsiteY1868" fmla="*/ 5282838 h 6479439"/>
              <a:gd name="connsiteX1869" fmla="*/ 4307612 w 9586368"/>
              <a:gd name="connsiteY1869" fmla="*/ 5282838 h 6479439"/>
              <a:gd name="connsiteX1870" fmla="*/ 4303595 w 9586368"/>
              <a:gd name="connsiteY1870" fmla="*/ 5278799 h 6479439"/>
              <a:gd name="connsiteX1871" fmla="*/ 4303595 w 9586368"/>
              <a:gd name="connsiteY1871" fmla="*/ 5268928 h 6479439"/>
              <a:gd name="connsiteX1872" fmla="*/ 4068297 w 9586368"/>
              <a:gd name="connsiteY1872" fmla="*/ 5264889 h 6479439"/>
              <a:gd name="connsiteX1873" fmla="*/ 4078210 w 9586368"/>
              <a:gd name="connsiteY1873" fmla="*/ 5264889 h 6479439"/>
              <a:gd name="connsiteX1874" fmla="*/ 4082229 w 9586368"/>
              <a:gd name="connsiteY1874" fmla="*/ 5268928 h 6479439"/>
              <a:gd name="connsiteX1875" fmla="*/ 4082229 w 9586368"/>
              <a:gd name="connsiteY1875" fmla="*/ 5278799 h 6479439"/>
              <a:gd name="connsiteX1876" fmla="*/ 4078210 w 9586368"/>
              <a:gd name="connsiteY1876" fmla="*/ 5282838 h 6479439"/>
              <a:gd name="connsiteX1877" fmla="*/ 4068297 w 9586368"/>
              <a:gd name="connsiteY1877" fmla="*/ 5282838 h 6479439"/>
              <a:gd name="connsiteX1878" fmla="*/ 4064278 w 9586368"/>
              <a:gd name="connsiteY1878" fmla="*/ 5278799 h 6479439"/>
              <a:gd name="connsiteX1879" fmla="*/ 4064278 w 9586368"/>
              <a:gd name="connsiteY1879" fmla="*/ 5268928 h 6479439"/>
              <a:gd name="connsiteX1880" fmla="*/ 3828990 w 9586368"/>
              <a:gd name="connsiteY1880" fmla="*/ 5264889 h 6479439"/>
              <a:gd name="connsiteX1881" fmla="*/ 3838899 w 9586368"/>
              <a:gd name="connsiteY1881" fmla="*/ 5264889 h 6479439"/>
              <a:gd name="connsiteX1882" fmla="*/ 3842917 w 9586368"/>
              <a:gd name="connsiteY1882" fmla="*/ 5268928 h 6479439"/>
              <a:gd name="connsiteX1883" fmla="*/ 3842917 w 9586368"/>
              <a:gd name="connsiteY1883" fmla="*/ 5278799 h 6479439"/>
              <a:gd name="connsiteX1884" fmla="*/ 3838899 w 9586368"/>
              <a:gd name="connsiteY1884" fmla="*/ 5282838 h 6479439"/>
              <a:gd name="connsiteX1885" fmla="*/ 3828990 w 9586368"/>
              <a:gd name="connsiteY1885" fmla="*/ 5282838 h 6479439"/>
              <a:gd name="connsiteX1886" fmla="*/ 3824971 w 9586368"/>
              <a:gd name="connsiteY1886" fmla="*/ 5278799 h 6479439"/>
              <a:gd name="connsiteX1887" fmla="*/ 3824971 w 9586368"/>
              <a:gd name="connsiteY1887" fmla="*/ 5268928 h 6479439"/>
              <a:gd name="connsiteX1888" fmla="*/ 3589676 w 9586368"/>
              <a:gd name="connsiteY1888" fmla="*/ 5264889 h 6479439"/>
              <a:gd name="connsiteX1889" fmla="*/ 3599585 w 9586368"/>
              <a:gd name="connsiteY1889" fmla="*/ 5264889 h 6479439"/>
              <a:gd name="connsiteX1890" fmla="*/ 3603604 w 9586368"/>
              <a:gd name="connsiteY1890" fmla="*/ 5268928 h 6479439"/>
              <a:gd name="connsiteX1891" fmla="*/ 3603604 w 9586368"/>
              <a:gd name="connsiteY1891" fmla="*/ 5278799 h 6479439"/>
              <a:gd name="connsiteX1892" fmla="*/ 3599585 w 9586368"/>
              <a:gd name="connsiteY1892" fmla="*/ 5282838 h 6479439"/>
              <a:gd name="connsiteX1893" fmla="*/ 3589676 w 9586368"/>
              <a:gd name="connsiteY1893" fmla="*/ 5282838 h 6479439"/>
              <a:gd name="connsiteX1894" fmla="*/ 3585657 w 9586368"/>
              <a:gd name="connsiteY1894" fmla="*/ 5278799 h 6479439"/>
              <a:gd name="connsiteX1895" fmla="*/ 3585657 w 9586368"/>
              <a:gd name="connsiteY1895" fmla="*/ 5268928 h 6479439"/>
              <a:gd name="connsiteX1896" fmla="*/ 3350359 w 9586368"/>
              <a:gd name="connsiteY1896" fmla="*/ 5264889 h 6479439"/>
              <a:gd name="connsiteX1897" fmla="*/ 3360268 w 9586368"/>
              <a:gd name="connsiteY1897" fmla="*/ 5264889 h 6479439"/>
              <a:gd name="connsiteX1898" fmla="*/ 3364287 w 9586368"/>
              <a:gd name="connsiteY1898" fmla="*/ 5268928 h 6479439"/>
              <a:gd name="connsiteX1899" fmla="*/ 3364287 w 9586368"/>
              <a:gd name="connsiteY1899" fmla="*/ 5278799 h 6479439"/>
              <a:gd name="connsiteX1900" fmla="*/ 3360268 w 9586368"/>
              <a:gd name="connsiteY1900" fmla="*/ 5282838 h 6479439"/>
              <a:gd name="connsiteX1901" fmla="*/ 3350359 w 9586368"/>
              <a:gd name="connsiteY1901" fmla="*/ 5282838 h 6479439"/>
              <a:gd name="connsiteX1902" fmla="*/ 3346340 w 9586368"/>
              <a:gd name="connsiteY1902" fmla="*/ 5278799 h 6479439"/>
              <a:gd name="connsiteX1903" fmla="*/ 3346340 w 9586368"/>
              <a:gd name="connsiteY1903" fmla="*/ 5268928 h 6479439"/>
              <a:gd name="connsiteX1904" fmla="*/ 3111048 w 9586368"/>
              <a:gd name="connsiteY1904" fmla="*/ 5264889 h 6479439"/>
              <a:gd name="connsiteX1905" fmla="*/ 3120959 w 9586368"/>
              <a:gd name="connsiteY1905" fmla="*/ 5264889 h 6479439"/>
              <a:gd name="connsiteX1906" fmla="*/ 3124977 w 9586368"/>
              <a:gd name="connsiteY1906" fmla="*/ 5268928 h 6479439"/>
              <a:gd name="connsiteX1907" fmla="*/ 3124977 w 9586368"/>
              <a:gd name="connsiteY1907" fmla="*/ 5278799 h 6479439"/>
              <a:gd name="connsiteX1908" fmla="*/ 3120959 w 9586368"/>
              <a:gd name="connsiteY1908" fmla="*/ 5282838 h 6479439"/>
              <a:gd name="connsiteX1909" fmla="*/ 3111048 w 9586368"/>
              <a:gd name="connsiteY1909" fmla="*/ 5282838 h 6479439"/>
              <a:gd name="connsiteX1910" fmla="*/ 3107029 w 9586368"/>
              <a:gd name="connsiteY1910" fmla="*/ 5278799 h 6479439"/>
              <a:gd name="connsiteX1911" fmla="*/ 3107029 w 9586368"/>
              <a:gd name="connsiteY1911" fmla="*/ 5268928 h 6479439"/>
              <a:gd name="connsiteX1912" fmla="*/ 2871737 w 9586368"/>
              <a:gd name="connsiteY1912" fmla="*/ 5264889 h 6479439"/>
              <a:gd name="connsiteX1913" fmla="*/ 2881646 w 9586368"/>
              <a:gd name="connsiteY1913" fmla="*/ 5264889 h 6479439"/>
              <a:gd name="connsiteX1914" fmla="*/ 2885666 w 9586368"/>
              <a:gd name="connsiteY1914" fmla="*/ 5268928 h 6479439"/>
              <a:gd name="connsiteX1915" fmla="*/ 2885666 w 9586368"/>
              <a:gd name="connsiteY1915" fmla="*/ 5278799 h 6479439"/>
              <a:gd name="connsiteX1916" fmla="*/ 2881646 w 9586368"/>
              <a:gd name="connsiteY1916" fmla="*/ 5282838 h 6479439"/>
              <a:gd name="connsiteX1917" fmla="*/ 2871737 w 9586368"/>
              <a:gd name="connsiteY1917" fmla="*/ 5282838 h 6479439"/>
              <a:gd name="connsiteX1918" fmla="*/ 2867717 w 9586368"/>
              <a:gd name="connsiteY1918" fmla="*/ 5278799 h 6479439"/>
              <a:gd name="connsiteX1919" fmla="*/ 2867717 w 9586368"/>
              <a:gd name="connsiteY1919" fmla="*/ 5268928 h 6479439"/>
              <a:gd name="connsiteX1920" fmla="*/ 2632423 w 9586368"/>
              <a:gd name="connsiteY1920" fmla="*/ 5264889 h 6479439"/>
              <a:gd name="connsiteX1921" fmla="*/ 2642334 w 9586368"/>
              <a:gd name="connsiteY1921" fmla="*/ 5264889 h 6479439"/>
              <a:gd name="connsiteX1922" fmla="*/ 2646352 w 9586368"/>
              <a:gd name="connsiteY1922" fmla="*/ 5268928 h 6479439"/>
              <a:gd name="connsiteX1923" fmla="*/ 2646352 w 9586368"/>
              <a:gd name="connsiteY1923" fmla="*/ 5278799 h 6479439"/>
              <a:gd name="connsiteX1924" fmla="*/ 2642334 w 9586368"/>
              <a:gd name="connsiteY1924" fmla="*/ 5282838 h 6479439"/>
              <a:gd name="connsiteX1925" fmla="*/ 2632423 w 9586368"/>
              <a:gd name="connsiteY1925" fmla="*/ 5282838 h 6479439"/>
              <a:gd name="connsiteX1926" fmla="*/ 2628404 w 9586368"/>
              <a:gd name="connsiteY1926" fmla="*/ 5278799 h 6479439"/>
              <a:gd name="connsiteX1927" fmla="*/ 2628404 w 9586368"/>
              <a:gd name="connsiteY1927" fmla="*/ 5268928 h 6479439"/>
              <a:gd name="connsiteX1928" fmla="*/ 2393104 w 9586368"/>
              <a:gd name="connsiteY1928" fmla="*/ 5264889 h 6479439"/>
              <a:gd name="connsiteX1929" fmla="*/ 2403015 w 9586368"/>
              <a:gd name="connsiteY1929" fmla="*/ 5264889 h 6479439"/>
              <a:gd name="connsiteX1930" fmla="*/ 2407034 w 9586368"/>
              <a:gd name="connsiteY1930" fmla="*/ 5268928 h 6479439"/>
              <a:gd name="connsiteX1931" fmla="*/ 2407034 w 9586368"/>
              <a:gd name="connsiteY1931" fmla="*/ 5278799 h 6479439"/>
              <a:gd name="connsiteX1932" fmla="*/ 2403015 w 9586368"/>
              <a:gd name="connsiteY1932" fmla="*/ 5282838 h 6479439"/>
              <a:gd name="connsiteX1933" fmla="*/ 2393104 w 9586368"/>
              <a:gd name="connsiteY1933" fmla="*/ 5282838 h 6479439"/>
              <a:gd name="connsiteX1934" fmla="*/ 2389087 w 9586368"/>
              <a:gd name="connsiteY1934" fmla="*/ 5278799 h 6479439"/>
              <a:gd name="connsiteX1935" fmla="*/ 2389087 w 9586368"/>
              <a:gd name="connsiteY1935" fmla="*/ 5268928 h 6479439"/>
              <a:gd name="connsiteX1936" fmla="*/ 721961 w 9586368"/>
              <a:gd name="connsiteY1936" fmla="*/ 5264889 h 6479439"/>
              <a:gd name="connsiteX1937" fmla="*/ 731872 w 9586368"/>
              <a:gd name="connsiteY1937" fmla="*/ 5264889 h 6479439"/>
              <a:gd name="connsiteX1938" fmla="*/ 735891 w 9586368"/>
              <a:gd name="connsiteY1938" fmla="*/ 5268928 h 6479439"/>
              <a:gd name="connsiteX1939" fmla="*/ 735891 w 9586368"/>
              <a:gd name="connsiteY1939" fmla="*/ 5278799 h 6479439"/>
              <a:gd name="connsiteX1940" fmla="*/ 731872 w 9586368"/>
              <a:gd name="connsiteY1940" fmla="*/ 5282838 h 6479439"/>
              <a:gd name="connsiteX1941" fmla="*/ 721961 w 9586368"/>
              <a:gd name="connsiteY1941" fmla="*/ 5282838 h 6479439"/>
              <a:gd name="connsiteX1942" fmla="*/ 717943 w 9586368"/>
              <a:gd name="connsiteY1942" fmla="*/ 5278799 h 6479439"/>
              <a:gd name="connsiteX1943" fmla="*/ 717943 w 9586368"/>
              <a:gd name="connsiteY1943" fmla="*/ 5268928 h 6479439"/>
              <a:gd name="connsiteX1944" fmla="*/ 482649 w 9586368"/>
              <a:gd name="connsiteY1944" fmla="*/ 5264889 h 6479439"/>
              <a:gd name="connsiteX1945" fmla="*/ 492560 w 9586368"/>
              <a:gd name="connsiteY1945" fmla="*/ 5264889 h 6479439"/>
              <a:gd name="connsiteX1946" fmla="*/ 496579 w 9586368"/>
              <a:gd name="connsiteY1946" fmla="*/ 5268928 h 6479439"/>
              <a:gd name="connsiteX1947" fmla="*/ 496579 w 9586368"/>
              <a:gd name="connsiteY1947" fmla="*/ 5278799 h 6479439"/>
              <a:gd name="connsiteX1948" fmla="*/ 492560 w 9586368"/>
              <a:gd name="connsiteY1948" fmla="*/ 5282838 h 6479439"/>
              <a:gd name="connsiteX1949" fmla="*/ 482649 w 9586368"/>
              <a:gd name="connsiteY1949" fmla="*/ 5282838 h 6479439"/>
              <a:gd name="connsiteX1950" fmla="*/ 478630 w 9586368"/>
              <a:gd name="connsiteY1950" fmla="*/ 5278799 h 6479439"/>
              <a:gd name="connsiteX1951" fmla="*/ 478630 w 9586368"/>
              <a:gd name="connsiteY1951" fmla="*/ 5268928 h 6479439"/>
              <a:gd name="connsiteX1952" fmla="*/ 243336 w 9586368"/>
              <a:gd name="connsiteY1952" fmla="*/ 5264889 h 6479439"/>
              <a:gd name="connsiteX1953" fmla="*/ 253246 w 9586368"/>
              <a:gd name="connsiteY1953" fmla="*/ 5264889 h 6479439"/>
              <a:gd name="connsiteX1954" fmla="*/ 257265 w 9586368"/>
              <a:gd name="connsiteY1954" fmla="*/ 5268928 h 6479439"/>
              <a:gd name="connsiteX1955" fmla="*/ 257265 w 9586368"/>
              <a:gd name="connsiteY1955" fmla="*/ 5278799 h 6479439"/>
              <a:gd name="connsiteX1956" fmla="*/ 253246 w 9586368"/>
              <a:gd name="connsiteY1956" fmla="*/ 5282838 h 6479439"/>
              <a:gd name="connsiteX1957" fmla="*/ 243336 w 9586368"/>
              <a:gd name="connsiteY1957" fmla="*/ 5282838 h 6479439"/>
              <a:gd name="connsiteX1958" fmla="*/ 239317 w 9586368"/>
              <a:gd name="connsiteY1958" fmla="*/ 5278799 h 6479439"/>
              <a:gd name="connsiteX1959" fmla="*/ 239317 w 9586368"/>
              <a:gd name="connsiteY1959" fmla="*/ 5268928 h 6479439"/>
              <a:gd name="connsiteX1960" fmla="*/ 4022 w 9586368"/>
              <a:gd name="connsiteY1960" fmla="*/ 5264889 h 6479439"/>
              <a:gd name="connsiteX1961" fmla="*/ 13933 w 9586368"/>
              <a:gd name="connsiteY1961" fmla="*/ 5264889 h 6479439"/>
              <a:gd name="connsiteX1962" fmla="*/ 17952 w 9586368"/>
              <a:gd name="connsiteY1962" fmla="*/ 5268928 h 6479439"/>
              <a:gd name="connsiteX1963" fmla="*/ 17952 w 9586368"/>
              <a:gd name="connsiteY1963" fmla="*/ 5278799 h 6479439"/>
              <a:gd name="connsiteX1964" fmla="*/ 13933 w 9586368"/>
              <a:gd name="connsiteY1964" fmla="*/ 5282838 h 6479439"/>
              <a:gd name="connsiteX1965" fmla="*/ 4022 w 9586368"/>
              <a:gd name="connsiteY1965" fmla="*/ 5282838 h 6479439"/>
              <a:gd name="connsiteX1966" fmla="*/ 3 w 9586368"/>
              <a:gd name="connsiteY1966" fmla="*/ 5278799 h 6479439"/>
              <a:gd name="connsiteX1967" fmla="*/ 3 w 9586368"/>
              <a:gd name="connsiteY1967" fmla="*/ 5268928 h 6479439"/>
              <a:gd name="connsiteX1968" fmla="*/ 2157819 w 9586368"/>
              <a:gd name="connsiteY1968" fmla="*/ 5025610 h 6479439"/>
              <a:gd name="connsiteX1969" fmla="*/ 2167729 w 9586368"/>
              <a:gd name="connsiteY1969" fmla="*/ 5025610 h 6479439"/>
              <a:gd name="connsiteX1970" fmla="*/ 2171748 w 9586368"/>
              <a:gd name="connsiteY1970" fmla="*/ 5029648 h 6479439"/>
              <a:gd name="connsiteX1971" fmla="*/ 2171748 w 9586368"/>
              <a:gd name="connsiteY1971" fmla="*/ 5039519 h 6479439"/>
              <a:gd name="connsiteX1972" fmla="*/ 2167729 w 9586368"/>
              <a:gd name="connsiteY1972" fmla="*/ 5043558 h 6479439"/>
              <a:gd name="connsiteX1973" fmla="*/ 2157819 w 9586368"/>
              <a:gd name="connsiteY1973" fmla="*/ 5043558 h 6479439"/>
              <a:gd name="connsiteX1974" fmla="*/ 2153800 w 9586368"/>
              <a:gd name="connsiteY1974" fmla="*/ 5039519 h 6479439"/>
              <a:gd name="connsiteX1975" fmla="*/ 2153800 w 9586368"/>
              <a:gd name="connsiteY1975" fmla="*/ 5029648 h 6479439"/>
              <a:gd name="connsiteX1976" fmla="*/ 1918510 w 9586368"/>
              <a:gd name="connsiteY1976" fmla="*/ 5025610 h 6479439"/>
              <a:gd name="connsiteX1977" fmla="*/ 1928420 w 9586368"/>
              <a:gd name="connsiteY1977" fmla="*/ 5025610 h 6479439"/>
              <a:gd name="connsiteX1978" fmla="*/ 1932440 w 9586368"/>
              <a:gd name="connsiteY1978" fmla="*/ 5029648 h 6479439"/>
              <a:gd name="connsiteX1979" fmla="*/ 1932440 w 9586368"/>
              <a:gd name="connsiteY1979" fmla="*/ 5039519 h 6479439"/>
              <a:gd name="connsiteX1980" fmla="*/ 1928420 w 9586368"/>
              <a:gd name="connsiteY1980" fmla="*/ 5043558 h 6479439"/>
              <a:gd name="connsiteX1981" fmla="*/ 1918510 w 9586368"/>
              <a:gd name="connsiteY1981" fmla="*/ 5043558 h 6479439"/>
              <a:gd name="connsiteX1982" fmla="*/ 1914492 w 9586368"/>
              <a:gd name="connsiteY1982" fmla="*/ 5039519 h 6479439"/>
              <a:gd name="connsiteX1983" fmla="*/ 1914492 w 9586368"/>
              <a:gd name="connsiteY1983" fmla="*/ 5029648 h 6479439"/>
              <a:gd name="connsiteX1984" fmla="*/ 1679204 w 9586368"/>
              <a:gd name="connsiteY1984" fmla="*/ 5025610 h 6479439"/>
              <a:gd name="connsiteX1985" fmla="*/ 1689115 w 9586368"/>
              <a:gd name="connsiteY1985" fmla="*/ 5025610 h 6479439"/>
              <a:gd name="connsiteX1986" fmla="*/ 1693133 w 9586368"/>
              <a:gd name="connsiteY1986" fmla="*/ 5029648 h 6479439"/>
              <a:gd name="connsiteX1987" fmla="*/ 1693133 w 9586368"/>
              <a:gd name="connsiteY1987" fmla="*/ 5039519 h 6479439"/>
              <a:gd name="connsiteX1988" fmla="*/ 1689115 w 9586368"/>
              <a:gd name="connsiteY1988" fmla="*/ 5043558 h 6479439"/>
              <a:gd name="connsiteX1989" fmla="*/ 1679204 w 9586368"/>
              <a:gd name="connsiteY1989" fmla="*/ 5043558 h 6479439"/>
              <a:gd name="connsiteX1990" fmla="*/ 1675185 w 9586368"/>
              <a:gd name="connsiteY1990" fmla="*/ 5039519 h 6479439"/>
              <a:gd name="connsiteX1991" fmla="*/ 1675185 w 9586368"/>
              <a:gd name="connsiteY1991" fmla="*/ 5029648 h 6479439"/>
              <a:gd name="connsiteX1992" fmla="*/ 1439889 w 9586368"/>
              <a:gd name="connsiteY1992" fmla="*/ 5025610 h 6479439"/>
              <a:gd name="connsiteX1993" fmla="*/ 1449798 w 9586368"/>
              <a:gd name="connsiteY1993" fmla="*/ 5025610 h 6479439"/>
              <a:gd name="connsiteX1994" fmla="*/ 1453818 w 9586368"/>
              <a:gd name="connsiteY1994" fmla="*/ 5029648 h 6479439"/>
              <a:gd name="connsiteX1995" fmla="*/ 1453818 w 9586368"/>
              <a:gd name="connsiteY1995" fmla="*/ 5039519 h 6479439"/>
              <a:gd name="connsiteX1996" fmla="*/ 1449798 w 9586368"/>
              <a:gd name="connsiteY1996" fmla="*/ 5043558 h 6479439"/>
              <a:gd name="connsiteX1997" fmla="*/ 1439889 w 9586368"/>
              <a:gd name="connsiteY1997" fmla="*/ 5043558 h 6479439"/>
              <a:gd name="connsiteX1998" fmla="*/ 1435870 w 9586368"/>
              <a:gd name="connsiteY1998" fmla="*/ 5039519 h 6479439"/>
              <a:gd name="connsiteX1999" fmla="*/ 1435870 w 9586368"/>
              <a:gd name="connsiteY1999" fmla="*/ 5029648 h 6479439"/>
              <a:gd name="connsiteX2000" fmla="*/ 1200573 w 9586368"/>
              <a:gd name="connsiteY2000" fmla="*/ 5025610 h 6479439"/>
              <a:gd name="connsiteX2001" fmla="*/ 1210484 w 9586368"/>
              <a:gd name="connsiteY2001" fmla="*/ 5025610 h 6479439"/>
              <a:gd name="connsiteX2002" fmla="*/ 1214502 w 9586368"/>
              <a:gd name="connsiteY2002" fmla="*/ 5029648 h 6479439"/>
              <a:gd name="connsiteX2003" fmla="*/ 1214502 w 9586368"/>
              <a:gd name="connsiteY2003" fmla="*/ 5039519 h 6479439"/>
              <a:gd name="connsiteX2004" fmla="*/ 1210484 w 9586368"/>
              <a:gd name="connsiteY2004" fmla="*/ 5043558 h 6479439"/>
              <a:gd name="connsiteX2005" fmla="*/ 1200573 w 9586368"/>
              <a:gd name="connsiteY2005" fmla="*/ 5043558 h 6479439"/>
              <a:gd name="connsiteX2006" fmla="*/ 1196555 w 9586368"/>
              <a:gd name="connsiteY2006" fmla="*/ 5039519 h 6479439"/>
              <a:gd name="connsiteX2007" fmla="*/ 1196555 w 9586368"/>
              <a:gd name="connsiteY2007" fmla="*/ 5029648 h 6479439"/>
              <a:gd name="connsiteX2008" fmla="*/ 961261 w 9586368"/>
              <a:gd name="connsiteY2008" fmla="*/ 5025610 h 6479439"/>
              <a:gd name="connsiteX2009" fmla="*/ 971171 w 9586368"/>
              <a:gd name="connsiteY2009" fmla="*/ 5025610 h 6479439"/>
              <a:gd name="connsiteX2010" fmla="*/ 975190 w 9586368"/>
              <a:gd name="connsiteY2010" fmla="*/ 5029648 h 6479439"/>
              <a:gd name="connsiteX2011" fmla="*/ 975190 w 9586368"/>
              <a:gd name="connsiteY2011" fmla="*/ 5039519 h 6479439"/>
              <a:gd name="connsiteX2012" fmla="*/ 971171 w 9586368"/>
              <a:gd name="connsiteY2012" fmla="*/ 5043558 h 6479439"/>
              <a:gd name="connsiteX2013" fmla="*/ 961261 w 9586368"/>
              <a:gd name="connsiteY2013" fmla="*/ 5043558 h 6479439"/>
              <a:gd name="connsiteX2014" fmla="*/ 957242 w 9586368"/>
              <a:gd name="connsiteY2014" fmla="*/ 5039519 h 6479439"/>
              <a:gd name="connsiteX2015" fmla="*/ 957242 w 9586368"/>
              <a:gd name="connsiteY2015" fmla="*/ 5029648 h 6479439"/>
              <a:gd name="connsiteX2016" fmla="*/ 9572438 w 9586368"/>
              <a:gd name="connsiteY2016" fmla="*/ 5025558 h 6479439"/>
              <a:gd name="connsiteX2017" fmla="*/ 9582349 w 9586368"/>
              <a:gd name="connsiteY2017" fmla="*/ 5025558 h 6479439"/>
              <a:gd name="connsiteX2018" fmla="*/ 9586368 w 9586368"/>
              <a:gd name="connsiteY2018" fmla="*/ 5029597 h 6479439"/>
              <a:gd name="connsiteX2019" fmla="*/ 9586368 w 9586368"/>
              <a:gd name="connsiteY2019" fmla="*/ 5039468 h 6479439"/>
              <a:gd name="connsiteX2020" fmla="*/ 9582349 w 9586368"/>
              <a:gd name="connsiteY2020" fmla="*/ 5043507 h 6479439"/>
              <a:gd name="connsiteX2021" fmla="*/ 9572438 w 9586368"/>
              <a:gd name="connsiteY2021" fmla="*/ 5043507 h 6479439"/>
              <a:gd name="connsiteX2022" fmla="*/ 9568419 w 9586368"/>
              <a:gd name="connsiteY2022" fmla="*/ 5039468 h 6479439"/>
              <a:gd name="connsiteX2023" fmla="*/ 9568419 w 9586368"/>
              <a:gd name="connsiteY2023" fmla="*/ 5029597 h 6479439"/>
              <a:gd name="connsiteX2024" fmla="*/ 9333125 w 9586368"/>
              <a:gd name="connsiteY2024" fmla="*/ 5025558 h 6479439"/>
              <a:gd name="connsiteX2025" fmla="*/ 9343036 w 9586368"/>
              <a:gd name="connsiteY2025" fmla="*/ 5025558 h 6479439"/>
              <a:gd name="connsiteX2026" fmla="*/ 9347055 w 9586368"/>
              <a:gd name="connsiteY2026" fmla="*/ 5029597 h 6479439"/>
              <a:gd name="connsiteX2027" fmla="*/ 9347055 w 9586368"/>
              <a:gd name="connsiteY2027" fmla="*/ 5039468 h 6479439"/>
              <a:gd name="connsiteX2028" fmla="*/ 9343036 w 9586368"/>
              <a:gd name="connsiteY2028" fmla="*/ 5043507 h 6479439"/>
              <a:gd name="connsiteX2029" fmla="*/ 9333125 w 9586368"/>
              <a:gd name="connsiteY2029" fmla="*/ 5043507 h 6479439"/>
              <a:gd name="connsiteX2030" fmla="*/ 9329106 w 9586368"/>
              <a:gd name="connsiteY2030" fmla="*/ 5039468 h 6479439"/>
              <a:gd name="connsiteX2031" fmla="*/ 9329106 w 9586368"/>
              <a:gd name="connsiteY2031" fmla="*/ 5029597 h 6479439"/>
              <a:gd name="connsiteX2032" fmla="*/ 9093811 w 9586368"/>
              <a:gd name="connsiteY2032" fmla="*/ 5025558 h 6479439"/>
              <a:gd name="connsiteX2033" fmla="*/ 9103722 w 9586368"/>
              <a:gd name="connsiteY2033" fmla="*/ 5025558 h 6479439"/>
              <a:gd name="connsiteX2034" fmla="*/ 9107741 w 9586368"/>
              <a:gd name="connsiteY2034" fmla="*/ 5029597 h 6479439"/>
              <a:gd name="connsiteX2035" fmla="*/ 9107741 w 9586368"/>
              <a:gd name="connsiteY2035" fmla="*/ 5039468 h 6479439"/>
              <a:gd name="connsiteX2036" fmla="*/ 9103722 w 9586368"/>
              <a:gd name="connsiteY2036" fmla="*/ 5043507 h 6479439"/>
              <a:gd name="connsiteX2037" fmla="*/ 9093811 w 9586368"/>
              <a:gd name="connsiteY2037" fmla="*/ 5043507 h 6479439"/>
              <a:gd name="connsiteX2038" fmla="*/ 9089792 w 9586368"/>
              <a:gd name="connsiteY2038" fmla="*/ 5039468 h 6479439"/>
              <a:gd name="connsiteX2039" fmla="*/ 9089792 w 9586368"/>
              <a:gd name="connsiteY2039" fmla="*/ 5029597 h 6479439"/>
              <a:gd name="connsiteX2040" fmla="*/ 8854496 w 9586368"/>
              <a:gd name="connsiteY2040" fmla="*/ 5025558 h 6479439"/>
              <a:gd name="connsiteX2041" fmla="*/ 8864407 w 9586368"/>
              <a:gd name="connsiteY2041" fmla="*/ 5025558 h 6479439"/>
              <a:gd name="connsiteX2042" fmla="*/ 8868426 w 9586368"/>
              <a:gd name="connsiteY2042" fmla="*/ 5029597 h 6479439"/>
              <a:gd name="connsiteX2043" fmla="*/ 8868426 w 9586368"/>
              <a:gd name="connsiteY2043" fmla="*/ 5039468 h 6479439"/>
              <a:gd name="connsiteX2044" fmla="*/ 8864407 w 9586368"/>
              <a:gd name="connsiteY2044" fmla="*/ 5043507 h 6479439"/>
              <a:gd name="connsiteX2045" fmla="*/ 8854496 w 9586368"/>
              <a:gd name="connsiteY2045" fmla="*/ 5043507 h 6479439"/>
              <a:gd name="connsiteX2046" fmla="*/ 8850477 w 9586368"/>
              <a:gd name="connsiteY2046" fmla="*/ 5039468 h 6479439"/>
              <a:gd name="connsiteX2047" fmla="*/ 8850477 w 9586368"/>
              <a:gd name="connsiteY2047" fmla="*/ 5029597 h 6479439"/>
              <a:gd name="connsiteX2048" fmla="*/ 8615184 w 9586368"/>
              <a:gd name="connsiteY2048" fmla="*/ 5025558 h 6479439"/>
              <a:gd name="connsiteX2049" fmla="*/ 8625095 w 9586368"/>
              <a:gd name="connsiteY2049" fmla="*/ 5025558 h 6479439"/>
              <a:gd name="connsiteX2050" fmla="*/ 8629114 w 9586368"/>
              <a:gd name="connsiteY2050" fmla="*/ 5029597 h 6479439"/>
              <a:gd name="connsiteX2051" fmla="*/ 8629114 w 9586368"/>
              <a:gd name="connsiteY2051" fmla="*/ 5039468 h 6479439"/>
              <a:gd name="connsiteX2052" fmla="*/ 8625095 w 9586368"/>
              <a:gd name="connsiteY2052" fmla="*/ 5043507 h 6479439"/>
              <a:gd name="connsiteX2053" fmla="*/ 8615184 w 9586368"/>
              <a:gd name="connsiteY2053" fmla="*/ 5043507 h 6479439"/>
              <a:gd name="connsiteX2054" fmla="*/ 8611165 w 9586368"/>
              <a:gd name="connsiteY2054" fmla="*/ 5039468 h 6479439"/>
              <a:gd name="connsiteX2055" fmla="*/ 8611165 w 9586368"/>
              <a:gd name="connsiteY2055" fmla="*/ 5029597 h 6479439"/>
              <a:gd name="connsiteX2056" fmla="*/ 8375869 w 9586368"/>
              <a:gd name="connsiteY2056" fmla="*/ 5025558 h 6479439"/>
              <a:gd name="connsiteX2057" fmla="*/ 8385779 w 9586368"/>
              <a:gd name="connsiteY2057" fmla="*/ 5025558 h 6479439"/>
              <a:gd name="connsiteX2058" fmla="*/ 8389799 w 9586368"/>
              <a:gd name="connsiteY2058" fmla="*/ 5029597 h 6479439"/>
              <a:gd name="connsiteX2059" fmla="*/ 8389799 w 9586368"/>
              <a:gd name="connsiteY2059" fmla="*/ 5039468 h 6479439"/>
              <a:gd name="connsiteX2060" fmla="*/ 8385779 w 9586368"/>
              <a:gd name="connsiteY2060" fmla="*/ 5043507 h 6479439"/>
              <a:gd name="connsiteX2061" fmla="*/ 8375869 w 9586368"/>
              <a:gd name="connsiteY2061" fmla="*/ 5043507 h 6479439"/>
              <a:gd name="connsiteX2062" fmla="*/ 8371850 w 9586368"/>
              <a:gd name="connsiteY2062" fmla="*/ 5039468 h 6479439"/>
              <a:gd name="connsiteX2063" fmla="*/ 8371850 w 9586368"/>
              <a:gd name="connsiteY2063" fmla="*/ 5029597 h 6479439"/>
              <a:gd name="connsiteX2064" fmla="*/ 8136553 w 9586368"/>
              <a:gd name="connsiteY2064" fmla="*/ 5025558 h 6479439"/>
              <a:gd name="connsiteX2065" fmla="*/ 8146464 w 9586368"/>
              <a:gd name="connsiteY2065" fmla="*/ 5025558 h 6479439"/>
              <a:gd name="connsiteX2066" fmla="*/ 8150483 w 9586368"/>
              <a:gd name="connsiteY2066" fmla="*/ 5029597 h 6479439"/>
              <a:gd name="connsiteX2067" fmla="*/ 8150483 w 9586368"/>
              <a:gd name="connsiteY2067" fmla="*/ 5039468 h 6479439"/>
              <a:gd name="connsiteX2068" fmla="*/ 8146464 w 9586368"/>
              <a:gd name="connsiteY2068" fmla="*/ 5043507 h 6479439"/>
              <a:gd name="connsiteX2069" fmla="*/ 8136553 w 9586368"/>
              <a:gd name="connsiteY2069" fmla="*/ 5043507 h 6479439"/>
              <a:gd name="connsiteX2070" fmla="*/ 8132534 w 9586368"/>
              <a:gd name="connsiteY2070" fmla="*/ 5039468 h 6479439"/>
              <a:gd name="connsiteX2071" fmla="*/ 8132534 w 9586368"/>
              <a:gd name="connsiteY2071" fmla="*/ 5029597 h 6479439"/>
              <a:gd name="connsiteX2072" fmla="*/ 7897241 w 9586368"/>
              <a:gd name="connsiteY2072" fmla="*/ 5025558 h 6479439"/>
              <a:gd name="connsiteX2073" fmla="*/ 7907151 w 9586368"/>
              <a:gd name="connsiteY2073" fmla="*/ 5025558 h 6479439"/>
              <a:gd name="connsiteX2074" fmla="*/ 7911170 w 9586368"/>
              <a:gd name="connsiteY2074" fmla="*/ 5029597 h 6479439"/>
              <a:gd name="connsiteX2075" fmla="*/ 7911170 w 9586368"/>
              <a:gd name="connsiteY2075" fmla="*/ 5039468 h 6479439"/>
              <a:gd name="connsiteX2076" fmla="*/ 7907151 w 9586368"/>
              <a:gd name="connsiteY2076" fmla="*/ 5043507 h 6479439"/>
              <a:gd name="connsiteX2077" fmla="*/ 7897241 w 9586368"/>
              <a:gd name="connsiteY2077" fmla="*/ 5043507 h 6479439"/>
              <a:gd name="connsiteX2078" fmla="*/ 7893222 w 9586368"/>
              <a:gd name="connsiteY2078" fmla="*/ 5039468 h 6479439"/>
              <a:gd name="connsiteX2079" fmla="*/ 7893222 w 9586368"/>
              <a:gd name="connsiteY2079" fmla="*/ 5029597 h 6479439"/>
              <a:gd name="connsiteX2080" fmla="*/ 7657926 w 9586368"/>
              <a:gd name="connsiteY2080" fmla="*/ 5025558 h 6479439"/>
              <a:gd name="connsiteX2081" fmla="*/ 7667836 w 9586368"/>
              <a:gd name="connsiteY2081" fmla="*/ 5025558 h 6479439"/>
              <a:gd name="connsiteX2082" fmla="*/ 7671855 w 9586368"/>
              <a:gd name="connsiteY2082" fmla="*/ 5029597 h 6479439"/>
              <a:gd name="connsiteX2083" fmla="*/ 7671855 w 9586368"/>
              <a:gd name="connsiteY2083" fmla="*/ 5039468 h 6479439"/>
              <a:gd name="connsiteX2084" fmla="*/ 7667836 w 9586368"/>
              <a:gd name="connsiteY2084" fmla="*/ 5043507 h 6479439"/>
              <a:gd name="connsiteX2085" fmla="*/ 7657926 w 9586368"/>
              <a:gd name="connsiteY2085" fmla="*/ 5043507 h 6479439"/>
              <a:gd name="connsiteX2086" fmla="*/ 7653906 w 9586368"/>
              <a:gd name="connsiteY2086" fmla="*/ 5039468 h 6479439"/>
              <a:gd name="connsiteX2087" fmla="*/ 7653906 w 9586368"/>
              <a:gd name="connsiteY2087" fmla="*/ 5029597 h 6479439"/>
              <a:gd name="connsiteX2088" fmla="*/ 7418611 w 9586368"/>
              <a:gd name="connsiteY2088" fmla="*/ 5025558 h 6479439"/>
              <a:gd name="connsiteX2089" fmla="*/ 7428521 w 9586368"/>
              <a:gd name="connsiteY2089" fmla="*/ 5025558 h 6479439"/>
              <a:gd name="connsiteX2090" fmla="*/ 7432540 w 9586368"/>
              <a:gd name="connsiteY2090" fmla="*/ 5029597 h 6479439"/>
              <a:gd name="connsiteX2091" fmla="*/ 7432540 w 9586368"/>
              <a:gd name="connsiteY2091" fmla="*/ 5039468 h 6479439"/>
              <a:gd name="connsiteX2092" fmla="*/ 7428521 w 9586368"/>
              <a:gd name="connsiteY2092" fmla="*/ 5043507 h 6479439"/>
              <a:gd name="connsiteX2093" fmla="*/ 7418611 w 9586368"/>
              <a:gd name="connsiteY2093" fmla="*/ 5043507 h 6479439"/>
              <a:gd name="connsiteX2094" fmla="*/ 7414592 w 9586368"/>
              <a:gd name="connsiteY2094" fmla="*/ 5039468 h 6479439"/>
              <a:gd name="connsiteX2095" fmla="*/ 7414592 w 9586368"/>
              <a:gd name="connsiteY2095" fmla="*/ 5029597 h 6479439"/>
              <a:gd name="connsiteX2096" fmla="*/ 7179298 w 9586368"/>
              <a:gd name="connsiteY2096" fmla="*/ 5025558 h 6479439"/>
              <a:gd name="connsiteX2097" fmla="*/ 7189209 w 9586368"/>
              <a:gd name="connsiteY2097" fmla="*/ 5025558 h 6479439"/>
              <a:gd name="connsiteX2098" fmla="*/ 7193228 w 9586368"/>
              <a:gd name="connsiteY2098" fmla="*/ 5029597 h 6479439"/>
              <a:gd name="connsiteX2099" fmla="*/ 7193228 w 9586368"/>
              <a:gd name="connsiteY2099" fmla="*/ 5039468 h 6479439"/>
              <a:gd name="connsiteX2100" fmla="*/ 7189209 w 9586368"/>
              <a:gd name="connsiteY2100" fmla="*/ 5043507 h 6479439"/>
              <a:gd name="connsiteX2101" fmla="*/ 7179298 w 9586368"/>
              <a:gd name="connsiteY2101" fmla="*/ 5043507 h 6479439"/>
              <a:gd name="connsiteX2102" fmla="*/ 7175279 w 9586368"/>
              <a:gd name="connsiteY2102" fmla="*/ 5039468 h 6479439"/>
              <a:gd name="connsiteX2103" fmla="*/ 7175279 w 9586368"/>
              <a:gd name="connsiteY2103" fmla="*/ 5029597 h 6479439"/>
              <a:gd name="connsiteX2104" fmla="*/ 6939983 w 9586368"/>
              <a:gd name="connsiteY2104" fmla="*/ 5025558 h 6479439"/>
              <a:gd name="connsiteX2105" fmla="*/ 6949894 w 9586368"/>
              <a:gd name="connsiteY2105" fmla="*/ 5025558 h 6479439"/>
              <a:gd name="connsiteX2106" fmla="*/ 6953913 w 9586368"/>
              <a:gd name="connsiteY2106" fmla="*/ 5029597 h 6479439"/>
              <a:gd name="connsiteX2107" fmla="*/ 6953913 w 9586368"/>
              <a:gd name="connsiteY2107" fmla="*/ 5039468 h 6479439"/>
              <a:gd name="connsiteX2108" fmla="*/ 6949894 w 9586368"/>
              <a:gd name="connsiteY2108" fmla="*/ 5043507 h 6479439"/>
              <a:gd name="connsiteX2109" fmla="*/ 6939983 w 9586368"/>
              <a:gd name="connsiteY2109" fmla="*/ 5043507 h 6479439"/>
              <a:gd name="connsiteX2110" fmla="*/ 6935964 w 9586368"/>
              <a:gd name="connsiteY2110" fmla="*/ 5039468 h 6479439"/>
              <a:gd name="connsiteX2111" fmla="*/ 6935964 w 9586368"/>
              <a:gd name="connsiteY2111" fmla="*/ 5029597 h 6479439"/>
              <a:gd name="connsiteX2112" fmla="*/ 6700670 w 9586368"/>
              <a:gd name="connsiteY2112" fmla="*/ 5025558 h 6479439"/>
              <a:gd name="connsiteX2113" fmla="*/ 6710581 w 9586368"/>
              <a:gd name="connsiteY2113" fmla="*/ 5025558 h 6479439"/>
              <a:gd name="connsiteX2114" fmla="*/ 6714600 w 9586368"/>
              <a:gd name="connsiteY2114" fmla="*/ 5029597 h 6479439"/>
              <a:gd name="connsiteX2115" fmla="*/ 6714600 w 9586368"/>
              <a:gd name="connsiteY2115" fmla="*/ 5039468 h 6479439"/>
              <a:gd name="connsiteX2116" fmla="*/ 6710581 w 9586368"/>
              <a:gd name="connsiteY2116" fmla="*/ 5043507 h 6479439"/>
              <a:gd name="connsiteX2117" fmla="*/ 6700670 w 9586368"/>
              <a:gd name="connsiteY2117" fmla="*/ 5043507 h 6479439"/>
              <a:gd name="connsiteX2118" fmla="*/ 6696651 w 9586368"/>
              <a:gd name="connsiteY2118" fmla="*/ 5039468 h 6479439"/>
              <a:gd name="connsiteX2119" fmla="*/ 6696651 w 9586368"/>
              <a:gd name="connsiteY2119" fmla="*/ 5029597 h 6479439"/>
              <a:gd name="connsiteX2120" fmla="*/ 6461356 w 9586368"/>
              <a:gd name="connsiteY2120" fmla="*/ 5025558 h 6479439"/>
              <a:gd name="connsiteX2121" fmla="*/ 6471266 w 9586368"/>
              <a:gd name="connsiteY2121" fmla="*/ 5025558 h 6479439"/>
              <a:gd name="connsiteX2122" fmla="*/ 6475285 w 9586368"/>
              <a:gd name="connsiteY2122" fmla="*/ 5029597 h 6479439"/>
              <a:gd name="connsiteX2123" fmla="*/ 6475285 w 9586368"/>
              <a:gd name="connsiteY2123" fmla="*/ 5039468 h 6479439"/>
              <a:gd name="connsiteX2124" fmla="*/ 6471266 w 9586368"/>
              <a:gd name="connsiteY2124" fmla="*/ 5043507 h 6479439"/>
              <a:gd name="connsiteX2125" fmla="*/ 6461356 w 9586368"/>
              <a:gd name="connsiteY2125" fmla="*/ 5043507 h 6479439"/>
              <a:gd name="connsiteX2126" fmla="*/ 6457337 w 9586368"/>
              <a:gd name="connsiteY2126" fmla="*/ 5039468 h 6479439"/>
              <a:gd name="connsiteX2127" fmla="*/ 6457337 w 9586368"/>
              <a:gd name="connsiteY2127" fmla="*/ 5029597 h 6479439"/>
              <a:gd name="connsiteX2128" fmla="*/ 6222042 w 9586368"/>
              <a:gd name="connsiteY2128" fmla="*/ 5025558 h 6479439"/>
              <a:gd name="connsiteX2129" fmla="*/ 6231952 w 9586368"/>
              <a:gd name="connsiteY2129" fmla="*/ 5025558 h 6479439"/>
              <a:gd name="connsiteX2130" fmla="*/ 6235971 w 9586368"/>
              <a:gd name="connsiteY2130" fmla="*/ 5029597 h 6479439"/>
              <a:gd name="connsiteX2131" fmla="*/ 6235971 w 9586368"/>
              <a:gd name="connsiteY2131" fmla="*/ 5039468 h 6479439"/>
              <a:gd name="connsiteX2132" fmla="*/ 6231952 w 9586368"/>
              <a:gd name="connsiteY2132" fmla="*/ 5043507 h 6479439"/>
              <a:gd name="connsiteX2133" fmla="*/ 6222042 w 9586368"/>
              <a:gd name="connsiteY2133" fmla="*/ 5043507 h 6479439"/>
              <a:gd name="connsiteX2134" fmla="*/ 6218023 w 9586368"/>
              <a:gd name="connsiteY2134" fmla="*/ 5039468 h 6479439"/>
              <a:gd name="connsiteX2135" fmla="*/ 6218023 w 9586368"/>
              <a:gd name="connsiteY2135" fmla="*/ 5029597 h 6479439"/>
              <a:gd name="connsiteX2136" fmla="*/ 5982729 w 9586368"/>
              <a:gd name="connsiteY2136" fmla="*/ 5025558 h 6479439"/>
              <a:gd name="connsiteX2137" fmla="*/ 5992639 w 9586368"/>
              <a:gd name="connsiteY2137" fmla="*/ 5025558 h 6479439"/>
              <a:gd name="connsiteX2138" fmla="*/ 5996658 w 9586368"/>
              <a:gd name="connsiteY2138" fmla="*/ 5029597 h 6479439"/>
              <a:gd name="connsiteX2139" fmla="*/ 5996658 w 9586368"/>
              <a:gd name="connsiteY2139" fmla="*/ 5039468 h 6479439"/>
              <a:gd name="connsiteX2140" fmla="*/ 5992639 w 9586368"/>
              <a:gd name="connsiteY2140" fmla="*/ 5043507 h 6479439"/>
              <a:gd name="connsiteX2141" fmla="*/ 5982729 w 9586368"/>
              <a:gd name="connsiteY2141" fmla="*/ 5043507 h 6479439"/>
              <a:gd name="connsiteX2142" fmla="*/ 5978710 w 9586368"/>
              <a:gd name="connsiteY2142" fmla="*/ 5039468 h 6479439"/>
              <a:gd name="connsiteX2143" fmla="*/ 5978710 w 9586368"/>
              <a:gd name="connsiteY2143" fmla="*/ 5029597 h 6479439"/>
              <a:gd name="connsiteX2144" fmla="*/ 5743412 w 9586368"/>
              <a:gd name="connsiteY2144" fmla="*/ 5025558 h 6479439"/>
              <a:gd name="connsiteX2145" fmla="*/ 5753323 w 9586368"/>
              <a:gd name="connsiteY2145" fmla="*/ 5025558 h 6479439"/>
              <a:gd name="connsiteX2146" fmla="*/ 5757342 w 9586368"/>
              <a:gd name="connsiteY2146" fmla="*/ 5029597 h 6479439"/>
              <a:gd name="connsiteX2147" fmla="*/ 5757342 w 9586368"/>
              <a:gd name="connsiteY2147" fmla="*/ 5039468 h 6479439"/>
              <a:gd name="connsiteX2148" fmla="*/ 5753323 w 9586368"/>
              <a:gd name="connsiteY2148" fmla="*/ 5043507 h 6479439"/>
              <a:gd name="connsiteX2149" fmla="*/ 5743412 w 9586368"/>
              <a:gd name="connsiteY2149" fmla="*/ 5043507 h 6479439"/>
              <a:gd name="connsiteX2150" fmla="*/ 5739393 w 9586368"/>
              <a:gd name="connsiteY2150" fmla="*/ 5039468 h 6479439"/>
              <a:gd name="connsiteX2151" fmla="*/ 5739393 w 9586368"/>
              <a:gd name="connsiteY2151" fmla="*/ 5029597 h 6479439"/>
              <a:gd name="connsiteX2152" fmla="*/ 5504099 w 9586368"/>
              <a:gd name="connsiteY2152" fmla="*/ 5025558 h 6479439"/>
              <a:gd name="connsiteX2153" fmla="*/ 5514010 w 9586368"/>
              <a:gd name="connsiteY2153" fmla="*/ 5025558 h 6479439"/>
              <a:gd name="connsiteX2154" fmla="*/ 5518029 w 9586368"/>
              <a:gd name="connsiteY2154" fmla="*/ 5029597 h 6479439"/>
              <a:gd name="connsiteX2155" fmla="*/ 5518029 w 9586368"/>
              <a:gd name="connsiteY2155" fmla="*/ 5039468 h 6479439"/>
              <a:gd name="connsiteX2156" fmla="*/ 5514010 w 9586368"/>
              <a:gd name="connsiteY2156" fmla="*/ 5043507 h 6479439"/>
              <a:gd name="connsiteX2157" fmla="*/ 5504099 w 9586368"/>
              <a:gd name="connsiteY2157" fmla="*/ 5043507 h 6479439"/>
              <a:gd name="connsiteX2158" fmla="*/ 5500080 w 9586368"/>
              <a:gd name="connsiteY2158" fmla="*/ 5039468 h 6479439"/>
              <a:gd name="connsiteX2159" fmla="*/ 5500080 w 9586368"/>
              <a:gd name="connsiteY2159" fmla="*/ 5029597 h 6479439"/>
              <a:gd name="connsiteX2160" fmla="*/ 5264784 w 9586368"/>
              <a:gd name="connsiteY2160" fmla="*/ 5025558 h 6479439"/>
              <a:gd name="connsiteX2161" fmla="*/ 5274694 w 9586368"/>
              <a:gd name="connsiteY2161" fmla="*/ 5025558 h 6479439"/>
              <a:gd name="connsiteX2162" fmla="*/ 5278713 w 9586368"/>
              <a:gd name="connsiteY2162" fmla="*/ 5029597 h 6479439"/>
              <a:gd name="connsiteX2163" fmla="*/ 5278713 w 9586368"/>
              <a:gd name="connsiteY2163" fmla="*/ 5039468 h 6479439"/>
              <a:gd name="connsiteX2164" fmla="*/ 5274694 w 9586368"/>
              <a:gd name="connsiteY2164" fmla="*/ 5043507 h 6479439"/>
              <a:gd name="connsiteX2165" fmla="*/ 5264784 w 9586368"/>
              <a:gd name="connsiteY2165" fmla="*/ 5043507 h 6479439"/>
              <a:gd name="connsiteX2166" fmla="*/ 5260765 w 9586368"/>
              <a:gd name="connsiteY2166" fmla="*/ 5039468 h 6479439"/>
              <a:gd name="connsiteX2167" fmla="*/ 5260765 w 9586368"/>
              <a:gd name="connsiteY2167" fmla="*/ 5029597 h 6479439"/>
              <a:gd name="connsiteX2168" fmla="*/ 5025470 w 9586368"/>
              <a:gd name="connsiteY2168" fmla="*/ 5025558 h 6479439"/>
              <a:gd name="connsiteX2169" fmla="*/ 5035381 w 9586368"/>
              <a:gd name="connsiteY2169" fmla="*/ 5025558 h 6479439"/>
              <a:gd name="connsiteX2170" fmla="*/ 5039400 w 9586368"/>
              <a:gd name="connsiteY2170" fmla="*/ 5029597 h 6479439"/>
              <a:gd name="connsiteX2171" fmla="*/ 5039400 w 9586368"/>
              <a:gd name="connsiteY2171" fmla="*/ 5039468 h 6479439"/>
              <a:gd name="connsiteX2172" fmla="*/ 5035381 w 9586368"/>
              <a:gd name="connsiteY2172" fmla="*/ 5043507 h 6479439"/>
              <a:gd name="connsiteX2173" fmla="*/ 5025470 w 9586368"/>
              <a:gd name="connsiteY2173" fmla="*/ 5043507 h 6479439"/>
              <a:gd name="connsiteX2174" fmla="*/ 5021451 w 9586368"/>
              <a:gd name="connsiteY2174" fmla="*/ 5039468 h 6479439"/>
              <a:gd name="connsiteX2175" fmla="*/ 5021451 w 9586368"/>
              <a:gd name="connsiteY2175" fmla="*/ 5029597 h 6479439"/>
              <a:gd name="connsiteX2176" fmla="*/ 4786241 w 9586368"/>
              <a:gd name="connsiteY2176" fmla="*/ 5025558 h 6479439"/>
              <a:gd name="connsiteX2177" fmla="*/ 4796152 w 9586368"/>
              <a:gd name="connsiteY2177" fmla="*/ 5025558 h 6479439"/>
              <a:gd name="connsiteX2178" fmla="*/ 4800171 w 9586368"/>
              <a:gd name="connsiteY2178" fmla="*/ 5029597 h 6479439"/>
              <a:gd name="connsiteX2179" fmla="*/ 4800171 w 9586368"/>
              <a:gd name="connsiteY2179" fmla="*/ 5039468 h 6479439"/>
              <a:gd name="connsiteX2180" fmla="*/ 4796152 w 9586368"/>
              <a:gd name="connsiteY2180" fmla="*/ 5043507 h 6479439"/>
              <a:gd name="connsiteX2181" fmla="*/ 4786241 w 9586368"/>
              <a:gd name="connsiteY2181" fmla="*/ 5043507 h 6479439"/>
              <a:gd name="connsiteX2182" fmla="*/ 4782224 w 9586368"/>
              <a:gd name="connsiteY2182" fmla="*/ 5039468 h 6479439"/>
              <a:gd name="connsiteX2183" fmla="*/ 4782224 w 9586368"/>
              <a:gd name="connsiteY2183" fmla="*/ 5029597 h 6479439"/>
              <a:gd name="connsiteX2184" fmla="*/ 4546929 w 9586368"/>
              <a:gd name="connsiteY2184" fmla="*/ 5025558 h 6479439"/>
              <a:gd name="connsiteX2185" fmla="*/ 4556840 w 9586368"/>
              <a:gd name="connsiteY2185" fmla="*/ 5025558 h 6479439"/>
              <a:gd name="connsiteX2186" fmla="*/ 4560859 w 9586368"/>
              <a:gd name="connsiteY2186" fmla="*/ 5029597 h 6479439"/>
              <a:gd name="connsiteX2187" fmla="*/ 4560859 w 9586368"/>
              <a:gd name="connsiteY2187" fmla="*/ 5039468 h 6479439"/>
              <a:gd name="connsiteX2188" fmla="*/ 4556840 w 9586368"/>
              <a:gd name="connsiteY2188" fmla="*/ 5043507 h 6479439"/>
              <a:gd name="connsiteX2189" fmla="*/ 4546929 w 9586368"/>
              <a:gd name="connsiteY2189" fmla="*/ 5043507 h 6479439"/>
              <a:gd name="connsiteX2190" fmla="*/ 4542910 w 9586368"/>
              <a:gd name="connsiteY2190" fmla="*/ 5039468 h 6479439"/>
              <a:gd name="connsiteX2191" fmla="*/ 4542910 w 9586368"/>
              <a:gd name="connsiteY2191" fmla="*/ 5029597 h 6479439"/>
              <a:gd name="connsiteX2192" fmla="*/ 4307612 w 9586368"/>
              <a:gd name="connsiteY2192" fmla="*/ 5025558 h 6479439"/>
              <a:gd name="connsiteX2193" fmla="*/ 4317523 w 9586368"/>
              <a:gd name="connsiteY2193" fmla="*/ 5025558 h 6479439"/>
              <a:gd name="connsiteX2194" fmla="*/ 4321543 w 9586368"/>
              <a:gd name="connsiteY2194" fmla="*/ 5029597 h 6479439"/>
              <a:gd name="connsiteX2195" fmla="*/ 4321543 w 9586368"/>
              <a:gd name="connsiteY2195" fmla="*/ 5039468 h 6479439"/>
              <a:gd name="connsiteX2196" fmla="*/ 4317523 w 9586368"/>
              <a:gd name="connsiteY2196" fmla="*/ 5043507 h 6479439"/>
              <a:gd name="connsiteX2197" fmla="*/ 4307612 w 9586368"/>
              <a:gd name="connsiteY2197" fmla="*/ 5043507 h 6479439"/>
              <a:gd name="connsiteX2198" fmla="*/ 4303595 w 9586368"/>
              <a:gd name="connsiteY2198" fmla="*/ 5039468 h 6479439"/>
              <a:gd name="connsiteX2199" fmla="*/ 4303595 w 9586368"/>
              <a:gd name="connsiteY2199" fmla="*/ 5029597 h 6479439"/>
              <a:gd name="connsiteX2200" fmla="*/ 4068297 w 9586368"/>
              <a:gd name="connsiteY2200" fmla="*/ 5025558 h 6479439"/>
              <a:gd name="connsiteX2201" fmla="*/ 4078210 w 9586368"/>
              <a:gd name="connsiteY2201" fmla="*/ 5025558 h 6479439"/>
              <a:gd name="connsiteX2202" fmla="*/ 4082229 w 9586368"/>
              <a:gd name="connsiteY2202" fmla="*/ 5029597 h 6479439"/>
              <a:gd name="connsiteX2203" fmla="*/ 4082229 w 9586368"/>
              <a:gd name="connsiteY2203" fmla="*/ 5039468 h 6479439"/>
              <a:gd name="connsiteX2204" fmla="*/ 4078210 w 9586368"/>
              <a:gd name="connsiteY2204" fmla="*/ 5043507 h 6479439"/>
              <a:gd name="connsiteX2205" fmla="*/ 4068297 w 9586368"/>
              <a:gd name="connsiteY2205" fmla="*/ 5043507 h 6479439"/>
              <a:gd name="connsiteX2206" fmla="*/ 4064278 w 9586368"/>
              <a:gd name="connsiteY2206" fmla="*/ 5039468 h 6479439"/>
              <a:gd name="connsiteX2207" fmla="*/ 4064278 w 9586368"/>
              <a:gd name="connsiteY2207" fmla="*/ 5029597 h 6479439"/>
              <a:gd name="connsiteX2208" fmla="*/ 3828990 w 9586368"/>
              <a:gd name="connsiteY2208" fmla="*/ 5025558 h 6479439"/>
              <a:gd name="connsiteX2209" fmla="*/ 3838899 w 9586368"/>
              <a:gd name="connsiteY2209" fmla="*/ 5025558 h 6479439"/>
              <a:gd name="connsiteX2210" fmla="*/ 3842917 w 9586368"/>
              <a:gd name="connsiteY2210" fmla="*/ 5029597 h 6479439"/>
              <a:gd name="connsiteX2211" fmla="*/ 3842917 w 9586368"/>
              <a:gd name="connsiteY2211" fmla="*/ 5039468 h 6479439"/>
              <a:gd name="connsiteX2212" fmla="*/ 3838899 w 9586368"/>
              <a:gd name="connsiteY2212" fmla="*/ 5043507 h 6479439"/>
              <a:gd name="connsiteX2213" fmla="*/ 3828990 w 9586368"/>
              <a:gd name="connsiteY2213" fmla="*/ 5043507 h 6479439"/>
              <a:gd name="connsiteX2214" fmla="*/ 3824971 w 9586368"/>
              <a:gd name="connsiteY2214" fmla="*/ 5039468 h 6479439"/>
              <a:gd name="connsiteX2215" fmla="*/ 3824971 w 9586368"/>
              <a:gd name="connsiteY2215" fmla="*/ 5029597 h 6479439"/>
              <a:gd name="connsiteX2216" fmla="*/ 3589676 w 9586368"/>
              <a:gd name="connsiteY2216" fmla="*/ 5025558 h 6479439"/>
              <a:gd name="connsiteX2217" fmla="*/ 3599585 w 9586368"/>
              <a:gd name="connsiteY2217" fmla="*/ 5025558 h 6479439"/>
              <a:gd name="connsiteX2218" fmla="*/ 3603604 w 9586368"/>
              <a:gd name="connsiteY2218" fmla="*/ 5029597 h 6479439"/>
              <a:gd name="connsiteX2219" fmla="*/ 3603604 w 9586368"/>
              <a:gd name="connsiteY2219" fmla="*/ 5039468 h 6479439"/>
              <a:gd name="connsiteX2220" fmla="*/ 3599585 w 9586368"/>
              <a:gd name="connsiteY2220" fmla="*/ 5043507 h 6479439"/>
              <a:gd name="connsiteX2221" fmla="*/ 3589676 w 9586368"/>
              <a:gd name="connsiteY2221" fmla="*/ 5043507 h 6479439"/>
              <a:gd name="connsiteX2222" fmla="*/ 3585657 w 9586368"/>
              <a:gd name="connsiteY2222" fmla="*/ 5039468 h 6479439"/>
              <a:gd name="connsiteX2223" fmla="*/ 3585657 w 9586368"/>
              <a:gd name="connsiteY2223" fmla="*/ 5029597 h 6479439"/>
              <a:gd name="connsiteX2224" fmla="*/ 3350359 w 9586368"/>
              <a:gd name="connsiteY2224" fmla="*/ 5025558 h 6479439"/>
              <a:gd name="connsiteX2225" fmla="*/ 3360268 w 9586368"/>
              <a:gd name="connsiteY2225" fmla="*/ 5025558 h 6479439"/>
              <a:gd name="connsiteX2226" fmla="*/ 3364287 w 9586368"/>
              <a:gd name="connsiteY2226" fmla="*/ 5029597 h 6479439"/>
              <a:gd name="connsiteX2227" fmla="*/ 3364287 w 9586368"/>
              <a:gd name="connsiteY2227" fmla="*/ 5039468 h 6479439"/>
              <a:gd name="connsiteX2228" fmla="*/ 3360268 w 9586368"/>
              <a:gd name="connsiteY2228" fmla="*/ 5043507 h 6479439"/>
              <a:gd name="connsiteX2229" fmla="*/ 3350359 w 9586368"/>
              <a:gd name="connsiteY2229" fmla="*/ 5043507 h 6479439"/>
              <a:gd name="connsiteX2230" fmla="*/ 3346340 w 9586368"/>
              <a:gd name="connsiteY2230" fmla="*/ 5039468 h 6479439"/>
              <a:gd name="connsiteX2231" fmla="*/ 3346340 w 9586368"/>
              <a:gd name="connsiteY2231" fmla="*/ 5029597 h 6479439"/>
              <a:gd name="connsiteX2232" fmla="*/ 3111048 w 9586368"/>
              <a:gd name="connsiteY2232" fmla="*/ 5025558 h 6479439"/>
              <a:gd name="connsiteX2233" fmla="*/ 3120959 w 9586368"/>
              <a:gd name="connsiteY2233" fmla="*/ 5025558 h 6479439"/>
              <a:gd name="connsiteX2234" fmla="*/ 3124977 w 9586368"/>
              <a:gd name="connsiteY2234" fmla="*/ 5029597 h 6479439"/>
              <a:gd name="connsiteX2235" fmla="*/ 3124977 w 9586368"/>
              <a:gd name="connsiteY2235" fmla="*/ 5039468 h 6479439"/>
              <a:gd name="connsiteX2236" fmla="*/ 3120959 w 9586368"/>
              <a:gd name="connsiteY2236" fmla="*/ 5043507 h 6479439"/>
              <a:gd name="connsiteX2237" fmla="*/ 3111048 w 9586368"/>
              <a:gd name="connsiteY2237" fmla="*/ 5043507 h 6479439"/>
              <a:gd name="connsiteX2238" fmla="*/ 3107029 w 9586368"/>
              <a:gd name="connsiteY2238" fmla="*/ 5039468 h 6479439"/>
              <a:gd name="connsiteX2239" fmla="*/ 3107029 w 9586368"/>
              <a:gd name="connsiteY2239" fmla="*/ 5029597 h 6479439"/>
              <a:gd name="connsiteX2240" fmla="*/ 2871737 w 9586368"/>
              <a:gd name="connsiteY2240" fmla="*/ 5025558 h 6479439"/>
              <a:gd name="connsiteX2241" fmla="*/ 2881646 w 9586368"/>
              <a:gd name="connsiteY2241" fmla="*/ 5025558 h 6479439"/>
              <a:gd name="connsiteX2242" fmla="*/ 2885666 w 9586368"/>
              <a:gd name="connsiteY2242" fmla="*/ 5029597 h 6479439"/>
              <a:gd name="connsiteX2243" fmla="*/ 2885666 w 9586368"/>
              <a:gd name="connsiteY2243" fmla="*/ 5039468 h 6479439"/>
              <a:gd name="connsiteX2244" fmla="*/ 2881646 w 9586368"/>
              <a:gd name="connsiteY2244" fmla="*/ 5043507 h 6479439"/>
              <a:gd name="connsiteX2245" fmla="*/ 2871737 w 9586368"/>
              <a:gd name="connsiteY2245" fmla="*/ 5043507 h 6479439"/>
              <a:gd name="connsiteX2246" fmla="*/ 2867717 w 9586368"/>
              <a:gd name="connsiteY2246" fmla="*/ 5039468 h 6479439"/>
              <a:gd name="connsiteX2247" fmla="*/ 2867717 w 9586368"/>
              <a:gd name="connsiteY2247" fmla="*/ 5029597 h 6479439"/>
              <a:gd name="connsiteX2248" fmla="*/ 2632423 w 9586368"/>
              <a:gd name="connsiteY2248" fmla="*/ 5025558 h 6479439"/>
              <a:gd name="connsiteX2249" fmla="*/ 2642334 w 9586368"/>
              <a:gd name="connsiteY2249" fmla="*/ 5025558 h 6479439"/>
              <a:gd name="connsiteX2250" fmla="*/ 2646352 w 9586368"/>
              <a:gd name="connsiteY2250" fmla="*/ 5029597 h 6479439"/>
              <a:gd name="connsiteX2251" fmla="*/ 2646352 w 9586368"/>
              <a:gd name="connsiteY2251" fmla="*/ 5039468 h 6479439"/>
              <a:gd name="connsiteX2252" fmla="*/ 2642334 w 9586368"/>
              <a:gd name="connsiteY2252" fmla="*/ 5043507 h 6479439"/>
              <a:gd name="connsiteX2253" fmla="*/ 2632423 w 9586368"/>
              <a:gd name="connsiteY2253" fmla="*/ 5043507 h 6479439"/>
              <a:gd name="connsiteX2254" fmla="*/ 2628404 w 9586368"/>
              <a:gd name="connsiteY2254" fmla="*/ 5039468 h 6479439"/>
              <a:gd name="connsiteX2255" fmla="*/ 2628404 w 9586368"/>
              <a:gd name="connsiteY2255" fmla="*/ 5029597 h 6479439"/>
              <a:gd name="connsiteX2256" fmla="*/ 2393104 w 9586368"/>
              <a:gd name="connsiteY2256" fmla="*/ 5025558 h 6479439"/>
              <a:gd name="connsiteX2257" fmla="*/ 2403015 w 9586368"/>
              <a:gd name="connsiteY2257" fmla="*/ 5025558 h 6479439"/>
              <a:gd name="connsiteX2258" fmla="*/ 2407034 w 9586368"/>
              <a:gd name="connsiteY2258" fmla="*/ 5029597 h 6479439"/>
              <a:gd name="connsiteX2259" fmla="*/ 2407034 w 9586368"/>
              <a:gd name="connsiteY2259" fmla="*/ 5039468 h 6479439"/>
              <a:gd name="connsiteX2260" fmla="*/ 2403015 w 9586368"/>
              <a:gd name="connsiteY2260" fmla="*/ 5043507 h 6479439"/>
              <a:gd name="connsiteX2261" fmla="*/ 2393104 w 9586368"/>
              <a:gd name="connsiteY2261" fmla="*/ 5043507 h 6479439"/>
              <a:gd name="connsiteX2262" fmla="*/ 2389087 w 9586368"/>
              <a:gd name="connsiteY2262" fmla="*/ 5039468 h 6479439"/>
              <a:gd name="connsiteX2263" fmla="*/ 2389087 w 9586368"/>
              <a:gd name="connsiteY2263" fmla="*/ 5029597 h 6479439"/>
              <a:gd name="connsiteX2264" fmla="*/ 721962 w 9586368"/>
              <a:gd name="connsiteY2264" fmla="*/ 5025558 h 6479439"/>
              <a:gd name="connsiteX2265" fmla="*/ 731872 w 9586368"/>
              <a:gd name="connsiteY2265" fmla="*/ 5025558 h 6479439"/>
              <a:gd name="connsiteX2266" fmla="*/ 735891 w 9586368"/>
              <a:gd name="connsiteY2266" fmla="*/ 5029597 h 6479439"/>
              <a:gd name="connsiteX2267" fmla="*/ 735891 w 9586368"/>
              <a:gd name="connsiteY2267" fmla="*/ 5039468 h 6479439"/>
              <a:gd name="connsiteX2268" fmla="*/ 731872 w 9586368"/>
              <a:gd name="connsiteY2268" fmla="*/ 5043507 h 6479439"/>
              <a:gd name="connsiteX2269" fmla="*/ 721962 w 9586368"/>
              <a:gd name="connsiteY2269" fmla="*/ 5043507 h 6479439"/>
              <a:gd name="connsiteX2270" fmla="*/ 717944 w 9586368"/>
              <a:gd name="connsiteY2270" fmla="*/ 5039468 h 6479439"/>
              <a:gd name="connsiteX2271" fmla="*/ 717944 w 9586368"/>
              <a:gd name="connsiteY2271" fmla="*/ 5029597 h 6479439"/>
              <a:gd name="connsiteX2272" fmla="*/ 482650 w 9586368"/>
              <a:gd name="connsiteY2272" fmla="*/ 5025558 h 6479439"/>
              <a:gd name="connsiteX2273" fmla="*/ 492560 w 9586368"/>
              <a:gd name="connsiteY2273" fmla="*/ 5025558 h 6479439"/>
              <a:gd name="connsiteX2274" fmla="*/ 496580 w 9586368"/>
              <a:gd name="connsiteY2274" fmla="*/ 5029597 h 6479439"/>
              <a:gd name="connsiteX2275" fmla="*/ 496580 w 9586368"/>
              <a:gd name="connsiteY2275" fmla="*/ 5039468 h 6479439"/>
              <a:gd name="connsiteX2276" fmla="*/ 492560 w 9586368"/>
              <a:gd name="connsiteY2276" fmla="*/ 5043507 h 6479439"/>
              <a:gd name="connsiteX2277" fmla="*/ 482650 w 9586368"/>
              <a:gd name="connsiteY2277" fmla="*/ 5043507 h 6479439"/>
              <a:gd name="connsiteX2278" fmla="*/ 478631 w 9586368"/>
              <a:gd name="connsiteY2278" fmla="*/ 5039468 h 6479439"/>
              <a:gd name="connsiteX2279" fmla="*/ 478631 w 9586368"/>
              <a:gd name="connsiteY2279" fmla="*/ 5029597 h 6479439"/>
              <a:gd name="connsiteX2280" fmla="*/ 243336 w 9586368"/>
              <a:gd name="connsiteY2280" fmla="*/ 5025558 h 6479439"/>
              <a:gd name="connsiteX2281" fmla="*/ 253247 w 9586368"/>
              <a:gd name="connsiteY2281" fmla="*/ 5025558 h 6479439"/>
              <a:gd name="connsiteX2282" fmla="*/ 257266 w 9586368"/>
              <a:gd name="connsiteY2282" fmla="*/ 5029597 h 6479439"/>
              <a:gd name="connsiteX2283" fmla="*/ 257266 w 9586368"/>
              <a:gd name="connsiteY2283" fmla="*/ 5039468 h 6479439"/>
              <a:gd name="connsiteX2284" fmla="*/ 253247 w 9586368"/>
              <a:gd name="connsiteY2284" fmla="*/ 5043507 h 6479439"/>
              <a:gd name="connsiteX2285" fmla="*/ 243336 w 9586368"/>
              <a:gd name="connsiteY2285" fmla="*/ 5043507 h 6479439"/>
              <a:gd name="connsiteX2286" fmla="*/ 239317 w 9586368"/>
              <a:gd name="connsiteY2286" fmla="*/ 5039468 h 6479439"/>
              <a:gd name="connsiteX2287" fmla="*/ 239317 w 9586368"/>
              <a:gd name="connsiteY2287" fmla="*/ 5029597 h 6479439"/>
              <a:gd name="connsiteX2288" fmla="*/ 4024 w 9586368"/>
              <a:gd name="connsiteY2288" fmla="*/ 5025558 h 6479439"/>
              <a:gd name="connsiteX2289" fmla="*/ 13933 w 9586368"/>
              <a:gd name="connsiteY2289" fmla="*/ 5025558 h 6479439"/>
              <a:gd name="connsiteX2290" fmla="*/ 17952 w 9586368"/>
              <a:gd name="connsiteY2290" fmla="*/ 5029597 h 6479439"/>
              <a:gd name="connsiteX2291" fmla="*/ 17952 w 9586368"/>
              <a:gd name="connsiteY2291" fmla="*/ 5039468 h 6479439"/>
              <a:gd name="connsiteX2292" fmla="*/ 13933 w 9586368"/>
              <a:gd name="connsiteY2292" fmla="*/ 5043507 h 6479439"/>
              <a:gd name="connsiteX2293" fmla="*/ 4024 w 9586368"/>
              <a:gd name="connsiteY2293" fmla="*/ 5043507 h 6479439"/>
              <a:gd name="connsiteX2294" fmla="*/ 4 w 9586368"/>
              <a:gd name="connsiteY2294" fmla="*/ 5039468 h 6479439"/>
              <a:gd name="connsiteX2295" fmla="*/ 4 w 9586368"/>
              <a:gd name="connsiteY2295" fmla="*/ 5029597 h 6479439"/>
              <a:gd name="connsiteX2296" fmla="*/ 9572438 w 9586368"/>
              <a:gd name="connsiteY2296" fmla="*/ 4786279 h 6479439"/>
              <a:gd name="connsiteX2297" fmla="*/ 9582349 w 9586368"/>
              <a:gd name="connsiteY2297" fmla="*/ 4786279 h 6479439"/>
              <a:gd name="connsiteX2298" fmla="*/ 9586368 w 9586368"/>
              <a:gd name="connsiteY2298" fmla="*/ 4790317 h 6479439"/>
              <a:gd name="connsiteX2299" fmla="*/ 9586368 w 9586368"/>
              <a:gd name="connsiteY2299" fmla="*/ 4800188 h 6479439"/>
              <a:gd name="connsiteX2300" fmla="*/ 9582349 w 9586368"/>
              <a:gd name="connsiteY2300" fmla="*/ 4804227 h 6479439"/>
              <a:gd name="connsiteX2301" fmla="*/ 9572438 w 9586368"/>
              <a:gd name="connsiteY2301" fmla="*/ 4804227 h 6479439"/>
              <a:gd name="connsiteX2302" fmla="*/ 9568419 w 9586368"/>
              <a:gd name="connsiteY2302" fmla="*/ 4800188 h 6479439"/>
              <a:gd name="connsiteX2303" fmla="*/ 9568419 w 9586368"/>
              <a:gd name="connsiteY2303" fmla="*/ 4790317 h 6479439"/>
              <a:gd name="connsiteX2304" fmla="*/ 9333125 w 9586368"/>
              <a:gd name="connsiteY2304" fmla="*/ 4786279 h 6479439"/>
              <a:gd name="connsiteX2305" fmla="*/ 9343036 w 9586368"/>
              <a:gd name="connsiteY2305" fmla="*/ 4786279 h 6479439"/>
              <a:gd name="connsiteX2306" fmla="*/ 9347055 w 9586368"/>
              <a:gd name="connsiteY2306" fmla="*/ 4790317 h 6479439"/>
              <a:gd name="connsiteX2307" fmla="*/ 9347055 w 9586368"/>
              <a:gd name="connsiteY2307" fmla="*/ 4800188 h 6479439"/>
              <a:gd name="connsiteX2308" fmla="*/ 9343036 w 9586368"/>
              <a:gd name="connsiteY2308" fmla="*/ 4804227 h 6479439"/>
              <a:gd name="connsiteX2309" fmla="*/ 9333125 w 9586368"/>
              <a:gd name="connsiteY2309" fmla="*/ 4804227 h 6479439"/>
              <a:gd name="connsiteX2310" fmla="*/ 9329106 w 9586368"/>
              <a:gd name="connsiteY2310" fmla="*/ 4800188 h 6479439"/>
              <a:gd name="connsiteX2311" fmla="*/ 9329106 w 9586368"/>
              <a:gd name="connsiteY2311" fmla="*/ 4790317 h 6479439"/>
              <a:gd name="connsiteX2312" fmla="*/ 9093811 w 9586368"/>
              <a:gd name="connsiteY2312" fmla="*/ 4786279 h 6479439"/>
              <a:gd name="connsiteX2313" fmla="*/ 9103722 w 9586368"/>
              <a:gd name="connsiteY2313" fmla="*/ 4786279 h 6479439"/>
              <a:gd name="connsiteX2314" fmla="*/ 9107741 w 9586368"/>
              <a:gd name="connsiteY2314" fmla="*/ 4790317 h 6479439"/>
              <a:gd name="connsiteX2315" fmla="*/ 9107741 w 9586368"/>
              <a:gd name="connsiteY2315" fmla="*/ 4800188 h 6479439"/>
              <a:gd name="connsiteX2316" fmla="*/ 9103722 w 9586368"/>
              <a:gd name="connsiteY2316" fmla="*/ 4804227 h 6479439"/>
              <a:gd name="connsiteX2317" fmla="*/ 9093811 w 9586368"/>
              <a:gd name="connsiteY2317" fmla="*/ 4804227 h 6479439"/>
              <a:gd name="connsiteX2318" fmla="*/ 9089792 w 9586368"/>
              <a:gd name="connsiteY2318" fmla="*/ 4800188 h 6479439"/>
              <a:gd name="connsiteX2319" fmla="*/ 9089792 w 9586368"/>
              <a:gd name="connsiteY2319" fmla="*/ 4790317 h 6479439"/>
              <a:gd name="connsiteX2320" fmla="*/ 8854496 w 9586368"/>
              <a:gd name="connsiteY2320" fmla="*/ 4786279 h 6479439"/>
              <a:gd name="connsiteX2321" fmla="*/ 8864407 w 9586368"/>
              <a:gd name="connsiteY2321" fmla="*/ 4786279 h 6479439"/>
              <a:gd name="connsiteX2322" fmla="*/ 8868426 w 9586368"/>
              <a:gd name="connsiteY2322" fmla="*/ 4790317 h 6479439"/>
              <a:gd name="connsiteX2323" fmla="*/ 8868426 w 9586368"/>
              <a:gd name="connsiteY2323" fmla="*/ 4800188 h 6479439"/>
              <a:gd name="connsiteX2324" fmla="*/ 8864407 w 9586368"/>
              <a:gd name="connsiteY2324" fmla="*/ 4804227 h 6479439"/>
              <a:gd name="connsiteX2325" fmla="*/ 8854496 w 9586368"/>
              <a:gd name="connsiteY2325" fmla="*/ 4804227 h 6479439"/>
              <a:gd name="connsiteX2326" fmla="*/ 8850477 w 9586368"/>
              <a:gd name="connsiteY2326" fmla="*/ 4800188 h 6479439"/>
              <a:gd name="connsiteX2327" fmla="*/ 8850477 w 9586368"/>
              <a:gd name="connsiteY2327" fmla="*/ 4790317 h 6479439"/>
              <a:gd name="connsiteX2328" fmla="*/ 8615184 w 9586368"/>
              <a:gd name="connsiteY2328" fmla="*/ 4786279 h 6479439"/>
              <a:gd name="connsiteX2329" fmla="*/ 8625095 w 9586368"/>
              <a:gd name="connsiteY2329" fmla="*/ 4786279 h 6479439"/>
              <a:gd name="connsiteX2330" fmla="*/ 8629114 w 9586368"/>
              <a:gd name="connsiteY2330" fmla="*/ 4790317 h 6479439"/>
              <a:gd name="connsiteX2331" fmla="*/ 8629114 w 9586368"/>
              <a:gd name="connsiteY2331" fmla="*/ 4800188 h 6479439"/>
              <a:gd name="connsiteX2332" fmla="*/ 8625095 w 9586368"/>
              <a:gd name="connsiteY2332" fmla="*/ 4804227 h 6479439"/>
              <a:gd name="connsiteX2333" fmla="*/ 8615184 w 9586368"/>
              <a:gd name="connsiteY2333" fmla="*/ 4804227 h 6479439"/>
              <a:gd name="connsiteX2334" fmla="*/ 8611165 w 9586368"/>
              <a:gd name="connsiteY2334" fmla="*/ 4800188 h 6479439"/>
              <a:gd name="connsiteX2335" fmla="*/ 8611165 w 9586368"/>
              <a:gd name="connsiteY2335" fmla="*/ 4790317 h 6479439"/>
              <a:gd name="connsiteX2336" fmla="*/ 8375869 w 9586368"/>
              <a:gd name="connsiteY2336" fmla="*/ 4786279 h 6479439"/>
              <a:gd name="connsiteX2337" fmla="*/ 8385779 w 9586368"/>
              <a:gd name="connsiteY2337" fmla="*/ 4786279 h 6479439"/>
              <a:gd name="connsiteX2338" fmla="*/ 8389799 w 9586368"/>
              <a:gd name="connsiteY2338" fmla="*/ 4790317 h 6479439"/>
              <a:gd name="connsiteX2339" fmla="*/ 8389799 w 9586368"/>
              <a:gd name="connsiteY2339" fmla="*/ 4800188 h 6479439"/>
              <a:gd name="connsiteX2340" fmla="*/ 8385779 w 9586368"/>
              <a:gd name="connsiteY2340" fmla="*/ 4804227 h 6479439"/>
              <a:gd name="connsiteX2341" fmla="*/ 8375869 w 9586368"/>
              <a:gd name="connsiteY2341" fmla="*/ 4804227 h 6479439"/>
              <a:gd name="connsiteX2342" fmla="*/ 8371850 w 9586368"/>
              <a:gd name="connsiteY2342" fmla="*/ 4800188 h 6479439"/>
              <a:gd name="connsiteX2343" fmla="*/ 8371850 w 9586368"/>
              <a:gd name="connsiteY2343" fmla="*/ 4790317 h 6479439"/>
              <a:gd name="connsiteX2344" fmla="*/ 8136553 w 9586368"/>
              <a:gd name="connsiteY2344" fmla="*/ 4786279 h 6479439"/>
              <a:gd name="connsiteX2345" fmla="*/ 8146464 w 9586368"/>
              <a:gd name="connsiteY2345" fmla="*/ 4786279 h 6479439"/>
              <a:gd name="connsiteX2346" fmla="*/ 8150483 w 9586368"/>
              <a:gd name="connsiteY2346" fmla="*/ 4790317 h 6479439"/>
              <a:gd name="connsiteX2347" fmla="*/ 8150483 w 9586368"/>
              <a:gd name="connsiteY2347" fmla="*/ 4800188 h 6479439"/>
              <a:gd name="connsiteX2348" fmla="*/ 8146464 w 9586368"/>
              <a:gd name="connsiteY2348" fmla="*/ 4804227 h 6479439"/>
              <a:gd name="connsiteX2349" fmla="*/ 8136553 w 9586368"/>
              <a:gd name="connsiteY2349" fmla="*/ 4804227 h 6479439"/>
              <a:gd name="connsiteX2350" fmla="*/ 8132534 w 9586368"/>
              <a:gd name="connsiteY2350" fmla="*/ 4800188 h 6479439"/>
              <a:gd name="connsiteX2351" fmla="*/ 8132534 w 9586368"/>
              <a:gd name="connsiteY2351" fmla="*/ 4790317 h 6479439"/>
              <a:gd name="connsiteX2352" fmla="*/ 7897241 w 9586368"/>
              <a:gd name="connsiteY2352" fmla="*/ 4786279 h 6479439"/>
              <a:gd name="connsiteX2353" fmla="*/ 7907151 w 9586368"/>
              <a:gd name="connsiteY2353" fmla="*/ 4786279 h 6479439"/>
              <a:gd name="connsiteX2354" fmla="*/ 7911170 w 9586368"/>
              <a:gd name="connsiteY2354" fmla="*/ 4790317 h 6479439"/>
              <a:gd name="connsiteX2355" fmla="*/ 7911170 w 9586368"/>
              <a:gd name="connsiteY2355" fmla="*/ 4800188 h 6479439"/>
              <a:gd name="connsiteX2356" fmla="*/ 7907151 w 9586368"/>
              <a:gd name="connsiteY2356" fmla="*/ 4804227 h 6479439"/>
              <a:gd name="connsiteX2357" fmla="*/ 7897241 w 9586368"/>
              <a:gd name="connsiteY2357" fmla="*/ 4804227 h 6479439"/>
              <a:gd name="connsiteX2358" fmla="*/ 7893222 w 9586368"/>
              <a:gd name="connsiteY2358" fmla="*/ 4800188 h 6479439"/>
              <a:gd name="connsiteX2359" fmla="*/ 7893222 w 9586368"/>
              <a:gd name="connsiteY2359" fmla="*/ 4790317 h 6479439"/>
              <a:gd name="connsiteX2360" fmla="*/ 7657926 w 9586368"/>
              <a:gd name="connsiteY2360" fmla="*/ 4786279 h 6479439"/>
              <a:gd name="connsiteX2361" fmla="*/ 7667836 w 9586368"/>
              <a:gd name="connsiteY2361" fmla="*/ 4786279 h 6479439"/>
              <a:gd name="connsiteX2362" fmla="*/ 7671855 w 9586368"/>
              <a:gd name="connsiteY2362" fmla="*/ 4790317 h 6479439"/>
              <a:gd name="connsiteX2363" fmla="*/ 7671855 w 9586368"/>
              <a:gd name="connsiteY2363" fmla="*/ 4800188 h 6479439"/>
              <a:gd name="connsiteX2364" fmla="*/ 7667836 w 9586368"/>
              <a:gd name="connsiteY2364" fmla="*/ 4804227 h 6479439"/>
              <a:gd name="connsiteX2365" fmla="*/ 7657926 w 9586368"/>
              <a:gd name="connsiteY2365" fmla="*/ 4804227 h 6479439"/>
              <a:gd name="connsiteX2366" fmla="*/ 7653906 w 9586368"/>
              <a:gd name="connsiteY2366" fmla="*/ 4800188 h 6479439"/>
              <a:gd name="connsiteX2367" fmla="*/ 7653906 w 9586368"/>
              <a:gd name="connsiteY2367" fmla="*/ 4790317 h 6479439"/>
              <a:gd name="connsiteX2368" fmla="*/ 7418611 w 9586368"/>
              <a:gd name="connsiteY2368" fmla="*/ 4786279 h 6479439"/>
              <a:gd name="connsiteX2369" fmla="*/ 7428521 w 9586368"/>
              <a:gd name="connsiteY2369" fmla="*/ 4786279 h 6479439"/>
              <a:gd name="connsiteX2370" fmla="*/ 7432540 w 9586368"/>
              <a:gd name="connsiteY2370" fmla="*/ 4790317 h 6479439"/>
              <a:gd name="connsiteX2371" fmla="*/ 7432540 w 9586368"/>
              <a:gd name="connsiteY2371" fmla="*/ 4800188 h 6479439"/>
              <a:gd name="connsiteX2372" fmla="*/ 7428521 w 9586368"/>
              <a:gd name="connsiteY2372" fmla="*/ 4804227 h 6479439"/>
              <a:gd name="connsiteX2373" fmla="*/ 7418611 w 9586368"/>
              <a:gd name="connsiteY2373" fmla="*/ 4804227 h 6479439"/>
              <a:gd name="connsiteX2374" fmla="*/ 7414592 w 9586368"/>
              <a:gd name="connsiteY2374" fmla="*/ 4800188 h 6479439"/>
              <a:gd name="connsiteX2375" fmla="*/ 7414592 w 9586368"/>
              <a:gd name="connsiteY2375" fmla="*/ 4790317 h 6479439"/>
              <a:gd name="connsiteX2376" fmla="*/ 7179298 w 9586368"/>
              <a:gd name="connsiteY2376" fmla="*/ 4786279 h 6479439"/>
              <a:gd name="connsiteX2377" fmla="*/ 7189209 w 9586368"/>
              <a:gd name="connsiteY2377" fmla="*/ 4786279 h 6479439"/>
              <a:gd name="connsiteX2378" fmla="*/ 7193228 w 9586368"/>
              <a:gd name="connsiteY2378" fmla="*/ 4790317 h 6479439"/>
              <a:gd name="connsiteX2379" fmla="*/ 7193228 w 9586368"/>
              <a:gd name="connsiteY2379" fmla="*/ 4800188 h 6479439"/>
              <a:gd name="connsiteX2380" fmla="*/ 7189209 w 9586368"/>
              <a:gd name="connsiteY2380" fmla="*/ 4804227 h 6479439"/>
              <a:gd name="connsiteX2381" fmla="*/ 7179298 w 9586368"/>
              <a:gd name="connsiteY2381" fmla="*/ 4804227 h 6479439"/>
              <a:gd name="connsiteX2382" fmla="*/ 7175279 w 9586368"/>
              <a:gd name="connsiteY2382" fmla="*/ 4800188 h 6479439"/>
              <a:gd name="connsiteX2383" fmla="*/ 7175279 w 9586368"/>
              <a:gd name="connsiteY2383" fmla="*/ 4790317 h 6479439"/>
              <a:gd name="connsiteX2384" fmla="*/ 6939983 w 9586368"/>
              <a:gd name="connsiteY2384" fmla="*/ 4786279 h 6479439"/>
              <a:gd name="connsiteX2385" fmla="*/ 6949894 w 9586368"/>
              <a:gd name="connsiteY2385" fmla="*/ 4786279 h 6479439"/>
              <a:gd name="connsiteX2386" fmla="*/ 6953913 w 9586368"/>
              <a:gd name="connsiteY2386" fmla="*/ 4790317 h 6479439"/>
              <a:gd name="connsiteX2387" fmla="*/ 6953913 w 9586368"/>
              <a:gd name="connsiteY2387" fmla="*/ 4800188 h 6479439"/>
              <a:gd name="connsiteX2388" fmla="*/ 6949894 w 9586368"/>
              <a:gd name="connsiteY2388" fmla="*/ 4804227 h 6479439"/>
              <a:gd name="connsiteX2389" fmla="*/ 6939983 w 9586368"/>
              <a:gd name="connsiteY2389" fmla="*/ 4804227 h 6479439"/>
              <a:gd name="connsiteX2390" fmla="*/ 6935964 w 9586368"/>
              <a:gd name="connsiteY2390" fmla="*/ 4800188 h 6479439"/>
              <a:gd name="connsiteX2391" fmla="*/ 6935964 w 9586368"/>
              <a:gd name="connsiteY2391" fmla="*/ 4790317 h 6479439"/>
              <a:gd name="connsiteX2392" fmla="*/ 6700670 w 9586368"/>
              <a:gd name="connsiteY2392" fmla="*/ 4786279 h 6479439"/>
              <a:gd name="connsiteX2393" fmla="*/ 6710581 w 9586368"/>
              <a:gd name="connsiteY2393" fmla="*/ 4786279 h 6479439"/>
              <a:gd name="connsiteX2394" fmla="*/ 6714600 w 9586368"/>
              <a:gd name="connsiteY2394" fmla="*/ 4790317 h 6479439"/>
              <a:gd name="connsiteX2395" fmla="*/ 6714600 w 9586368"/>
              <a:gd name="connsiteY2395" fmla="*/ 4800188 h 6479439"/>
              <a:gd name="connsiteX2396" fmla="*/ 6710581 w 9586368"/>
              <a:gd name="connsiteY2396" fmla="*/ 4804227 h 6479439"/>
              <a:gd name="connsiteX2397" fmla="*/ 6700670 w 9586368"/>
              <a:gd name="connsiteY2397" fmla="*/ 4804227 h 6479439"/>
              <a:gd name="connsiteX2398" fmla="*/ 6696651 w 9586368"/>
              <a:gd name="connsiteY2398" fmla="*/ 4800188 h 6479439"/>
              <a:gd name="connsiteX2399" fmla="*/ 6696651 w 9586368"/>
              <a:gd name="connsiteY2399" fmla="*/ 4790317 h 6479439"/>
              <a:gd name="connsiteX2400" fmla="*/ 6461356 w 9586368"/>
              <a:gd name="connsiteY2400" fmla="*/ 4786279 h 6479439"/>
              <a:gd name="connsiteX2401" fmla="*/ 6471266 w 9586368"/>
              <a:gd name="connsiteY2401" fmla="*/ 4786279 h 6479439"/>
              <a:gd name="connsiteX2402" fmla="*/ 6475285 w 9586368"/>
              <a:gd name="connsiteY2402" fmla="*/ 4790317 h 6479439"/>
              <a:gd name="connsiteX2403" fmla="*/ 6475285 w 9586368"/>
              <a:gd name="connsiteY2403" fmla="*/ 4800188 h 6479439"/>
              <a:gd name="connsiteX2404" fmla="*/ 6471266 w 9586368"/>
              <a:gd name="connsiteY2404" fmla="*/ 4804227 h 6479439"/>
              <a:gd name="connsiteX2405" fmla="*/ 6461356 w 9586368"/>
              <a:gd name="connsiteY2405" fmla="*/ 4804227 h 6479439"/>
              <a:gd name="connsiteX2406" fmla="*/ 6457337 w 9586368"/>
              <a:gd name="connsiteY2406" fmla="*/ 4800188 h 6479439"/>
              <a:gd name="connsiteX2407" fmla="*/ 6457337 w 9586368"/>
              <a:gd name="connsiteY2407" fmla="*/ 4790317 h 6479439"/>
              <a:gd name="connsiteX2408" fmla="*/ 6222042 w 9586368"/>
              <a:gd name="connsiteY2408" fmla="*/ 4786279 h 6479439"/>
              <a:gd name="connsiteX2409" fmla="*/ 6231952 w 9586368"/>
              <a:gd name="connsiteY2409" fmla="*/ 4786279 h 6479439"/>
              <a:gd name="connsiteX2410" fmla="*/ 6235971 w 9586368"/>
              <a:gd name="connsiteY2410" fmla="*/ 4790317 h 6479439"/>
              <a:gd name="connsiteX2411" fmla="*/ 6235971 w 9586368"/>
              <a:gd name="connsiteY2411" fmla="*/ 4800188 h 6479439"/>
              <a:gd name="connsiteX2412" fmla="*/ 6231952 w 9586368"/>
              <a:gd name="connsiteY2412" fmla="*/ 4804227 h 6479439"/>
              <a:gd name="connsiteX2413" fmla="*/ 6222042 w 9586368"/>
              <a:gd name="connsiteY2413" fmla="*/ 4804227 h 6479439"/>
              <a:gd name="connsiteX2414" fmla="*/ 6218023 w 9586368"/>
              <a:gd name="connsiteY2414" fmla="*/ 4800188 h 6479439"/>
              <a:gd name="connsiteX2415" fmla="*/ 6218023 w 9586368"/>
              <a:gd name="connsiteY2415" fmla="*/ 4790317 h 6479439"/>
              <a:gd name="connsiteX2416" fmla="*/ 5982729 w 9586368"/>
              <a:gd name="connsiteY2416" fmla="*/ 4786279 h 6479439"/>
              <a:gd name="connsiteX2417" fmla="*/ 5992639 w 9586368"/>
              <a:gd name="connsiteY2417" fmla="*/ 4786279 h 6479439"/>
              <a:gd name="connsiteX2418" fmla="*/ 5996658 w 9586368"/>
              <a:gd name="connsiteY2418" fmla="*/ 4790317 h 6479439"/>
              <a:gd name="connsiteX2419" fmla="*/ 5996658 w 9586368"/>
              <a:gd name="connsiteY2419" fmla="*/ 4800188 h 6479439"/>
              <a:gd name="connsiteX2420" fmla="*/ 5992639 w 9586368"/>
              <a:gd name="connsiteY2420" fmla="*/ 4804227 h 6479439"/>
              <a:gd name="connsiteX2421" fmla="*/ 5982729 w 9586368"/>
              <a:gd name="connsiteY2421" fmla="*/ 4804227 h 6479439"/>
              <a:gd name="connsiteX2422" fmla="*/ 5978710 w 9586368"/>
              <a:gd name="connsiteY2422" fmla="*/ 4800188 h 6479439"/>
              <a:gd name="connsiteX2423" fmla="*/ 5978710 w 9586368"/>
              <a:gd name="connsiteY2423" fmla="*/ 4790317 h 6479439"/>
              <a:gd name="connsiteX2424" fmla="*/ 5743412 w 9586368"/>
              <a:gd name="connsiteY2424" fmla="*/ 4786279 h 6479439"/>
              <a:gd name="connsiteX2425" fmla="*/ 5753323 w 9586368"/>
              <a:gd name="connsiteY2425" fmla="*/ 4786279 h 6479439"/>
              <a:gd name="connsiteX2426" fmla="*/ 5757342 w 9586368"/>
              <a:gd name="connsiteY2426" fmla="*/ 4790317 h 6479439"/>
              <a:gd name="connsiteX2427" fmla="*/ 5757342 w 9586368"/>
              <a:gd name="connsiteY2427" fmla="*/ 4800188 h 6479439"/>
              <a:gd name="connsiteX2428" fmla="*/ 5753323 w 9586368"/>
              <a:gd name="connsiteY2428" fmla="*/ 4804227 h 6479439"/>
              <a:gd name="connsiteX2429" fmla="*/ 5743412 w 9586368"/>
              <a:gd name="connsiteY2429" fmla="*/ 4804227 h 6479439"/>
              <a:gd name="connsiteX2430" fmla="*/ 5739393 w 9586368"/>
              <a:gd name="connsiteY2430" fmla="*/ 4800188 h 6479439"/>
              <a:gd name="connsiteX2431" fmla="*/ 5739393 w 9586368"/>
              <a:gd name="connsiteY2431" fmla="*/ 4790317 h 6479439"/>
              <a:gd name="connsiteX2432" fmla="*/ 5504099 w 9586368"/>
              <a:gd name="connsiteY2432" fmla="*/ 4786279 h 6479439"/>
              <a:gd name="connsiteX2433" fmla="*/ 5514010 w 9586368"/>
              <a:gd name="connsiteY2433" fmla="*/ 4786279 h 6479439"/>
              <a:gd name="connsiteX2434" fmla="*/ 5518029 w 9586368"/>
              <a:gd name="connsiteY2434" fmla="*/ 4790317 h 6479439"/>
              <a:gd name="connsiteX2435" fmla="*/ 5518029 w 9586368"/>
              <a:gd name="connsiteY2435" fmla="*/ 4800188 h 6479439"/>
              <a:gd name="connsiteX2436" fmla="*/ 5514010 w 9586368"/>
              <a:gd name="connsiteY2436" fmla="*/ 4804227 h 6479439"/>
              <a:gd name="connsiteX2437" fmla="*/ 5504099 w 9586368"/>
              <a:gd name="connsiteY2437" fmla="*/ 4804227 h 6479439"/>
              <a:gd name="connsiteX2438" fmla="*/ 5500080 w 9586368"/>
              <a:gd name="connsiteY2438" fmla="*/ 4800188 h 6479439"/>
              <a:gd name="connsiteX2439" fmla="*/ 5500080 w 9586368"/>
              <a:gd name="connsiteY2439" fmla="*/ 4790317 h 6479439"/>
              <a:gd name="connsiteX2440" fmla="*/ 5264784 w 9586368"/>
              <a:gd name="connsiteY2440" fmla="*/ 4786279 h 6479439"/>
              <a:gd name="connsiteX2441" fmla="*/ 5274694 w 9586368"/>
              <a:gd name="connsiteY2441" fmla="*/ 4786279 h 6479439"/>
              <a:gd name="connsiteX2442" fmla="*/ 5278713 w 9586368"/>
              <a:gd name="connsiteY2442" fmla="*/ 4790317 h 6479439"/>
              <a:gd name="connsiteX2443" fmla="*/ 5278713 w 9586368"/>
              <a:gd name="connsiteY2443" fmla="*/ 4800188 h 6479439"/>
              <a:gd name="connsiteX2444" fmla="*/ 5274694 w 9586368"/>
              <a:gd name="connsiteY2444" fmla="*/ 4804227 h 6479439"/>
              <a:gd name="connsiteX2445" fmla="*/ 5264784 w 9586368"/>
              <a:gd name="connsiteY2445" fmla="*/ 4804227 h 6479439"/>
              <a:gd name="connsiteX2446" fmla="*/ 5260765 w 9586368"/>
              <a:gd name="connsiteY2446" fmla="*/ 4800188 h 6479439"/>
              <a:gd name="connsiteX2447" fmla="*/ 5260765 w 9586368"/>
              <a:gd name="connsiteY2447" fmla="*/ 4790317 h 6479439"/>
              <a:gd name="connsiteX2448" fmla="*/ 5025470 w 9586368"/>
              <a:gd name="connsiteY2448" fmla="*/ 4786279 h 6479439"/>
              <a:gd name="connsiteX2449" fmla="*/ 5035381 w 9586368"/>
              <a:gd name="connsiteY2449" fmla="*/ 4786279 h 6479439"/>
              <a:gd name="connsiteX2450" fmla="*/ 5039400 w 9586368"/>
              <a:gd name="connsiteY2450" fmla="*/ 4790317 h 6479439"/>
              <a:gd name="connsiteX2451" fmla="*/ 5039400 w 9586368"/>
              <a:gd name="connsiteY2451" fmla="*/ 4800188 h 6479439"/>
              <a:gd name="connsiteX2452" fmla="*/ 5035381 w 9586368"/>
              <a:gd name="connsiteY2452" fmla="*/ 4804227 h 6479439"/>
              <a:gd name="connsiteX2453" fmla="*/ 5025470 w 9586368"/>
              <a:gd name="connsiteY2453" fmla="*/ 4804227 h 6479439"/>
              <a:gd name="connsiteX2454" fmla="*/ 5021451 w 9586368"/>
              <a:gd name="connsiteY2454" fmla="*/ 4800188 h 6479439"/>
              <a:gd name="connsiteX2455" fmla="*/ 5021451 w 9586368"/>
              <a:gd name="connsiteY2455" fmla="*/ 4790317 h 6479439"/>
              <a:gd name="connsiteX2456" fmla="*/ 4786241 w 9586368"/>
              <a:gd name="connsiteY2456" fmla="*/ 4786279 h 6479439"/>
              <a:gd name="connsiteX2457" fmla="*/ 4796152 w 9586368"/>
              <a:gd name="connsiteY2457" fmla="*/ 4786279 h 6479439"/>
              <a:gd name="connsiteX2458" fmla="*/ 4800171 w 9586368"/>
              <a:gd name="connsiteY2458" fmla="*/ 4790317 h 6479439"/>
              <a:gd name="connsiteX2459" fmla="*/ 4800171 w 9586368"/>
              <a:gd name="connsiteY2459" fmla="*/ 4800188 h 6479439"/>
              <a:gd name="connsiteX2460" fmla="*/ 4796152 w 9586368"/>
              <a:gd name="connsiteY2460" fmla="*/ 4804227 h 6479439"/>
              <a:gd name="connsiteX2461" fmla="*/ 4786241 w 9586368"/>
              <a:gd name="connsiteY2461" fmla="*/ 4804227 h 6479439"/>
              <a:gd name="connsiteX2462" fmla="*/ 4782224 w 9586368"/>
              <a:gd name="connsiteY2462" fmla="*/ 4800188 h 6479439"/>
              <a:gd name="connsiteX2463" fmla="*/ 4782224 w 9586368"/>
              <a:gd name="connsiteY2463" fmla="*/ 4790317 h 6479439"/>
              <a:gd name="connsiteX2464" fmla="*/ 4546929 w 9586368"/>
              <a:gd name="connsiteY2464" fmla="*/ 4786279 h 6479439"/>
              <a:gd name="connsiteX2465" fmla="*/ 4556840 w 9586368"/>
              <a:gd name="connsiteY2465" fmla="*/ 4786279 h 6479439"/>
              <a:gd name="connsiteX2466" fmla="*/ 4560859 w 9586368"/>
              <a:gd name="connsiteY2466" fmla="*/ 4790317 h 6479439"/>
              <a:gd name="connsiteX2467" fmla="*/ 4560859 w 9586368"/>
              <a:gd name="connsiteY2467" fmla="*/ 4800188 h 6479439"/>
              <a:gd name="connsiteX2468" fmla="*/ 4556840 w 9586368"/>
              <a:gd name="connsiteY2468" fmla="*/ 4804227 h 6479439"/>
              <a:gd name="connsiteX2469" fmla="*/ 4546929 w 9586368"/>
              <a:gd name="connsiteY2469" fmla="*/ 4804227 h 6479439"/>
              <a:gd name="connsiteX2470" fmla="*/ 4542910 w 9586368"/>
              <a:gd name="connsiteY2470" fmla="*/ 4800188 h 6479439"/>
              <a:gd name="connsiteX2471" fmla="*/ 4542910 w 9586368"/>
              <a:gd name="connsiteY2471" fmla="*/ 4790317 h 6479439"/>
              <a:gd name="connsiteX2472" fmla="*/ 4307612 w 9586368"/>
              <a:gd name="connsiteY2472" fmla="*/ 4786279 h 6479439"/>
              <a:gd name="connsiteX2473" fmla="*/ 4317523 w 9586368"/>
              <a:gd name="connsiteY2473" fmla="*/ 4786279 h 6479439"/>
              <a:gd name="connsiteX2474" fmla="*/ 4321543 w 9586368"/>
              <a:gd name="connsiteY2474" fmla="*/ 4790317 h 6479439"/>
              <a:gd name="connsiteX2475" fmla="*/ 4321543 w 9586368"/>
              <a:gd name="connsiteY2475" fmla="*/ 4800188 h 6479439"/>
              <a:gd name="connsiteX2476" fmla="*/ 4317523 w 9586368"/>
              <a:gd name="connsiteY2476" fmla="*/ 4804227 h 6479439"/>
              <a:gd name="connsiteX2477" fmla="*/ 4307612 w 9586368"/>
              <a:gd name="connsiteY2477" fmla="*/ 4804227 h 6479439"/>
              <a:gd name="connsiteX2478" fmla="*/ 4303595 w 9586368"/>
              <a:gd name="connsiteY2478" fmla="*/ 4800188 h 6479439"/>
              <a:gd name="connsiteX2479" fmla="*/ 4303595 w 9586368"/>
              <a:gd name="connsiteY2479" fmla="*/ 4790317 h 6479439"/>
              <a:gd name="connsiteX2480" fmla="*/ 4068297 w 9586368"/>
              <a:gd name="connsiteY2480" fmla="*/ 4786279 h 6479439"/>
              <a:gd name="connsiteX2481" fmla="*/ 4078210 w 9586368"/>
              <a:gd name="connsiteY2481" fmla="*/ 4786279 h 6479439"/>
              <a:gd name="connsiteX2482" fmla="*/ 4082229 w 9586368"/>
              <a:gd name="connsiteY2482" fmla="*/ 4790317 h 6479439"/>
              <a:gd name="connsiteX2483" fmla="*/ 4082229 w 9586368"/>
              <a:gd name="connsiteY2483" fmla="*/ 4800188 h 6479439"/>
              <a:gd name="connsiteX2484" fmla="*/ 4078210 w 9586368"/>
              <a:gd name="connsiteY2484" fmla="*/ 4804227 h 6479439"/>
              <a:gd name="connsiteX2485" fmla="*/ 4068297 w 9586368"/>
              <a:gd name="connsiteY2485" fmla="*/ 4804227 h 6479439"/>
              <a:gd name="connsiteX2486" fmla="*/ 4064278 w 9586368"/>
              <a:gd name="connsiteY2486" fmla="*/ 4800188 h 6479439"/>
              <a:gd name="connsiteX2487" fmla="*/ 4064278 w 9586368"/>
              <a:gd name="connsiteY2487" fmla="*/ 4790317 h 6479439"/>
              <a:gd name="connsiteX2488" fmla="*/ 3828990 w 9586368"/>
              <a:gd name="connsiteY2488" fmla="*/ 4786279 h 6479439"/>
              <a:gd name="connsiteX2489" fmla="*/ 3838899 w 9586368"/>
              <a:gd name="connsiteY2489" fmla="*/ 4786279 h 6479439"/>
              <a:gd name="connsiteX2490" fmla="*/ 3842917 w 9586368"/>
              <a:gd name="connsiteY2490" fmla="*/ 4790317 h 6479439"/>
              <a:gd name="connsiteX2491" fmla="*/ 3842917 w 9586368"/>
              <a:gd name="connsiteY2491" fmla="*/ 4800188 h 6479439"/>
              <a:gd name="connsiteX2492" fmla="*/ 3838899 w 9586368"/>
              <a:gd name="connsiteY2492" fmla="*/ 4804227 h 6479439"/>
              <a:gd name="connsiteX2493" fmla="*/ 3828990 w 9586368"/>
              <a:gd name="connsiteY2493" fmla="*/ 4804227 h 6479439"/>
              <a:gd name="connsiteX2494" fmla="*/ 3824971 w 9586368"/>
              <a:gd name="connsiteY2494" fmla="*/ 4800188 h 6479439"/>
              <a:gd name="connsiteX2495" fmla="*/ 3824971 w 9586368"/>
              <a:gd name="connsiteY2495" fmla="*/ 4790317 h 6479439"/>
              <a:gd name="connsiteX2496" fmla="*/ 3589676 w 9586368"/>
              <a:gd name="connsiteY2496" fmla="*/ 4786279 h 6479439"/>
              <a:gd name="connsiteX2497" fmla="*/ 3599585 w 9586368"/>
              <a:gd name="connsiteY2497" fmla="*/ 4786279 h 6479439"/>
              <a:gd name="connsiteX2498" fmla="*/ 3603604 w 9586368"/>
              <a:gd name="connsiteY2498" fmla="*/ 4790317 h 6479439"/>
              <a:gd name="connsiteX2499" fmla="*/ 3603604 w 9586368"/>
              <a:gd name="connsiteY2499" fmla="*/ 4800188 h 6479439"/>
              <a:gd name="connsiteX2500" fmla="*/ 3599585 w 9586368"/>
              <a:gd name="connsiteY2500" fmla="*/ 4804227 h 6479439"/>
              <a:gd name="connsiteX2501" fmla="*/ 3589676 w 9586368"/>
              <a:gd name="connsiteY2501" fmla="*/ 4804227 h 6479439"/>
              <a:gd name="connsiteX2502" fmla="*/ 3585657 w 9586368"/>
              <a:gd name="connsiteY2502" fmla="*/ 4800188 h 6479439"/>
              <a:gd name="connsiteX2503" fmla="*/ 3585657 w 9586368"/>
              <a:gd name="connsiteY2503" fmla="*/ 4790317 h 6479439"/>
              <a:gd name="connsiteX2504" fmla="*/ 3350359 w 9586368"/>
              <a:gd name="connsiteY2504" fmla="*/ 4786279 h 6479439"/>
              <a:gd name="connsiteX2505" fmla="*/ 3360268 w 9586368"/>
              <a:gd name="connsiteY2505" fmla="*/ 4786279 h 6479439"/>
              <a:gd name="connsiteX2506" fmla="*/ 3364287 w 9586368"/>
              <a:gd name="connsiteY2506" fmla="*/ 4790317 h 6479439"/>
              <a:gd name="connsiteX2507" fmla="*/ 3364287 w 9586368"/>
              <a:gd name="connsiteY2507" fmla="*/ 4800188 h 6479439"/>
              <a:gd name="connsiteX2508" fmla="*/ 3360268 w 9586368"/>
              <a:gd name="connsiteY2508" fmla="*/ 4804227 h 6479439"/>
              <a:gd name="connsiteX2509" fmla="*/ 3350359 w 9586368"/>
              <a:gd name="connsiteY2509" fmla="*/ 4804227 h 6479439"/>
              <a:gd name="connsiteX2510" fmla="*/ 3346340 w 9586368"/>
              <a:gd name="connsiteY2510" fmla="*/ 4800188 h 6479439"/>
              <a:gd name="connsiteX2511" fmla="*/ 3346340 w 9586368"/>
              <a:gd name="connsiteY2511" fmla="*/ 4790317 h 6479439"/>
              <a:gd name="connsiteX2512" fmla="*/ 3111048 w 9586368"/>
              <a:gd name="connsiteY2512" fmla="*/ 4786279 h 6479439"/>
              <a:gd name="connsiteX2513" fmla="*/ 3120959 w 9586368"/>
              <a:gd name="connsiteY2513" fmla="*/ 4786279 h 6479439"/>
              <a:gd name="connsiteX2514" fmla="*/ 3124977 w 9586368"/>
              <a:gd name="connsiteY2514" fmla="*/ 4790317 h 6479439"/>
              <a:gd name="connsiteX2515" fmla="*/ 3124977 w 9586368"/>
              <a:gd name="connsiteY2515" fmla="*/ 4800188 h 6479439"/>
              <a:gd name="connsiteX2516" fmla="*/ 3120959 w 9586368"/>
              <a:gd name="connsiteY2516" fmla="*/ 4804227 h 6479439"/>
              <a:gd name="connsiteX2517" fmla="*/ 3111048 w 9586368"/>
              <a:gd name="connsiteY2517" fmla="*/ 4804227 h 6479439"/>
              <a:gd name="connsiteX2518" fmla="*/ 3107029 w 9586368"/>
              <a:gd name="connsiteY2518" fmla="*/ 4800188 h 6479439"/>
              <a:gd name="connsiteX2519" fmla="*/ 3107029 w 9586368"/>
              <a:gd name="connsiteY2519" fmla="*/ 4790317 h 6479439"/>
              <a:gd name="connsiteX2520" fmla="*/ 2871737 w 9586368"/>
              <a:gd name="connsiteY2520" fmla="*/ 4786279 h 6479439"/>
              <a:gd name="connsiteX2521" fmla="*/ 2881646 w 9586368"/>
              <a:gd name="connsiteY2521" fmla="*/ 4786279 h 6479439"/>
              <a:gd name="connsiteX2522" fmla="*/ 2885666 w 9586368"/>
              <a:gd name="connsiteY2522" fmla="*/ 4790317 h 6479439"/>
              <a:gd name="connsiteX2523" fmla="*/ 2885666 w 9586368"/>
              <a:gd name="connsiteY2523" fmla="*/ 4800188 h 6479439"/>
              <a:gd name="connsiteX2524" fmla="*/ 2881646 w 9586368"/>
              <a:gd name="connsiteY2524" fmla="*/ 4804227 h 6479439"/>
              <a:gd name="connsiteX2525" fmla="*/ 2871737 w 9586368"/>
              <a:gd name="connsiteY2525" fmla="*/ 4804227 h 6479439"/>
              <a:gd name="connsiteX2526" fmla="*/ 2867717 w 9586368"/>
              <a:gd name="connsiteY2526" fmla="*/ 4800188 h 6479439"/>
              <a:gd name="connsiteX2527" fmla="*/ 2867717 w 9586368"/>
              <a:gd name="connsiteY2527" fmla="*/ 4790317 h 6479439"/>
              <a:gd name="connsiteX2528" fmla="*/ 2632423 w 9586368"/>
              <a:gd name="connsiteY2528" fmla="*/ 4786279 h 6479439"/>
              <a:gd name="connsiteX2529" fmla="*/ 2642334 w 9586368"/>
              <a:gd name="connsiteY2529" fmla="*/ 4786279 h 6479439"/>
              <a:gd name="connsiteX2530" fmla="*/ 2646352 w 9586368"/>
              <a:gd name="connsiteY2530" fmla="*/ 4790317 h 6479439"/>
              <a:gd name="connsiteX2531" fmla="*/ 2646352 w 9586368"/>
              <a:gd name="connsiteY2531" fmla="*/ 4800188 h 6479439"/>
              <a:gd name="connsiteX2532" fmla="*/ 2642334 w 9586368"/>
              <a:gd name="connsiteY2532" fmla="*/ 4804227 h 6479439"/>
              <a:gd name="connsiteX2533" fmla="*/ 2632423 w 9586368"/>
              <a:gd name="connsiteY2533" fmla="*/ 4804227 h 6479439"/>
              <a:gd name="connsiteX2534" fmla="*/ 2628404 w 9586368"/>
              <a:gd name="connsiteY2534" fmla="*/ 4800188 h 6479439"/>
              <a:gd name="connsiteX2535" fmla="*/ 2628404 w 9586368"/>
              <a:gd name="connsiteY2535" fmla="*/ 4790317 h 6479439"/>
              <a:gd name="connsiteX2536" fmla="*/ 2393104 w 9586368"/>
              <a:gd name="connsiteY2536" fmla="*/ 4786279 h 6479439"/>
              <a:gd name="connsiteX2537" fmla="*/ 2403015 w 9586368"/>
              <a:gd name="connsiteY2537" fmla="*/ 4786279 h 6479439"/>
              <a:gd name="connsiteX2538" fmla="*/ 2407034 w 9586368"/>
              <a:gd name="connsiteY2538" fmla="*/ 4790317 h 6479439"/>
              <a:gd name="connsiteX2539" fmla="*/ 2407034 w 9586368"/>
              <a:gd name="connsiteY2539" fmla="*/ 4800188 h 6479439"/>
              <a:gd name="connsiteX2540" fmla="*/ 2403015 w 9586368"/>
              <a:gd name="connsiteY2540" fmla="*/ 4804227 h 6479439"/>
              <a:gd name="connsiteX2541" fmla="*/ 2393104 w 9586368"/>
              <a:gd name="connsiteY2541" fmla="*/ 4804227 h 6479439"/>
              <a:gd name="connsiteX2542" fmla="*/ 2389087 w 9586368"/>
              <a:gd name="connsiteY2542" fmla="*/ 4800188 h 6479439"/>
              <a:gd name="connsiteX2543" fmla="*/ 2389087 w 9586368"/>
              <a:gd name="connsiteY2543" fmla="*/ 4790317 h 6479439"/>
              <a:gd name="connsiteX2544" fmla="*/ 2157819 w 9586368"/>
              <a:gd name="connsiteY2544" fmla="*/ 4786279 h 6479439"/>
              <a:gd name="connsiteX2545" fmla="*/ 2167729 w 9586368"/>
              <a:gd name="connsiteY2545" fmla="*/ 4786279 h 6479439"/>
              <a:gd name="connsiteX2546" fmla="*/ 2171748 w 9586368"/>
              <a:gd name="connsiteY2546" fmla="*/ 4790317 h 6479439"/>
              <a:gd name="connsiteX2547" fmla="*/ 2171748 w 9586368"/>
              <a:gd name="connsiteY2547" fmla="*/ 4800188 h 6479439"/>
              <a:gd name="connsiteX2548" fmla="*/ 2167729 w 9586368"/>
              <a:gd name="connsiteY2548" fmla="*/ 4804227 h 6479439"/>
              <a:gd name="connsiteX2549" fmla="*/ 2157819 w 9586368"/>
              <a:gd name="connsiteY2549" fmla="*/ 4804227 h 6479439"/>
              <a:gd name="connsiteX2550" fmla="*/ 2153800 w 9586368"/>
              <a:gd name="connsiteY2550" fmla="*/ 4800188 h 6479439"/>
              <a:gd name="connsiteX2551" fmla="*/ 2153800 w 9586368"/>
              <a:gd name="connsiteY2551" fmla="*/ 4790317 h 6479439"/>
              <a:gd name="connsiteX2552" fmla="*/ 1918510 w 9586368"/>
              <a:gd name="connsiteY2552" fmla="*/ 4786279 h 6479439"/>
              <a:gd name="connsiteX2553" fmla="*/ 1928420 w 9586368"/>
              <a:gd name="connsiteY2553" fmla="*/ 4786279 h 6479439"/>
              <a:gd name="connsiteX2554" fmla="*/ 1932440 w 9586368"/>
              <a:gd name="connsiteY2554" fmla="*/ 4790317 h 6479439"/>
              <a:gd name="connsiteX2555" fmla="*/ 1932440 w 9586368"/>
              <a:gd name="connsiteY2555" fmla="*/ 4800188 h 6479439"/>
              <a:gd name="connsiteX2556" fmla="*/ 1928420 w 9586368"/>
              <a:gd name="connsiteY2556" fmla="*/ 4804227 h 6479439"/>
              <a:gd name="connsiteX2557" fmla="*/ 1918510 w 9586368"/>
              <a:gd name="connsiteY2557" fmla="*/ 4804227 h 6479439"/>
              <a:gd name="connsiteX2558" fmla="*/ 1914492 w 9586368"/>
              <a:gd name="connsiteY2558" fmla="*/ 4800188 h 6479439"/>
              <a:gd name="connsiteX2559" fmla="*/ 1914492 w 9586368"/>
              <a:gd name="connsiteY2559" fmla="*/ 4790317 h 6479439"/>
              <a:gd name="connsiteX2560" fmla="*/ 1679205 w 9586368"/>
              <a:gd name="connsiteY2560" fmla="*/ 4786279 h 6479439"/>
              <a:gd name="connsiteX2561" fmla="*/ 1689115 w 9586368"/>
              <a:gd name="connsiteY2561" fmla="*/ 4786279 h 6479439"/>
              <a:gd name="connsiteX2562" fmla="*/ 1693134 w 9586368"/>
              <a:gd name="connsiteY2562" fmla="*/ 4790317 h 6479439"/>
              <a:gd name="connsiteX2563" fmla="*/ 1693134 w 9586368"/>
              <a:gd name="connsiteY2563" fmla="*/ 4800188 h 6479439"/>
              <a:gd name="connsiteX2564" fmla="*/ 1689115 w 9586368"/>
              <a:gd name="connsiteY2564" fmla="*/ 4804227 h 6479439"/>
              <a:gd name="connsiteX2565" fmla="*/ 1679205 w 9586368"/>
              <a:gd name="connsiteY2565" fmla="*/ 4804227 h 6479439"/>
              <a:gd name="connsiteX2566" fmla="*/ 1675187 w 9586368"/>
              <a:gd name="connsiteY2566" fmla="*/ 4800188 h 6479439"/>
              <a:gd name="connsiteX2567" fmla="*/ 1675187 w 9586368"/>
              <a:gd name="connsiteY2567" fmla="*/ 4790317 h 6479439"/>
              <a:gd name="connsiteX2568" fmla="*/ 1439890 w 9586368"/>
              <a:gd name="connsiteY2568" fmla="*/ 4786279 h 6479439"/>
              <a:gd name="connsiteX2569" fmla="*/ 1449800 w 9586368"/>
              <a:gd name="connsiteY2569" fmla="*/ 4786279 h 6479439"/>
              <a:gd name="connsiteX2570" fmla="*/ 1453818 w 9586368"/>
              <a:gd name="connsiteY2570" fmla="*/ 4790317 h 6479439"/>
              <a:gd name="connsiteX2571" fmla="*/ 1453818 w 9586368"/>
              <a:gd name="connsiteY2571" fmla="*/ 4800188 h 6479439"/>
              <a:gd name="connsiteX2572" fmla="*/ 1449800 w 9586368"/>
              <a:gd name="connsiteY2572" fmla="*/ 4804227 h 6479439"/>
              <a:gd name="connsiteX2573" fmla="*/ 1439890 w 9586368"/>
              <a:gd name="connsiteY2573" fmla="*/ 4804227 h 6479439"/>
              <a:gd name="connsiteX2574" fmla="*/ 1435870 w 9586368"/>
              <a:gd name="connsiteY2574" fmla="*/ 4800188 h 6479439"/>
              <a:gd name="connsiteX2575" fmla="*/ 1435870 w 9586368"/>
              <a:gd name="connsiteY2575" fmla="*/ 4790317 h 6479439"/>
              <a:gd name="connsiteX2576" fmla="*/ 1200574 w 9586368"/>
              <a:gd name="connsiteY2576" fmla="*/ 4786279 h 6479439"/>
              <a:gd name="connsiteX2577" fmla="*/ 1210484 w 9586368"/>
              <a:gd name="connsiteY2577" fmla="*/ 4786279 h 6479439"/>
              <a:gd name="connsiteX2578" fmla="*/ 1214503 w 9586368"/>
              <a:gd name="connsiteY2578" fmla="*/ 4790317 h 6479439"/>
              <a:gd name="connsiteX2579" fmla="*/ 1214503 w 9586368"/>
              <a:gd name="connsiteY2579" fmla="*/ 4800188 h 6479439"/>
              <a:gd name="connsiteX2580" fmla="*/ 1210484 w 9586368"/>
              <a:gd name="connsiteY2580" fmla="*/ 4804227 h 6479439"/>
              <a:gd name="connsiteX2581" fmla="*/ 1200574 w 9586368"/>
              <a:gd name="connsiteY2581" fmla="*/ 4804227 h 6479439"/>
              <a:gd name="connsiteX2582" fmla="*/ 1196555 w 9586368"/>
              <a:gd name="connsiteY2582" fmla="*/ 4800188 h 6479439"/>
              <a:gd name="connsiteX2583" fmla="*/ 1196555 w 9586368"/>
              <a:gd name="connsiteY2583" fmla="*/ 4790317 h 6479439"/>
              <a:gd name="connsiteX2584" fmla="*/ 961262 w 9586368"/>
              <a:gd name="connsiteY2584" fmla="*/ 4786279 h 6479439"/>
              <a:gd name="connsiteX2585" fmla="*/ 971172 w 9586368"/>
              <a:gd name="connsiteY2585" fmla="*/ 4786279 h 6479439"/>
              <a:gd name="connsiteX2586" fmla="*/ 975190 w 9586368"/>
              <a:gd name="connsiteY2586" fmla="*/ 4790317 h 6479439"/>
              <a:gd name="connsiteX2587" fmla="*/ 975190 w 9586368"/>
              <a:gd name="connsiteY2587" fmla="*/ 4800188 h 6479439"/>
              <a:gd name="connsiteX2588" fmla="*/ 971172 w 9586368"/>
              <a:gd name="connsiteY2588" fmla="*/ 4804227 h 6479439"/>
              <a:gd name="connsiteX2589" fmla="*/ 961262 w 9586368"/>
              <a:gd name="connsiteY2589" fmla="*/ 4804227 h 6479439"/>
              <a:gd name="connsiteX2590" fmla="*/ 957242 w 9586368"/>
              <a:gd name="connsiteY2590" fmla="*/ 4800188 h 6479439"/>
              <a:gd name="connsiteX2591" fmla="*/ 957242 w 9586368"/>
              <a:gd name="connsiteY2591" fmla="*/ 4790317 h 6479439"/>
              <a:gd name="connsiteX2592" fmla="*/ 721963 w 9586368"/>
              <a:gd name="connsiteY2592" fmla="*/ 4786279 h 6479439"/>
              <a:gd name="connsiteX2593" fmla="*/ 731873 w 9586368"/>
              <a:gd name="connsiteY2593" fmla="*/ 4786279 h 6479439"/>
              <a:gd name="connsiteX2594" fmla="*/ 735892 w 9586368"/>
              <a:gd name="connsiteY2594" fmla="*/ 4790317 h 6479439"/>
              <a:gd name="connsiteX2595" fmla="*/ 735892 w 9586368"/>
              <a:gd name="connsiteY2595" fmla="*/ 4800188 h 6479439"/>
              <a:gd name="connsiteX2596" fmla="*/ 731873 w 9586368"/>
              <a:gd name="connsiteY2596" fmla="*/ 4804227 h 6479439"/>
              <a:gd name="connsiteX2597" fmla="*/ 721963 w 9586368"/>
              <a:gd name="connsiteY2597" fmla="*/ 4804227 h 6479439"/>
              <a:gd name="connsiteX2598" fmla="*/ 717944 w 9586368"/>
              <a:gd name="connsiteY2598" fmla="*/ 4800188 h 6479439"/>
              <a:gd name="connsiteX2599" fmla="*/ 717944 w 9586368"/>
              <a:gd name="connsiteY2599" fmla="*/ 4790317 h 6479439"/>
              <a:gd name="connsiteX2600" fmla="*/ 482651 w 9586368"/>
              <a:gd name="connsiteY2600" fmla="*/ 4786279 h 6479439"/>
              <a:gd name="connsiteX2601" fmla="*/ 492561 w 9586368"/>
              <a:gd name="connsiteY2601" fmla="*/ 4786279 h 6479439"/>
              <a:gd name="connsiteX2602" fmla="*/ 496580 w 9586368"/>
              <a:gd name="connsiteY2602" fmla="*/ 4790317 h 6479439"/>
              <a:gd name="connsiteX2603" fmla="*/ 496580 w 9586368"/>
              <a:gd name="connsiteY2603" fmla="*/ 4800188 h 6479439"/>
              <a:gd name="connsiteX2604" fmla="*/ 492561 w 9586368"/>
              <a:gd name="connsiteY2604" fmla="*/ 4804227 h 6479439"/>
              <a:gd name="connsiteX2605" fmla="*/ 482651 w 9586368"/>
              <a:gd name="connsiteY2605" fmla="*/ 4804227 h 6479439"/>
              <a:gd name="connsiteX2606" fmla="*/ 478632 w 9586368"/>
              <a:gd name="connsiteY2606" fmla="*/ 4800188 h 6479439"/>
              <a:gd name="connsiteX2607" fmla="*/ 478632 w 9586368"/>
              <a:gd name="connsiteY2607" fmla="*/ 4790317 h 6479439"/>
              <a:gd name="connsiteX2608" fmla="*/ 243338 w 9586368"/>
              <a:gd name="connsiteY2608" fmla="*/ 4786279 h 6479439"/>
              <a:gd name="connsiteX2609" fmla="*/ 253247 w 9586368"/>
              <a:gd name="connsiteY2609" fmla="*/ 4786279 h 6479439"/>
              <a:gd name="connsiteX2610" fmla="*/ 257266 w 9586368"/>
              <a:gd name="connsiteY2610" fmla="*/ 4790317 h 6479439"/>
              <a:gd name="connsiteX2611" fmla="*/ 257266 w 9586368"/>
              <a:gd name="connsiteY2611" fmla="*/ 4800188 h 6479439"/>
              <a:gd name="connsiteX2612" fmla="*/ 253247 w 9586368"/>
              <a:gd name="connsiteY2612" fmla="*/ 4804227 h 6479439"/>
              <a:gd name="connsiteX2613" fmla="*/ 243338 w 9586368"/>
              <a:gd name="connsiteY2613" fmla="*/ 4804227 h 6479439"/>
              <a:gd name="connsiteX2614" fmla="*/ 239318 w 9586368"/>
              <a:gd name="connsiteY2614" fmla="*/ 4800188 h 6479439"/>
              <a:gd name="connsiteX2615" fmla="*/ 239318 w 9586368"/>
              <a:gd name="connsiteY2615" fmla="*/ 4790317 h 6479439"/>
              <a:gd name="connsiteX2616" fmla="*/ 4024 w 9586368"/>
              <a:gd name="connsiteY2616" fmla="*/ 4786279 h 6479439"/>
              <a:gd name="connsiteX2617" fmla="*/ 13934 w 9586368"/>
              <a:gd name="connsiteY2617" fmla="*/ 4786279 h 6479439"/>
              <a:gd name="connsiteX2618" fmla="*/ 17954 w 9586368"/>
              <a:gd name="connsiteY2618" fmla="*/ 4790317 h 6479439"/>
              <a:gd name="connsiteX2619" fmla="*/ 17954 w 9586368"/>
              <a:gd name="connsiteY2619" fmla="*/ 4800188 h 6479439"/>
              <a:gd name="connsiteX2620" fmla="*/ 13934 w 9586368"/>
              <a:gd name="connsiteY2620" fmla="*/ 4804227 h 6479439"/>
              <a:gd name="connsiteX2621" fmla="*/ 4024 w 9586368"/>
              <a:gd name="connsiteY2621" fmla="*/ 4804227 h 6479439"/>
              <a:gd name="connsiteX2622" fmla="*/ 5 w 9586368"/>
              <a:gd name="connsiteY2622" fmla="*/ 4800188 h 6479439"/>
              <a:gd name="connsiteX2623" fmla="*/ 5 w 9586368"/>
              <a:gd name="connsiteY2623" fmla="*/ 4790317 h 6479439"/>
              <a:gd name="connsiteX2624" fmla="*/ 2157819 w 9586368"/>
              <a:gd name="connsiteY2624" fmla="*/ 4546999 h 6479439"/>
              <a:gd name="connsiteX2625" fmla="*/ 2167729 w 9586368"/>
              <a:gd name="connsiteY2625" fmla="*/ 4546999 h 6479439"/>
              <a:gd name="connsiteX2626" fmla="*/ 2171748 w 9586368"/>
              <a:gd name="connsiteY2626" fmla="*/ 4551038 h 6479439"/>
              <a:gd name="connsiteX2627" fmla="*/ 2171748 w 9586368"/>
              <a:gd name="connsiteY2627" fmla="*/ 4560909 h 6479439"/>
              <a:gd name="connsiteX2628" fmla="*/ 2167729 w 9586368"/>
              <a:gd name="connsiteY2628" fmla="*/ 4564948 h 6479439"/>
              <a:gd name="connsiteX2629" fmla="*/ 2157819 w 9586368"/>
              <a:gd name="connsiteY2629" fmla="*/ 4564948 h 6479439"/>
              <a:gd name="connsiteX2630" fmla="*/ 2153801 w 9586368"/>
              <a:gd name="connsiteY2630" fmla="*/ 4560909 h 6479439"/>
              <a:gd name="connsiteX2631" fmla="*/ 2153801 w 9586368"/>
              <a:gd name="connsiteY2631" fmla="*/ 4551038 h 6479439"/>
              <a:gd name="connsiteX2632" fmla="*/ 1918510 w 9586368"/>
              <a:gd name="connsiteY2632" fmla="*/ 4546999 h 6479439"/>
              <a:gd name="connsiteX2633" fmla="*/ 1928421 w 9586368"/>
              <a:gd name="connsiteY2633" fmla="*/ 4546999 h 6479439"/>
              <a:gd name="connsiteX2634" fmla="*/ 1932440 w 9586368"/>
              <a:gd name="connsiteY2634" fmla="*/ 4551038 h 6479439"/>
              <a:gd name="connsiteX2635" fmla="*/ 1932440 w 9586368"/>
              <a:gd name="connsiteY2635" fmla="*/ 4560909 h 6479439"/>
              <a:gd name="connsiteX2636" fmla="*/ 1928421 w 9586368"/>
              <a:gd name="connsiteY2636" fmla="*/ 4564948 h 6479439"/>
              <a:gd name="connsiteX2637" fmla="*/ 1918510 w 9586368"/>
              <a:gd name="connsiteY2637" fmla="*/ 4564948 h 6479439"/>
              <a:gd name="connsiteX2638" fmla="*/ 1914492 w 9586368"/>
              <a:gd name="connsiteY2638" fmla="*/ 4560909 h 6479439"/>
              <a:gd name="connsiteX2639" fmla="*/ 1914492 w 9586368"/>
              <a:gd name="connsiteY2639" fmla="*/ 4551038 h 6479439"/>
              <a:gd name="connsiteX2640" fmla="*/ 1679206 w 9586368"/>
              <a:gd name="connsiteY2640" fmla="*/ 4546999 h 6479439"/>
              <a:gd name="connsiteX2641" fmla="*/ 1689116 w 9586368"/>
              <a:gd name="connsiteY2641" fmla="*/ 4546999 h 6479439"/>
              <a:gd name="connsiteX2642" fmla="*/ 1693134 w 9586368"/>
              <a:gd name="connsiteY2642" fmla="*/ 4551038 h 6479439"/>
              <a:gd name="connsiteX2643" fmla="*/ 1693134 w 9586368"/>
              <a:gd name="connsiteY2643" fmla="*/ 4560909 h 6479439"/>
              <a:gd name="connsiteX2644" fmla="*/ 1689116 w 9586368"/>
              <a:gd name="connsiteY2644" fmla="*/ 4564948 h 6479439"/>
              <a:gd name="connsiteX2645" fmla="*/ 1679206 w 9586368"/>
              <a:gd name="connsiteY2645" fmla="*/ 4564948 h 6479439"/>
              <a:gd name="connsiteX2646" fmla="*/ 1675187 w 9586368"/>
              <a:gd name="connsiteY2646" fmla="*/ 4560909 h 6479439"/>
              <a:gd name="connsiteX2647" fmla="*/ 1675187 w 9586368"/>
              <a:gd name="connsiteY2647" fmla="*/ 4551038 h 6479439"/>
              <a:gd name="connsiteX2648" fmla="*/ 1439890 w 9586368"/>
              <a:gd name="connsiteY2648" fmla="*/ 4546999 h 6479439"/>
              <a:gd name="connsiteX2649" fmla="*/ 1449800 w 9586368"/>
              <a:gd name="connsiteY2649" fmla="*/ 4546999 h 6479439"/>
              <a:gd name="connsiteX2650" fmla="*/ 1453819 w 9586368"/>
              <a:gd name="connsiteY2650" fmla="*/ 4551038 h 6479439"/>
              <a:gd name="connsiteX2651" fmla="*/ 1453819 w 9586368"/>
              <a:gd name="connsiteY2651" fmla="*/ 4560909 h 6479439"/>
              <a:gd name="connsiteX2652" fmla="*/ 1449800 w 9586368"/>
              <a:gd name="connsiteY2652" fmla="*/ 4564948 h 6479439"/>
              <a:gd name="connsiteX2653" fmla="*/ 1439890 w 9586368"/>
              <a:gd name="connsiteY2653" fmla="*/ 4564948 h 6479439"/>
              <a:gd name="connsiteX2654" fmla="*/ 1435871 w 9586368"/>
              <a:gd name="connsiteY2654" fmla="*/ 4560909 h 6479439"/>
              <a:gd name="connsiteX2655" fmla="*/ 1435871 w 9586368"/>
              <a:gd name="connsiteY2655" fmla="*/ 4551038 h 6479439"/>
              <a:gd name="connsiteX2656" fmla="*/ 1200575 w 9586368"/>
              <a:gd name="connsiteY2656" fmla="*/ 4546999 h 6479439"/>
              <a:gd name="connsiteX2657" fmla="*/ 1210485 w 9586368"/>
              <a:gd name="connsiteY2657" fmla="*/ 4546999 h 6479439"/>
              <a:gd name="connsiteX2658" fmla="*/ 1214504 w 9586368"/>
              <a:gd name="connsiteY2658" fmla="*/ 4551038 h 6479439"/>
              <a:gd name="connsiteX2659" fmla="*/ 1214504 w 9586368"/>
              <a:gd name="connsiteY2659" fmla="*/ 4560909 h 6479439"/>
              <a:gd name="connsiteX2660" fmla="*/ 1210485 w 9586368"/>
              <a:gd name="connsiteY2660" fmla="*/ 4564948 h 6479439"/>
              <a:gd name="connsiteX2661" fmla="*/ 1200575 w 9586368"/>
              <a:gd name="connsiteY2661" fmla="*/ 4564948 h 6479439"/>
              <a:gd name="connsiteX2662" fmla="*/ 1196556 w 9586368"/>
              <a:gd name="connsiteY2662" fmla="*/ 4560909 h 6479439"/>
              <a:gd name="connsiteX2663" fmla="*/ 1196556 w 9586368"/>
              <a:gd name="connsiteY2663" fmla="*/ 4551038 h 6479439"/>
              <a:gd name="connsiteX2664" fmla="*/ 961262 w 9586368"/>
              <a:gd name="connsiteY2664" fmla="*/ 4546999 h 6479439"/>
              <a:gd name="connsiteX2665" fmla="*/ 971172 w 9586368"/>
              <a:gd name="connsiteY2665" fmla="*/ 4546999 h 6479439"/>
              <a:gd name="connsiteX2666" fmla="*/ 975191 w 9586368"/>
              <a:gd name="connsiteY2666" fmla="*/ 4551038 h 6479439"/>
              <a:gd name="connsiteX2667" fmla="*/ 975191 w 9586368"/>
              <a:gd name="connsiteY2667" fmla="*/ 4560909 h 6479439"/>
              <a:gd name="connsiteX2668" fmla="*/ 971172 w 9586368"/>
              <a:gd name="connsiteY2668" fmla="*/ 4564948 h 6479439"/>
              <a:gd name="connsiteX2669" fmla="*/ 961262 w 9586368"/>
              <a:gd name="connsiteY2669" fmla="*/ 4564948 h 6479439"/>
              <a:gd name="connsiteX2670" fmla="*/ 957243 w 9586368"/>
              <a:gd name="connsiteY2670" fmla="*/ 4560909 h 6479439"/>
              <a:gd name="connsiteX2671" fmla="*/ 957243 w 9586368"/>
              <a:gd name="connsiteY2671" fmla="*/ 4551038 h 6479439"/>
              <a:gd name="connsiteX2672" fmla="*/ 9572438 w 9586368"/>
              <a:gd name="connsiteY2672" fmla="*/ 4546948 h 6479439"/>
              <a:gd name="connsiteX2673" fmla="*/ 9582349 w 9586368"/>
              <a:gd name="connsiteY2673" fmla="*/ 4546948 h 6479439"/>
              <a:gd name="connsiteX2674" fmla="*/ 9586368 w 9586368"/>
              <a:gd name="connsiteY2674" fmla="*/ 4550987 h 6479439"/>
              <a:gd name="connsiteX2675" fmla="*/ 9586368 w 9586368"/>
              <a:gd name="connsiteY2675" fmla="*/ 4560858 h 6479439"/>
              <a:gd name="connsiteX2676" fmla="*/ 9582349 w 9586368"/>
              <a:gd name="connsiteY2676" fmla="*/ 4564897 h 6479439"/>
              <a:gd name="connsiteX2677" fmla="*/ 9572438 w 9586368"/>
              <a:gd name="connsiteY2677" fmla="*/ 4564897 h 6479439"/>
              <a:gd name="connsiteX2678" fmla="*/ 9568419 w 9586368"/>
              <a:gd name="connsiteY2678" fmla="*/ 4560858 h 6479439"/>
              <a:gd name="connsiteX2679" fmla="*/ 9568419 w 9586368"/>
              <a:gd name="connsiteY2679" fmla="*/ 4550987 h 6479439"/>
              <a:gd name="connsiteX2680" fmla="*/ 9333125 w 9586368"/>
              <a:gd name="connsiteY2680" fmla="*/ 4546948 h 6479439"/>
              <a:gd name="connsiteX2681" fmla="*/ 9343036 w 9586368"/>
              <a:gd name="connsiteY2681" fmla="*/ 4546948 h 6479439"/>
              <a:gd name="connsiteX2682" fmla="*/ 9347055 w 9586368"/>
              <a:gd name="connsiteY2682" fmla="*/ 4550987 h 6479439"/>
              <a:gd name="connsiteX2683" fmla="*/ 9347055 w 9586368"/>
              <a:gd name="connsiteY2683" fmla="*/ 4560858 h 6479439"/>
              <a:gd name="connsiteX2684" fmla="*/ 9343036 w 9586368"/>
              <a:gd name="connsiteY2684" fmla="*/ 4564897 h 6479439"/>
              <a:gd name="connsiteX2685" fmla="*/ 9333125 w 9586368"/>
              <a:gd name="connsiteY2685" fmla="*/ 4564897 h 6479439"/>
              <a:gd name="connsiteX2686" fmla="*/ 9329106 w 9586368"/>
              <a:gd name="connsiteY2686" fmla="*/ 4560858 h 6479439"/>
              <a:gd name="connsiteX2687" fmla="*/ 9329106 w 9586368"/>
              <a:gd name="connsiteY2687" fmla="*/ 4550987 h 6479439"/>
              <a:gd name="connsiteX2688" fmla="*/ 9093811 w 9586368"/>
              <a:gd name="connsiteY2688" fmla="*/ 4546948 h 6479439"/>
              <a:gd name="connsiteX2689" fmla="*/ 9103722 w 9586368"/>
              <a:gd name="connsiteY2689" fmla="*/ 4546948 h 6479439"/>
              <a:gd name="connsiteX2690" fmla="*/ 9107741 w 9586368"/>
              <a:gd name="connsiteY2690" fmla="*/ 4550987 h 6479439"/>
              <a:gd name="connsiteX2691" fmla="*/ 9107741 w 9586368"/>
              <a:gd name="connsiteY2691" fmla="*/ 4560858 h 6479439"/>
              <a:gd name="connsiteX2692" fmla="*/ 9103722 w 9586368"/>
              <a:gd name="connsiteY2692" fmla="*/ 4564897 h 6479439"/>
              <a:gd name="connsiteX2693" fmla="*/ 9093811 w 9586368"/>
              <a:gd name="connsiteY2693" fmla="*/ 4564897 h 6479439"/>
              <a:gd name="connsiteX2694" fmla="*/ 9089792 w 9586368"/>
              <a:gd name="connsiteY2694" fmla="*/ 4560858 h 6479439"/>
              <a:gd name="connsiteX2695" fmla="*/ 9089792 w 9586368"/>
              <a:gd name="connsiteY2695" fmla="*/ 4550987 h 6479439"/>
              <a:gd name="connsiteX2696" fmla="*/ 8854496 w 9586368"/>
              <a:gd name="connsiteY2696" fmla="*/ 4546948 h 6479439"/>
              <a:gd name="connsiteX2697" fmla="*/ 8864407 w 9586368"/>
              <a:gd name="connsiteY2697" fmla="*/ 4546948 h 6479439"/>
              <a:gd name="connsiteX2698" fmla="*/ 8868426 w 9586368"/>
              <a:gd name="connsiteY2698" fmla="*/ 4550987 h 6479439"/>
              <a:gd name="connsiteX2699" fmla="*/ 8868426 w 9586368"/>
              <a:gd name="connsiteY2699" fmla="*/ 4560858 h 6479439"/>
              <a:gd name="connsiteX2700" fmla="*/ 8864407 w 9586368"/>
              <a:gd name="connsiteY2700" fmla="*/ 4564897 h 6479439"/>
              <a:gd name="connsiteX2701" fmla="*/ 8854496 w 9586368"/>
              <a:gd name="connsiteY2701" fmla="*/ 4564897 h 6479439"/>
              <a:gd name="connsiteX2702" fmla="*/ 8850477 w 9586368"/>
              <a:gd name="connsiteY2702" fmla="*/ 4560858 h 6479439"/>
              <a:gd name="connsiteX2703" fmla="*/ 8850477 w 9586368"/>
              <a:gd name="connsiteY2703" fmla="*/ 4550987 h 6479439"/>
              <a:gd name="connsiteX2704" fmla="*/ 8615184 w 9586368"/>
              <a:gd name="connsiteY2704" fmla="*/ 4546948 h 6479439"/>
              <a:gd name="connsiteX2705" fmla="*/ 8625095 w 9586368"/>
              <a:gd name="connsiteY2705" fmla="*/ 4546948 h 6479439"/>
              <a:gd name="connsiteX2706" fmla="*/ 8629114 w 9586368"/>
              <a:gd name="connsiteY2706" fmla="*/ 4550987 h 6479439"/>
              <a:gd name="connsiteX2707" fmla="*/ 8629114 w 9586368"/>
              <a:gd name="connsiteY2707" fmla="*/ 4560858 h 6479439"/>
              <a:gd name="connsiteX2708" fmla="*/ 8625095 w 9586368"/>
              <a:gd name="connsiteY2708" fmla="*/ 4564897 h 6479439"/>
              <a:gd name="connsiteX2709" fmla="*/ 8615184 w 9586368"/>
              <a:gd name="connsiteY2709" fmla="*/ 4564897 h 6479439"/>
              <a:gd name="connsiteX2710" fmla="*/ 8611165 w 9586368"/>
              <a:gd name="connsiteY2710" fmla="*/ 4560858 h 6479439"/>
              <a:gd name="connsiteX2711" fmla="*/ 8611165 w 9586368"/>
              <a:gd name="connsiteY2711" fmla="*/ 4550987 h 6479439"/>
              <a:gd name="connsiteX2712" fmla="*/ 8375869 w 9586368"/>
              <a:gd name="connsiteY2712" fmla="*/ 4546948 h 6479439"/>
              <a:gd name="connsiteX2713" fmla="*/ 8385779 w 9586368"/>
              <a:gd name="connsiteY2713" fmla="*/ 4546948 h 6479439"/>
              <a:gd name="connsiteX2714" fmla="*/ 8389799 w 9586368"/>
              <a:gd name="connsiteY2714" fmla="*/ 4550987 h 6479439"/>
              <a:gd name="connsiteX2715" fmla="*/ 8389799 w 9586368"/>
              <a:gd name="connsiteY2715" fmla="*/ 4560858 h 6479439"/>
              <a:gd name="connsiteX2716" fmla="*/ 8385779 w 9586368"/>
              <a:gd name="connsiteY2716" fmla="*/ 4564897 h 6479439"/>
              <a:gd name="connsiteX2717" fmla="*/ 8375869 w 9586368"/>
              <a:gd name="connsiteY2717" fmla="*/ 4564897 h 6479439"/>
              <a:gd name="connsiteX2718" fmla="*/ 8371850 w 9586368"/>
              <a:gd name="connsiteY2718" fmla="*/ 4560858 h 6479439"/>
              <a:gd name="connsiteX2719" fmla="*/ 8371850 w 9586368"/>
              <a:gd name="connsiteY2719" fmla="*/ 4550987 h 6479439"/>
              <a:gd name="connsiteX2720" fmla="*/ 8136553 w 9586368"/>
              <a:gd name="connsiteY2720" fmla="*/ 4546948 h 6479439"/>
              <a:gd name="connsiteX2721" fmla="*/ 8146464 w 9586368"/>
              <a:gd name="connsiteY2721" fmla="*/ 4546948 h 6479439"/>
              <a:gd name="connsiteX2722" fmla="*/ 8150483 w 9586368"/>
              <a:gd name="connsiteY2722" fmla="*/ 4550987 h 6479439"/>
              <a:gd name="connsiteX2723" fmla="*/ 8150483 w 9586368"/>
              <a:gd name="connsiteY2723" fmla="*/ 4560858 h 6479439"/>
              <a:gd name="connsiteX2724" fmla="*/ 8146464 w 9586368"/>
              <a:gd name="connsiteY2724" fmla="*/ 4564897 h 6479439"/>
              <a:gd name="connsiteX2725" fmla="*/ 8136553 w 9586368"/>
              <a:gd name="connsiteY2725" fmla="*/ 4564897 h 6479439"/>
              <a:gd name="connsiteX2726" fmla="*/ 8132534 w 9586368"/>
              <a:gd name="connsiteY2726" fmla="*/ 4560858 h 6479439"/>
              <a:gd name="connsiteX2727" fmla="*/ 8132534 w 9586368"/>
              <a:gd name="connsiteY2727" fmla="*/ 4550987 h 6479439"/>
              <a:gd name="connsiteX2728" fmla="*/ 7897241 w 9586368"/>
              <a:gd name="connsiteY2728" fmla="*/ 4546948 h 6479439"/>
              <a:gd name="connsiteX2729" fmla="*/ 7907151 w 9586368"/>
              <a:gd name="connsiteY2729" fmla="*/ 4546948 h 6479439"/>
              <a:gd name="connsiteX2730" fmla="*/ 7911170 w 9586368"/>
              <a:gd name="connsiteY2730" fmla="*/ 4550987 h 6479439"/>
              <a:gd name="connsiteX2731" fmla="*/ 7911170 w 9586368"/>
              <a:gd name="connsiteY2731" fmla="*/ 4560858 h 6479439"/>
              <a:gd name="connsiteX2732" fmla="*/ 7907151 w 9586368"/>
              <a:gd name="connsiteY2732" fmla="*/ 4564897 h 6479439"/>
              <a:gd name="connsiteX2733" fmla="*/ 7897241 w 9586368"/>
              <a:gd name="connsiteY2733" fmla="*/ 4564897 h 6479439"/>
              <a:gd name="connsiteX2734" fmla="*/ 7893222 w 9586368"/>
              <a:gd name="connsiteY2734" fmla="*/ 4560858 h 6479439"/>
              <a:gd name="connsiteX2735" fmla="*/ 7893222 w 9586368"/>
              <a:gd name="connsiteY2735" fmla="*/ 4550987 h 6479439"/>
              <a:gd name="connsiteX2736" fmla="*/ 7657926 w 9586368"/>
              <a:gd name="connsiteY2736" fmla="*/ 4546948 h 6479439"/>
              <a:gd name="connsiteX2737" fmla="*/ 7667836 w 9586368"/>
              <a:gd name="connsiteY2737" fmla="*/ 4546948 h 6479439"/>
              <a:gd name="connsiteX2738" fmla="*/ 7671855 w 9586368"/>
              <a:gd name="connsiteY2738" fmla="*/ 4550987 h 6479439"/>
              <a:gd name="connsiteX2739" fmla="*/ 7671855 w 9586368"/>
              <a:gd name="connsiteY2739" fmla="*/ 4560858 h 6479439"/>
              <a:gd name="connsiteX2740" fmla="*/ 7667836 w 9586368"/>
              <a:gd name="connsiteY2740" fmla="*/ 4564897 h 6479439"/>
              <a:gd name="connsiteX2741" fmla="*/ 7657926 w 9586368"/>
              <a:gd name="connsiteY2741" fmla="*/ 4564897 h 6479439"/>
              <a:gd name="connsiteX2742" fmla="*/ 7653906 w 9586368"/>
              <a:gd name="connsiteY2742" fmla="*/ 4560858 h 6479439"/>
              <a:gd name="connsiteX2743" fmla="*/ 7653906 w 9586368"/>
              <a:gd name="connsiteY2743" fmla="*/ 4550987 h 6479439"/>
              <a:gd name="connsiteX2744" fmla="*/ 7418611 w 9586368"/>
              <a:gd name="connsiteY2744" fmla="*/ 4546948 h 6479439"/>
              <a:gd name="connsiteX2745" fmla="*/ 7428521 w 9586368"/>
              <a:gd name="connsiteY2745" fmla="*/ 4546948 h 6479439"/>
              <a:gd name="connsiteX2746" fmla="*/ 7432540 w 9586368"/>
              <a:gd name="connsiteY2746" fmla="*/ 4550987 h 6479439"/>
              <a:gd name="connsiteX2747" fmla="*/ 7432540 w 9586368"/>
              <a:gd name="connsiteY2747" fmla="*/ 4560858 h 6479439"/>
              <a:gd name="connsiteX2748" fmla="*/ 7428521 w 9586368"/>
              <a:gd name="connsiteY2748" fmla="*/ 4564897 h 6479439"/>
              <a:gd name="connsiteX2749" fmla="*/ 7418611 w 9586368"/>
              <a:gd name="connsiteY2749" fmla="*/ 4564897 h 6479439"/>
              <a:gd name="connsiteX2750" fmla="*/ 7414592 w 9586368"/>
              <a:gd name="connsiteY2750" fmla="*/ 4560858 h 6479439"/>
              <a:gd name="connsiteX2751" fmla="*/ 7414592 w 9586368"/>
              <a:gd name="connsiteY2751" fmla="*/ 4550987 h 6479439"/>
              <a:gd name="connsiteX2752" fmla="*/ 7179298 w 9586368"/>
              <a:gd name="connsiteY2752" fmla="*/ 4546948 h 6479439"/>
              <a:gd name="connsiteX2753" fmla="*/ 7189209 w 9586368"/>
              <a:gd name="connsiteY2753" fmla="*/ 4546948 h 6479439"/>
              <a:gd name="connsiteX2754" fmla="*/ 7193228 w 9586368"/>
              <a:gd name="connsiteY2754" fmla="*/ 4550987 h 6479439"/>
              <a:gd name="connsiteX2755" fmla="*/ 7193228 w 9586368"/>
              <a:gd name="connsiteY2755" fmla="*/ 4560858 h 6479439"/>
              <a:gd name="connsiteX2756" fmla="*/ 7189209 w 9586368"/>
              <a:gd name="connsiteY2756" fmla="*/ 4564897 h 6479439"/>
              <a:gd name="connsiteX2757" fmla="*/ 7179298 w 9586368"/>
              <a:gd name="connsiteY2757" fmla="*/ 4564897 h 6479439"/>
              <a:gd name="connsiteX2758" fmla="*/ 7175279 w 9586368"/>
              <a:gd name="connsiteY2758" fmla="*/ 4560858 h 6479439"/>
              <a:gd name="connsiteX2759" fmla="*/ 7175279 w 9586368"/>
              <a:gd name="connsiteY2759" fmla="*/ 4550987 h 6479439"/>
              <a:gd name="connsiteX2760" fmla="*/ 6939983 w 9586368"/>
              <a:gd name="connsiteY2760" fmla="*/ 4546948 h 6479439"/>
              <a:gd name="connsiteX2761" fmla="*/ 6949894 w 9586368"/>
              <a:gd name="connsiteY2761" fmla="*/ 4546948 h 6479439"/>
              <a:gd name="connsiteX2762" fmla="*/ 6953913 w 9586368"/>
              <a:gd name="connsiteY2762" fmla="*/ 4550987 h 6479439"/>
              <a:gd name="connsiteX2763" fmla="*/ 6953913 w 9586368"/>
              <a:gd name="connsiteY2763" fmla="*/ 4560858 h 6479439"/>
              <a:gd name="connsiteX2764" fmla="*/ 6949894 w 9586368"/>
              <a:gd name="connsiteY2764" fmla="*/ 4564897 h 6479439"/>
              <a:gd name="connsiteX2765" fmla="*/ 6939983 w 9586368"/>
              <a:gd name="connsiteY2765" fmla="*/ 4564897 h 6479439"/>
              <a:gd name="connsiteX2766" fmla="*/ 6935964 w 9586368"/>
              <a:gd name="connsiteY2766" fmla="*/ 4560858 h 6479439"/>
              <a:gd name="connsiteX2767" fmla="*/ 6935964 w 9586368"/>
              <a:gd name="connsiteY2767" fmla="*/ 4550987 h 6479439"/>
              <a:gd name="connsiteX2768" fmla="*/ 6700670 w 9586368"/>
              <a:gd name="connsiteY2768" fmla="*/ 4546948 h 6479439"/>
              <a:gd name="connsiteX2769" fmla="*/ 6710581 w 9586368"/>
              <a:gd name="connsiteY2769" fmla="*/ 4546948 h 6479439"/>
              <a:gd name="connsiteX2770" fmla="*/ 6714600 w 9586368"/>
              <a:gd name="connsiteY2770" fmla="*/ 4550987 h 6479439"/>
              <a:gd name="connsiteX2771" fmla="*/ 6714600 w 9586368"/>
              <a:gd name="connsiteY2771" fmla="*/ 4560858 h 6479439"/>
              <a:gd name="connsiteX2772" fmla="*/ 6710581 w 9586368"/>
              <a:gd name="connsiteY2772" fmla="*/ 4564897 h 6479439"/>
              <a:gd name="connsiteX2773" fmla="*/ 6700670 w 9586368"/>
              <a:gd name="connsiteY2773" fmla="*/ 4564897 h 6479439"/>
              <a:gd name="connsiteX2774" fmla="*/ 6696651 w 9586368"/>
              <a:gd name="connsiteY2774" fmla="*/ 4560858 h 6479439"/>
              <a:gd name="connsiteX2775" fmla="*/ 6696651 w 9586368"/>
              <a:gd name="connsiteY2775" fmla="*/ 4550987 h 6479439"/>
              <a:gd name="connsiteX2776" fmla="*/ 6461356 w 9586368"/>
              <a:gd name="connsiteY2776" fmla="*/ 4546948 h 6479439"/>
              <a:gd name="connsiteX2777" fmla="*/ 6471266 w 9586368"/>
              <a:gd name="connsiteY2777" fmla="*/ 4546948 h 6479439"/>
              <a:gd name="connsiteX2778" fmla="*/ 6475285 w 9586368"/>
              <a:gd name="connsiteY2778" fmla="*/ 4550987 h 6479439"/>
              <a:gd name="connsiteX2779" fmla="*/ 6475285 w 9586368"/>
              <a:gd name="connsiteY2779" fmla="*/ 4560858 h 6479439"/>
              <a:gd name="connsiteX2780" fmla="*/ 6471266 w 9586368"/>
              <a:gd name="connsiteY2780" fmla="*/ 4564897 h 6479439"/>
              <a:gd name="connsiteX2781" fmla="*/ 6461356 w 9586368"/>
              <a:gd name="connsiteY2781" fmla="*/ 4564897 h 6479439"/>
              <a:gd name="connsiteX2782" fmla="*/ 6457337 w 9586368"/>
              <a:gd name="connsiteY2782" fmla="*/ 4560858 h 6479439"/>
              <a:gd name="connsiteX2783" fmla="*/ 6457337 w 9586368"/>
              <a:gd name="connsiteY2783" fmla="*/ 4550987 h 6479439"/>
              <a:gd name="connsiteX2784" fmla="*/ 6222042 w 9586368"/>
              <a:gd name="connsiteY2784" fmla="*/ 4546948 h 6479439"/>
              <a:gd name="connsiteX2785" fmla="*/ 6231952 w 9586368"/>
              <a:gd name="connsiteY2785" fmla="*/ 4546948 h 6479439"/>
              <a:gd name="connsiteX2786" fmla="*/ 6235971 w 9586368"/>
              <a:gd name="connsiteY2786" fmla="*/ 4550987 h 6479439"/>
              <a:gd name="connsiteX2787" fmla="*/ 6235971 w 9586368"/>
              <a:gd name="connsiteY2787" fmla="*/ 4560858 h 6479439"/>
              <a:gd name="connsiteX2788" fmla="*/ 6231952 w 9586368"/>
              <a:gd name="connsiteY2788" fmla="*/ 4564897 h 6479439"/>
              <a:gd name="connsiteX2789" fmla="*/ 6222042 w 9586368"/>
              <a:gd name="connsiteY2789" fmla="*/ 4564897 h 6479439"/>
              <a:gd name="connsiteX2790" fmla="*/ 6218023 w 9586368"/>
              <a:gd name="connsiteY2790" fmla="*/ 4560858 h 6479439"/>
              <a:gd name="connsiteX2791" fmla="*/ 6218023 w 9586368"/>
              <a:gd name="connsiteY2791" fmla="*/ 4550987 h 6479439"/>
              <a:gd name="connsiteX2792" fmla="*/ 5982729 w 9586368"/>
              <a:gd name="connsiteY2792" fmla="*/ 4546948 h 6479439"/>
              <a:gd name="connsiteX2793" fmla="*/ 5992639 w 9586368"/>
              <a:gd name="connsiteY2793" fmla="*/ 4546948 h 6479439"/>
              <a:gd name="connsiteX2794" fmla="*/ 5996658 w 9586368"/>
              <a:gd name="connsiteY2794" fmla="*/ 4550987 h 6479439"/>
              <a:gd name="connsiteX2795" fmla="*/ 5996658 w 9586368"/>
              <a:gd name="connsiteY2795" fmla="*/ 4560858 h 6479439"/>
              <a:gd name="connsiteX2796" fmla="*/ 5992639 w 9586368"/>
              <a:gd name="connsiteY2796" fmla="*/ 4564897 h 6479439"/>
              <a:gd name="connsiteX2797" fmla="*/ 5982729 w 9586368"/>
              <a:gd name="connsiteY2797" fmla="*/ 4564897 h 6479439"/>
              <a:gd name="connsiteX2798" fmla="*/ 5978710 w 9586368"/>
              <a:gd name="connsiteY2798" fmla="*/ 4560858 h 6479439"/>
              <a:gd name="connsiteX2799" fmla="*/ 5978710 w 9586368"/>
              <a:gd name="connsiteY2799" fmla="*/ 4550987 h 6479439"/>
              <a:gd name="connsiteX2800" fmla="*/ 5743412 w 9586368"/>
              <a:gd name="connsiteY2800" fmla="*/ 4546948 h 6479439"/>
              <a:gd name="connsiteX2801" fmla="*/ 5753323 w 9586368"/>
              <a:gd name="connsiteY2801" fmla="*/ 4546948 h 6479439"/>
              <a:gd name="connsiteX2802" fmla="*/ 5757342 w 9586368"/>
              <a:gd name="connsiteY2802" fmla="*/ 4550987 h 6479439"/>
              <a:gd name="connsiteX2803" fmla="*/ 5757342 w 9586368"/>
              <a:gd name="connsiteY2803" fmla="*/ 4560858 h 6479439"/>
              <a:gd name="connsiteX2804" fmla="*/ 5753323 w 9586368"/>
              <a:gd name="connsiteY2804" fmla="*/ 4564897 h 6479439"/>
              <a:gd name="connsiteX2805" fmla="*/ 5743412 w 9586368"/>
              <a:gd name="connsiteY2805" fmla="*/ 4564897 h 6479439"/>
              <a:gd name="connsiteX2806" fmla="*/ 5739393 w 9586368"/>
              <a:gd name="connsiteY2806" fmla="*/ 4560858 h 6479439"/>
              <a:gd name="connsiteX2807" fmla="*/ 5739393 w 9586368"/>
              <a:gd name="connsiteY2807" fmla="*/ 4550987 h 6479439"/>
              <a:gd name="connsiteX2808" fmla="*/ 5504099 w 9586368"/>
              <a:gd name="connsiteY2808" fmla="*/ 4546948 h 6479439"/>
              <a:gd name="connsiteX2809" fmla="*/ 5514010 w 9586368"/>
              <a:gd name="connsiteY2809" fmla="*/ 4546948 h 6479439"/>
              <a:gd name="connsiteX2810" fmla="*/ 5518029 w 9586368"/>
              <a:gd name="connsiteY2810" fmla="*/ 4550987 h 6479439"/>
              <a:gd name="connsiteX2811" fmla="*/ 5518029 w 9586368"/>
              <a:gd name="connsiteY2811" fmla="*/ 4560858 h 6479439"/>
              <a:gd name="connsiteX2812" fmla="*/ 5514010 w 9586368"/>
              <a:gd name="connsiteY2812" fmla="*/ 4564897 h 6479439"/>
              <a:gd name="connsiteX2813" fmla="*/ 5504099 w 9586368"/>
              <a:gd name="connsiteY2813" fmla="*/ 4564897 h 6479439"/>
              <a:gd name="connsiteX2814" fmla="*/ 5500080 w 9586368"/>
              <a:gd name="connsiteY2814" fmla="*/ 4560858 h 6479439"/>
              <a:gd name="connsiteX2815" fmla="*/ 5500080 w 9586368"/>
              <a:gd name="connsiteY2815" fmla="*/ 4550987 h 6479439"/>
              <a:gd name="connsiteX2816" fmla="*/ 5264784 w 9586368"/>
              <a:gd name="connsiteY2816" fmla="*/ 4546948 h 6479439"/>
              <a:gd name="connsiteX2817" fmla="*/ 5274694 w 9586368"/>
              <a:gd name="connsiteY2817" fmla="*/ 4546948 h 6479439"/>
              <a:gd name="connsiteX2818" fmla="*/ 5278713 w 9586368"/>
              <a:gd name="connsiteY2818" fmla="*/ 4550987 h 6479439"/>
              <a:gd name="connsiteX2819" fmla="*/ 5278713 w 9586368"/>
              <a:gd name="connsiteY2819" fmla="*/ 4560858 h 6479439"/>
              <a:gd name="connsiteX2820" fmla="*/ 5274694 w 9586368"/>
              <a:gd name="connsiteY2820" fmla="*/ 4564897 h 6479439"/>
              <a:gd name="connsiteX2821" fmla="*/ 5264784 w 9586368"/>
              <a:gd name="connsiteY2821" fmla="*/ 4564897 h 6479439"/>
              <a:gd name="connsiteX2822" fmla="*/ 5260765 w 9586368"/>
              <a:gd name="connsiteY2822" fmla="*/ 4560858 h 6479439"/>
              <a:gd name="connsiteX2823" fmla="*/ 5260765 w 9586368"/>
              <a:gd name="connsiteY2823" fmla="*/ 4550987 h 6479439"/>
              <a:gd name="connsiteX2824" fmla="*/ 5025470 w 9586368"/>
              <a:gd name="connsiteY2824" fmla="*/ 4546948 h 6479439"/>
              <a:gd name="connsiteX2825" fmla="*/ 5035381 w 9586368"/>
              <a:gd name="connsiteY2825" fmla="*/ 4546948 h 6479439"/>
              <a:gd name="connsiteX2826" fmla="*/ 5039400 w 9586368"/>
              <a:gd name="connsiteY2826" fmla="*/ 4550987 h 6479439"/>
              <a:gd name="connsiteX2827" fmla="*/ 5039400 w 9586368"/>
              <a:gd name="connsiteY2827" fmla="*/ 4560858 h 6479439"/>
              <a:gd name="connsiteX2828" fmla="*/ 5035381 w 9586368"/>
              <a:gd name="connsiteY2828" fmla="*/ 4564897 h 6479439"/>
              <a:gd name="connsiteX2829" fmla="*/ 5025470 w 9586368"/>
              <a:gd name="connsiteY2829" fmla="*/ 4564897 h 6479439"/>
              <a:gd name="connsiteX2830" fmla="*/ 5021451 w 9586368"/>
              <a:gd name="connsiteY2830" fmla="*/ 4560858 h 6479439"/>
              <a:gd name="connsiteX2831" fmla="*/ 5021451 w 9586368"/>
              <a:gd name="connsiteY2831" fmla="*/ 4550987 h 6479439"/>
              <a:gd name="connsiteX2832" fmla="*/ 4786241 w 9586368"/>
              <a:gd name="connsiteY2832" fmla="*/ 4546948 h 6479439"/>
              <a:gd name="connsiteX2833" fmla="*/ 4796152 w 9586368"/>
              <a:gd name="connsiteY2833" fmla="*/ 4546948 h 6479439"/>
              <a:gd name="connsiteX2834" fmla="*/ 4800171 w 9586368"/>
              <a:gd name="connsiteY2834" fmla="*/ 4550987 h 6479439"/>
              <a:gd name="connsiteX2835" fmla="*/ 4800171 w 9586368"/>
              <a:gd name="connsiteY2835" fmla="*/ 4560858 h 6479439"/>
              <a:gd name="connsiteX2836" fmla="*/ 4796152 w 9586368"/>
              <a:gd name="connsiteY2836" fmla="*/ 4564897 h 6479439"/>
              <a:gd name="connsiteX2837" fmla="*/ 4786241 w 9586368"/>
              <a:gd name="connsiteY2837" fmla="*/ 4564897 h 6479439"/>
              <a:gd name="connsiteX2838" fmla="*/ 4782224 w 9586368"/>
              <a:gd name="connsiteY2838" fmla="*/ 4560858 h 6479439"/>
              <a:gd name="connsiteX2839" fmla="*/ 4782224 w 9586368"/>
              <a:gd name="connsiteY2839" fmla="*/ 4550987 h 6479439"/>
              <a:gd name="connsiteX2840" fmla="*/ 4546929 w 9586368"/>
              <a:gd name="connsiteY2840" fmla="*/ 4546948 h 6479439"/>
              <a:gd name="connsiteX2841" fmla="*/ 4556840 w 9586368"/>
              <a:gd name="connsiteY2841" fmla="*/ 4546948 h 6479439"/>
              <a:gd name="connsiteX2842" fmla="*/ 4560859 w 9586368"/>
              <a:gd name="connsiteY2842" fmla="*/ 4550987 h 6479439"/>
              <a:gd name="connsiteX2843" fmla="*/ 4560859 w 9586368"/>
              <a:gd name="connsiteY2843" fmla="*/ 4560858 h 6479439"/>
              <a:gd name="connsiteX2844" fmla="*/ 4556840 w 9586368"/>
              <a:gd name="connsiteY2844" fmla="*/ 4564897 h 6479439"/>
              <a:gd name="connsiteX2845" fmla="*/ 4546929 w 9586368"/>
              <a:gd name="connsiteY2845" fmla="*/ 4564897 h 6479439"/>
              <a:gd name="connsiteX2846" fmla="*/ 4542910 w 9586368"/>
              <a:gd name="connsiteY2846" fmla="*/ 4560858 h 6479439"/>
              <a:gd name="connsiteX2847" fmla="*/ 4542910 w 9586368"/>
              <a:gd name="connsiteY2847" fmla="*/ 4550987 h 6479439"/>
              <a:gd name="connsiteX2848" fmla="*/ 4307612 w 9586368"/>
              <a:gd name="connsiteY2848" fmla="*/ 4546948 h 6479439"/>
              <a:gd name="connsiteX2849" fmla="*/ 4317523 w 9586368"/>
              <a:gd name="connsiteY2849" fmla="*/ 4546948 h 6479439"/>
              <a:gd name="connsiteX2850" fmla="*/ 4321543 w 9586368"/>
              <a:gd name="connsiteY2850" fmla="*/ 4550987 h 6479439"/>
              <a:gd name="connsiteX2851" fmla="*/ 4321543 w 9586368"/>
              <a:gd name="connsiteY2851" fmla="*/ 4560858 h 6479439"/>
              <a:gd name="connsiteX2852" fmla="*/ 4317523 w 9586368"/>
              <a:gd name="connsiteY2852" fmla="*/ 4564897 h 6479439"/>
              <a:gd name="connsiteX2853" fmla="*/ 4307612 w 9586368"/>
              <a:gd name="connsiteY2853" fmla="*/ 4564897 h 6479439"/>
              <a:gd name="connsiteX2854" fmla="*/ 4303595 w 9586368"/>
              <a:gd name="connsiteY2854" fmla="*/ 4560858 h 6479439"/>
              <a:gd name="connsiteX2855" fmla="*/ 4303595 w 9586368"/>
              <a:gd name="connsiteY2855" fmla="*/ 4550987 h 6479439"/>
              <a:gd name="connsiteX2856" fmla="*/ 4068297 w 9586368"/>
              <a:gd name="connsiteY2856" fmla="*/ 4546948 h 6479439"/>
              <a:gd name="connsiteX2857" fmla="*/ 4078210 w 9586368"/>
              <a:gd name="connsiteY2857" fmla="*/ 4546948 h 6479439"/>
              <a:gd name="connsiteX2858" fmla="*/ 4082229 w 9586368"/>
              <a:gd name="connsiteY2858" fmla="*/ 4550987 h 6479439"/>
              <a:gd name="connsiteX2859" fmla="*/ 4082229 w 9586368"/>
              <a:gd name="connsiteY2859" fmla="*/ 4560858 h 6479439"/>
              <a:gd name="connsiteX2860" fmla="*/ 4078210 w 9586368"/>
              <a:gd name="connsiteY2860" fmla="*/ 4564897 h 6479439"/>
              <a:gd name="connsiteX2861" fmla="*/ 4068297 w 9586368"/>
              <a:gd name="connsiteY2861" fmla="*/ 4564897 h 6479439"/>
              <a:gd name="connsiteX2862" fmla="*/ 4064278 w 9586368"/>
              <a:gd name="connsiteY2862" fmla="*/ 4560858 h 6479439"/>
              <a:gd name="connsiteX2863" fmla="*/ 4064278 w 9586368"/>
              <a:gd name="connsiteY2863" fmla="*/ 4550987 h 6479439"/>
              <a:gd name="connsiteX2864" fmla="*/ 3828990 w 9586368"/>
              <a:gd name="connsiteY2864" fmla="*/ 4546948 h 6479439"/>
              <a:gd name="connsiteX2865" fmla="*/ 3838899 w 9586368"/>
              <a:gd name="connsiteY2865" fmla="*/ 4546948 h 6479439"/>
              <a:gd name="connsiteX2866" fmla="*/ 3842917 w 9586368"/>
              <a:gd name="connsiteY2866" fmla="*/ 4550987 h 6479439"/>
              <a:gd name="connsiteX2867" fmla="*/ 3842917 w 9586368"/>
              <a:gd name="connsiteY2867" fmla="*/ 4560858 h 6479439"/>
              <a:gd name="connsiteX2868" fmla="*/ 3838899 w 9586368"/>
              <a:gd name="connsiteY2868" fmla="*/ 4564897 h 6479439"/>
              <a:gd name="connsiteX2869" fmla="*/ 3828990 w 9586368"/>
              <a:gd name="connsiteY2869" fmla="*/ 4564897 h 6479439"/>
              <a:gd name="connsiteX2870" fmla="*/ 3824971 w 9586368"/>
              <a:gd name="connsiteY2870" fmla="*/ 4560858 h 6479439"/>
              <a:gd name="connsiteX2871" fmla="*/ 3824971 w 9586368"/>
              <a:gd name="connsiteY2871" fmla="*/ 4550987 h 6479439"/>
              <a:gd name="connsiteX2872" fmla="*/ 3589676 w 9586368"/>
              <a:gd name="connsiteY2872" fmla="*/ 4546948 h 6479439"/>
              <a:gd name="connsiteX2873" fmla="*/ 3599585 w 9586368"/>
              <a:gd name="connsiteY2873" fmla="*/ 4546948 h 6479439"/>
              <a:gd name="connsiteX2874" fmla="*/ 3603604 w 9586368"/>
              <a:gd name="connsiteY2874" fmla="*/ 4550987 h 6479439"/>
              <a:gd name="connsiteX2875" fmla="*/ 3603604 w 9586368"/>
              <a:gd name="connsiteY2875" fmla="*/ 4560858 h 6479439"/>
              <a:gd name="connsiteX2876" fmla="*/ 3599585 w 9586368"/>
              <a:gd name="connsiteY2876" fmla="*/ 4564897 h 6479439"/>
              <a:gd name="connsiteX2877" fmla="*/ 3589676 w 9586368"/>
              <a:gd name="connsiteY2877" fmla="*/ 4564897 h 6479439"/>
              <a:gd name="connsiteX2878" fmla="*/ 3585657 w 9586368"/>
              <a:gd name="connsiteY2878" fmla="*/ 4560858 h 6479439"/>
              <a:gd name="connsiteX2879" fmla="*/ 3585657 w 9586368"/>
              <a:gd name="connsiteY2879" fmla="*/ 4550987 h 6479439"/>
              <a:gd name="connsiteX2880" fmla="*/ 3350359 w 9586368"/>
              <a:gd name="connsiteY2880" fmla="*/ 4546948 h 6479439"/>
              <a:gd name="connsiteX2881" fmla="*/ 3360268 w 9586368"/>
              <a:gd name="connsiteY2881" fmla="*/ 4546948 h 6479439"/>
              <a:gd name="connsiteX2882" fmla="*/ 3364287 w 9586368"/>
              <a:gd name="connsiteY2882" fmla="*/ 4550987 h 6479439"/>
              <a:gd name="connsiteX2883" fmla="*/ 3364287 w 9586368"/>
              <a:gd name="connsiteY2883" fmla="*/ 4560858 h 6479439"/>
              <a:gd name="connsiteX2884" fmla="*/ 3360268 w 9586368"/>
              <a:gd name="connsiteY2884" fmla="*/ 4564897 h 6479439"/>
              <a:gd name="connsiteX2885" fmla="*/ 3350359 w 9586368"/>
              <a:gd name="connsiteY2885" fmla="*/ 4564897 h 6479439"/>
              <a:gd name="connsiteX2886" fmla="*/ 3346340 w 9586368"/>
              <a:gd name="connsiteY2886" fmla="*/ 4560858 h 6479439"/>
              <a:gd name="connsiteX2887" fmla="*/ 3346340 w 9586368"/>
              <a:gd name="connsiteY2887" fmla="*/ 4550987 h 6479439"/>
              <a:gd name="connsiteX2888" fmla="*/ 3111048 w 9586368"/>
              <a:gd name="connsiteY2888" fmla="*/ 4546948 h 6479439"/>
              <a:gd name="connsiteX2889" fmla="*/ 3120959 w 9586368"/>
              <a:gd name="connsiteY2889" fmla="*/ 4546948 h 6479439"/>
              <a:gd name="connsiteX2890" fmla="*/ 3124977 w 9586368"/>
              <a:gd name="connsiteY2890" fmla="*/ 4550987 h 6479439"/>
              <a:gd name="connsiteX2891" fmla="*/ 3124977 w 9586368"/>
              <a:gd name="connsiteY2891" fmla="*/ 4560858 h 6479439"/>
              <a:gd name="connsiteX2892" fmla="*/ 3120959 w 9586368"/>
              <a:gd name="connsiteY2892" fmla="*/ 4564897 h 6479439"/>
              <a:gd name="connsiteX2893" fmla="*/ 3111048 w 9586368"/>
              <a:gd name="connsiteY2893" fmla="*/ 4564897 h 6479439"/>
              <a:gd name="connsiteX2894" fmla="*/ 3107029 w 9586368"/>
              <a:gd name="connsiteY2894" fmla="*/ 4560858 h 6479439"/>
              <a:gd name="connsiteX2895" fmla="*/ 3107029 w 9586368"/>
              <a:gd name="connsiteY2895" fmla="*/ 4550987 h 6479439"/>
              <a:gd name="connsiteX2896" fmla="*/ 2871737 w 9586368"/>
              <a:gd name="connsiteY2896" fmla="*/ 4546948 h 6479439"/>
              <a:gd name="connsiteX2897" fmla="*/ 2881646 w 9586368"/>
              <a:gd name="connsiteY2897" fmla="*/ 4546948 h 6479439"/>
              <a:gd name="connsiteX2898" fmla="*/ 2885666 w 9586368"/>
              <a:gd name="connsiteY2898" fmla="*/ 4550987 h 6479439"/>
              <a:gd name="connsiteX2899" fmla="*/ 2885666 w 9586368"/>
              <a:gd name="connsiteY2899" fmla="*/ 4560858 h 6479439"/>
              <a:gd name="connsiteX2900" fmla="*/ 2881646 w 9586368"/>
              <a:gd name="connsiteY2900" fmla="*/ 4564897 h 6479439"/>
              <a:gd name="connsiteX2901" fmla="*/ 2871737 w 9586368"/>
              <a:gd name="connsiteY2901" fmla="*/ 4564897 h 6479439"/>
              <a:gd name="connsiteX2902" fmla="*/ 2867717 w 9586368"/>
              <a:gd name="connsiteY2902" fmla="*/ 4560858 h 6479439"/>
              <a:gd name="connsiteX2903" fmla="*/ 2867717 w 9586368"/>
              <a:gd name="connsiteY2903" fmla="*/ 4550987 h 6479439"/>
              <a:gd name="connsiteX2904" fmla="*/ 2632423 w 9586368"/>
              <a:gd name="connsiteY2904" fmla="*/ 4546948 h 6479439"/>
              <a:gd name="connsiteX2905" fmla="*/ 2642334 w 9586368"/>
              <a:gd name="connsiteY2905" fmla="*/ 4546948 h 6479439"/>
              <a:gd name="connsiteX2906" fmla="*/ 2646352 w 9586368"/>
              <a:gd name="connsiteY2906" fmla="*/ 4550987 h 6479439"/>
              <a:gd name="connsiteX2907" fmla="*/ 2646352 w 9586368"/>
              <a:gd name="connsiteY2907" fmla="*/ 4560858 h 6479439"/>
              <a:gd name="connsiteX2908" fmla="*/ 2642334 w 9586368"/>
              <a:gd name="connsiteY2908" fmla="*/ 4564897 h 6479439"/>
              <a:gd name="connsiteX2909" fmla="*/ 2632423 w 9586368"/>
              <a:gd name="connsiteY2909" fmla="*/ 4564897 h 6479439"/>
              <a:gd name="connsiteX2910" fmla="*/ 2628404 w 9586368"/>
              <a:gd name="connsiteY2910" fmla="*/ 4560858 h 6479439"/>
              <a:gd name="connsiteX2911" fmla="*/ 2628404 w 9586368"/>
              <a:gd name="connsiteY2911" fmla="*/ 4550987 h 6479439"/>
              <a:gd name="connsiteX2912" fmla="*/ 2393104 w 9586368"/>
              <a:gd name="connsiteY2912" fmla="*/ 4546948 h 6479439"/>
              <a:gd name="connsiteX2913" fmla="*/ 2403015 w 9586368"/>
              <a:gd name="connsiteY2913" fmla="*/ 4546948 h 6479439"/>
              <a:gd name="connsiteX2914" fmla="*/ 2407034 w 9586368"/>
              <a:gd name="connsiteY2914" fmla="*/ 4550987 h 6479439"/>
              <a:gd name="connsiteX2915" fmla="*/ 2407034 w 9586368"/>
              <a:gd name="connsiteY2915" fmla="*/ 4560858 h 6479439"/>
              <a:gd name="connsiteX2916" fmla="*/ 2403015 w 9586368"/>
              <a:gd name="connsiteY2916" fmla="*/ 4564897 h 6479439"/>
              <a:gd name="connsiteX2917" fmla="*/ 2393104 w 9586368"/>
              <a:gd name="connsiteY2917" fmla="*/ 4564897 h 6479439"/>
              <a:gd name="connsiteX2918" fmla="*/ 2389087 w 9586368"/>
              <a:gd name="connsiteY2918" fmla="*/ 4560858 h 6479439"/>
              <a:gd name="connsiteX2919" fmla="*/ 2389087 w 9586368"/>
              <a:gd name="connsiteY2919" fmla="*/ 4550987 h 6479439"/>
              <a:gd name="connsiteX2920" fmla="*/ 721964 w 9586368"/>
              <a:gd name="connsiteY2920" fmla="*/ 4546948 h 6479439"/>
              <a:gd name="connsiteX2921" fmla="*/ 731874 w 9586368"/>
              <a:gd name="connsiteY2921" fmla="*/ 4546948 h 6479439"/>
              <a:gd name="connsiteX2922" fmla="*/ 735893 w 9586368"/>
              <a:gd name="connsiteY2922" fmla="*/ 4550987 h 6479439"/>
              <a:gd name="connsiteX2923" fmla="*/ 735893 w 9586368"/>
              <a:gd name="connsiteY2923" fmla="*/ 4560858 h 6479439"/>
              <a:gd name="connsiteX2924" fmla="*/ 731874 w 9586368"/>
              <a:gd name="connsiteY2924" fmla="*/ 4564897 h 6479439"/>
              <a:gd name="connsiteX2925" fmla="*/ 721964 w 9586368"/>
              <a:gd name="connsiteY2925" fmla="*/ 4564897 h 6479439"/>
              <a:gd name="connsiteX2926" fmla="*/ 717945 w 9586368"/>
              <a:gd name="connsiteY2926" fmla="*/ 4560858 h 6479439"/>
              <a:gd name="connsiteX2927" fmla="*/ 717945 w 9586368"/>
              <a:gd name="connsiteY2927" fmla="*/ 4550987 h 6479439"/>
              <a:gd name="connsiteX2928" fmla="*/ 482651 w 9586368"/>
              <a:gd name="connsiteY2928" fmla="*/ 4546948 h 6479439"/>
              <a:gd name="connsiteX2929" fmla="*/ 492562 w 9586368"/>
              <a:gd name="connsiteY2929" fmla="*/ 4546948 h 6479439"/>
              <a:gd name="connsiteX2930" fmla="*/ 496581 w 9586368"/>
              <a:gd name="connsiteY2930" fmla="*/ 4550987 h 6479439"/>
              <a:gd name="connsiteX2931" fmla="*/ 496581 w 9586368"/>
              <a:gd name="connsiteY2931" fmla="*/ 4560858 h 6479439"/>
              <a:gd name="connsiteX2932" fmla="*/ 492562 w 9586368"/>
              <a:gd name="connsiteY2932" fmla="*/ 4564897 h 6479439"/>
              <a:gd name="connsiteX2933" fmla="*/ 482651 w 9586368"/>
              <a:gd name="connsiteY2933" fmla="*/ 4564897 h 6479439"/>
              <a:gd name="connsiteX2934" fmla="*/ 478632 w 9586368"/>
              <a:gd name="connsiteY2934" fmla="*/ 4560858 h 6479439"/>
              <a:gd name="connsiteX2935" fmla="*/ 478632 w 9586368"/>
              <a:gd name="connsiteY2935" fmla="*/ 4550987 h 6479439"/>
              <a:gd name="connsiteX2936" fmla="*/ 243338 w 9586368"/>
              <a:gd name="connsiteY2936" fmla="*/ 4546948 h 6479439"/>
              <a:gd name="connsiteX2937" fmla="*/ 253248 w 9586368"/>
              <a:gd name="connsiteY2937" fmla="*/ 4546948 h 6479439"/>
              <a:gd name="connsiteX2938" fmla="*/ 257267 w 9586368"/>
              <a:gd name="connsiteY2938" fmla="*/ 4550987 h 6479439"/>
              <a:gd name="connsiteX2939" fmla="*/ 257267 w 9586368"/>
              <a:gd name="connsiteY2939" fmla="*/ 4560858 h 6479439"/>
              <a:gd name="connsiteX2940" fmla="*/ 253248 w 9586368"/>
              <a:gd name="connsiteY2940" fmla="*/ 4564897 h 6479439"/>
              <a:gd name="connsiteX2941" fmla="*/ 243338 w 9586368"/>
              <a:gd name="connsiteY2941" fmla="*/ 4564897 h 6479439"/>
              <a:gd name="connsiteX2942" fmla="*/ 239319 w 9586368"/>
              <a:gd name="connsiteY2942" fmla="*/ 4560858 h 6479439"/>
              <a:gd name="connsiteX2943" fmla="*/ 239319 w 9586368"/>
              <a:gd name="connsiteY2943" fmla="*/ 4550987 h 6479439"/>
              <a:gd name="connsiteX2944" fmla="*/ 4025 w 9586368"/>
              <a:gd name="connsiteY2944" fmla="*/ 4546948 h 6479439"/>
              <a:gd name="connsiteX2945" fmla="*/ 13935 w 9586368"/>
              <a:gd name="connsiteY2945" fmla="*/ 4546948 h 6479439"/>
              <a:gd name="connsiteX2946" fmla="*/ 17954 w 9586368"/>
              <a:gd name="connsiteY2946" fmla="*/ 4550987 h 6479439"/>
              <a:gd name="connsiteX2947" fmla="*/ 17954 w 9586368"/>
              <a:gd name="connsiteY2947" fmla="*/ 4560858 h 6479439"/>
              <a:gd name="connsiteX2948" fmla="*/ 13935 w 9586368"/>
              <a:gd name="connsiteY2948" fmla="*/ 4564897 h 6479439"/>
              <a:gd name="connsiteX2949" fmla="*/ 4025 w 9586368"/>
              <a:gd name="connsiteY2949" fmla="*/ 4564897 h 6479439"/>
              <a:gd name="connsiteX2950" fmla="*/ 6 w 9586368"/>
              <a:gd name="connsiteY2950" fmla="*/ 4560858 h 6479439"/>
              <a:gd name="connsiteX2951" fmla="*/ 6 w 9586368"/>
              <a:gd name="connsiteY2951" fmla="*/ 4550987 h 6479439"/>
              <a:gd name="connsiteX2952" fmla="*/ 2157819 w 9586368"/>
              <a:gd name="connsiteY2952" fmla="*/ 4307669 h 6479439"/>
              <a:gd name="connsiteX2953" fmla="*/ 2167729 w 9586368"/>
              <a:gd name="connsiteY2953" fmla="*/ 4307669 h 6479439"/>
              <a:gd name="connsiteX2954" fmla="*/ 2171749 w 9586368"/>
              <a:gd name="connsiteY2954" fmla="*/ 4311708 h 6479439"/>
              <a:gd name="connsiteX2955" fmla="*/ 2171749 w 9586368"/>
              <a:gd name="connsiteY2955" fmla="*/ 4321579 h 6479439"/>
              <a:gd name="connsiteX2956" fmla="*/ 2167729 w 9586368"/>
              <a:gd name="connsiteY2956" fmla="*/ 4325618 h 6479439"/>
              <a:gd name="connsiteX2957" fmla="*/ 2157819 w 9586368"/>
              <a:gd name="connsiteY2957" fmla="*/ 4325618 h 6479439"/>
              <a:gd name="connsiteX2958" fmla="*/ 2153801 w 9586368"/>
              <a:gd name="connsiteY2958" fmla="*/ 4321579 h 6479439"/>
              <a:gd name="connsiteX2959" fmla="*/ 2153801 w 9586368"/>
              <a:gd name="connsiteY2959" fmla="*/ 4311708 h 6479439"/>
              <a:gd name="connsiteX2960" fmla="*/ 1918511 w 9586368"/>
              <a:gd name="connsiteY2960" fmla="*/ 4307669 h 6479439"/>
              <a:gd name="connsiteX2961" fmla="*/ 1928421 w 9586368"/>
              <a:gd name="connsiteY2961" fmla="*/ 4307669 h 6479439"/>
              <a:gd name="connsiteX2962" fmla="*/ 1932440 w 9586368"/>
              <a:gd name="connsiteY2962" fmla="*/ 4311708 h 6479439"/>
              <a:gd name="connsiteX2963" fmla="*/ 1932440 w 9586368"/>
              <a:gd name="connsiteY2963" fmla="*/ 4321579 h 6479439"/>
              <a:gd name="connsiteX2964" fmla="*/ 1928421 w 9586368"/>
              <a:gd name="connsiteY2964" fmla="*/ 4325618 h 6479439"/>
              <a:gd name="connsiteX2965" fmla="*/ 1918511 w 9586368"/>
              <a:gd name="connsiteY2965" fmla="*/ 4325618 h 6479439"/>
              <a:gd name="connsiteX2966" fmla="*/ 1914492 w 9586368"/>
              <a:gd name="connsiteY2966" fmla="*/ 4321579 h 6479439"/>
              <a:gd name="connsiteX2967" fmla="*/ 1914492 w 9586368"/>
              <a:gd name="connsiteY2967" fmla="*/ 4311708 h 6479439"/>
              <a:gd name="connsiteX2968" fmla="*/ 1679206 w 9586368"/>
              <a:gd name="connsiteY2968" fmla="*/ 4307669 h 6479439"/>
              <a:gd name="connsiteX2969" fmla="*/ 1689117 w 9586368"/>
              <a:gd name="connsiteY2969" fmla="*/ 4307669 h 6479439"/>
              <a:gd name="connsiteX2970" fmla="*/ 1693136 w 9586368"/>
              <a:gd name="connsiteY2970" fmla="*/ 4311708 h 6479439"/>
              <a:gd name="connsiteX2971" fmla="*/ 1693136 w 9586368"/>
              <a:gd name="connsiteY2971" fmla="*/ 4321579 h 6479439"/>
              <a:gd name="connsiteX2972" fmla="*/ 1689117 w 9586368"/>
              <a:gd name="connsiteY2972" fmla="*/ 4325618 h 6479439"/>
              <a:gd name="connsiteX2973" fmla="*/ 1679206 w 9586368"/>
              <a:gd name="connsiteY2973" fmla="*/ 4325618 h 6479439"/>
              <a:gd name="connsiteX2974" fmla="*/ 1675188 w 9586368"/>
              <a:gd name="connsiteY2974" fmla="*/ 4321579 h 6479439"/>
              <a:gd name="connsiteX2975" fmla="*/ 1675188 w 9586368"/>
              <a:gd name="connsiteY2975" fmla="*/ 4311708 h 6479439"/>
              <a:gd name="connsiteX2976" fmla="*/ 1439891 w 9586368"/>
              <a:gd name="connsiteY2976" fmla="*/ 4307669 h 6479439"/>
              <a:gd name="connsiteX2977" fmla="*/ 1449801 w 9586368"/>
              <a:gd name="connsiteY2977" fmla="*/ 4307669 h 6479439"/>
              <a:gd name="connsiteX2978" fmla="*/ 1453819 w 9586368"/>
              <a:gd name="connsiteY2978" fmla="*/ 4311708 h 6479439"/>
              <a:gd name="connsiteX2979" fmla="*/ 1453819 w 9586368"/>
              <a:gd name="connsiteY2979" fmla="*/ 4321579 h 6479439"/>
              <a:gd name="connsiteX2980" fmla="*/ 1449801 w 9586368"/>
              <a:gd name="connsiteY2980" fmla="*/ 4325618 h 6479439"/>
              <a:gd name="connsiteX2981" fmla="*/ 1439891 w 9586368"/>
              <a:gd name="connsiteY2981" fmla="*/ 4325618 h 6479439"/>
              <a:gd name="connsiteX2982" fmla="*/ 1435871 w 9586368"/>
              <a:gd name="connsiteY2982" fmla="*/ 4321579 h 6479439"/>
              <a:gd name="connsiteX2983" fmla="*/ 1435871 w 9586368"/>
              <a:gd name="connsiteY2983" fmla="*/ 4311708 h 6479439"/>
              <a:gd name="connsiteX2984" fmla="*/ 1200575 w 9586368"/>
              <a:gd name="connsiteY2984" fmla="*/ 4307669 h 6479439"/>
              <a:gd name="connsiteX2985" fmla="*/ 1210486 w 9586368"/>
              <a:gd name="connsiteY2985" fmla="*/ 4307669 h 6479439"/>
              <a:gd name="connsiteX2986" fmla="*/ 1214505 w 9586368"/>
              <a:gd name="connsiteY2986" fmla="*/ 4311708 h 6479439"/>
              <a:gd name="connsiteX2987" fmla="*/ 1214505 w 9586368"/>
              <a:gd name="connsiteY2987" fmla="*/ 4321579 h 6479439"/>
              <a:gd name="connsiteX2988" fmla="*/ 1210486 w 9586368"/>
              <a:gd name="connsiteY2988" fmla="*/ 4325618 h 6479439"/>
              <a:gd name="connsiteX2989" fmla="*/ 1200575 w 9586368"/>
              <a:gd name="connsiteY2989" fmla="*/ 4325618 h 6479439"/>
              <a:gd name="connsiteX2990" fmla="*/ 1196556 w 9586368"/>
              <a:gd name="connsiteY2990" fmla="*/ 4321579 h 6479439"/>
              <a:gd name="connsiteX2991" fmla="*/ 1196556 w 9586368"/>
              <a:gd name="connsiteY2991" fmla="*/ 4311708 h 6479439"/>
              <a:gd name="connsiteX2992" fmla="*/ 961263 w 9586368"/>
              <a:gd name="connsiteY2992" fmla="*/ 4307669 h 6479439"/>
              <a:gd name="connsiteX2993" fmla="*/ 971173 w 9586368"/>
              <a:gd name="connsiteY2993" fmla="*/ 4307669 h 6479439"/>
              <a:gd name="connsiteX2994" fmla="*/ 975191 w 9586368"/>
              <a:gd name="connsiteY2994" fmla="*/ 4311708 h 6479439"/>
              <a:gd name="connsiteX2995" fmla="*/ 975191 w 9586368"/>
              <a:gd name="connsiteY2995" fmla="*/ 4321579 h 6479439"/>
              <a:gd name="connsiteX2996" fmla="*/ 971173 w 9586368"/>
              <a:gd name="connsiteY2996" fmla="*/ 4325618 h 6479439"/>
              <a:gd name="connsiteX2997" fmla="*/ 961263 w 9586368"/>
              <a:gd name="connsiteY2997" fmla="*/ 4325618 h 6479439"/>
              <a:gd name="connsiteX2998" fmla="*/ 957244 w 9586368"/>
              <a:gd name="connsiteY2998" fmla="*/ 4321579 h 6479439"/>
              <a:gd name="connsiteX2999" fmla="*/ 957244 w 9586368"/>
              <a:gd name="connsiteY2999" fmla="*/ 4311708 h 6479439"/>
              <a:gd name="connsiteX3000" fmla="*/ 9572438 w 9586368"/>
              <a:gd name="connsiteY3000" fmla="*/ 4307617 h 6479439"/>
              <a:gd name="connsiteX3001" fmla="*/ 9582349 w 9586368"/>
              <a:gd name="connsiteY3001" fmla="*/ 4307617 h 6479439"/>
              <a:gd name="connsiteX3002" fmla="*/ 9586368 w 9586368"/>
              <a:gd name="connsiteY3002" fmla="*/ 4311656 h 6479439"/>
              <a:gd name="connsiteX3003" fmla="*/ 9586368 w 9586368"/>
              <a:gd name="connsiteY3003" fmla="*/ 4321527 h 6479439"/>
              <a:gd name="connsiteX3004" fmla="*/ 9582349 w 9586368"/>
              <a:gd name="connsiteY3004" fmla="*/ 4325566 h 6479439"/>
              <a:gd name="connsiteX3005" fmla="*/ 9572438 w 9586368"/>
              <a:gd name="connsiteY3005" fmla="*/ 4325566 h 6479439"/>
              <a:gd name="connsiteX3006" fmla="*/ 9568419 w 9586368"/>
              <a:gd name="connsiteY3006" fmla="*/ 4321527 h 6479439"/>
              <a:gd name="connsiteX3007" fmla="*/ 9568419 w 9586368"/>
              <a:gd name="connsiteY3007" fmla="*/ 4311656 h 6479439"/>
              <a:gd name="connsiteX3008" fmla="*/ 9333125 w 9586368"/>
              <a:gd name="connsiteY3008" fmla="*/ 4307617 h 6479439"/>
              <a:gd name="connsiteX3009" fmla="*/ 9343036 w 9586368"/>
              <a:gd name="connsiteY3009" fmla="*/ 4307617 h 6479439"/>
              <a:gd name="connsiteX3010" fmla="*/ 9347055 w 9586368"/>
              <a:gd name="connsiteY3010" fmla="*/ 4311656 h 6479439"/>
              <a:gd name="connsiteX3011" fmla="*/ 9347055 w 9586368"/>
              <a:gd name="connsiteY3011" fmla="*/ 4321527 h 6479439"/>
              <a:gd name="connsiteX3012" fmla="*/ 9343036 w 9586368"/>
              <a:gd name="connsiteY3012" fmla="*/ 4325566 h 6479439"/>
              <a:gd name="connsiteX3013" fmla="*/ 9333125 w 9586368"/>
              <a:gd name="connsiteY3013" fmla="*/ 4325566 h 6479439"/>
              <a:gd name="connsiteX3014" fmla="*/ 9329106 w 9586368"/>
              <a:gd name="connsiteY3014" fmla="*/ 4321527 h 6479439"/>
              <a:gd name="connsiteX3015" fmla="*/ 9329106 w 9586368"/>
              <a:gd name="connsiteY3015" fmla="*/ 4311656 h 6479439"/>
              <a:gd name="connsiteX3016" fmla="*/ 9093811 w 9586368"/>
              <a:gd name="connsiteY3016" fmla="*/ 4307617 h 6479439"/>
              <a:gd name="connsiteX3017" fmla="*/ 9103722 w 9586368"/>
              <a:gd name="connsiteY3017" fmla="*/ 4307617 h 6479439"/>
              <a:gd name="connsiteX3018" fmla="*/ 9107741 w 9586368"/>
              <a:gd name="connsiteY3018" fmla="*/ 4311656 h 6479439"/>
              <a:gd name="connsiteX3019" fmla="*/ 9107741 w 9586368"/>
              <a:gd name="connsiteY3019" fmla="*/ 4321527 h 6479439"/>
              <a:gd name="connsiteX3020" fmla="*/ 9103722 w 9586368"/>
              <a:gd name="connsiteY3020" fmla="*/ 4325566 h 6479439"/>
              <a:gd name="connsiteX3021" fmla="*/ 9093811 w 9586368"/>
              <a:gd name="connsiteY3021" fmla="*/ 4325566 h 6479439"/>
              <a:gd name="connsiteX3022" fmla="*/ 9089792 w 9586368"/>
              <a:gd name="connsiteY3022" fmla="*/ 4321527 h 6479439"/>
              <a:gd name="connsiteX3023" fmla="*/ 9089792 w 9586368"/>
              <a:gd name="connsiteY3023" fmla="*/ 4311656 h 6479439"/>
              <a:gd name="connsiteX3024" fmla="*/ 8854496 w 9586368"/>
              <a:gd name="connsiteY3024" fmla="*/ 4307617 h 6479439"/>
              <a:gd name="connsiteX3025" fmla="*/ 8864407 w 9586368"/>
              <a:gd name="connsiteY3025" fmla="*/ 4307617 h 6479439"/>
              <a:gd name="connsiteX3026" fmla="*/ 8868426 w 9586368"/>
              <a:gd name="connsiteY3026" fmla="*/ 4311656 h 6479439"/>
              <a:gd name="connsiteX3027" fmla="*/ 8868426 w 9586368"/>
              <a:gd name="connsiteY3027" fmla="*/ 4321527 h 6479439"/>
              <a:gd name="connsiteX3028" fmla="*/ 8864407 w 9586368"/>
              <a:gd name="connsiteY3028" fmla="*/ 4325566 h 6479439"/>
              <a:gd name="connsiteX3029" fmla="*/ 8854496 w 9586368"/>
              <a:gd name="connsiteY3029" fmla="*/ 4325566 h 6479439"/>
              <a:gd name="connsiteX3030" fmla="*/ 8850477 w 9586368"/>
              <a:gd name="connsiteY3030" fmla="*/ 4321527 h 6479439"/>
              <a:gd name="connsiteX3031" fmla="*/ 8850477 w 9586368"/>
              <a:gd name="connsiteY3031" fmla="*/ 4311656 h 6479439"/>
              <a:gd name="connsiteX3032" fmla="*/ 8615184 w 9586368"/>
              <a:gd name="connsiteY3032" fmla="*/ 4307617 h 6479439"/>
              <a:gd name="connsiteX3033" fmla="*/ 8625095 w 9586368"/>
              <a:gd name="connsiteY3033" fmla="*/ 4307617 h 6479439"/>
              <a:gd name="connsiteX3034" fmla="*/ 8629114 w 9586368"/>
              <a:gd name="connsiteY3034" fmla="*/ 4311656 h 6479439"/>
              <a:gd name="connsiteX3035" fmla="*/ 8629114 w 9586368"/>
              <a:gd name="connsiteY3035" fmla="*/ 4321527 h 6479439"/>
              <a:gd name="connsiteX3036" fmla="*/ 8625095 w 9586368"/>
              <a:gd name="connsiteY3036" fmla="*/ 4325566 h 6479439"/>
              <a:gd name="connsiteX3037" fmla="*/ 8615184 w 9586368"/>
              <a:gd name="connsiteY3037" fmla="*/ 4325566 h 6479439"/>
              <a:gd name="connsiteX3038" fmla="*/ 8611165 w 9586368"/>
              <a:gd name="connsiteY3038" fmla="*/ 4321527 h 6479439"/>
              <a:gd name="connsiteX3039" fmla="*/ 8611165 w 9586368"/>
              <a:gd name="connsiteY3039" fmla="*/ 4311656 h 6479439"/>
              <a:gd name="connsiteX3040" fmla="*/ 8375869 w 9586368"/>
              <a:gd name="connsiteY3040" fmla="*/ 4307617 h 6479439"/>
              <a:gd name="connsiteX3041" fmla="*/ 8385779 w 9586368"/>
              <a:gd name="connsiteY3041" fmla="*/ 4307617 h 6479439"/>
              <a:gd name="connsiteX3042" fmla="*/ 8389799 w 9586368"/>
              <a:gd name="connsiteY3042" fmla="*/ 4311656 h 6479439"/>
              <a:gd name="connsiteX3043" fmla="*/ 8389799 w 9586368"/>
              <a:gd name="connsiteY3043" fmla="*/ 4321527 h 6479439"/>
              <a:gd name="connsiteX3044" fmla="*/ 8385779 w 9586368"/>
              <a:gd name="connsiteY3044" fmla="*/ 4325566 h 6479439"/>
              <a:gd name="connsiteX3045" fmla="*/ 8375869 w 9586368"/>
              <a:gd name="connsiteY3045" fmla="*/ 4325566 h 6479439"/>
              <a:gd name="connsiteX3046" fmla="*/ 8371850 w 9586368"/>
              <a:gd name="connsiteY3046" fmla="*/ 4321527 h 6479439"/>
              <a:gd name="connsiteX3047" fmla="*/ 8371850 w 9586368"/>
              <a:gd name="connsiteY3047" fmla="*/ 4311656 h 6479439"/>
              <a:gd name="connsiteX3048" fmla="*/ 8136553 w 9586368"/>
              <a:gd name="connsiteY3048" fmla="*/ 4307617 h 6479439"/>
              <a:gd name="connsiteX3049" fmla="*/ 8146464 w 9586368"/>
              <a:gd name="connsiteY3049" fmla="*/ 4307617 h 6479439"/>
              <a:gd name="connsiteX3050" fmla="*/ 8150483 w 9586368"/>
              <a:gd name="connsiteY3050" fmla="*/ 4311656 h 6479439"/>
              <a:gd name="connsiteX3051" fmla="*/ 8150483 w 9586368"/>
              <a:gd name="connsiteY3051" fmla="*/ 4321527 h 6479439"/>
              <a:gd name="connsiteX3052" fmla="*/ 8146464 w 9586368"/>
              <a:gd name="connsiteY3052" fmla="*/ 4325566 h 6479439"/>
              <a:gd name="connsiteX3053" fmla="*/ 8136553 w 9586368"/>
              <a:gd name="connsiteY3053" fmla="*/ 4325566 h 6479439"/>
              <a:gd name="connsiteX3054" fmla="*/ 8132534 w 9586368"/>
              <a:gd name="connsiteY3054" fmla="*/ 4321527 h 6479439"/>
              <a:gd name="connsiteX3055" fmla="*/ 8132534 w 9586368"/>
              <a:gd name="connsiteY3055" fmla="*/ 4311656 h 6479439"/>
              <a:gd name="connsiteX3056" fmla="*/ 7897241 w 9586368"/>
              <a:gd name="connsiteY3056" fmla="*/ 4307617 h 6479439"/>
              <a:gd name="connsiteX3057" fmla="*/ 7907151 w 9586368"/>
              <a:gd name="connsiteY3057" fmla="*/ 4307617 h 6479439"/>
              <a:gd name="connsiteX3058" fmla="*/ 7911170 w 9586368"/>
              <a:gd name="connsiteY3058" fmla="*/ 4311656 h 6479439"/>
              <a:gd name="connsiteX3059" fmla="*/ 7911170 w 9586368"/>
              <a:gd name="connsiteY3059" fmla="*/ 4321527 h 6479439"/>
              <a:gd name="connsiteX3060" fmla="*/ 7907151 w 9586368"/>
              <a:gd name="connsiteY3060" fmla="*/ 4325566 h 6479439"/>
              <a:gd name="connsiteX3061" fmla="*/ 7897241 w 9586368"/>
              <a:gd name="connsiteY3061" fmla="*/ 4325566 h 6479439"/>
              <a:gd name="connsiteX3062" fmla="*/ 7893222 w 9586368"/>
              <a:gd name="connsiteY3062" fmla="*/ 4321527 h 6479439"/>
              <a:gd name="connsiteX3063" fmla="*/ 7893222 w 9586368"/>
              <a:gd name="connsiteY3063" fmla="*/ 4311656 h 6479439"/>
              <a:gd name="connsiteX3064" fmla="*/ 7657926 w 9586368"/>
              <a:gd name="connsiteY3064" fmla="*/ 4307617 h 6479439"/>
              <a:gd name="connsiteX3065" fmla="*/ 7667836 w 9586368"/>
              <a:gd name="connsiteY3065" fmla="*/ 4307617 h 6479439"/>
              <a:gd name="connsiteX3066" fmla="*/ 7671855 w 9586368"/>
              <a:gd name="connsiteY3066" fmla="*/ 4311656 h 6479439"/>
              <a:gd name="connsiteX3067" fmla="*/ 7671855 w 9586368"/>
              <a:gd name="connsiteY3067" fmla="*/ 4321527 h 6479439"/>
              <a:gd name="connsiteX3068" fmla="*/ 7667836 w 9586368"/>
              <a:gd name="connsiteY3068" fmla="*/ 4325566 h 6479439"/>
              <a:gd name="connsiteX3069" fmla="*/ 7657926 w 9586368"/>
              <a:gd name="connsiteY3069" fmla="*/ 4325566 h 6479439"/>
              <a:gd name="connsiteX3070" fmla="*/ 7653906 w 9586368"/>
              <a:gd name="connsiteY3070" fmla="*/ 4321527 h 6479439"/>
              <a:gd name="connsiteX3071" fmla="*/ 7653906 w 9586368"/>
              <a:gd name="connsiteY3071" fmla="*/ 4311656 h 6479439"/>
              <a:gd name="connsiteX3072" fmla="*/ 7418611 w 9586368"/>
              <a:gd name="connsiteY3072" fmla="*/ 4307617 h 6479439"/>
              <a:gd name="connsiteX3073" fmla="*/ 7428521 w 9586368"/>
              <a:gd name="connsiteY3073" fmla="*/ 4307617 h 6479439"/>
              <a:gd name="connsiteX3074" fmla="*/ 7432540 w 9586368"/>
              <a:gd name="connsiteY3074" fmla="*/ 4311656 h 6479439"/>
              <a:gd name="connsiteX3075" fmla="*/ 7432540 w 9586368"/>
              <a:gd name="connsiteY3075" fmla="*/ 4321527 h 6479439"/>
              <a:gd name="connsiteX3076" fmla="*/ 7428521 w 9586368"/>
              <a:gd name="connsiteY3076" fmla="*/ 4325566 h 6479439"/>
              <a:gd name="connsiteX3077" fmla="*/ 7418611 w 9586368"/>
              <a:gd name="connsiteY3077" fmla="*/ 4325566 h 6479439"/>
              <a:gd name="connsiteX3078" fmla="*/ 7414592 w 9586368"/>
              <a:gd name="connsiteY3078" fmla="*/ 4321527 h 6479439"/>
              <a:gd name="connsiteX3079" fmla="*/ 7414592 w 9586368"/>
              <a:gd name="connsiteY3079" fmla="*/ 4311656 h 6479439"/>
              <a:gd name="connsiteX3080" fmla="*/ 7179298 w 9586368"/>
              <a:gd name="connsiteY3080" fmla="*/ 4307617 h 6479439"/>
              <a:gd name="connsiteX3081" fmla="*/ 7189209 w 9586368"/>
              <a:gd name="connsiteY3081" fmla="*/ 4307617 h 6479439"/>
              <a:gd name="connsiteX3082" fmla="*/ 7193228 w 9586368"/>
              <a:gd name="connsiteY3082" fmla="*/ 4311656 h 6479439"/>
              <a:gd name="connsiteX3083" fmla="*/ 7193228 w 9586368"/>
              <a:gd name="connsiteY3083" fmla="*/ 4321527 h 6479439"/>
              <a:gd name="connsiteX3084" fmla="*/ 7189209 w 9586368"/>
              <a:gd name="connsiteY3084" fmla="*/ 4325566 h 6479439"/>
              <a:gd name="connsiteX3085" fmla="*/ 7179298 w 9586368"/>
              <a:gd name="connsiteY3085" fmla="*/ 4325566 h 6479439"/>
              <a:gd name="connsiteX3086" fmla="*/ 7175279 w 9586368"/>
              <a:gd name="connsiteY3086" fmla="*/ 4321527 h 6479439"/>
              <a:gd name="connsiteX3087" fmla="*/ 7175279 w 9586368"/>
              <a:gd name="connsiteY3087" fmla="*/ 4311656 h 6479439"/>
              <a:gd name="connsiteX3088" fmla="*/ 6939983 w 9586368"/>
              <a:gd name="connsiteY3088" fmla="*/ 4307617 h 6479439"/>
              <a:gd name="connsiteX3089" fmla="*/ 6949894 w 9586368"/>
              <a:gd name="connsiteY3089" fmla="*/ 4307617 h 6479439"/>
              <a:gd name="connsiteX3090" fmla="*/ 6953913 w 9586368"/>
              <a:gd name="connsiteY3090" fmla="*/ 4311656 h 6479439"/>
              <a:gd name="connsiteX3091" fmla="*/ 6953913 w 9586368"/>
              <a:gd name="connsiteY3091" fmla="*/ 4321527 h 6479439"/>
              <a:gd name="connsiteX3092" fmla="*/ 6949894 w 9586368"/>
              <a:gd name="connsiteY3092" fmla="*/ 4325566 h 6479439"/>
              <a:gd name="connsiteX3093" fmla="*/ 6939983 w 9586368"/>
              <a:gd name="connsiteY3093" fmla="*/ 4325566 h 6479439"/>
              <a:gd name="connsiteX3094" fmla="*/ 6935964 w 9586368"/>
              <a:gd name="connsiteY3094" fmla="*/ 4321527 h 6479439"/>
              <a:gd name="connsiteX3095" fmla="*/ 6935964 w 9586368"/>
              <a:gd name="connsiteY3095" fmla="*/ 4311656 h 6479439"/>
              <a:gd name="connsiteX3096" fmla="*/ 6700670 w 9586368"/>
              <a:gd name="connsiteY3096" fmla="*/ 4307617 h 6479439"/>
              <a:gd name="connsiteX3097" fmla="*/ 6710581 w 9586368"/>
              <a:gd name="connsiteY3097" fmla="*/ 4307617 h 6479439"/>
              <a:gd name="connsiteX3098" fmla="*/ 6714600 w 9586368"/>
              <a:gd name="connsiteY3098" fmla="*/ 4311656 h 6479439"/>
              <a:gd name="connsiteX3099" fmla="*/ 6714600 w 9586368"/>
              <a:gd name="connsiteY3099" fmla="*/ 4321527 h 6479439"/>
              <a:gd name="connsiteX3100" fmla="*/ 6710581 w 9586368"/>
              <a:gd name="connsiteY3100" fmla="*/ 4325566 h 6479439"/>
              <a:gd name="connsiteX3101" fmla="*/ 6700670 w 9586368"/>
              <a:gd name="connsiteY3101" fmla="*/ 4325566 h 6479439"/>
              <a:gd name="connsiteX3102" fmla="*/ 6696651 w 9586368"/>
              <a:gd name="connsiteY3102" fmla="*/ 4321527 h 6479439"/>
              <a:gd name="connsiteX3103" fmla="*/ 6696651 w 9586368"/>
              <a:gd name="connsiteY3103" fmla="*/ 4311656 h 6479439"/>
              <a:gd name="connsiteX3104" fmla="*/ 6461356 w 9586368"/>
              <a:gd name="connsiteY3104" fmla="*/ 4307617 h 6479439"/>
              <a:gd name="connsiteX3105" fmla="*/ 6471266 w 9586368"/>
              <a:gd name="connsiteY3105" fmla="*/ 4307617 h 6479439"/>
              <a:gd name="connsiteX3106" fmla="*/ 6475285 w 9586368"/>
              <a:gd name="connsiteY3106" fmla="*/ 4311656 h 6479439"/>
              <a:gd name="connsiteX3107" fmla="*/ 6475285 w 9586368"/>
              <a:gd name="connsiteY3107" fmla="*/ 4321527 h 6479439"/>
              <a:gd name="connsiteX3108" fmla="*/ 6471266 w 9586368"/>
              <a:gd name="connsiteY3108" fmla="*/ 4325566 h 6479439"/>
              <a:gd name="connsiteX3109" fmla="*/ 6461356 w 9586368"/>
              <a:gd name="connsiteY3109" fmla="*/ 4325566 h 6479439"/>
              <a:gd name="connsiteX3110" fmla="*/ 6457337 w 9586368"/>
              <a:gd name="connsiteY3110" fmla="*/ 4321527 h 6479439"/>
              <a:gd name="connsiteX3111" fmla="*/ 6457337 w 9586368"/>
              <a:gd name="connsiteY3111" fmla="*/ 4311656 h 6479439"/>
              <a:gd name="connsiteX3112" fmla="*/ 6222042 w 9586368"/>
              <a:gd name="connsiteY3112" fmla="*/ 4307617 h 6479439"/>
              <a:gd name="connsiteX3113" fmla="*/ 6231952 w 9586368"/>
              <a:gd name="connsiteY3113" fmla="*/ 4307617 h 6479439"/>
              <a:gd name="connsiteX3114" fmla="*/ 6235971 w 9586368"/>
              <a:gd name="connsiteY3114" fmla="*/ 4311656 h 6479439"/>
              <a:gd name="connsiteX3115" fmla="*/ 6235971 w 9586368"/>
              <a:gd name="connsiteY3115" fmla="*/ 4321527 h 6479439"/>
              <a:gd name="connsiteX3116" fmla="*/ 6231952 w 9586368"/>
              <a:gd name="connsiteY3116" fmla="*/ 4325566 h 6479439"/>
              <a:gd name="connsiteX3117" fmla="*/ 6222042 w 9586368"/>
              <a:gd name="connsiteY3117" fmla="*/ 4325566 h 6479439"/>
              <a:gd name="connsiteX3118" fmla="*/ 6218023 w 9586368"/>
              <a:gd name="connsiteY3118" fmla="*/ 4321527 h 6479439"/>
              <a:gd name="connsiteX3119" fmla="*/ 6218023 w 9586368"/>
              <a:gd name="connsiteY3119" fmla="*/ 4311656 h 6479439"/>
              <a:gd name="connsiteX3120" fmla="*/ 5982729 w 9586368"/>
              <a:gd name="connsiteY3120" fmla="*/ 4307617 h 6479439"/>
              <a:gd name="connsiteX3121" fmla="*/ 5992639 w 9586368"/>
              <a:gd name="connsiteY3121" fmla="*/ 4307617 h 6479439"/>
              <a:gd name="connsiteX3122" fmla="*/ 5996658 w 9586368"/>
              <a:gd name="connsiteY3122" fmla="*/ 4311656 h 6479439"/>
              <a:gd name="connsiteX3123" fmla="*/ 5996658 w 9586368"/>
              <a:gd name="connsiteY3123" fmla="*/ 4321527 h 6479439"/>
              <a:gd name="connsiteX3124" fmla="*/ 5992639 w 9586368"/>
              <a:gd name="connsiteY3124" fmla="*/ 4325566 h 6479439"/>
              <a:gd name="connsiteX3125" fmla="*/ 5982729 w 9586368"/>
              <a:gd name="connsiteY3125" fmla="*/ 4325566 h 6479439"/>
              <a:gd name="connsiteX3126" fmla="*/ 5978710 w 9586368"/>
              <a:gd name="connsiteY3126" fmla="*/ 4321527 h 6479439"/>
              <a:gd name="connsiteX3127" fmla="*/ 5978710 w 9586368"/>
              <a:gd name="connsiteY3127" fmla="*/ 4311656 h 6479439"/>
              <a:gd name="connsiteX3128" fmla="*/ 5743412 w 9586368"/>
              <a:gd name="connsiteY3128" fmla="*/ 4307617 h 6479439"/>
              <a:gd name="connsiteX3129" fmla="*/ 5753323 w 9586368"/>
              <a:gd name="connsiteY3129" fmla="*/ 4307617 h 6479439"/>
              <a:gd name="connsiteX3130" fmla="*/ 5757342 w 9586368"/>
              <a:gd name="connsiteY3130" fmla="*/ 4311656 h 6479439"/>
              <a:gd name="connsiteX3131" fmla="*/ 5757342 w 9586368"/>
              <a:gd name="connsiteY3131" fmla="*/ 4321527 h 6479439"/>
              <a:gd name="connsiteX3132" fmla="*/ 5753323 w 9586368"/>
              <a:gd name="connsiteY3132" fmla="*/ 4325566 h 6479439"/>
              <a:gd name="connsiteX3133" fmla="*/ 5743412 w 9586368"/>
              <a:gd name="connsiteY3133" fmla="*/ 4325566 h 6479439"/>
              <a:gd name="connsiteX3134" fmla="*/ 5739393 w 9586368"/>
              <a:gd name="connsiteY3134" fmla="*/ 4321527 h 6479439"/>
              <a:gd name="connsiteX3135" fmla="*/ 5739393 w 9586368"/>
              <a:gd name="connsiteY3135" fmla="*/ 4311656 h 6479439"/>
              <a:gd name="connsiteX3136" fmla="*/ 5504099 w 9586368"/>
              <a:gd name="connsiteY3136" fmla="*/ 4307617 h 6479439"/>
              <a:gd name="connsiteX3137" fmla="*/ 5514010 w 9586368"/>
              <a:gd name="connsiteY3137" fmla="*/ 4307617 h 6479439"/>
              <a:gd name="connsiteX3138" fmla="*/ 5518029 w 9586368"/>
              <a:gd name="connsiteY3138" fmla="*/ 4311656 h 6479439"/>
              <a:gd name="connsiteX3139" fmla="*/ 5518029 w 9586368"/>
              <a:gd name="connsiteY3139" fmla="*/ 4321527 h 6479439"/>
              <a:gd name="connsiteX3140" fmla="*/ 5514010 w 9586368"/>
              <a:gd name="connsiteY3140" fmla="*/ 4325566 h 6479439"/>
              <a:gd name="connsiteX3141" fmla="*/ 5504099 w 9586368"/>
              <a:gd name="connsiteY3141" fmla="*/ 4325566 h 6479439"/>
              <a:gd name="connsiteX3142" fmla="*/ 5500080 w 9586368"/>
              <a:gd name="connsiteY3142" fmla="*/ 4321527 h 6479439"/>
              <a:gd name="connsiteX3143" fmla="*/ 5500080 w 9586368"/>
              <a:gd name="connsiteY3143" fmla="*/ 4311656 h 6479439"/>
              <a:gd name="connsiteX3144" fmla="*/ 5264784 w 9586368"/>
              <a:gd name="connsiteY3144" fmla="*/ 4307617 h 6479439"/>
              <a:gd name="connsiteX3145" fmla="*/ 5274694 w 9586368"/>
              <a:gd name="connsiteY3145" fmla="*/ 4307617 h 6479439"/>
              <a:gd name="connsiteX3146" fmla="*/ 5278713 w 9586368"/>
              <a:gd name="connsiteY3146" fmla="*/ 4311656 h 6479439"/>
              <a:gd name="connsiteX3147" fmla="*/ 5278713 w 9586368"/>
              <a:gd name="connsiteY3147" fmla="*/ 4321527 h 6479439"/>
              <a:gd name="connsiteX3148" fmla="*/ 5274694 w 9586368"/>
              <a:gd name="connsiteY3148" fmla="*/ 4325566 h 6479439"/>
              <a:gd name="connsiteX3149" fmla="*/ 5264784 w 9586368"/>
              <a:gd name="connsiteY3149" fmla="*/ 4325566 h 6479439"/>
              <a:gd name="connsiteX3150" fmla="*/ 5260765 w 9586368"/>
              <a:gd name="connsiteY3150" fmla="*/ 4321527 h 6479439"/>
              <a:gd name="connsiteX3151" fmla="*/ 5260765 w 9586368"/>
              <a:gd name="connsiteY3151" fmla="*/ 4311656 h 6479439"/>
              <a:gd name="connsiteX3152" fmla="*/ 5025470 w 9586368"/>
              <a:gd name="connsiteY3152" fmla="*/ 4307617 h 6479439"/>
              <a:gd name="connsiteX3153" fmla="*/ 5035381 w 9586368"/>
              <a:gd name="connsiteY3153" fmla="*/ 4307617 h 6479439"/>
              <a:gd name="connsiteX3154" fmla="*/ 5039400 w 9586368"/>
              <a:gd name="connsiteY3154" fmla="*/ 4311656 h 6479439"/>
              <a:gd name="connsiteX3155" fmla="*/ 5039400 w 9586368"/>
              <a:gd name="connsiteY3155" fmla="*/ 4321527 h 6479439"/>
              <a:gd name="connsiteX3156" fmla="*/ 5035381 w 9586368"/>
              <a:gd name="connsiteY3156" fmla="*/ 4325566 h 6479439"/>
              <a:gd name="connsiteX3157" fmla="*/ 5025470 w 9586368"/>
              <a:gd name="connsiteY3157" fmla="*/ 4325566 h 6479439"/>
              <a:gd name="connsiteX3158" fmla="*/ 5021451 w 9586368"/>
              <a:gd name="connsiteY3158" fmla="*/ 4321527 h 6479439"/>
              <a:gd name="connsiteX3159" fmla="*/ 5021451 w 9586368"/>
              <a:gd name="connsiteY3159" fmla="*/ 4311656 h 6479439"/>
              <a:gd name="connsiteX3160" fmla="*/ 4786241 w 9586368"/>
              <a:gd name="connsiteY3160" fmla="*/ 4307617 h 6479439"/>
              <a:gd name="connsiteX3161" fmla="*/ 4796152 w 9586368"/>
              <a:gd name="connsiteY3161" fmla="*/ 4307617 h 6479439"/>
              <a:gd name="connsiteX3162" fmla="*/ 4800171 w 9586368"/>
              <a:gd name="connsiteY3162" fmla="*/ 4311656 h 6479439"/>
              <a:gd name="connsiteX3163" fmla="*/ 4800171 w 9586368"/>
              <a:gd name="connsiteY3163" fmla="*/ 4321527 h 6479439"/>
              <a:gd name="connsiteX3164" fmla="*/ 4796152 w 9586368"/>
              <a:gd name="connsiteY3164" fmla="*/ 4325566 h 6479439"/>
              <a:gd name="connsiteX3165" fmla="*/ 4786241 w 9586368"/>
              <a:gd name="connsiteY3165" fmla="*/ 4325566 h 6479439"/>
              <a:gd name="connsiteX3166" fmla="*/ 4782224 w 9586368"/>
              <a:gd name="connsiteY3166" fmla="*/ 4321527 h 6479439"/>
              <a:gd name="connsiteX3167" fmla="*/ 4782224 w 9586368"/>
              <a:gd name="connsiteY3167" fmla="*/ 4311656 h 6479439"/>
              <a:gd name="connsiteX3168" fmla="*/ 4546929 w 9586368"/>
              <a:gd name="connsiteY3168" fmla="*/ 4307617 h 6479439"/>
              <a:gd name="connsiteX3169" fmla="*/ 4556840 w 9586368"/>
              <a:gd name="connsiteY3169" fmla="*/ 4307617 h 6479439"/>
              <a:gd name="connsiteX3170" fmla="*/ 4560859 w 9586368"/>
              <a:gd name="connsiteY3170" fmla="*/ 4311656 h 6479439"/>
              <a:gd name="connsiteX3171" fmla="*/ 4560859 w 9586368"/>
              <a:gd name="connsiteY3171" fmla="*/ 4321527 h 6479439"/>
              <a:gd name="connsiteX3172" fmla="*/ 4556840 w 9586368"/>
              <a:gd name="connsiteY3172" fmla="*/ 4325566 h 6479439"/>
              <a:gd name="connsiteX3173" fmla="*/ 4546929 w 9586368"/>
              <a:gd name="connsiteY3173" fmla="*/ 4325566 h 6479439"/>
              <a:gd name="connsiteX3174" fmla="*/ 4542910 w 9586368"/>
              <a:gd name="connsiteY3174" fmla="*/ 4321527 h 6479439"/>
              <a:gd name="connsiteX3175" fmla="*/ 4542910 w 9586368"/>
              <a:gd name="connsiteY3175" fmla="*/ 4311656 h 6479439"/>
              <a:gd name="connsiteX3176" fmla="*/ 4307612 w 9586368"/>
              <a:gd name="connsiteY3176" fmla="*/ 4307617 h 6479439"/>
              <a:gd name="connsiteX3177" fmla="*/ 4317523 w 9586368"/>
              <a:gd name="connsiteY3177" fmla="*/ 4307617 h 6479439"/>
              <a:gd name="connsiteX3178" fmla="*/ 4321543 w 9586368"/>
              <a:gd name="connsiteY3178" fmla="*/ 4311656 h 6479439"/>
              <a:gd name="connsiteX3179" fmla="*/ 4321543 w 9586368"/>
              <a:gd name="connsiteY3179" fmla="*/ 4321527 h 6479439"/>
              <a:gd name="connsiteX3180" fmla="*/ 4317523 w 9586368"/>
              <a:gd name="connsiteY3180" fmla="*/ 4325566 h 6479439"/>
              <a:gd name="connsiteX3181" fmla="*/ 4307612 w 9586368"/>
              <a:gd name="connsiteY3181" fmla="*/ 4325566 h 6479439"/>
              <a:gd name="connsiteX3182" fmla="*/ 4303595 w 9586368"/>
              <a:gd name="connsiteY3182" fmla="*/ 4321527 h 6479439"/>
              <a:gd name="connsiteX3183" fmla="*/ 4303595 w 9586368"/>
              <a:gd name="connsiteY3183" fmla="*/ 4311656 h 6479439"/>
              <a:gd name="connsiteX3184" fmla="*/ 4068297 w 9586368"/>
              <a:gd name="connsiteY3184" fmla="*/ 4307617 h 6479439"/>
              <a:gd name="connsiteX3185" fmla="*/ 4078210 w 9586368"/>
              <a:gd name="connsiteY3185" fmla="*/ 4307617 h 6479439"/>
              <a:gd name="connsiteX3186" fmla="*/ 4082229 w 9586368"/>
              <a:gd name="connsiteY3186" fmla="*/ 4311656 h 6479439"/>
              <a:gd name="connsiteX3187" fmla="*/ 4082229 w 9586368"/>
              <a:gd name="connsiteY3187" fmla="*/ 4321527 h 6479439"/>
              <a:gd name="connsiteX3188" fmla="*/ 4078210 w 9586368"/>
              <a:gd name="connsiteY3188" fmla="*/ 4325566 h 6479439"/>
              <a:gd name="connsiteX3189" fmla="*/ 4068297 w 9586368"/>
              <a:gd name="connsiteY3189" fmla="*/ 4325566 h 6479439"/>
              <a:gd name="connsiteX3190" fmla="*/ 4064278 w 9586368"/>
              <a:gd name="connsiteY3190" fmla="*/ 4321527 h 6479439"/>
              <a:gd name="connsiteX3191" fmla="*/ 4064278 w 9586368"/>
              <a:gd name="connsiteY3191" fmla="*/ 4311656 h 6479439"/>
              <a:gd name="connsiteX3192" fmla="*/ 3828990 w 9586368"/>
              <a:gd name="connsiteY3192" fmla="*/ 4307617 h 6479439"/>
              <a:gd name="connsiteX3193" fmla="*/ 3838899 w 9586368"/>
              <a:gd name="connsiteY3193" fmla="*/ 4307617 h 6479439"/>
              <a:gd name="connsiteX3194" fmla="*/ 3842917 w 9586368"/>
              <a:gd name="connsiteY3194" fmla="*/ 4311656 h 6479439"/>
              <a:gd name="connsiteX3195" fmla="*/ 3842917 w 9586368"/>
              <a:gd name="connsiteY3195" fmla="*/ 4321527 h 6479439"/>
              <a:gd name="connsiteX3196" fmla="*/ 3838899 w 9586368"/>
              <a:gd name="connsiteY3196" fmla="*/ 4325566 h 6479439"/>
              <a:gd name="connsiteX3197" fmla="*/ 3828990 w 9586368"/>
              <a:gd name="connsiteY3197" fmla="*/ 4325566 h 6479439"/>
              <a:gd name="connsiteX3198" fmla="*/ 3824971 w 9586368"/>
              <a:gd name="connsiteY3198" fmla="*/ 4321527 h 6479439"/>
              <a:gd name="connsiteX3199" fmla="*/ 3824971 w 9586368"/>
              <a:gd name="connsiteY3199" fmla="*/ 4311656 h 6479439"/>
              <a:gd name="connsiteX3200" fmla="*/ 3589676 w 9586368"/>
              <a:gd name="connsiteY3200" fmla="*/ 4307617 h 6479439"/>
              <a:gd name="connsiteX3201" fmla="*/ 3599585 w 9586368"/>
              <a:gd name="connsiteY3201" fmla="*/ 4307617 h 6479439"/>
              <a:gd name="connsiteX3202" fmla="*/ 3603604 w 9586368"/>
              <a:gd name="connsiteY3202" fmla="*/ 4311656 h 6479439"/>
              <a:gd name="connsiteX3203" fmla="*/ 3603604 w 9586368"/>
              <a:gd name="connsiteY3203" fmla="*/ 4321527 h 6479439"/>
              <a:gd name="connsiteX3204" fmla="*/ 3599585 w 9586368"/>
              <a:gd name="connsiteY3204" fmla="*/ 4325566 h 6479439"/>
              <a:gd name="connsiteX3205" fmla="*/ 3589676 w 9586368"/>
              <a:gd name="connsiteY3205" fmla="*/ 4325566 h 6479439"/>
              <a:gd name="connsiteX3206" fmla="*/ 3585657 w 9586368"/>
              <a:gd name="connsiteY3206" fmla="*/ 4321527 h 6479439"/>
              <a:gd name="connsiteX3207" fmla="*/ 3585657 w 9586368"/>
              <a:gd name="connsiteY3207" fmla="*/ 4311656 h 6479439"/>
              <a:gd name="connsiteX3208" fmla="*/ 3350359 w 9586368"/>
              <a:gd name="connsiteY3208" fmla="*/ 4307617 h 6479439"/>
              <a:gd name="connsiteX3209" fmla="*/ 3360268 w 9586368"/>
              <a:gd name="connsiteY3209" fmla="*/ 4307617 h 6479439"/>
              <a:gd name="connsiteX3210" fmla="*/ 3364287 w 9586368"/>
              <a:gd name="connsiteY3210" fmla="*/ 4311656 h 6479439"/>
              <a:gd name="connsiteX3211" fmla="*/ 3364287 w 9586368"/>
              <a:gd name="connsiteY3211" fmla="*/ 4321527 h 6479439"/>
              <a:gd name="connsiteX3212" fmla="*/ 3360268 w 9586368"/>
              <a:gd name="connsiteY3212" fmla="*/ 4325566 h 6479439"/>
              <a:gd name="connsiteX3213" fmla="*/ 3350359 w 9586368"/>
              <a:gd name="connsiteY3213" fmla="*/ 4325566 h 6479439"/>
              <a:gd name="connsiteX3214" fmla="*/ 3346340 w 9586368"/>
              <a:gd name="connsiteY3214" fmla="*/ 4321527 h 6479439"/>
              <a:gd name="connsiteX3215" fmla="*/ 3346340 w 9586368"/>
              <a:gd name="connsiteY3215" fmla="*/ 4311656 h 6479439"/>
              <a:gd name="connsiteX3216" fmla="*/ 3111048 w 9586368"/>
              <a:gd name="connsiteY3216" fmla="*/ 4307617 h 6479439"/>
              <a:gd name="connsiteX3217" fmla="*/ 3120959 w 9586368"/>
              <a:gd name="connsiteY3217" fmla="*/ 4307617 h 6479439"/>
              <a:gd name="connsiteX3218" fmla="*/ 3124977 w 9586368"/>
              <a:gd name="connsiteY3218" fmla="*/ 4311656 h 6479439"/>
              <a:gd name="connsiteX3219" fmla="*/ 3124977 w 9586368"/>
              <a:gd name="connsiteY3219" fmla="*/ 4321527 h 6479439"/>
              <a:gd name="connsiteX3220" fmla="*/ 3120959 w 9586368"/>
              <a:gd name="connsiteY3220" fmla="*/ 4325566 h 6479439"/>
              <a:gd name="connsiteX3221" fmla="*/ 3111048 w 9586368"/>
              <a:gd name="connsiteY3221" fmla="*/ 4325566 h 6479439"/>
              <a:gd name="connsiteX3222" fmla="*/ 3107029 w 9586368"/>
              <a:gd name="connsiteY3222" fmla="*/ 4321527 h 6479439"/>
              <a:gd name="connsiteX3223" fmla="*/ 3107029 w 9586368"/>
              <a:gd name="connsiteY3223" fmla="*/ 4311656 h 6479439"/>
              <a:gd name="connsiteX3224" fmla="*/ 2871737 w 9586368"/>
              <a:gd name="connsiteY3224" fmla="*/ 4307617 h 6479439"/>
              <a:gd name="connsiteX3225" fmla="*/ 2881646 w 9586368"/>
              <a:gd name="connsiteY3225" fmla="*/ 4307617 h 6479439"/>
              <a:gd name="connsiteX3226" fmla="*/ 2885666 w 9586368"/>
              <a:gd name="connsiteY3226" fmla="*/ 4311656 h 6479439"/>
              <a:gd name="connsiteX3227" fmla="*/ 2885666 w 9586368"/>
              <a:gd name="connsiteY3227" fmla="*/ 4321527 h 6479439"/>
              <a:gd name="connsiteX3228" fmla="*/ 2881646 w 9586368"/>
              <a:gd name="connsiteY3228" fmla="*/ 4325566 h 6479439"/>
              <a:gd name="connsiteX3229" fmla="*/ 2871737 w 9586368"/>
              <a:gd name="connsiteY3229" fmla="*/ 4325566 h 6479439"/>
              <a:gd name="connsiteX3230" fmla="*/ 2867717 w 9586368"/>
              <a:gd name="connsiteY3230" fmla="*/ 4321527 h 6479439"/>
              <a:gd name="connsiteX3231" fmla="*/ 2867717 w 9586368"/>
              <a:gd name="connsiteY3231" fmla="*/ 4311656 h 6479439"/>
              <a:gd name="connsiteX3232" fmla="*/ 2632423 w 9586368"/>
              <a:gd name="connsiteY3232" fmla="*/ 4307617 h 6479439"/>
              <a:gd name="connsiteX3233" fmla="*/ 2642334 w 9586368"/>
              <a:gd name="connsiteY3233" fmla="*/ 4307617 h 6479439"/>
              <a:gd name="connsiteX3234" fmla="*/ 2646352 w 9586368"/>
              <a:gd name="connsiteY3234" fmla="*/ 4311656 h 6479439"/>
              <a:gd name="connsiteX3235" fmla="*/ 2646352 w 9586368"/>
              <a:gd name="connsiteY3235" fmla="*/ 4321527 h 6479439"/>
              <a:gd name="connsiteX3236" fmla="*/ 2642334 w 9586368"/>
              <a:gd name="connsiteY3236" fmla="*/ 4325566 h 6479439"/>
              <a:gd name="connsiteX3237" fmla="*/ 2632423 w 9586368"/>
              <a:gd name="connsiteY3237" fmla="*/ 4325566 h 6479439"/>
              <a:gd name="connsiteX3238" fmla="*/ 2628404 w 9586368"/>
              <a:gd name="connsiteY3238" fmla="*/ 4321527 h 6479439"/>
              <a:gd name="connsiteX3239" fmla="*/ 2628404 w 9586368"/>
              <a:gd name="connsiteY3239" fmla="*/ 4311656 h 6479439"/>
              <a:gd name="connsiteX3240" fmla="*/ 2393104 w 9586368"/>
              <a:gd name="connsiteY3240" fmla="*/ 4307617 h 6479439"/>
              <a:gd name="connsiteX3241" fmla="*/ 2403015 w 9586368"/>
              <a:gd name="connsiteY3241" fmla="*/ 4307617 h 6479439"/>
              <a:gd name="connsiteX3242" fmla="*/ 2407034 w 9586368"/>
              <a:gd name="connsiteY3242" fmla="*/ 4311656 h 6479439"/>
              <a:gd name="connsiteX3243" fmla="*/ 2407034 w 9586368"/>
              <a:gd name="connsiteY3243" fmla="*/ 4321527 h 6479439"/>
              <a:gd name="connsiteX3244" fmla="*/ 2403015 w 9586368"/>
              <a:gd name="connsiteY3244" fmla="*/ 4325566 h 6479439"/>
              <a:gd name="connsiteX3245" fmla="*/ 2393104 w 9586368"/>
              <a:gd name="connsiteY3245" fmla="*/ 4325566 h 6479439"/>
              <a:gd name="connsiteX3246" fmla="*/ 2389087 w 9586368"/>
              <a:gd name="connsiteY3246" fmla="*/ 4321527 h 6479439"/>
              <a:gd name="connsiteX3247" fmla="*/ 2389087 w 9586368"/>
              <a:gd name="connsiteY3247" fmla="*/ 4311656 h 6479439"/>
              <a:gd name="connsiteX3248" fmla="*/ 721965 w 9586368"/>
              <a:gd name="connsiteY3248" fmla="*/ 4307617 h 6479439"/>
              <a:gd name="connsiteX3249" fmla="*/ 731874 w 9586368"/>
              <a:gd name="connsiteY3249" fmla="*/ 4307617 h 6479439"/>
              <a:gd name="connsiteX3250" fmla="*/ 735893 w 9586368"/>
              <a:gd name="connsiteY3250" fmla="*/ 4311656 h 6479439"/>
              <a:gd name="connsiteX3251" fmla="*/ 735893 w 9586368"/>
              <a:gd name="connsiteY3251" fmla="*/ 4321527 h 6479439"/>
              <a:gd name="connsiteX3252" fmla="*/ 731874 w 9586368"/>
              <a:gd name="connsiteY3252" fmla="*/ 4325566 h 6479439"/>
              <a:gd name="connsiteX3253" fmla="*/ 721965 w 9586368"/>
              <a:gd name="connsiteY3253" fmla="*/ 4325566 h 6479439"/>
              <a:gd name="connsiteX3254" fmla="*/ 717945 w 9586368"/>
              <a:gd name="connsiteY3254" fmla="*/ 4321527 h 6479439"/>
              <a:gd name="connsiteX3255" fmla="*/ 717945 w 9586368"/>
              <a:gd name="connsiteY3255" fmla="*/ 4311656 h 6479439"/>
              <a:gd name="connsiteX3256" fmla="*/ 482652 w 9586368"/>
              <a:gd name="connsiteY3256" fmla="*/ 4307617 h 6479439"/>
              <a:gd name="connsiteX3257" fmla="*/ 492562 w 9586368"/>
              <a:gd name="connsiteY3257" fmla="*/ 4307617 h 6479439"/>
              <a:gd name="connsiteX3258" fmla="*/ 496581 w 9586368"/>
              <a:gd name="connsiteY3258" fmla="*/ 4311656 h 6479439"/>
              <a:gd name="connsiteX3259" fmla="*/ 496581 w 9586368"/>
              <a:gd name="connsiteY3259" fmla="*/ 4321527 h 6479439"/>
              <a:gd name="connsiteX3260" fmla="*/ 492562 w 9586368"/>
              <a:gd name="connsiteY3260" fmla="*/ 4325566 h 6479439"/>
              <a:gd name="connsiteX3261" fmla="*/ 482652 w 9586368"/>
              <a:gd name="connsiteY3261" fmla="*/ 4325566 h 6479439"/>
              <a:gd name="connsiteX3262" fmla="*/ 478633 w 9586368"/>
              <a:gd name="connsiteY3262" fmla="*/ 4321527 h 6479439"/>
              <a:gd name="connsiteX3263" fmla="*/ 478633 w 9586368"/>
              <a:gd name="connsiteY3263" fmla="*/ 4311656 h 6479439"/>
              <a:gd name="connsiteX3264" fmla="*/ 243339 w 9586368"/>
              <a:gd name="connsiteY3264" fmla="*/ 4307617 h 6479439"/>
              <a:gd name="connsiteX3265" fmla="*/ 253249 w 9586368"/>
              <a:gd name="connsiteY3265" fmla="*/ 4307617 h 6479439"/>
              <a:gd name="connsiteX3266" fmla="*/ 257268 w 9586368"/>
              <a:gd name="connsiteY3266" fmla="*/ 4311656 h 6479439"/>
              <a:gd name="connsiteX3267" fmla="*/ 257268 w 9586368"/>
              <a:gd name="connsiteY3267" fmla="*/ 4321527 h 6479439"/>
              <a:gd name="connsiteX3268" fmla="*/ 253249 w 9586368"/>
              <a:gd name="connsiteY3268" fmla="*/ 4325566 h 6479439"/>
              <a:gd name="connsiteX3269" fmla="*/ 243339 w 9586368"/>
              <a:gd name="connsiteY3269" fmla="*/ 4325566 h 6479439"/>
              <a:gd name="connsiteX3270" fmla="*/ 239320 w 9586368"/>
              <a:gd name="connsiteY3270" fmla="*/ 4321527 h 6479439"/>
              <a:gd name="connsiteX3271" fmla="*/ 239320 w 9586368"/>
              <a:gd name="connsiteY3271" fmla="*/ 4311656 h 6479439"/>
              <a:gd name="connsiteX3272" fmla="*/ 4025 w 9586368"/>
              <a:gd name="connsiteY3272" fmla="*/ 4307617 h 6479439"/>
              <a:gd name="connsiteX3273" fmla="*/ 13936 w 9586368"/>
              <a:gd name="connsiteY3273" fmla="*/ 4307617 h 6479439"/>
              <a:gd name="connsiteX3274" fmla="*/ 17955 w 9586368"/>
              <a:gd name="connsiteY3274" fmla="*/ 4311656 h 6479439"/>
              <a:gd name="connsiteX3275" fmla="*/ 17955 w 9586368"/>
              <a:gd name="connsiteY3275" fmla="*/ 4321527 h 6479439"/>
              <a:gd name="connsiteX3276" fmla="*/ 13936 w 9586368"/>
              <a:gd name="connsiteY3276" fmla="*/ 4325566 h 6479439"/>
              <a:gd name="connsiteX3277" fmla="*/ 4025 w 9586368"/>
              <a:gd name="connsiteY3277" fmla="*/ 4325566 h 6479439"/>
              <a:gd name="connsiteX3278" fmla="*/ 7 w 9586368"/>
              <a:gd name="connsiteY3278" fmla="*/ 4321527 h 6479439"/>
              <a:gd name="connsiteX3279" fmla="*/ 7 w 9586368"/>
              <a:gd name="connsiteY3279" fmla="*/ 4311656 h 6479439"/>
              <a:gd name="connsiteX3280" fmla="*/ 9572438 w 9586368"/>
              <a:gd name="connsiteY3280" fmla="*/ 4068339 h 6479439"/>
              <a:gd name="connsiteX3281" fmla="*/ 9582349 w 9586368"/>
              <a:gd name="connsiteY3281" fmla="*/ 4068339 h 6479439"/>
              <a:gd name="connsiteX3282" fmla="*/ 9586368 w 9586368"/>
              <a:gd name="connsiteY3282" fmla="*/ 4072377 h 6479439"/>
              <a:gd name="connsiteX3283" fmla="*/ 9586368 w 9586368"/>
              <a:gd name="connsiteY3283" fmla="*/ 4082248 h 6479439"/>
              <a:gd name="connsiteX3284" fmla="*/ 9582349 w 9586368"/>
              <a:gd name="connsiteY3284" fmla="*/ 4086287 h 6479439"/>
              <a:gd name="connsiteX3285" fmla="*/ 9572438 w 9586368"/>
              <a:gd name="connsiteY3285" fmla="*/ 4086287 h 6479439"/>
              <a:gd name="connsiteX3286" fmla="*/ 9568419 w 9586368"/>
              <a:gd name="connsiteY3286" fmla="*/ 4082248 h 6479439"/>
              <a:gd name="connsiteX3287" fmla="*/ 9568419 w 9586368"/>
              <a:gd name="connsiteY3287" fmla="*/ 4072377 h 6479439"/>
              <a:gd name="connsiteX3288" fmla="*/ 9333125 w 9586368"/>
              <a:gd name="connsiteY3288" fmla="*/ 4068339 h 6479439"/>
              <a:gd name="connsiteX3289" fmla="*/ 9343036 w 9586368"/>
              <a:gd name="connsiteY3289" fmla="*/ 4068339 h 6479439"/>
              <a:gd name="connsiteX3290" fmla="*/ 9347055 w 9586368"/>
              <a:gd name="connsiteY3290" fmla="*/ 4072377 h 6479439"/>
              <a:gd name="connsiteX3291" fmla="*/ 9347055 w 9586368"/>
              <a:gd name="connsiteY3291" fmla="*/ 4082248 h 6479439"/>
              <a:gd name="connsiteX3292" fmla="*/ 9343036 w 9586368"/>
              <a:gd name="connsiteY3292" fmla="*/ 4086287 h 6479439"/>
              <a:gd name="connsiteX3293" fmla="*/ 9333125 w 9586368"/>
              <a:gd name="connsiteY3293" fmla="*/ 4086287 h 6479439"/>
              <a:gd name="connsiteX3294" fmla="*/ 9329106 w 9586368"/>
              <a:gd name="connsiteY3294" fmla="*/ 4082248 h 6479439"/>
              <a:gd name="connsiteX3295" fmla="*/ 9329106 w 9586368"/>
              <a:gd name="connsiteY3295" fmla="*/ 4072377 h 6479439"/>
              <a:gd name="connsiteX3296" fmla="*/ 9093811 w 9586368"/>
              <a:gd name="connsiteY3296" fmla="*/ 4068339 h 6479439"/>
              <a:gd name="connsiteX3297" fmla="*/ 9103722 w 9586368"/>
              <a:gd name="connsiteY3297" fmla="*/ 4068339 h 6479439"/>
              <a:gd name="connsiteX3298" fmla="*/ 9107741 w 9586368"/>
              <a:gd name="connsiteY3298" fmla="*/ 4072377 h 6479439"/>
              <a:gd name="connsiteX3299" fmla="*/ 9107741 w 9586368"/>
              <a:gd name="connsiteY3299" fmla="*/ 4082248 h 6479439"/>
              <a:gd name="connsiteX3300" fmla="*/ 9103722 w 9586368"/>
              <a:gd name="connsiteY3300" fmla="*/ 4086287 h 6479439"/>
              <a:gd name="connsiteX3301" fmla="*/ 9093811 w 9586368"/>
              <a:gd name="connsiteY3301" fmla="*/ 4086287 h 6479439"/>
              <a:gd name="connsiteX3302" fmla="*/ 9089792 w 9586368"/>
              <a:gd name="connsiteY3302" fmla="*/ 4082248 h 6479439"/>
              <a:gd name="connsiteX3303" fmla="*/ 9089792 w 9586368"/>
              <a:gd name="connsiteY3303" fmla="*/ 4072377 h 6479439"/>
              <a:gd name="connsiteX3304" fmla="*/ 8854496 w 9586368"/>
              <a:gd name="connsiteY3304" fmla="*/ 4068339 h 6479439"/>
              <a:gd name="connsiteX3305" fmla="*/ 8864407 w 9586368"/>
              <a:gd name="connsiteY3305" fmla="*/ 4068339 h 6479439"/>
              <a:gd name="connsiteX3306" fmla="*/ 8868426 w 9586368"/>
              <a:gd name="connsiteY3306" fmla="*/ 4072377 h 6479439"/>
              <a:gd name="connsiteX3307" fmla="*/ 8868426 w 9586368"/>
              <a:gd name="connsiteY3307" fmla="*/ 4082248 h 6479439"/>
              <a:gd name="connsiteX3308" fmla="*/ 8864407 w 9586368"/>
              <a:gd name="connsiteY3308" fmla="*/ 4086287 h 6479439"/>
              <a:gd name="connsiteX3309" fmla="*/ 8854496 w 9586368"/>
              <a:gd name="connsiteY3309" fmla="*/ 4086287 h 6479439"/>
              <a:gd name="connsiteX3310" fmla="*/ 8850477 w 9586368"/>
              <a:gd name="connsiteY3310" fmla="*/ 4082248 h 6479439"/>
              <a:gd name="connsiteX3311" fmla="*/ 8850477 w 9586368"/>
              <a:gd name="connsiteY3311" fmla="*/ 4072377 h 6479439"/>
              <a:gd name="connsiteX3312" fmla="*/ 8615184 w 9586368"/>
              <a:gd name="connsiteY3312" fmla="*/ 4068339 h 6479439"/>
              <a:gd name="connsiteX3313" fmla="*/ 8625095 w 9586368"/>
              <a:gd name="connsiteY3313" fmla="*/ 4068339 h 6479439"/>
              <a:gd name="connsiteX3314" fmla="*/ 8629114 w 9586368"/>
              <a:gd name="connsiteY3314" fmla="*/ 4072377 h 6479439"/>
              <a:gd name="connsiteX3315" fmla="*/ 8629114 w 9586368"/>
              <a:gd name="connsiteY3315" fmla="*/ 4082248 h 6479439"/>
              <a:gd name="connsiteX3316" fmla="*/ 8625095 w 9586368"/>
              <a:gd name="connsiteY3316" fmla="*/ 4086287 h 6479439"/>
              <a:gd name="connsiteX3317" fmla="*/ 8615184 w 9586368"/>
              <a:gd name="connsiteY3317" fmla="*/ 4086287 h 6479439"/>
              <a:gd name="connsiteX3318" fmla="*/ 8611165 w 9586368"/>
              <a:gd name="connsiteY3318" fmla="*/ 4082248 h 6479439"/>
              <a:gd name="connsiteX3319" fmla="*/ 8611165 w 9586368"/>
              <a:gd name="connsiteY3319" fmla="*/ 4072377 h 6479439"/>
              <a:gd name="connsiteX3320" fmla="*/ 8375869 w 9586368"/>
              <a:gd name="connsiteY3320" fmla="*/ 4068339 h 6479439"/>
              <a:gd name="connsiteX3321" fmla="*/ 8385779 w 9586368"/>
              <a:gd name="connsiteY3321" fmla="*/ 4068339 h 6479439"/>
              <a:gd name="connsiteX3322" fmla="*/ 8389799 w 9586368"/>
              <a:gd name="connsiteY3322" fmla="*/ 4072377 h 6479439"/>
              <a:gd name="connsiteX3323" fmla="*/ 8389799 w 9586368"/>
              <a:gd name="connsiteY3323" fmla="*/ 4082248 h 6479439"/>
              <a:gd name="connsiteX3324" fmla="*/ 8385779 w 9586368"/>
              <a:gd name="connsiteY3324" fmla="*/ 4086287 h 6479439"/>
              <a:gd name="connsiteX3325" fmla="*/ 8375869 w 9586368"/>
              <a:gd name="connsiteY3325" fmla="*/ 4086287 h 6479439"/>
              <a:gd name="connsiteX3326" fmla="*/ 8371850 w 9586368"/>
              <a:gd name="connsiteY3326" fmla="*/ 4082248 h 6479439"/>
              <a:gd name="connsiteX3327" fmla="*/ 8371850 w 9586368"/>
              <a:gd name="connsiteY3327" fmla="*/ 4072377 h 6479439"/>
              <a:gd name="connsiteX3328" fmla="*/ 8136553 w 9586368"/>
              <a:gd name="connsiteY3328" fmla="*/ 4068339 h 6479439"/>
              <a:gd name="connsiteX3329" fmla="*/ 8146464 w 9586368"/>
              <a:gd name="connsiteY3329" fmla="*/ 4068339 h 6479439"/>
              <a:gd name="connsiteX3330" fmla="*/ 8150483 w 9586368"/>
              <a:gd name="connsiteY3330" fmla="*/ 4072377 h 6479439"/>
              <a:gd name="connsiteX3331" fmla="*/ 8150483 w 9586368"/>
              <a:gd name="connsiteY3331" fmla="*/ 4082248 h 6479439"/>
              <a:gd name="connsiteX3332" fmla="*/ 8146464 w 9586368"/>
              <a:gd name="connsiteY3332" fmla="*/ 4086287 h 6479439"/>
              <a:gd name="connsiteX3333" fmla="*/ 8136553 w 9586368"/>
              <a:gd name="connsiteY3333" fmla="*/ 4086287 h 6479439"/>
              <a:gd name="connsiteX3334" fmla="*/ 8132534 w 9586368"/>
              <a:gd name="connsiteY3334" fmla="*/ 4082248 h 6479439"/>
              <a:gd name="connsiteX3335" fmla="*/ 8132534 w 9586368"/>
              <a:gd name="connsiteY3335" fmla="*/ 4072377 h 6479439"/>
              <a:gd name="connsiteX3336" fmla="*/ 7897241 w 9586368"/>
              <a:gd name="connsiteY3336" fmla="*/ 4068339 h 6479439"/>
              <a:gd name="connsiteX3337" fmla="*/ 7907151 w 9586368"/>
              <a:gd name="connsiteY3337" fmla="*/ 4068339 h 6479439"/>
              <a:gd name="connsiteX3338" fmla="*/ 7911170 w 9586368"/>
              <a:gd name="connsiteY3338" fmla="*/ 4072377 h 6479439"/>
              <a:gd name="connsiteX3339" fmla="*/ 7911170 w 9586368"/>
              <a:gd name="connsiteY3339" fmla="*/ 4082248 h 6479439"/>
              <a:gd name="connsiteX3340" fmla="*/ 7907151 w 9586368"/>
              <a:gd name="connsiteY3340" fmla="*/ 4086287 h 6479439"/>
              <a:gd name="connsiteX3341" fmla="*/ 7897241 w 9586368"/>
              <a:gd name="connsiteY3341" fmla="*/ 4086287 h 6479439"/>
              <a:gd name="connsiteX3342" fmla="*/ 7893222 w 9586368"/>
              <a:gd name="connsiteY3342" fmla="*/ 4082248 h 6479439"/>
              <a:gd name="connsiteX3343" fmla="*/ 7893222 w 9586368"/>
              <a:gd name="connsiteY3343" fmla="*/ 4072377 h 6479439"/>
              <a:gd name="connsiteX3344" fmla="*/ 7657926 w 9586368"/>
              <a:gd name="connsiteY3344" fmla="*/ 4068339 h 6479439"/>
              <a:gd name="connsiteX3345" fmla="*/ 7667836 w 9586368"/>
              <a:gd name="connsiteY3345" fmla="*/ 4068339 h 6479439"/>
              <a:gd name="connsiteX3346" fmla="*/ 7671855 w 9586368"/>
              <a:gd name="connsiteY3346" fmla="*/ 4072377 h 6479439"/>
              <a:gd name="connsiteX3347" fmla="*/ 7671855 w 9586368"/>
              <a:gd name="connsiteY3347" fmla="*/ 4082248 h 6479439"/>
              <a:gd name="connsiteX3348" fmla="*/ 7667836 w 9586368"/>
              <a:gd name="connsiteY3348" fmla="*/ 4086287 h 6479439"/>
              <a:gd name="connsiteX3349" fmla="*/ 7657926 w 9586368"/>
              <a:gd name="connsiteY3349" fmla="*/ 4086287 h 6479439"/>
              <a:gd name="connsiteX3350" fmla="*/ 7653906 w 9586368"/>
              <a:gd name="connsiteY3350" fmla="*/ 4082248 h 6479439"/>
              <a:gd name="connsiteX3351" fmla="*/ 7653906 w 9586368"/>
              <a:gd name="connsiteY3351" fmla="*/ 4072377 h 6479439"/>
              <a:gd name="connsiteX3352" fmla="*/ 7418611 w 9586368"/>
              <a:gd name="connsiteY3352" fmla="*/ 4068339 h 6479439"/>
              <a:gd name="connsiteX3353" fmla="*/ 7428521 w 9586368"/>
              <a:gd name="connsiteY3353" fmla="*/ 4068339 h 6479439"/>
              <a:gd name="connsiteX3354" fmla="*/ 7432540 w 9586368"/>
              <a:gd name="connsiteY3354" fmla="*/ 4072377 h 6479439"/>
              <a:gd name="connsiteX3355" fmla="*/ 7432540 w 9586368"/>
              <a:gd name="connsiteY3355" fmla="*/ 4082248 h 6479439"/>
              <a:gd name="connsiteX3356" fmla="*/ 7428521 w 9586368"/>
              <a:gd name="connsiteY3356" fmla="*/ 4086287 h 6479439"/>
              <a:gd name="connsiteX3357" fmla="*/ 7418611 w 9586368"/>
              <a:gd name="connsiteY3357" fmla="*/ 4086287 h 6479439"/>
              <a:gd name="connsiteX3358" fmla="*/ 7414592 w 9586368"/>
              <a:gd name="connsiteY3358" fmla="*/ 4082248 h 6479439"/>
              <a:gd name="connsiteX3359" fmla="*/ 7414592 w 9586368"/>
              <a:gd name="connsiteY3359" fmla="*/ 4072377 h 6479439"/>
              <a:gd name="connsiteX3360" fmla="*/ 7179298 w 9586368"/>
              <a:gd name="connsiteY3360" fmla="*/ 4068339 h 6479439"/>
              <a:gd name="connsiteX3361" fmla="*/ 7189209 w 9586368"/>
              <a:gd name="connsiteY3361" fmla="*/ 4068339 h 6479439"/>
              <a:gd name="connsiteX3362" fmla="*/ 7193228 w 9586368"/>
              <a:gd name="connsiteY3362" fmla="*/ 4072377 h 6479439"/>
              <a:gd name="connsiteX3363" fmla="*/ 7193228 w 9586368"/>
              <a:gd name="connsiteY3363" fmla="*/ 4082248 h 6479439"/>
              <a:gd name="connsiteX3364" fmla="*/ 7189209 w 9586368"/>
              <a:gd name="connsiteY3364" fmla="*/ 4086287 h 6479439"/>
              <a:gd name="connsiteX3365" fmla="*/ 7179298 w 9586368"/>
              <a:gd name="connsiteY3365" fmla="*/ 4086287 h 6479439"/>
              <a:gd name="connsiteX3366" fmla="*/ 7175279 w 9586368"/>
              <a:gd name="connsiteY3366" fmla="*/ 4082248 h 6479439"/>
              <a:gd name="connsiteX3367" fmla="*/ 7175279 w 9586368"/>
              <a:gd name="connsiteY3367" fmla="*/ 4072377 h 6479439"/>
              <a:gd name="connsiteX3368" fmla="*/ 6939983 w 9586368"/>
              <a:gd name="connsiteY3368" fmla="*/ 4068339 h 6479439"/>
              <a:gd name="connsiteX3369" fmla="*/ 6949894 w 9586368"/>
              <a:gd name="connsiteY3369" fmla="*/ 4068339 h 6479439"/>
              <a:gd name="connsiteX3370" fmla="*/ 6953913 w 9586368"/>
              <a:gd name="connsiteY3370" fmla="*/ 4072377 h 6479439"/>
              <a:gd name="connsiteX3371" fmla="*/ 6953913 w 9586368"/>
              <a:gd name="connsiteY3371" fmla="*/ 4082248 h 6479439"/>
              <a:gd name="connsiteX3372" fmla="*/ 6949894 w 9586368"/>
              <a:gd name="connsiteY3372" fmla="*/ 4086287 h 6479439"/>
              <a:gd name="connsiteX3373" fmla="*/ 6939983 w 9586368"/>
              <a:gd name="connsiteY3373" fmla="*/ 4086287 h 6479439"/>
              <a:gd name="connsiteX3374" fmla="*/ 6935964 w 9586368"/>
              <a:gd name="connsiteY3374" fmla="*/ 4082248 h 6479439"/>
              <a:gd name="connsiteX3375" fmla="*/ 6935964 w 9586368"/>
              <a:gd name="connsiteY3375" fmla="*/ 4072377 h 6479439"/>
              <a:gd name="connsiteX3376" fmla="*/ 6700670 w 9586368"/>
              <a:gd name="connsiteY3376" fmla="*/ 4068339 h 6479439"/>
              <a:gd name="connsiteX3377" fmla="*/ 6710581 w 9586368"/>
              <a:gd name="connsiteY3377" fmla="*/ 4068339 h 6479439"/>
              <a:gd name="connsiteX3378" fmla="*/ 6714600 w 9586368"/>
              <a:gd name="connsiteY3378" fmla="*/ 4072377 h 6479439"/>
              <a:gd name="connsiteX3379" fmla="*/ 6714600 w 9586368"/>
              <a:gd name="connsiteY3379" fmla="*/ 4082248 h 6479439"/>
              <a:gd name="connsiteX3380" fmla="*/ 6710581 w 9586368"/>
              <a:gd name="connsiteY3380" fmla="*/ 4086287 h 6479439"/>
              <a:gd name="connsiteX3381" fmla="*/ 6700670 w 9586368"/>
              <a:gd name="connsiteY3381" fmla="*/ 4086287 h 6479439"/>
              <a:gd name="connsiteX3382" fmla="*/ 6696651 w 9586368"/>
              <a:gd name="connsiteY3382" fmla="*/ 4082248 h 6479439"/>
              <a:gd name="connsiteX3383" fmla="*/ 6696651 w 9586368"/>
              <a:gd name="connsiteY3383" fmla="*/ 4072377 h 6479439"/>
              <a:gd name="connsiteX3384" fmla="*/ 6461356 w 9586368"/>
              <a:gd name="connsiteY3384" fmla="*/ 4068339 h 6479439"/>
              <a:gd name="connsiteX3385" fmla="*/ 6471266 w 9586368"/>
              <a:gd name="connsiteY3385" fmla="*/ 4068339 h 6479439"/>
              <a:gd name="connsiteX3386" fmla="*/ 6475285 w 9586368"/>
              <a:gd name="connsiteY3386" fmla="*/ 4072377 h 6479439"/>
              <a:gd name="connsiteX3387" fmla="*/ 6475285 w 9586368"/>
              <a:gd name="connsiteY3387" fmla="*/ 4082248 h 6479439"/>
              <a:gd name="connsiteX3388" fmla="*/ 6471266 w 9586368"/>
              <a:gd name="connsiteY3388" fmla="*/ 4086287 h 6479439"/>
              <a:gd name="connsiteX3389" fmla="*/ 6461356 w 9586368"/>
              <a:gd name="connsiteY3389" fmla="*/ 4086287 h 6479439"/>
              <a:gd name="connsiteX3390" fmla="*/ 6457337 w 9586368"/>
              <a:gd name="connsiteY3390" fmla="*/ 4082248 h 6479439"/>
              <a:gd name="connsiteX3391" fmla="*/ 6457337 w 9586368"/>
              <a:gd name="connsiteY3391" fmla="*/ 4072377 h 6479439"/>
              <a:gd name="connsiteX3392" fmla="*/ 6222042 w 9586368"/>
              <a:gd name="connsiteY3392" fmla="*/ 4068339 h 6479439"/>
              <a:gd name="connsiteX3393" fmla="*/ 6231952 w 9586368"/>
              <a:gd name="connsiteY3393" fmla="*/ 4068339 h 6479439"/>
              <a:gd name="connsiteX3394" fmla="*/ 6235971 w 9586368"/>
              <a:gd name="connsiteY3394" fmla="*/ 4072377 h 6479439"/>
              <a:gd name="connsiteX3395" fmla="*/ 6235971 w 9586368"/>
              <a:gd name="connsiteY3395" fmla="*/ 4082248 h 6479439"/>
              <a:gd name="connsiteX3396" fmla="*/ 6231952 w 9586368"/>
              <a:gd name="connsiteY3396" fmla="*/ 4086287 h 6479439"/>
              <a:gd name="connsiteX3397" fmla="*/ 6222042 w 9586368"/>
              <a:gd name="connsiteY3397" fmla="*/ 4086287 h 6479439"/>
              <a:gd name="connsiteX3398" fmla="*/ 6218023 w 9586368"/>
              <a:gd name="connsiteY3398" fmla="*/ 4082248 h 6479439"/>
              <a:gd name="connsiteX3399" fmla="*/ 6218023 w 9586368"/>
              <a:gd name="connsiteY3399" fmla="*/ 4072377 h 6479439"/>
              <a:gd name="connsiteX3400" fmla="*/ 5982729 w 9586368"/>
              <a:gd name="connsiteY3400" fmla="*/ 4068339 h 6479439"/>
              <a:gd name="connsiteX3401" fmla="*/ 5992639 w 9586368"/>
              <a:gd name="connsiteY3401" fmla="*/ 4068339 h 6479439"/>
              <a:gd name="connsiteX3402" fmla="*/ 5996658 w 9586368"/>
              <a:gd name="connsiteY3402" fmla="*/ 4072377 h 6479439"/>
              <a:gd name="connsiteX3403" fmla="*/ 5996658 w 9586368"/>
              <a:gd name="connsiteY3403" fmla="*/ 4082248 h 6479439"/>
              <a:gd name="connsiteX3404" fmla="*/ 5992639 w 9586368"/>
              <a:gd name="connsiteY3404" fmla="*/ 4086287 h 6479439"/>
              <a:gd name="connsiteX3405" fmla="*/ 5982729 w 9586368"/>
              <a:gd name="connsiteY3405" fmla="*/ 4086287 h 6479439"/>
              <a:gd name="connsiteX3406" fmla="*/ 5978710 w 9586368"/>
              <a:gd name="connsiteY3406" fmla="*/ 4082248 h 6479439"/>
              <a:gd name="connsiteX3407" fmla="*/ 5978710 w 9586368"/>
              <a:gd name="connsiteY3407" fmla="*/ 4072377 h 6479439"/>
              <a:gd name="connsiteX3408" fmla="*/ 5743412 w 9586368"/>
              <a:gd name="connsiteY3408" fmla="*/ 4068339 h 6479439"/>
              <a:gd name="connsiteX3409" fmla="*/ 5753323 w 9586368"/>
              <a:gd name="connsiteY3409" fmla="*/ 4068339 h 6479439"/>
              <a:gd name="connsiteX3410" fmla="*/ 5757342 w 9586368"/>
              <a:gd name="connsiteY3410" fmla="*/ 4072377 h 6479439"/>
              <a:gd name="connsiteX3411" fmla="*/ 5757342 w 9586368"/>
              <a:gd name="connsiteY3411" fmla="*/ 4082248 h 6479439"/>
              <a:gd name="connsiteX3412" fmla="*/ 5753323 w 9586368"/>
              <a:gd name="connsiteY3412" fmla="*/ 4086287 h 6479439"/>
              <a:gd name="connsiteX3413" fmla="*/ 5743412 w 9586368"/>
              <a:gd name="connsiteY3413" fmla="*/ 4086287 h 6479439"/>
              <a:gd name="connsiteX3414" fmla="*/ 5739393 w 9586368"/>
              <a:gd name="connsiteY3414" fmla="*/ 4082248 h 6479439"/>
              <a:gd name="connsiteX3415" fmla="*/ 5739393 w 9586368"/>
              <a:gd name="connsiteY3415" fmla="*/ 4072377 h 6479439"/>
              <a:gd name="connsiteX3416" fmla="*/ 5504099 w 9586368"/>
              <a:gd name="connsiteY3416" fmla="*/ 4068339 h 6479439"/>
              <a:gd name="connsiteX3417" fmla="*/ 5514010 w 9586368"/>
              <a:gd name="connsiteY3417" fmla="*/ 4068339 h 6479439"/>
              <a:gd name="connsiteX3418" fmla="*/ 5518029 w 9586368"/>
              <a:gd name="connsiteY3418" fmla="*/ 4072377 h 6479439"/>
              <a:gd name="connsiteX3419" fmla="*/ 5518029 w 9586368"/>
              <a:gd name="connsiteY3419" fmla="*/ 4082248 h 6479439"/>
              <a:gd name="connsiteX3420" fmla="*/ 5514010 w 9586368"/>
              <a:gd name="connsiteY3420" fmla="*/ 4086287 h 6479439"/>
              <a:gd name="connsiteX3421" fmla="*/ 5504099 w 9586368"/>
              <a:gd name="connsiteY3421" fmla="*/ 4086287 h 6479439"/>
              <a:gd name="connsiteX3422" fmla="*/ 5500080 w 9586368"/>
              <a:gd name="connsiteY3422" fmla="*/ 4082248 h 6479439"/>
              <a:gd name="connsiteX3423" fmla="*/ 5500080 w 9586368"/>
              <a:gd name="connsiteY3423" fmla="*/ 4072377 h 6479439"/>
              <a:gd name="connsiteX3424" fmla="*/ 5264784 w 9586368"/>
              <a:gd name="connsiteY3424" fmla="*/ 4068339 h 6479439"/>
              <a:gd name="connsiteX3425" fmla="*/ 5274694 w 9586368"/>
              <a:gd name="connsiteY3425" fmla="*/ 4068339 h 6479439"/>
              <a:gd name="connsiteX3426" fmla="*/ 5278713 w 9586368"/>
              <a:gd name="connsiteY3426" fmla="*/ 4072377 h 6479439"/>
              <a:gd name="connsiteX3427" fmla="*/ 5278713 w 9586368"/>
              <a:gd name="connsiteY3427" fmla="*/ 4082248 h 6479439"/>
              <a:gd name="connsiteX3428" fmla="*/ 5274694 w 9586368"/>
              <a:gd name="connsiteY3428" fmla="*/ 4086287 h 6479439"/>
              <a:gd name="connsiteX3429" fmla="*/ 5264784 w 9586368"/>
              <a:gd name="connsiteY3429" fmla="*/ 4086287 h 6479439"/>
              <a:gd name="connsiteX3430" fmla="*/ 5260765 w 9586368"/>
              <a:gd name="connsiteY3430" fmla="*/ 4082248 h 6479439"/>
              <a:gd name="connsiteX3431" fmla="*/ 5260765 w 9586368"/>
              <a:gd name="connsiteY3431" fmla="*/ 4072377 h 6479439"/>
              <a:gd name="connsiteX3432" fmla="*/ 5025470 w 9586368"/>
              <a:gd name="connsiteY3432" fmla="*/ 4068339 h 6479439"/>
              <a:gd name="connsiteX3433" fmla="*/ 5035381 w 9586368"/>
              <a:gd name="connsiteY3433" fmla="*/ 4068339 h 6479439"/>
              <a:gd name="connsiteX3434" fmla="*/ 5039400 w 9586368"/>
              <a:gd name="connsiteY3434" fmla="*/ 4072377 h 6479439"/>
              <a:gd name="connsiteX3435" fmla="*/ 5039400 w 9586368"/>
              <a:gd name="connsiteY3435" fmla="*/ 4082248 h 6479439"/>
              <a:gd name="connsiteX3436" fmla="*/ 5035381 w 9586368"/>
              <a:gd name="connsiteY3436" fmla="*/ 4086287 h 6479439"/>
              <a:gd name="connsiteX3437" fmla="*/ 5025470 w 9586368"/>
              <a:gd name="connsiteY3437" fmla="*/ 4086287 h 6479439"/>
              <a:gd name="connsiteX3438" fmla="*/ 5021451 w 9586368"/>
              <a:gd name="connsiteY3438" fmla="*/ 4082248 h 6479439"/>
              <a:gd name="connsiteX3439" fmla="*/ 5021451 w 9586368"/>
              <a:gd name="connsiteY3439" fmla="*/ 4072377 h 6479439"/>
              <a:gd name="connsiteX3440" fmla="*/ 4786241 w 9586368"/>
              <a:gd name="connsiteY3440" fmla="*/ 4068339 h 6479439"/>
              <a:gd name="connsiteX3441" fmla="*/ 4796152 w 9586368"/>
              <a:gd name="connsiteY3441" fmla="*/ 4068339 h 6479439"/>
              <a:gd name="connsiteX3442" fmla="*/ 4800171 w 9586368"/>
              <a:gd name="connsiteY3442" fmla="*/ 4072377 h 6479439"/>
              <a:gd name="connsiteX3443" fmla="*/ 4800171 w 9586368"/>
              <a:gd name="connsiteY3443" fmla="*/ 4082248 h 6479439"/>
              <a:gd name="connsiteX3444" fmla="*/ 4796152 w 9586368"/>
              <a:gd name="connsiteY3444" fmla="*/ 4086287 h 6479439"/>
              <a:gd name="connsiteX3445" fmla="*/ 4786241 w 9586368"/>
              <a:gd name="connsiteY3445" fmla="*/ 4086287 h 6479439"/>
              <a:gd name="connsiteX3446" fmla="*/ 4782224 w 9586368"/>
              <a:gd name="connsiteY3446" fmla="*/ 4082248 h 6479439"/>
              <a:gd name="connsiteX3447" fmla="*/ 4782224 w 9586368"/>
              <a:gd name="connsiteY3447" fmla="*/ 4072377 h 6479439"/>
              <a:gd name="connsiteX3448" fmla="*/ 4546929 w 9586368"/>
              <a:gd name="connsiteY3448" fmla="*/ 4068339 h 6479439"/>
              <a:gd name="connsiteX3449" fmla="*/ 4556840 w 9586368"/>
              <a:gd name="connsiteY3449" fmla="*/ 4068339 h 6479439"/>
              <a:gd name="connsiteX3450" fmla="*/ 4560859 w 9586368"/>
              <a:gd name="connsiteY3450" fmla="*/ 4072377 h 6479439"/>
              <a:gd name="connsiteX3451" fmla="*/ 4560859 w 9586368"/>
              <a:gd name="connsiteY3451" fmla="*/ 4082248 h 6479439"/>
              <a:gd name="connsiteX3452" fmla="*/ 4556840 w 9586368"/>
              <a:gd name="connsiteY3452" fmla="*/ 4086287 h 6479439"/>
              <a:gd name="connsiteX3453" fmla="*/ 4546929 w 9586368"/>
              <a:gd name="connsiteY3453" fmla="*/ 4086287 h 6479439"/>
              <a:gd name="connsiteX3454" fmla="*/ 4542910 w 9586368"/>
              <a:gd name="connsiteY3454" fmla="*/ 4082248 h 6479439"/>
              <a:gd name="connsiteX3455" fmla="*/ 4542910 w 9586368"/>
              <a:gd name="connsiteY3455" fmla="*/ 4072377 h 6479439"/>
              <a:gd name="connsiteX3456" fmla="*/ 4307612 w 9586368"/>
              <a:gd name="connsiteY3456" fmla="*/ 4068339 h 6479439"/>
              <a:gd name="connsiteX3457" fmla="*/ 4317523 w 9586368"/>
              <a:gd name="connsiteY3457" fmla="*/ 4068339 h 6479439"/>
              <a:gd name="connsiteX3458" fmla="*/ 4321543 w 9586368"/>
              <a:gd name="connsiteY3458" fmla="*/ 4072377 h 6479439"/>
              <a:gd name="connsiteX3459" fmla="*/ 4321543 w 9586368"/>
              <a:gd name="connsiteY3459" fmla="*/ 4082248 h 6479439"/>
              <a:gd name="connsiteX3460" fmla="*/ 4317523 w 9586368"/>
              <a:gd name="connsiteY3460" fmla="*/ 4086287 h 6479439"/>
              <a:gd name="connsiteX3461" fmla="*/ 4307612 w 9586368"/>
              <a:gd name="connsiteY3461" fmla="*/ 4086287 h 6479439"/>
              <a:gd name="connsiteX3462" fmla="*/ 4303595 w 9586368"/>
              <a:gd name="connsiteY3462" fmla="*/ 4082248 h 6479439"/>
              <a:gd name="connsiteX3463" fmla="*/ 4303595 w 9586368"/>
              <a:gd name="connsiteY3463" fmla="*/ 4072377 h 6479439"/>
              <a:gd name="connsiteX3464" fmla="*/ 4068297 w 9586368"/>
              <a:gd name="connsiteY3464" fmla="*/ 4068339 h 6479439"/>
              <a:gd name="connsiteX3465" fmla="*/ 4078210 w 9586368"/>
              <a:gd name="connsiteY3465" fmla="*/ 4068339 h 6479439"/>
              <a:gd name="connsiteX3466" fmla="*/ 4082229 w 9586368"/>
              <a:gd name="connsiteY3466" fmla="*/ 4072377 h 6479439"/>
              <a:gd name="connsiteX3467" fmla="*/ 4082229 w 9586368"/>
              <a:gd name="connsiteY3467" fmla="*/ 4082248 h 6479439"/>
              <a:gd name="connsiteX3468" fmla="*/ 4078210 w 9586368"/>
              <a:gd name="connsiteY3468" fmla="*/ 4086287 h 6479439"/>
              <a:gd name="connsiteX3469" fmla="*/ 4068297 w 9586368"/>
              <a:gd name="connsiteY3469" fmla="*/ 4086287 h 6479439"/>
              <a:gd name="connsiteX3470" fmla="*/ 4064278 w 9586368"/>
              <a:gd name="connsiteY3470" fmla="*/ 4082248 h 6479439"/>
              <a:gd name="connsiteX3471" fmla="*/ 4064278 w 9586368"/>
              <a:gd name="connsiteY3471" fmla="*/ 4072377 h 6479439"/>
              <a:gd name="connsiteX3472" fmla="*/ 3828990 w 9586368"/>
              <a:gd name="connsiteY3472" fmla="*/ 4068339 h 6479439"/>
              <a:gd name="connsiteX3473" fmla="*/ 3838899 w 9586368"/>
              <a:gd name="connsiteY3473" fmla="*/ 4068339 h 6479439"/>
              <a:gd name="connsiteX3474" fmla="*/ 3842917 w 9586368"/>
              <a:gd name="connsiteY3474" fmla="*/ 4072377 h 6479439"/>
              <a:gd name="connsiteX3475" fmla="*/ 3842917 w 9586368"/>
              <a:gd name="connsiteY3475" fmla="*/ 4082248 h 6479439"/>
              <a:gd name="connsiteX3476" fmla="*/ 3838899 w 9586368"/>
              <a:gd name="connsiteY3476" fmla="*/ 4086287 h 6479439"/>
              <a:gd name="connsiteX3477" fmla="*/ 3828990 w 9586368"/>
              <a:gd name="connsiteY3477" fmla="*/ 4086287 h 6479439"/>
              <a:gd name="connsiteX3478" fmla="*/ 3824971 w 9586368"/>
              <a:gd name="connsiteY3478" fmla="*/ 4082248 h 6479439"/>
              <a:gd name="connsiteX3479" fmla="*/ 3824971 w 9586368"/>
              <a:gd name="connsiteY3479" fmla="*/ 4072377 h 6479439"/>
              <a:gd name="connsiteX3480" fmla="*/ 3589676 w 9586368"/>
              <a:gd name="connsiteY3480" fmla="*/ 4068339 h 6479439"/>
              <a:gd name="connsiteX3481" fmla="*/ 3599585 w 9586368"/>
              <a:gd name="connsiteY3481" fmla="*/ 4068339 h 6479439"/>
              <a:gd name="connsiteX3482" fmla="*/ 3603604 w 9586368"/>
              <a:gd name="connsiteY3482" fmla="*/ 4072377 h 6479439"/>
              <a:gd name="connsiteX3483" fmla="*/ 3603604 w 9586368"/>
              <a:gd name="connsiteY3483" fmla="*/ 4082248 h 6479439"/>
              <a:gd name="connsiteX3484" fmla="*/ 3599585 w 9586368"/>
              <a:gd name="connsiteY3484" fmla="*/ 4086287 h 6479439"/>
              <a:gd name="connsiteX3485" fmla="*/ 3589676 w 9586368"/>
              <a:gd name="connsiteY3485" fmla="*/ 4086287 h 6479439"/>
              <a:gd name="connsiteX3486" fmla="*/ 3585657 w 9586368"/>
              <a:gd name="connsiteY3486" fmla="*/ 4082248 h 6479439"/>
              <a:gd name="connsiteX3487" fmla="*/ 3585657 w 9586368"/>
              <a:gd name="connsiteY3487" fmla="*/ 4072377 h 6479439"/>
              <a:gd name="connsiteX3488" fmla="*/ 3350359 w 9586368"/>
              <a:gd name="connsiteY3488" fmla="*/ 4068339 h 6479439"/>
              <a:gd name="connsiteX3489" fmla="*/ 3360268 w 9586368"/>
              <a:gd name="connsiteY3489" fmla="*/ 4068339 h 6479439"/>
              <a:gd name="connsiteX3490" fmla="*/ 3364287 w 9586368"/>
              <a:gd name="connsiteY3490" fmla="*/ 4072377 h 6479439"/>
              <a:gd name="connsiteX3491" fmla="*/ 3364287 w 9586368"/>
              <a:gd name="connsiteY3491" fmla="*/ 4082248 h 6479439"/>
              <a:gd name="connsiteX3492" fmla="*/ 3360268 w 9586368"/>
              <a:gd name="connsiteY3492" fmla="*/ 4086287 h 6479439"/>
              <a:gd name="connsiteX3493" fmla="*/ 3350359 w 9586368"/>
              <a:gd name="connsiteY3493" fmla="*/ 4086287 h 6479439"/>
              <a:gd name="connsiteX3494" fmla="*/ 3346340 w 9586368"/>
              <a:gd name="connsiteY3494" fmla="*/ 4082248 h 6479439"/>
              <a:gd name="connsiteX3495" fmla="*/ 3346340 w 9586368"/>
              <a:gd name="connsiteY3495" fmla="*/ 4072377 h 6479439"/>
              <a:gd name="connsiteX3496" fmla="*/ 3111048 w 9586368"/>
              <a:gd name="connsiteY3496" fmla="*/ 4068339 h 6479439"/>
              <a:gd name="connsiteX3497" fmla="*/ 3120959 w 9586368"/>
              <a:gd name="connsiteY3497" fmla="*/ 4068339 h 6479439"/>
              <a:gd name="connsiteX3498" fmla="*/ 3124977 w 9586368"/>
              <a:gd name="connsiteY3498" fmla="*/ 4072377 h 6479439"/>
              <a:gd name="connsiteX3499" fmla="*/ 3124977 w 9586368"/>
              <a:gd name="connsiteY3499" fmla="*/ 4082248 h 6479439"/>
              <a:gd name="connsiteX3500" fmla="*/ 3120959 w 9586368"/>
              <a:gd name="connsiteY3500" fmla="*/ 4086287 h 6479439"/>
              <a:gd name="connsiteX3501" fmla="*/ 3111048 w 9586368"/>
              <a:gd name="connsiteY3501" fmla="*/ 4086287 h 6479439"/>
              <a:gd name="connsiteX3502" fmla="*/ 3107029 w 9586368"/>
              <a:gd name="connsiteY3502" fmla="*/ 4082248 h 6479439"/>
              <a:gd name="connsiteX3503" fmla="*/ 3107029 w 9586368"/>
              <a:gd name="connsiteY3503" fmla="*/ 4072377 h 6479439"/>
              <a:gd name="connsiteX3504" fmla="*/ 2871737 w 9586368"/>
              <a:gd name="connsiteY3504" fmla="*/ 4068339 h 6479439"/>
              <a:gd name="connsiteX3505" fmla="*/ 2881646 w 9586368"/>
              <a:gd name="connsiteY3505" fmla="*/ 4068339 h 6479439"/>
              <a:gd name="connsiteX3506" fmla="*/ 2885666 w 9586368"/>
              <a:gd name="connsiteY3506" fmla="*/ 4072377 h 6479439"/>
              <a:gd name="connsiteX3507" fmla="*/ 2885666 w 9586368"/>
              <a:gd name="connsiteY3507" fmla="*/ 4082248 h 6479439"/>
              <a:gd name="connsiteX3508" fmla="*/ 2881646 w 9586368"/>
              <a:gd name="connsiteY3508" fmla="*/ 4086287 h 6479439"/>
              <a:gd name="connsiteX3509" fmla="*/ 2871737 w 9586368"/>
              <a:gd name="connsiteY3509" fmla="*/ 4086287 h 6479439"/>
              <a:gd name="connsiteX3510" fmla="*/ 2867717 w 9586368"/>
              <a:gd name="connsiteY3510" fmla="*/ 4082248 h 6479439"/>
              <a:gd name="connsiteX3511" fmla="*/ 2867717 w 9586368"/>
              <a:gd name="connsiteY3511" fmla="*/ 4072377 h 6479439"/>
              <a:gd name="connsiteX3512" fmla="*/ 2632423 w 9586368"/>
              <a:gd name="connsiteY3512" fmla="*/ 4068339 h 6479439"/>
              <a:gd name="connsiteX3513" fmla="*/ 2642334 w 9586368"/>
              <a:gd name="connsiteY3513" fmla="*/ 4068339 h 6479439"/>
              <a:gd name="connsiteX3514" fmla="*/ 2646352 w 9586368"/>
              <a:gd name="connsiteY3514" fmla="*/ 4072377 h 6479439"/>
              <a:gd name="connsiteX3515" fmla="*/ 2646352 w 9586368"/>
              <a:gd name="connsiteY3515" fmla="*/ 4082248 h 6479439"/>
              <a:gd name="connsiteX3516" fmla="*/ 2642334 w 9586368"/>
              <a:gd name="connsiteY3516" fmla="*/ 4086287 h 6479439"/>
              <a:gd name="connsiteX3517" fmla="*/ 2632423 w 9586368"/>
              <a:gd name="connsiteY3517" fmla="*/ 4086287 h 6479439"/>
              <a:gd name="connsiteX3518" fmla="*/ 2628404 w 9586368"/>
              <a:gd name="connsiteY3518" fmla="*/ 4082248 h 6479439"/>
              <a:gd name="connsiteX3519" fmla="*/ 2628404 w 9586368"/>
              <a:gd name="connsiteY3519" fmla="*/ 4072377 h 6479439"/>
              <a:gd name="connsiteX3520" fmla="*/ 2393104 w 9586368"/>
              <a:gd name="connsiteY3520" fmla="*/ 4068339 h 6479439"/>
              <a:gd name="connsiteX3521" fmla="*/ 2403015 w 9586368"/>
              <a:gd name="connsiteY3521" fmla="*/ 4068339 h 6479439"/>
              <a:gd name="connsiteX3522" fmla="*/ 2407034 w 9586368"/>
              <a:gd name="connsiteY3522" fmla="*/ 4072377 h 6479439"/>
              <a:gd name="connsiteX3523" fmla="*/ 2407034 w 9586368"/>
              <a:gd name="connsiteY3523" fmla="*/ 4082248 h 6479439"/>
              <a:gd name="connsiteX3524" fmla="*/ 2403015 w 9586368"/>
              <a:gd name="connsiteY3524" fmla="*/ 4086287 h 6479439"/>
              <a:gd name="connsiteX3525" fmla="*/ 2393104 w 9586368"/>
              <a:gd name="connsiteY3525" fmla="*/ 4086287 h 6479439"/>
              <a:gd name="connsiteX3526" fmla="*/ 2389087 w 9586368"/>
              <a:gd name="connsiteY3526" fmla="*/ 4082248 h 6479439"/>
              <a:gd name="connsiteX3527" fmla="*/ 2389087 w 9586368"/>
              <a:gd name="connsiteY3527" fmla="*/ 4072377 h 6479439"/>
              <a:gd name="connsiteX3528" fmla="*/ 2157819 w 9586368"/>
              <a:gd name="connsiteY3528" fmla="*/ 4068339 h 6479439"/>
              <a:gd name="connsiteX3529" fmla="*/ 2167729 w 9586368"/>
              <a:gd name="connsiteY3529" fmla="*/ 4068339 h 6479439"/>
              <a:gd name="connsiteX3530" fmla="*/ 2171749 w 9586368"/>
              <a:gd name="connsiteY3530" fmla="*/ 4072377 h 6479439"/>
              <a:gd name="connsiteX3531" fmla="*/ 2171749 w 9586368"/>
              <a:gd name="connsiteY3531" fmla="*/ 4082248 h 6479439"/>
              <a:gd name="connsiteX3532" fmla="*/ 2167729 w 9586368"/>
              <a:gd name="connsiteY3532" fmla="*/ 4086287 h 6479439"/>
              <a:gd name="connsiteX3533" fmla="*/ 2157819 w 9586368"/>
              <a:gd name="connsiteY3533" fmla="*/ 4086287 h 6479439"/>
              <a:gd name="connsiteX3534" fmla="*/ 2153801 w 9586368"/>
              <a:gd name="connsiteY3534" fmla="*/ 4082248 h 6479439"/>
              <a:gd name="connsiteX3535" fmla="*/ 2153801 w 9586368"/>
              <a:gd name="connsiteY3535" fmla="*/ 4072377 h 6479439"/>
              <a:gd name="connsiteX3536" fmla="*/ 1918511 w 9586368"/>
              <a:gd name="connsiteY3536" fmla="*/ 4068339 h 6479439"/>
              <a:gd name="connsiteX3537" fmla="*/ 1928421 w 9586368"/>
              <a:gd name="connsiteY3537" fmla="*/ 4068339 h 6479439"/>
              <a:gd name="connsiteX3538" fmla="*/ 1932440 w 9586368"/>
              <a:gd name="connsiteY3538" fmla="*/ 4072377 h 6479439"/>
              <a:gd name="connsiteX3539" fmla="*/ 1932440 w 9586368"/>
              <a:gd name="connsiteY3539" fmla="*/ 4082248 h 6479439"/>
              <a:gd name="connsiteX3540" fmla="*/ 1928421 w 9586368"/>
              <a:gd name="connsiteY3540" fmla="*/ 4086287 h 6479439"/>
              <a:gd name="connsiteX3541" fmla="*/ 1918511 w 9586368"/>
              <a:gd name="connsiteY3541" fmla="*/ 4086287 h 6479439"/>
              <a:gd name="connsiteX3542" fmla="*/ 1914492 w 9586368"/>
              <a:gd name="connsiteY3542" fmla="*/ 4082248 h 6479439"/>
              <a:gd name="connsiteX3543" fmla="*/ 1914492 w 9586368"/>
              <a:gd name="connsiteY3543" fmla="*/ 4072377 h 6479439"/>
              <a:gd name="connsiteX3544" fmla="*/ 1679207 w 9586368"/>
              <a:gd name="connsiteY3544" fmla="*/ 4068339 h 6479439"/>
              <a:gd name="connsiteX3545" fmla="*/ 1689117 w 9586368"/>
              <a:gd name="connsiteY3545" fmla="*/ 4068339 h 6479439"/>
              <a:gd name="connsiteX3546" fmla="*/ 1693137 w 9586368"/>
              <a:gd name="connsiteY3546" fmla="*/ 4072377 h 6479439"/>
              <a:gd name="connsiteX3547" fmla="*/ 1693137 w 9586368"/>
              <a:gd name="connsiteY3547" fmla="*/ 4082248 h 6479439"/>
              <a:gd name="connsiteX3548" fmla="*/ 1689117 w 9586368"/>
              <a:gd name="connsiteY3548" fmla="*/ 4086287 h 6479439"/>
              <a:gd name="connsiteX3549" fmla="*/ 1679207 w 9586368"/>
              <a:gd name="connsiteY3549" fmla="*/ 4086287 h 6479439"/>
              <a:gd name="connsiteX3550" fmla="*/ 1675189 w 9586368"/>
              <a:gd name="connsiteY3550" fmla="*/ 4082248 h 6479439"/>
              <a:gd name="connsiteX3551" fmla="*/ 1675189 w 9586368"/>
              <a:gd name="connsiteY3551" fmla="*/ 4072377 h 6479439"/>
              <a:gd name="connsiteX3552" fmla="*/ 1439891 w 9586368"/>
              <a:gd name="connsiteY3552" fmla="*/ 4068339 h 6479439"/>
              <a:gd name="connsiteX3553" fmla="*/ 1449802 w 9586368"/>
              <a:gd name="connsiteY3553" fmla="*/ 4068339 h 6479439"/>
              <a:gd name="connsiteX3554" fmla="*/ 1453820 w 9586368"/>
              <a:gd name="connsiteY3554" fmla="*/ 4072377 h 6479439"/>
              <a:gd name="connsiteX3555" fmla="*/ 1453820 w 9586368"/>
              <a:gd name="connsiteY3555" fmla="*/ 4082248 h 6479439"/>
              <a:gd name="connsiteX3556" fmla="*/ 1449802 w 9586368"/>
              <a:gd name="connsiteY3556" fmla="*/ 4086287 h 6479439"/>
              <a:gd name="connsiteX3557" fmla="*/ 1439891 w 9586368"/>
              <a:gd name="connsiteY3557" fmla="*/ 4086287 h 6479439"/>
              <a:gd name="connsiteX3558" fmla="*/ 1435873 w 9586368"/>
              <a:gd name="connsiteY3558" fmla="*/ 4082248 h 6479439"/>
              <a:gd name="connsiteX3559" fmla="*/ 1435873 w 9586368"/>
              <a:gd name="connsiteY3559" fmla="*/ 4072377 h 6479439"/>
              <a:gd name="connsiteX3560" fmla="*/ 1200576 w 9586368"/>
              <a:gd name="connsiteY3560" fmla="*/ 4068339 h 6479439"/>
              <a:gd name="connsiteX3561" fmla="*/ 1210486 w 9586368"/>
              <a:gd name="connsiteY3561" fmla="*/ 4068339 h 6479439"/>
              <a:gd name="connsiteX3562" fmla="*/ 1214505 w 9586368"/>
              <a:gd name="connsiteY3562" fmla="*/ 4072377 h 6479439"/>
              <a:gd name="connsiteX3563" fmla="*/ 1214505 w 9586368"/>
              <a:gd name="connsiteY3563" fmla="*/ 4082248 h 6479439"/>
              <a:gd name="connsiteX3564" fmla="*/ 1210486 w 9586368"/>
              <a:gd name="connsiteY3564" fmla="*/ 4086287 h 6479439"/>
              <a:gd name="connsiteX3565" fmla="*/ 1200576 w 9586368"/>
              <a:gd name="connsiteY3565" fmla="*/ 4086287 h 6479439"/>
              <a:gd name="connsiteX3566" fmla="*/ 1196558 w 9586368"/>
              <a:gd name="connsiteY3566" fmla="*/ 4082248 h 6479439"/>
              <a:gd name="connsiteX3567" fmla="*/ 1196558 w 9586368"/>
              <a:gd name="connsiteY3567" fmla="*/ 4072377 h 6479439"/>
              <a:gd name="connsiteX3568" fmla="*/ 961263 w 9586368"/>
              <a:gd name="connsiteY3568" fmla="*/ 4068339 h 6479439"/>
              <a:gd name="connsiteX3569" fmla="*/ 971174 w 9586368"/>
              <a:gd name="connsiteY3569" fmla="*/ 4068339 h 6479439"/>
              <a:gd name="connsiteX3570" fmla="*/ 975192 w 9586368"/>
              <a:gd name="connsiteY3570" fmla="*/ 4072377 h 6479439"/>
              <a:gd name="connsiteX3571" fmla="*/ 975192 w 9586368"/>
              <a:gd name="connsiteY3571" fmla="*/ 4082248 h 6479439"/>
              <a:gd name="connsiteX3572" fmla="*/ 971174 w 9586368"/>
              <a:gd name="connsiteY3572" fmla="*/ 4086287 h 6479439"/>
              <a:gd name="connsiteX3573" fmla="*/ 961263 w 9586368"/>
              <a:gd name="connsiteY3573" fmla="*/ 4086287 h 6479439"/>
              <a:gd name="connsiteX3574" fmla="*/ 957244 w 9586368"/>
              <a:gd name="connsiteY3574" fmla="*/ 4082248 h 6479439"/>
              <a:gd name="connsiteX3575" fmla="*/ 957244 w 9586368"/>
              <a:gd name="connsiteY3575" fmla="*/ 4072377 h 6479439"/>
              <a:gd name="connsiteX3576" fmla="*/ 721965 w 9586368"/>
              <a:gd name="connsiteY3576" fmla="*/ 4068339 h 6479439"/>
              <a:gd name="connsiteX3577" fmla="*/ 731876 w 9586368"/>
              <a:gd name="connsiteY3577" fmla="*/ 4068339 h 6479439"/>
              <a:gd name="connsiteX3578" fmla="*/ 735894 w 9586368"/>
              <a:gd name="connsiteY3578" fmla="*/ 4072377 h 6479439"/>
              <a:gd name="connsiteX3579" fmla="*/ 735894 w 9586368"/>
              <a:gd name="connsiteY3579" fmla="*/ 4082248 h 6479439"/>
              <a:gd name="connsiteX3580" fmla="*/ 731876 w 9586368"/>
              <a:gd name="connsiteY3580" fmla="*/ 4086287 h 6479439"/>
              <a:gd name="connsiteX3581" fmla="*/ 721965 w 9586368"/>
              <a:gd name="connsiteY3581" fmla="*/ 4086287 h 6479439"/>
              <a:gd name="connsiteX3582" fmla="*/ 717946 w 9586368"/>
              <a:gd name="connsiteY3582" fmla="*/ 4082248 h 6479439"/>
              <a:gd name="connsiteX3583" fmla="*/ 717946 w 9586368"/>
              <a:gd name="connsiteY3583" fmla="*/ 4072377 h 6479439"/>
              <a:gd name="connsiteX3584" fmla="*/ 482653 w 9586368"/>
              <a:gd name="connsiteY3584" fmla="*/ 4068339 h 6479439"/>
              <a:gd name="connsiteX3585" fmla="*/ 492563 w 9586368"/>
              <a:gd name="connsiteY3585" fmla="*/ 4068339 h 6479439"/>
              <a:gd name="connsiteX3586" fmla="*/ 496583 w 9586368"/>
              <a:gd name="connsiteY3586" fmla="*/ 4072377 h 6479439"/>
              <a:gd name="connsiteX3587" fmla="*/ 496583 w 9586368"/>
              <a:gd name="connsiteY3587" fmla="*/ 4082248 h 6479439"/>
              <a:gd name="connsiteX3588" fmla="*/ 492563 w 9586368"/>
              <a:gd name="connsiteY3588" fmla="*/ 4086287 h 6479439"/>
              <a:gd name="connsiteX3589" fmla="*/ 482653 w 9586368"/>
              <a:gd name="connsiteY3589" fmla="*/ 4086287 h 6479439"/>
              <a:gd name="connsiteX3590" fmla="*/ 478634 w 9586368"/>
              <a:gd name="connsiteY3590" fmla="*/ 4082248 h 6479439"/>
              <a:gd name="connsiteX3591" fmla="*/ 478634 w 9586368"/>
              <a:gd name="connsiteY3591" fmla="*/ 4072377 h 6479439"/>
              <a:gd name="connsiteX3592" fmla="*/ 243339 w 9586368"/>
              <a:gd name="connsiteY3592" fmla="*/ 4068339 h 6479439"/>
              <a:gd name="connsiteX3593" fmla="*/ 253250 w 9586368"/>
              <a:gd name="connsiteY3593" fmla="*/ 4068339 h 6479439"/>
              <a:gd name="connsiteX3594" fmla="*/ 257269 w 9586368"/>
              <a:gd name="connsiteY3594" fmla="*/ 4072377 h 6479439"/>
              <a:gd name="connsiteX3595" fmla="*/ 257269 w 9586368"/>
              <a:gd name="connsiteY3595" fmla="*/ 4082248 h 6479439"/>
              <a:gd name="connsiteX3596" fmla="*/ 253250 w 9586368"/>
              <a:gd name="connsiteY3596" fmla="*/ 4086287 h 6479439"/>
              <a:gd name="connsiteX3597" fmla="*/ 243339 w 9586368"/>
              <a:gd name="connsiteY3597" fmla="*/ 4086287 h 6479439"/>
              <a:gd name="connsiteX3598" fmla="*/ 239320 w 9586368"/>
              <a:gd name="connsiteY3598" fmla="*/ 4082248 h 6479439"/>
              <a:gd name="connsiteX3599" fmla="*/ 239320 w 9586368"/>
              <a:gd name="connsiteY3599" fmla="*/ 4072377 h 6479439"/>
              <a:gd name="connsiteX3600" fmla="*/ 4026 w 9586368"/>
              <a:gd name="connsiteY3600" fmla="*/ 4068339 h 6479439"/>
              <a:gd name="connsiteX3601" fmla="*/ 13936 w 9586368"/>
              <a:gd name="connsiteY3601" fmla="*/ 4068339 h 6479439"/>
              <a:gd name="connsiteX3602" fmla="*/ 17956 w 9586368"/>
              <a:gd name="connsiteY3602" fmla="*/ 4072377 h 6479439"/>
              <a:gd name="connsiteX3603" fmla="*/ 17956 w 9586368"/>
              <a:gd name="connsiteY3603" fmla="*/ 4082248 h 6479439"/>
              <a:gd name="connsiteX3604" fmla="*/ 13936 w 9586368"/>
              <a:gd name="connsiteY3604" fmla="*/ 4086287 h 6479439"/>
              <a:gd name="connsiteX3605" fmla="*/ 4026 w 9586368"/>
              <a:gd name="connsiteY3605" fmla="*/ 4086287 h 6479439"/>
              <a:gd name="connsiteX3606" fmla="*/ 7 w 9586368"/>
              <a:gd name="connsiteY3606" fmla="*/ 4082248 h 6479439"/>
              <a:gd name="connsiteX3607" fmla="*/ 7 w 9586368"/>
              <a:gd name="connsiteY3607" fmla="*/ 4072377 h 6479439"/>
              <a:gd name="connsiteX3608" fmla="*/ 2157820 w 9586368"/>
              <a:gd name="connsiteY3608" fmla="*/ 3829058 h 6479439"/>
              <a:gd name="connsiteX3609" fmla="*/ 2167731 w 9586368"/>
              <a:gd name="connsiteY3609" fmla="*/ 3829058 h 6479439"/>
              <a:gd name="connsiteX3610" fmla="*/ 2171749 w 9586368"/>
              <a:gd name="connsiteY3610" fmla="*/ 3833097 h 6479439"/>
              <a:gd name="connsiteX3611" fmla="*/ 2171749 w 9586368"/>
              <a:gd name="connsiteY3611" fmla="*/ 3842968 h 6479439"/>
              <a:gd name="connsiteX3612" fmla="*/ 2167731 w 9586368"/>
              <a:gd name="connsiteY3612" fmla="*/ 3847007 h 6479439"/>
              <a:gd name="connsiteX3613" fmla="*/ 2157820 w 9586368"/>
              <a:gd name="connsiteY3613" fmla="*/ 3847007 h 6479439"/>
              <a:gd name="connsiteX3614" fmla="*/ 2153801 w 9586368"/>
              <a:gd name="connsiteY3614" fmla="*/ 3842968 h 6479439"/>
              <a:gd name="connsiteX3615" fmla="*/ 2153801 w 9586368"/>
              <a:gd name="connsiteY3615" fmla="*/ 3833097 h 6479439"/>
              <a:gd name="connsiteX3616" fmla="*/ 1918511 w 9586368"/>
              <a:gd name="connsiteY3616" fmla="*/ 3829058 h 6479439"/>
              <a:gd name="connsiteX3617" fmla="*/ 1928421 w 9586368"/>
              <a:gd name="connsiteY3617" fmla="*/ 3829058 h 6479439"/>
              <a:gd name="connsiteX3618" fmla="*/ 1932440 w 9586368"/>
              <a:gd name="connsiteY3618" fmla="*/ 3833097 h 6479439"/>
              <a:gd name="connsiteX3619" fmla="*/ 1932440 w 9586368"/>
              <a:gd name="connsiteY3619" fmla="*/ 3842968 h 6479439"/>
              <a:gd name="connsiteX3620" fmla="*/ 1928421 w 9586368"/>
              <a:gd name="connsiteY3620" fmla="*/ 3847007 h 6479439"/>
              <a:gd name="connsiteX3621" fmla="*/ 1918511 w 9586368"/>
              <a:gd name="connsiteY3621" fmla="*/ 3847007 h 6479439"/>
              <a:gd name="connsiteX3622" fmla="*/ 1914493 w 9586368"/>
              <a:gd name="connsiteY3622" fmla="*/ 3842968 h 6479439"/>
              <a:gd name="connsiteX3623" fmla="*/ 1914493 w 9586368"/>
              <a:gd name="connsiteY3623" fmla="*/ 3833097 h 6479439"/>
              <a:gd name="connsiteX3624" fmla="*/ 1679209 w 9586368"/>
              <a:gd name="connsiteY3624" fmla="*/ 3829058 h 6479439"/>
              <a:gd name="connsiteX3625" fmla="*/ 1689118 w 9586368"/>
              <a:gd name="connsiteY3625" fmla="*/ 3829058 h 6479439"/>
              <a:gd name="connsiteX3626" fmla="*/ 1693137 w 9586368"/>
              <a:gd name="connsiteY3626" fmla="*/ 3833097 h 6479439"/>
              <a:gd name="connsiteX3627" fmla="*/ 1693137 w 9586368"/>
              <a:gd name="connsiteY3627" fmla="*/ 3842968 h 6479439"/>
              <a:gd name="connsiteX3628" fmla="*/ 1689118 w 9586368"/>
              <a:gd name="connsiteY3628" fmla="*/ 3847007 h 6479439"/>
              <a:gd name="connsiteX3629" fmla="*/ 1679209 w 9586368"/>
              <a:gd name="connsiteY3629" fmla="*/ 3847007 h 6479439"/>
              <a:gd name="connsiteX3630" fmla="*/ 1675189 w 9586368"/>
              <a:gd name="connsiteY3630" fmla="*/ 3842968 h 6479439"/>
              <a:gd name="connsiteX3631" fmla="*/ 1675189 w 9586368"/>
              <a:gd name="connsiteY3631" fmla="*/ 3833097 h 6479439"/>
              <a:gd name="connsiteX3632" fmla="*/ 1439892 w 9586368"/>
              <a:gd name="connsiteY3632" fmla="*/ 3829058 h 6479439"/>
              <a:gd name="connsiteX3633" fmla="*/ 1449802 w 9586368"/>
              <a:gd name="connsiteY3633" fmla="*/ 3829058 h 6479439"/>
              <a:gd name="connsiteX3634" fmla="*/ 1453820 w 9586368"/>
              <a:gd name="connsiteY3634" fmla="*/ 3833097 h 6479439"/>
              <a:gd name="connsiteX3635" fmla="*/ 1453820 w 9586368"/>
              <a:gd name="connsiteY3635" fmla="*/ 3842968 h 6479439"/>
              <a:gd name="connsiteX3636" fmla="*/ 1449802 w 9586368"/>
              <a:gd name="connsiteY3636" fmla="*/ 3847007 h 6479439"/>
              <a:gd name="connsiteX3637" fmla="*/ 1439892 w 9586368"/>
              <a:gd name="connsiteY3637" fmla="*/ 3847007 h 6479439"/>
              <a:gd name="connsiteX3638" fmla="*/ 1435874 w 9586368"/>
              <a:gd name="connsiteY3638" fmla="*/ 3842968 h 6479439"/>
              <a:gd name="connsiteX3639" fmla="*/ 1435874 w 9586368"/>
              <a:gd name="connsiteY3639" fmla="*/ 3833097 h 6479439"/>
              <a:gd name="connsiteX3640" fmla="*/ 1200577 w 9586368"/>
              <a:gd name="connsiteY3640" fmla="*/ 3829058 h 6479439"/>
              <a:gd name="connsiteX3641" fmla="*/ 1210487 w 9586368"/>
              <a:gd name="connsiteY3641" fmla="*/ 3829058 h 6479439"/>
              <a:gd name="connsiteX3642" fmla="*/ 1214506 w 9586368"/>
              <a:gd name="connsiteY3642" fmla="*/ 3833097 h 6479439"/>
              <a:gd name="connsiteX3643" fmla="*/ 1214506 w 9586368"/>
              <a:gd name="connsiteY3643" fmla="*/ 3842968 h 6479439"/>
              <a:gd name="connsiteX3644" fmla="*/ 1210487 w 9586368"/>
              <a:gd name="connsiteY3644" fmla="*/ 3847007 h 6479439"/>
              <a:gd name="connsiteX3645" fmla="*/ 1200577 w 9586368"/>
              <a:gd name="connsiteY3645" fmla="*/ 3847007 h 6479439"/>
              <a:gd name="connsiteX3646" fmla="*/ 1196558 w 9586368"/>
              <a:gd name="connsiteY3646" fmla="*/ 3842968 h 6479439"/>
              <a:gd name="connsiteX3647" fmla="*/ 1196558 w 9586368"/>
              <a:gd name="connsiteY3647" fmla="*/ 3833097 h 6479439"/>
              <a:gd name="connsiteX3648" fmla="*/ 961264 w 9586368"/>
              <a:gd name="connsiteY3648" fmla="*/ 3829058 h 6479439"/>
              <a:gd name="connsiteX3649" fmla="*/ 971174 w 9586368"/>
              <a:gd name="connsiteY3649" fmla="*/ 3829058 h 6479439"/>
              <a:gd name="connsiteX3650" fmla="*/ 975193 w 9586368"/>
              <a:gd name="connsiteY3650" fmla="*/ 3833097 h 6479439"/>
              <a:gd name="connsiteX3651" fmla="*/ 975193 w 9586368"/>
              <a:gd name="connsiteY3651" fmla="*/ 3842968 h 6479439"/>
              <a:gd name="connsiteX3652" fmla="*/ 971174 w 9586368"/>
              <a:gd name="connsiteY3652" fmla="*/ 3847007 h 6479439"/>
              <a:gd name="connsiteX3653" fmla="*/ 961264 w 9586368"/>
              <a:gd name="connsiteY3653" fmla="*/ 3847007 h 6479439"/>
              <a:gd name="connsiteX3654" fmla="*/ 957245 w 9586368"/>
              <a:gd name="connsiteY3654" fmla="*/ 3842968 h 6479439"/>
              <a:gd name="connsiteX3655" fmla="*/ 957245 w 9586368"/>
              <a:gd name="connsiteY3655" fmla="*/ 3833097 h 6479439"/>
              <a:gd name="connsiteX3656" fmla="*/ 9572438 w 9586368"/>
              <a:gd name="connsiteY3656" fmla="*/ 3829008 h 6479439"/>
              <a:gd name="connsiteX3657" fmla="*/ 9582349 w 9586368"/>
              <a:gd name="connsiteY3657" fmla="*/ 3829008 h 6479439"/>
              <a:gd name="connsiteX3658" fmla="*/ 9586368 w 9586368"/>
              <a:gd name="connsiteY3658" fmla="*/ 3833046 h 6479439"/>
              <a:gd name="connsiteX3659" fmla="*/ 9586368 w 9586368"/>
              <a:gd name="connsiteY3659" fmla="*/ 3842917 h 6479439"/>
              <a:gd name="connsiteX3660" fmla="*/ 9582349 w 9586368"/>
              <a:gd name="connsiteY3660" fmla="*/ 3846956 h 6479439"/>
              <a:gd name="connsiteX3661" fmla="*/ 9572438 w 9586368"/>
              <a:gd name="connsiteY3661" fmla="*/ 3846956 h 6479439"/>
              <a:gd name="connsiteX3662" fmla="*/ 9568419 w 9586368"/>
              <a:gd name="connsiteY3662" fmla="*/ 3842917 h 6479439"/>
              <a:gd name="connsiteX3663" fmla="*/ 9568419 w 9586368"/>
              <a:gd name="connsiteY3663" fmla="*/ 3833046 h 6479439"/>
              <a:gd name="connsiteX3664" fmla="*/ 9333125 w 9586368"/>
              <a:gd name="connsiteY3664" fmla="*/ 3829008 h 6479439"/>
              <a:gd name="connsiteX3665" fmla="*/ 9343036 w 9586368"/>
              <a:gd name="connsiteY3665" fmla="*/ 3829008 h 6479439"/>
              <a:gd name="connsiteX3666" fmla="*/ 9347055 w 9586368"/>
              <a:gd name="connsiteY3666" fmla="*/ 3833046 h 6479439"/>
              <a:gd name="connsiteX3667" fmla="*/ 9347055 w 9586368"/>
              <a:gd name="connsiteY3667" fmla="*/ 3842917 h 6479439"/>
              <a:gd name="connsiteX3668" fmla="*/ 9343036 w 9586368"/>
              <a:gd name="connsiteY3668" fmla="*/ 3846956 h 6479439"/>
              <a:gd name="connsiteX3669" fmla="*/ 9333125 w 9586368"/>
              <a:gd name="connsiteY3669" fmla="*/ 3846956 h 6479439"/>
              <a:gd name="connsiteX3670" fmla="*/ 9329106 w 9586368"/>
              <a:gd name="connsiteY3670" fmla="*/ 3842917 h 6479439"/>
              <a:gd name="connsiteX3671" fmla="*/ 9329106 w 9586368"/>
              <a:gd name="connsiteY3671" fmla="*/ 3833046 h 6479439"/>
              <a:gd name="connsiteX3672" fmla="*/ 9093811 w 9586368"/>
              <a:gd name="connsiteY3672" fmla="*/ 3829008 h 6479439"/>
              <a:gd name="connsiteX3673" fmla="*/ 9103722 w 9586368"/>
              <a:gd name="connsiteY3673" fmla="*/ 3829008 h 6479439"/>
              <a:gd name="connsiteX3674" fmla="*/ 9107741 w 9586368"/>
              <a:gd name="connsiteY3674" fmla="*/ 3833046 h 6479439"/>
              <a:gd name="connsiteX3675" fmla="*/ 9107741 w 9586368"/>
              <a:gd name="connsiteY3675" fmla="*/ 3842917 h 6479439"/>
              <a:gd name="connsiteX3676" fmla="*/ 9103722 w 9586368"/>
              <a:gd name="connsiteY3676" fmla="*/ 3846956 h 6479439"/>
              <a:gd name="connsiteX3677" fmla="*/ 9093811 w 9586368"/>
              <a:gd name="connsiteY3677" fmla="*/ 3846956 h 6479439"/>
              <a:gd name="connsiteX3678" fmla="*/ 9089792 w 9586368"/>
              <a:gd name="connsiteY3678" fmla="*/ 3842917 h 6479439"/>
              <a:gd name="connsiteX3679" fmla="*/ 9089792 w 9586368"/>
              <a:gd name="connsiteY3679" fmla="*/ 3833046 h 6479439"/>
              <a:gd name="connsiteX3680" fmla="*/ 8854496 w 9586368"/>
              <a:gd name="connsiteY3680" fmla="*/ 3829008 h 6479439"/>
              <a:gd name="connsiteX3681" fmla="*/ 8864407 w 9586368"/>
              <a:gd name="connsiteY3681" fmla="*/ 3829008 h 6479439"/>
              <a:gd name="connsiteX3682" fmla="*/ 8868426 w 9586368"/>
              <a:gd name="connsiteY3682" fmla="*/ 3833046 h 6479439"/>
              <a:gd name="connsiteX3683" fmla="*/ 8868426 w 9586368"/>
              <a:gd name="connsiteY3683" fmla="*/ 3842917 h 6479439"/>
              <a:gd name="connsiteX3684" fmla="*/ 8864407 w 9586368"/>
              <a:gd name="connsiteY3684" fmla="*/ 3846956 h 6479439"/>
              <a:gd name="connsiteX3685" fmla="*/ 8854496 w 9586368"/>
              <a:gd name="connsiteY3685" fmla="*/ 3846956 h 6479439"/>
              <a:gd name="connsiteX3686" fmla="*/ 8850477 w 9586368"/>
              <a:gd name="connsiteY3686" fmla="*/ 3842917 h 6479439"/>
              <a:gd name="connsiteX3687" fmla="*/ 8850477 w 9586368"/>
              <a:gd name="connsiteY3687" fmla="*/ 3833046 h 6479439"/>
              <a:gd name="connsiteX3688" fmla="*/ 8615184 w 9586368"/>
              <a:gd name="connsiteY3688" fmla="*/ 3829008 h 6479439"/>
              <a:gd name="connsiteX3689" fmla="*/ 8625095 w 9586368"/>
              <a:gd name="connsiteY3689" fmla="*/ 3829008 h 6479439"/>
              <a:gd name="connsiteX3690" fmla="*/ 8629114 w 9586368"/>
              <a:gd name="connsiteY3690" fmla="*/ 3833046 h 6479439"/>
              <a:gd name="connsiteX3691" fmla="*/ 8629114 w 9586368"/>
              <a:gd name="connsiteY3691" fmla="*/ 3842917 h 6479439"/>
              <a:gd name="connsiteX3692" fmla="*/ 8625095 w 9586368"/>
              <a:gd name="connsiteY3692" fmla="*/ 3846956 h 6479439"/>
              <a:gd name="connsiteX3693" fmla="*/ 8615184 w 9586368"/>
              <a:gd name="connsiteY3693" fmla="*/ 3846956 h 6479439"/>
              <a:gd name="connsiteX3694" fmla="*/ 8611165 w 9586368"/>
              <a:gd name="connsiteY3694" fmla="*/ 3842917 h 6479439"/>
              <a:gd name="connsiteX3695" fmla="*/ 8611165 w 9586368"/>
              <a:gd name="connsiteY3695" fmla="*/ 3833046 h 6479439"/>
              <a:gd name="connsiteX3696" fmla="*/ 8375869 w 9586368"/>
              <a:gd name="connsiteY3696" fmla="*/ 3829008 h 6479439"/>
              <a:gd name="connsiteX3697" fmla="*/ 8385779 w 9586368"/>
              <a:gd name="connsiteY3697" fmla="*/ 3829008 h 6479439"/>
              <a:gd name="connsiteX3698" fmla="*/ 8389799 w 9586368"/>
              <a:gd name="connsiteY3698" fmla="*/ 3833046 h 6479439"/>
              <a:gd name="connsiteX3699" fmla="*/ 8389799 w 9586368"/>
              <a:gd name="connsiteY3699" fmla="*/ 3842917 h 6479439"/>
              <a:gd name="connsiteX3700" fmla="*/ 8385779 w 9586368"/>
              <a:gd name="connsiteY3700" fmla="*/ 3846956 h 6479439"/>
              <a:gd name="connsiteX3701" fmla="*/ 8375869 w 9586368"/>
              <a:gd name="connsiteY3701" fmla="*/ 3846956 h 6479439"/>
              <a:gd name="connsiteX3702" fmla="*/ 8371850 w 9586368"/>
              <a:gd name="connsiteY3702" fmla="*/ 3842917 h 6479439"/>
              <a:gd name="connsiteX3703" fmla="*/ 8371850 w 9586368"/>
              <a:gd name="connsiteY3703" fmla="*/ 3833046 h 6479439"/>
              <a:gd name="connsiteX3704" fmla="*/ 8136553 w 9586368"/>
              <a:gd name="connsiteY3704" fmla="*/ 3829008 h 6479439"/>
              <a:gd name="connsiteX3705" fmla="*/ 8146464 w 9586368"/>
              <a:gd name="connsiteY3705" fmla="*/ 3829008 h 6479439"/>
              <a:gd name="connsiteX3706" fmla="*/ 8150483 w 9586368"/>
              <a:gd name="connsiteY3706" fmla="*/ 3833046 h 6479439"/>
              <a:gd name="connsiteX3707" fmla="*/ 8150483 w 9586368"/>
              <a:gd name="connsiteY3707" fmla="*/ 3842917 h 6479439"/>
              <a:gd name="connsiteX3708" fmla="*/ 8146464 w 9586368"/>
              <a:gd name="connsiteY3708" fmla="*/ 3846956 h 6479439"/>
              <a:gd name="connsiteX3709" fmla="*/ 8136553 w 9586368"/>
              <a:gd name="connsiteY3709" fmla="*/ 3846956 h 6479439"/>
              <a:gd name="connsiteX3710" fmla="*/ 8132534 w 9586368"/>
              <a:gd name="connsiteY3710" fmla="*/ 3842917 h 6479439"/>
              <a:gd name="connsiteX3711" fmla="*/ 8132534 w 9586368"/>
              <a:gd name="connsiteY3711" fmla="*/ 3833046 h 6479439"/>
              <a:gd name="connsiteX3712" fmla="*/ 7897241 w 9586368"/>
              <a:gd name="connsiteY3712" fmla="*/ 3829008 h 6479439"/>
              <a:gd name="connsiteX3713" fmla="*/ 7907151 w 9586368"/>
              <a:gd name="connsiteY3713" fmla="*/ 3829008 h 6479439"/>
              <a:gd name="connsiteX3714" fmla="*/ 7911170 w 9586368"/>
              <a:gd name="connsiteY3714" fmla="*/ 3833046 h 6479439"/>
              <a:gd name="connsiteX3715" fmla="*/ 7911170 w 9586368"/>
              <a:gd name="connsiteY3715" fmla="*/ 3842917 h 6479439"/>
              <a:gd name="connsiteX3716" fmla="*/ 7907151 w 9586368"/>
              <a:gd name="connsiteY3716" fmla="*/ 3846956 h 6479439"/>
              <a:gd name="connsiteX3717" fmla="*/ 7897241 w 9586368"/>
              <a:gd name="connsiteY3717" fmla="*/ 3846956 h 6479439"/>
              <a:gd name="connsiteX3718" fmla="*/ 7893222 w 9586368"/>
              <a:gd name="connsiteY3718" fmla="*/ 3842917 h 6479439"/>
              <a:gd name="connsiteX3719" fmla="*/ 7893222 w 9586368"/>
              <a:gd name="connsiteY3719" fmla="*/ 3833046 h 6479439"/>
              <a:gd name="connsiteX3720" fmla="*/ 7657926 w 9586368"/>
              <a:gd name="connsiteY3720" fmla="*/ 3829008 h 6479439"/>
              <a:gd name="connsiteX3721" fmla="*/ 7667836 w 9586368"/>
              <a:gd name="connsiteY3721" fmla="*/ 3829008 h 6479439"/>
              <a:gd name="connsiteX3722" fmla="*/ 7671855 w 9586368"/>
              <a:gd name="connsiteY3722" fmla="*/ 3833046 h 6479439"/>
              <a:gd name="connsiteX3723" fmla="*/ 7671855 w 9586368"/>
              <a:gd name="connsiteY3723" fmla="*/ 3842917 h 6479439"/>
              <a:gd name="connsiteX3724" fmla="*/ 7667836 w 9586368"/>
              <a:gd name="connsiteY3724" fmla="*/ 3846956 h 6479439"/>
              <a:gd name="connsiteX3725" fmla="*/ 7657926 w 9586368"/>
              <a:gd name="connsiteY3725" fmla="*/ 3846956 h 6479439"/>
              <a:gd name="connsiteX3726" fmla="*/ 7653906 w 9586368"/>
              <a:gd name="connsiteY3726" fmla="*/ 3842917 h 6479439"/>
              <a:gd name="connsiteX3727" fmla="*/ 7653906 w 9586368"/>
              <a:gd name="connsiteY3727" fmla="*/ 3833046 h 6479439"/>
              <a:gd name="connsiteX3728" fmla="*/ 7418611 w 9586368"/>
              <a:gd name="connsiteY3728" fmla="*/ 3829008 h 6479439"/>
              <a:gd name="connsiteX3729" fmla="*/ 7428521 w 9586368"/>
              <a:gd name="connsiteY3729" fmla="*/ 3829008 h 6479439"/>
              <a:gd name="connsiteX3730" fmla="*/ 7432540 w 9586368"/>
              <a:gd name="connsiteY3730" fmla="*/ 3833046 h 6479439"/>
              <a:gd name="connsiteX3731" fmla="*/ 7432540 w 9586368"/>
              <a:gd name="connsiteY3731" fmla="*/ 3842917 h 6479439"/>
              <a:gd name="connsiteX3732" fmla="*/ 7428521 w 9586368"/>
              <a:gd name="connsiteY3732" fmla="*/ 3846956 h 6479439"/>
              <a:gd name="connsiteX3733" fmla="*/ 7418611 w 9586368"/>
              <a:gd name="connsiteY3733" fmla="*/ 3846956 h 6479439"/>
              <a:gd name="connsiteX3734" fmla="*/ 7414592 w 9586368"/>
              <a:gd name="connsiteY3734" fmla="*/ 3842917 h 6479439"/>
              <a:gd name="connsiteX3735" fmla="*/ 7414592 w 9586368"/>
              <a:gd name="connsiteY3735" fmla="*/ 3833046 h 6479439"/>
              <a:gd name="connsiteX3736" fmla="*/ 7179298 w 9586368"/>
              <a:gd name="connsiteY3736" fmla="*/ 3829008 h 6479439"/>
              <a:gd name="connsiteX3737" fmla="*/ 7189209 w 9586368"/>
              <a:gd name="connsiteY3737" fmla="*/ 3829008 h 6479439"/>
              <a:gd name="connsiteX3738" fmla="*/ 7193228 w 9586368"/>
              <a:gd name="connsiteY3738" fmla="*/ 3833046 h 6479439"/>
              <a:gd name="connsiteX3739" fmla="*/ 7193228 w 9586368"/>
              <a:gd name="connsiteY3739" fmla="*/ 3842917 h 6479439"/>
              <a:gd name="connsiteX3740" fmla="*/ 7189209 w 9586368"/>
              <a:gd name="connsiteY3740" fmla="*/ 3846956 h 6479439"/>
              <a:gd name="connsiteX3741" fmla="*/ 7179298 w 9586368"/>
              <a:gd name="connsiteY3741" fmla="*/ 3846956 h 6479439"/>
              <a:gd name="connsiteX3742" fmla="*/ 7175279 w 9586368"/>
              <a:gd name="connsiteY3742" fmla="*/ 3842917 h 6479439"/>
              <a:gd name="connsiteX3743" fmla="*/ 7175279 w 9586368"/>
              <a:gd name="connsiteY3743" fmla="*/ 3833046 h 6479439"/>
              <a:gd name="connsiteX3744" fmla="*/ 6939983 w 9586368"/>
              <a:gd name="connsiteY3744" fmla="*/ 3829008 h 6479439"/>
              <a:gd name="connsiteX3745" fmla="*/ 6949894 w 9586368"/>
              <a:gd name="connsiteY3745" fmla="*/ 3829008 h 6479439"/>
              <a:gd name="connsiteX3746" fmla="*/ 6953913 w 9586368"/>
              <a:gd name="connsiteY3746" fmla="*/ 3833046 h 6479439"/>
              <a:gd name="connsiteX3747" fmla="*/ 6953913 w 9586368"/>
              <a:gd name="connsiteY3747" fmla="*/ 3842917 h 6479439"/>
              <a:gd name="connsiteX3748" fmla="*/ 6949894 w 9586368"/>
              <a:gd name="connsiteY3748" fmla="*/ 3846956 h 6479439"/>
              <a:gd name="connsiteX3749" fmla="*/ 6939983 w 9586368"/>
              <a:gd name="connsiteY3749" fmla="*/ 3846956 h 6479439"/>
              <a:gd name="connsiteX3750" fmla="*/ 6935964 w 9586368"/>
              <a:gd name="connsiteY3750" fmla="*/ 3842917 h 6479439"/>
              <a:gd name="connsiteX3751" fmla="*/ 6935964 w 9586368"/>
              <a:gd name="connsiteY3751" fmla="*/ 3833046 h 6479439"/>
              <a:gd name="connsiteX3752" fmla="*/ 6700670 w 9586368"/>
              <a:gd name="connsiteY3752" fmla="*/ 3829008 h 6479439"/>
              <a:gd name="connsiteX3753" fmla="*/ 6710581 w 9586368"/>
              <a:gd name="connsiteY3753" fmla="*/ 3829008 h 6479439"/>
              <a:gd name="connsiteX3754" fmla="*/ 6714600 w 9586368"/>
              <a:gd name="connsiteY3754" fmla="*/ 3833046 h 6479439"/>
              <a:gd name="connsiteX3755" fmla="*/ 6714600 w 9586368"/>
              <a:gd name="connsiteY3755" fmla="*/ 3842917 h 6479439"/>
              <a:gd name="connsiteX3756" fmla="*/ 6710581 w 9586368"/>
              <a:gd name="connsiteY3756" fmla="*/ 3846956 h 6479439"/>
              <a:gd name="connsiteX3757" fmla="*/ 6700670 w 9586368"/>
              <a:gd name="connsiteY3757" fmla="*/ 3846956 h 6479439"/>
              <a:gd name="connsiteX3758" fmla="*/ 6696651 w 9586368"/>
              <a:gd name="connsiteY3758" fmla="*/ 3842917 h 6479439"/>
              <a:gd name="connsiteX3759" fmla="*/ 6696651 w 9586368"/>
              <a:gd name="connsiteY3759" fmla="*/ 3833046 h 6479439"/>
              <a:gd name="connsiteX3760" fmla="*/ 6461356 w 9586368"/>
              <a:gd name="connsiteY3760" fmla="*/ 3829008 h 6479439"/>
              <a:gd name="connsiteX3761" fmla="*/ 6471266 w 9586368"/>
              <a:gd name="connsiteY3761" fmla="*/ 3829008 h 6479439"/>
              <a:gd name="connsiteX3762" fmla="*/ 6475285 w 9586368"/>
              <a:gd name="connsiteY3762" fmla="*/ 3833046 h 6479439"/>
              <a:gd name="connsiteX3763" fmla="*/ 6475285 w 9586368"/>
              <a:gd name="connsiteY3763" fmla="*/ 3842917 h 6479439"/>
              <a:gd name="connsiteX3764" fmla="*/ 6471266 w 9586368"/>
              <a:gd name="connsiteY3764" fmla="*/ 3846956 h 6479439"/>
              <a:gd name="connsiteX3765" fmla="*/ 6461356 w 9586368"/>
              <a:gd name="connsiteY3765" fmla="*/ 3846956 h 6479439"/>
              <a:gd name="connsiteX3766" fmla="*/ 6457337 w 9586368"/>
              <a:gd name="connsiteY3766" fmla="*/ 3842917 h 6479439"/>
              <a:gd name="connsiteX3767" fmla="*/ 6457337 w 9586368"/>
              <a:gd name="connsiteY3767" fmla="*/ 3833046 h 6479439"/>
              <a:gd name="connsiteX3768" fmla="*/ 6222042 w 9586368"/>
              <a:gd name="connsiteY3768" fmla="*/ 3829008 h 6479439"/>
              <a:gd name="connsiteX3769" fmla="*/ 6231952 w 9586368"/>
              <a:gd name="connsiteY3769" fmla="*/ 3829008 h 6479439"/>
              <a:gd name="connsiteX3770" fmla="*/ 6235971 w 9586368"/>
              <a:gd name="connsiteY3770" fmla="*/ 3833046 h 6479439"/>
              <a:gd name="connsiteX3771" fmla="*/ 6235971 w 9586368"/>
              <a:gd name="connsiteY3771" fmla="*/ 3842917 h 6479439"/>
              <a:gd name="connsiteX3772" fmla="*/ 6231952 w 9586368"/>
              <a:gd name="connsiteY3772" fmla="*/ 3846956 h 6479439"/>
              <a:gd name="connsiteX3773" fmla="*/ 6222042 w 9586368"/>
              <a:gd name="connsiteY3773" fmla="*/ 3846956 h 6479439"/>
              <a:gd name="connsiteX3774" fmla="*/ 6218023 w 9586368"/>
              <a:gd name="connsiteY3774" fmla="*/ 3842917 h 6479439"/>
              <a:gd name="connsiteX3775" fmla="*/ 6218023 w 9586368"/>
              <a:gd name="connsiteY3775" fmla="*/ 3833046 h 6479439"/>
              <a:gd name="connsiteX3776" fmla="*/ 5982729 w 9586368"/>
              <a:gd name="connsiteY3776" fmla="*/ 3829008 h 6479439"/>
              <a:gd name="connsiteX3777" fmla="*/ 5992639 w 9586368"/>
              <a:gd name="connsiteY3777" fmla="*/ 3829008 h 6479439"/>
              <a:gd name="connsiteX3778" fmla="*/ 5996658 w 9586368"/>
              <a:gd name="connsiteY3778" fmla="*/ 3833046 h 6479439"/>
              <a:gd name="connsiteX3779" fmla="*/ 5996658 w 9586368"/>
              <a:gd name="connsiteY3779" fmla="*/ 3842917 h 6479439"/>
              <a:gd name="connsiteX3780" fmla="*/ 5992639 w 9586368"/>
              <a:gd name="connsiteY3780" fmla="*/ 3846956 h 6479439"/>
              <a:gd name="connsiteX3781" fmla="*/ 5982729 w 9586368"/>
              <a:gd name="connsiteY3781" fmla="*/ 3846956 h 6479439"/>
              <a:gd name="connsiteX3782" fmla="*/ 5978710 w 9586368"/>
              <a:gd name="connsiteY3782" fmla="*/ 3842917 h 6479439"/>
              <a:gd name="connsiteX3783" fmla="*/ 5978710 w 9586368"/>
              <a:gd name="connsiteY3783" fmla="*/ 3833046 h 6479439"/>
              <a:gd name="connsiteX3784" fmla="*/ 5743412 w 9586368"/>
              <a:gd name="connsiteY3784" fmla="*/ 3829008 h 6479439"/>
              <a:gd name="connsiteX3785" fmla="*/ 5753323 w 9586368"/>
              <a:gd name="connsiteY3785" fmla="*/ 3829008 h 6479439"/>
              <a:gd name="connsiteX3786" fmla="*/ 5757342 w 9586368"/>
              <a:gd name="connsiteY3786" fmla="*/ 3833046 h 6479439"/>
              <a:gd name="connsiteX3787" fmla="*/ 5757342 w 9586368"/>
              <a:gd name="connsiteY3787" fmla="*/ 3842917 h 6479439"/>
              <a:gd name="connsiteX3788" fmla="*/ 5753323 w 9586368"/>
              <a:gd name="connsiteY3788" fmla="*/ 3846956 h 6479439"/>
              <a:gd name="connsiteX3789" fmla="*/ 5743412 w 9586368"/>
              <a:gd name="connsiteY3789" fmla="*/ 3846956 h 6479439"/>
              <a:gd name="connsiteX3790" fmla="*/ 5739393 w 9586368"/>
              <a:gd name="connsiteY3790" fmla="*/ 3842917 h 6479439"/>
              <a:gd name="connsiteX3791" fmla="*/ 5739393 w 9586368"/>
              <a:gd name="connsiteY3791" fmla="*/ 3833046 h 6479439"/>
              <a:gd name="connsiteX3792" fmla="*/ 5504099 w 9586368"/>
              <a:gd name="connsiteY3792" fmla="*/ 3829008 h 6479439"/>
              <a:gd name="connsiteX3793" fmla="*/ 5514010 w 9586368"/>
              <a:gd name="connsiteY3793" fmla="*/ 3829008 h 6479439"/>
              <a:gd name="connsiteX3794" fmla="*/ 5518029 w 9586368"/>
              <a:gd name="connsiteY3794" fmla="*/ 3833046 h 6479439"/>
              <a:gd name="connsiteX3795" fmla="*/ 5518029 w 9586368"/>
              <a:gd name="connsiteY3795" fmla="*/ 3842917 h 6479439"/>
              <a:gd name="connsiteX3796" fmla="*/ 5514010 w 9586368"/>
              <a:gd name="connsiteY3796" fmla="*/ 3846956 h 6479439"/>
              <a:gd name="connsiteX3797" fmla="*/ 5504099 w 9586368"/>
              <a:gd name="connsiteY3797" fmla="*/ 3846956 h 6479439"/>
              <a:gd name="connsiteX3798" fmla="*/ 5500080 w 9586368"/>
              <a:gd name="connsiteY3798" fmla="*/ 3842917 h 6479439"/>
              <a:gd name="connsiteX3799" fmla="*/ 5500080 w 9586368"/>
              <a:gd name="connsiteY3799" fmla="*/ 3833046 h 6479439"/>
              <a:gd name="connsiteX3800" fmla="*/ 5264784 w 9586368"/>
              <a:gd name="connsiteY3800" fmla="*/ 3829008 h 6479439"/>
              <a:gd name="connsiteX3801" fmla="*/ 5274694 w 9586368"/>
              <a:gd name="connsiteY3801" fmla="*/ 3829008 h 6479439"/>
              <a:gd name="connsiteX3802" fmla="*/ 5278713 w 9586368"/>
              <a:gd name="connsiteY3802" fmla="*/ 3833046 h 6479439"/>
              <a:gd name="connsiteX3803" fmla="*/ 5278713 w 9586368"/>
              <a:gd name="connsiteY3803" fmla="*/ 3842917 h 6479439"/>
              <a:gd name="connsiteX3804" fmla="*/ 5274694 w 9586368"/>
              <a:gd name="connsiteY3804" fmla="*/ 3846956 h 6479439"/>
              <a:gd name="connsiteX3805" fmla="*/ 5264784 w 9586368"/>
              <a:gd name="connsiteY3805" fmla="*/ 3846956 h 6479439"/>
              <a:gd name="connsiteX3806" fmla="*/ 5260765 w 9586368"/>
              <a:gd name="connsiteY3806" fmla="*/ 3842917 h 6479439"/>
              <a:gd name="connsiteX3807" fmla="*/ 5260765 w 9586368"/>
              <a:gd name="connsiteY3807" fmla="*/ 3833046 h 6479439"/>
              <a:gd name="connsiteX3808" fmla="*/ 5025470 w 9586368"/>
              <a:gd name="connsiteY3808" fmla="*/ 3829008 h 6479439"/>
              <a:gd name="connsiteX3809" fmla="*/ 5035381 w 9586368"/>
              <a:gd name="connsiteY3809" fmla="*/ 3829008 h 6479439"/>
              <a:gd name="connsiteX3810" fmla="*/ 5039400 w 9586368"/>
              <a:gd name="connsiteY3810" fmla="*/ 3833046 h 6479439"/>
              <a:gd name="connsiteX3811" fmla="*/ 5039400 w 9586368"/>
              <a:gd name="connsiteY3811" fmla="*/ 3842917 h 6479439"/>
              <a:gd name="connsiteX3812" fmla="*/ 5035381 w 9586368"/>
              <a:gd name="connsiteY3812" fmla="*/ 3846956 h 6479439"/>
              <a:gd name="connsiteX3813" fmla="*/ 5025470 w 9586368"/>
              <a:gd name="connsiteY3813" fmla="*/ 3846956 h 6479439"/>
              <a:gd name="connsiteX3814" fmla="*/ 5021451 w 9586368"/>
              <a:gd name="connsiteY3814" fmla="*/ 3842917 h 6479439"/>
              <a:gd name="connsiteX3815" fmla="*/ 5021451 w 9586368"/>
              <a:gd name="connsiteY3815" fmla="*/ 3833046 h 6479439"/>
              <a:gd name="connsiteX3816" fmla="*/ 4786241 w 9586368"/>
              <a:gd name="connsiteY3816" fmla="*/ 3829008 h 6479439"/>
              <a:gd name="connsiteX3817" fmla="*/ 4796152 w 9586368"/>
              <a:gd name="connsiteY3817" fmla="*/ 3829008 h 6479439"/>
              <a:gd name="connsiteX3818" fmla="*/ 4800171 w 9586368"/>
              <a:gd name="connsiteY3818" fmla="*/ 3833046 h 6479439"/>
              <a:gd name="connsiteX3819" fmla="*/ 4800171 w 9586368"/>
              <a:gd name="connsiteY3819" fmla="*/ 3842917 h 6479439"/>
              <a:gd name="connsiteX3820" fmla="*/ 4796152 w 9586368"/>
              <a:gd name="connsiteY3820" fmla="*/ 3846956 h 6479439"/>
              <a:gd name="connsiteX3821" fmla="*/ 4786241 w 9586368"/>
              <a:gd name="connsiteY3821" fmla="*/ 3846956 h 6479439"/>
              <a:gd name="connsiteX3822" fmla="*/ 4782224 w 9586368"/>
              <a:gd name="connsiteY3822" fmla="*/ 3842917 h 6479439"/>
              <a:gd name="connsiteX3823" fmla="*/ 4782224 w 9586368"/>
              <a:gd name="connsiteY3823" fmla="*/ 3833046 h 6479439"/>
              <a:gd name="connsiteX3824" fmla="*/ 4546929 w 9586368"/>
              <a:gd name="connsiteY3824" fmla="*/ 3829008 h 6479439"/>
              <a:gd name="connsiteX3825" fmla="*/ 4556840 w 9586368"/>
              <a:gd name="connsiteY3825" fmla="*/ 3829008 h 6479439"/>
              <a:gd name="connsiteX3826" fmla="*/ 4560859 w 9586368"/>
              <a:gd name="connsiteY3826" fmla="*/ 3833046 h 6479439"/>
              <a:gd name="connsiteX3827" fmla="*/ 4560859 w 9586368"/>
              <a:gd name="connsiteY3827" fmla="*/ 3842917 h 6479439"/>
              <a:gd name="connsiteX3828" fmla="*/ 4556840 w 9586368"/>
              <a:gd name="connsiteY3828" fmla="*/ 3846956 h 6479439"/>
              <a:gd name="connsiteX3829" fmla="*/ 4546929 w 9586368"/>
              <a:gd name="connsiteY3829" fmla="*/ 3846956 h 6479439"/>
              <a:gd name="connsiteX3830" fmla="*/ 4542910 w 9586368"/>
              <a:gd name="connsiteY3830" fmla="*/ 3842917 h 6479439"/>
              <a:gd name="connsiteX3831" fmla="*/ 4542910 w 9586368"/>
              <a:gd name="connsiteY3831" fmla="*/ 3833046 h 6479439"/>
              <a:gd name="connsiteX3832" fmla="*/ 4307612 w 9586368"/>
              <a:gd name="connsiteY3832" fmla="*/ 3829008 h 6479439"/>
              <a:gd name="connsiteX3833" fmla="*/ 4317523 w 9586368"/>
              <a:gd name="connsiteY3833" fmla="*/ 3829008 h 6479439"/>
              <a:gd name="connsiteX3834" fmla="*/ 4321543 w 9586368"/>
              <a:gd name="connsiteY3834" fmla="*/ 3833046 h 6479439"/>
              <a:gd name="connsiteX3835" fmla="*/ 4321543 w 9586368"/>
              <a:gd name="connsiteY3835" fmla="*/ 3842917 h 6479439"/>
              <a:gd name="connsiteX3836" fmla="*/ 4317523 w 9586368"/>
              <a:gd name="connsiteY3836" fmla="*/ 3846956 h 6479439"/>
              <a:gd name="connsiteX3837" fmla="*/ 4307612 w 9586368"/>
              <a:gd name="connsiteY3837" fmla="*/ 3846956 h 6479439"/>
              <a:gd name="connsiteX3838" fmla="*/ 4303595 w 9586368"/>
              <a:gd name="connsiteY3838" fmla="*/ 3842917 h 6479439"/>
              <a:gd name="connsiteX3839" fmla="*/ 4303595 w 9586368"/>
              <a:gd name="connsiteY3839" fmla="*/ 3833046 h 6479439"/>
              <a:gd name="connsiteX3840" fmla="*/ 4068297 w 9586368"/>
              <a:gd name="connsiteY3840" fmla="*/ 3829008 h 6479439"/>
              <a:gd name="connsiteX3841" fmla="*/ 4078210 w 9586368"/>
              <a:gd name="connsiteY3841" fmla="*/ 3829008 h 6479439"/>
              <a:gd name="connsiteX3842" fmla="*/ 4082229 w 9586368"/>
              <a:gd name="connsiteY3842" fmla="*/ 3833046 h 6479439"/>
              <a:gd name="connsiteX3843" fmla="*/ 4082229 w 9586368"/>
              <a:gd name="connsiteY3843" fmla="*/ 3842917 h 6479439"/>
              <a:gd name="connsiteX3844" fmla="*/ 4078210 w 9586368"/>
              <a:gd name="connsiteY3844" fmla="*/ 3846956 h 6479439"/>
              <a:gd name="connsiteX3845" fmla="*/ 4068297 w 9586368"/>
              <a:gd name="connsiteY3845" fmla="*/ 3846956 h 6479439"/>
              <a:gd name="connsiteX3846" fmla="*/ 4064278 w 9586368"/>
              <a:gd name="connsiteY3846" fmla="*/ 3842917 h 6479439"/>
              <a:gd name="connsiteX3847" fmla="*/ 4064278 w 9586368"/>
              <a:gd name="connsiteY3847" fmla="*/ 3833046 h 6479439"/>
              <a:gd name="connsiteX3848" fmla="*/ 3828990 w 9586368"/>
              <a:gd name="connsiteY3848" fmla="*/ 3829008 h 6479439"/>
              <a:gd name="connsiteX3849" fmla="*/ 3838899 w 9586368"/>
              <a:gd name="connsiteY3849" fmla="*/ 3829008 h 6479439"/>
              <a:gd name="connsiteX3850" fmla="*/ 3842917 w 9586368"/>
              <a:gd name="connsiteY3850" fmla="*/ 3833046 h 6479439"/>
              <a:gd name="connsiteX3851" fmla="*/ 3842917 w 9586368"/>
              <a:gd name="connsiteY3851" fmla="*/ 3842917 h 6479439"/>
              <a:gd name="connsiteX3852" fmla="*/ 3838899 w 9586368"/>
              <a:gd name="connsiteY3852" fmla="*/ 3846956 h 6479439"/>
              <a:gd name="connsiteX3853" fmla="*/ 3828990 w 9586368"/>
              <a:gd name="connsiteY3853" fmla="*/ 3846956 h 6479439"/>
              <a:gd name="connsiteX3854" fmla="*/ 3824971 w 9586368"/>
              <a:gd name="connsiteY3854" fmla="*/ 3842917 h 6479439"/>
              <a:gd name="connsiteX3855" fmla="*/ 3824971 w 9586368"/>
              <a:gd name="connsiteY3855" fmla="*/ 3833046 h 6479439"/>
              <a:gd name="connsiteX3856" fmla="*/ 3589676 w 9586368"/>
              <a:gd name="connsiteY3856" fmla="*/ 3829008 h 6479439"/>
              <a:gd name="connsiteX3857" fmla="*/ 3599585 w 9586368"/>
              <a:gd name="connsiteY3857" fmla="*/ 3829008 h 6479439"/>
              <a:gd name="connsiteX3858" fmla="*/ 3603604 w 9586368"/>
              <a:gd name="connsiteY3858" fmla="*/ 3833046 h 6479439"/>
              <a:gd name="connsiteX3859" fmla="*/ 3603604 w 9586368"/>
              <a:gd name="connsiteY3859" fmla="*/ 3842917 h 6479439"/>
              <a:gd name="connsiteX3860" fmla="*/ 3599585 w 9586368"/>
              <a:gd name="connsiteY3860" fmla="*/ 3846956 h 6479439"/>
              <a:gd name="connsiteX3861" fmla="*/ 3589676 w 9586368"/>
              <a:gd name="connsiteY3861" fmla="*/ 3846956 h 6479439"/>
              <a:gd name="connsiteX3862" fmla="*/ 3585657 w 9586368"/>
              <a:gd name="connsiteY3862" fmla="*/ 3842917 h 6479439"/>
              <a:gd name="connsiteX3863" fmla="*/ 3585657 w 9586368"/>
              <a:gd name="connsiteY3863" fmla="*/ 3833046 h 6479439"/>
              <a:gd name="connsiteX3864" fmla="*/ 3350359 w 9586368"/>
              <a:gd name="connsiteY3864" fmla="*/ 3829008 h 6479439"/>
              <a:gd name="connsiteX3865" fmla="*/ 3360268 w 9586368"/>
              <a:gd name="connsiteY3865" fmla="*/ 3829008 h 6479439"/>
              <a:gd name="connsiteX3866" fmla="*/ 3364287 w 9586368"/>
              <a:gd name="connsiteY3866" fmla="*/ 3833046 h 6479439"/>
              <a:gd name="connsiteX3867" fmla="*/ 3364287 w 9586368"/>
              <a:gd name="connsiteY3867" fmla="*/ 3842917 h 6479439"/>
              <a:gd name="connsiteX3868" fmla="*/ 3360268 w 9586368"/>
              <a:gd name="connsiteY3868" fmla="*/ 3846956 h 6479439"/>
              <a:gd name="connsiteX3869" fmla="*/ 3350359 w 9586368"/>
              <a:gd name="connsiteY3869" fmla="*/ 3846956 h 6479439"/>
              <a:gd name="connsiteX3870" fmla="*/ 3346340 w 9586368"/>
              <a:gd name="connsiteY3870" fmla="*/ 3842917 h 6479439"/>
              <a:gd name="connsiteX3871" fmla="*/ 3346340 w 9586368"/>
              <a:gd name="connsiteY3871" fmla="*/ 3833046 h 6479439"/>
              <a:gd name="connsiteX3872" fmla="*/ 3111048 w 9586368"/>
              <a:gd name="connsiteY3872" fmla="*/ 3829008 h 6479439"/>
              <a:gd name="connsiteX3873" fmla="*/ 3120959 w 9586368"/>
              <a:gd name="connsiteY3873" fmla="*/ 3829008 h 6479439"/>
              <a:gd name="connsiteX3874" fmla="*/ 3124977 w 9586368"/>
              <a:gd name="connsiteY3874" fmla="*/ 3833046 h 6479439"/>
              <a:gd name="connsiteX3875" fmla="*/ 3124977 w 9586368"/>
              <a:gd name="connsiteY3875" fmla="*/ 3842917 h 6479439"/>
              <a:gd name="connsiteX3876" fmla="*/ 3120959 w 9586368"/>
              <a:gd name="connsiteY3876" fmla="*/ 3846956 h 6479439"/>
              <a:gd name="connsiteX3877" fmla="*/ 3111048 w 9586368"/>
              <a:gd name="connsiteY3877" fmla="*/ 3846956 h 6479439"/>
              <a:gd name="connsiteX3878" fmla="*/ 3107029 w 9586368"/>
              <a:gd name="connsiteY3878" fmla="*/ 3842917 h 6479439"/>
              <a:gd name="connsiteX3879" fmla="*/ 3107029 w 9586368"/>
              <a:gd name="connsiteY3879" fmla="*/ 3833046 h 6479439"/>
              <a:gd name="connsiteX3880" fmla="*/ 2871737 w 9586368"/>
              <a:gd name="connsiteY3880" fmla="*/ 3829008 h 6479439"/>
              <a:gd name="connsiteX3881" fmla="*/ 2881646 w 9586368"/>
              <a:gd name="connsiteY3881" fmla="*/ 3829008 h 6479439"/>
              <a:gd name="connsiteX3882" fmla="*/ 2885666 w 9586368"/>
              <a:gd name="connsiteY3882" fmla="*/ 3833046 h 6479439"/>
              <a:gd name="connsiteX3883" fmla="*/ 2885666 w 9586368"/>
              <a:gd name="connsiteY3883" fmla="*/ 3842917 h 6479439"/>
              <a:gd name="connsiteX3884" fmla="*/ 2881646 w 9586368"/>
              <a:gd name="connsiteY3884" fmla="*/ 3846956 h 6479439"/>
              <a:gd name="connsiteX3885" fmla="*/ 2871737 w 9586368"/>
              <a:gd name="connsiteY3885" fmla="*/ 3846956 h 6479439"/>
              <a:gd name="connsiteX3886" fmla="*/ 2867717 w 9586368"/>
              <a:gd name="connsiteY3886" fmla="*/ 3842917 h 6479439"/>
              <a:gd name="connsiteX3887" fmla="*/ 2867717 w 9586368"/>
              <a:gd name="connsiteY3887" fmla="*/ 3833046 h 6479439"/>
              <a:gd name="connsiteX3888" fmla="*/ 2632423 w 9586368"/>
              <a:gd name="connsiteY3888" fmla="*/ 3829008 h 6479439"/>
              <a:gd name="connsiteX3889" fmla="*/ 2642334 w 9586368"/>
              <a:gd name="connsiteY3889" fmla="*/ 3829008 h 6479439"/>
              <a:gd name="connsiteX3890" fmla="*/ 2646352 w 9586368"/>
              <a:gd name="connsiteY3890" fmla="*/ 3833046 h 6479439"/>
              <a:gd name="connsiteX3891" fmla="*/ 2646352 w 9586368"/>
              <a:gd name="connsiteY3891" fmla="*/ 3842917 h 6479439"/>
              <a:gd name="connsiteX3892" fmla="*/ 2642334 w 9586368"/>
              <a:gd name="connsiteY3892" fmla="*/ 3846956 h 6479439"/>
              <a:gd name="connsiteX3893" fmla="*/ 2632423 w 9586368"/>
              <a:gd name="connsiteY3893" fmla="*/ 3846956 h 6479439"/>
              <a:gd name="connsiteX3894" fmla="*/ 2628404 w 9586368"/>
              <a:gd name="connsiteY3894" fmla="*/ 3842917 h 6479439"/>
              <a:gd name="connsiteX3895" fmla="*/ 2628404 w 9586368"/>
              <a:gd name="connsiteY3895" fmla="*/ 3833046 h 6479439"/>
              <a:gd name="connsiteX3896" fmla="*/ 2393104 w 9586368"/>
              <a:gd name="connsiteY3896" fmla="*/ 3829008 h 6479439"/>
              <a:gd name="connsiteX3897" fmla="*/ 2403015 w 9586368"/>
              <a:gd name="connsiteY3897" fmla="*/ 3829008 h 6479439"/>
              <a:gd name="connsiteX3898" fmla="*/ 2407034 w 9586368"/>
              <a:gd name="connsiteY3898" fmla="*/ 3833046 h 6479439"/>
              <a:gd name="connsiteX3899" fmla="*/ 2407034 w 9586368"/>
              <a:gd name="connsiteY3899" fmla="*/ 3842917 h 6479439"/>
              <a:gd name="connsiteX3900" fmla="*/ 2403015 w 9586368"/>
              <a:gd name="connsiteY3900" fmla="*/ 3846956 h 6479439"/>
              <a:gd name="connsiteX3901" fmla="*/ 2393104 w 9586368"/>
              <a:gd name="connsiteY3901" fmla="*/ 3846956 h 6479439"/>
              <a:gd name="connsiteX3902" fmla="*/ 2389087 w 9586368"/>
              <a:gd name="connsiteY3902" fmla="*/ 3842917 h 6479439"/>
              <a:gd name="connsiteX3903" fmla="*/ 2389087 w 9586368"/>
              <a:gd name="connsiteY3903" fmla="*/ 3833046 h 6479439"/>
              <a:gd name="connsiteX3904" fmla="*/ 721966 w 9586368"/>
              <a:gd name="connsiteY3904" fmla="*/ 3829008 h 6479439"/>
              <a:gd name="connsiteX3905" fmla="*/ 731876 w 9586368"/>
              <a:gd name="connsiteY3905" fmla="*/ 3829008 h 6479439"/>
              <a:gd name="connsiteX3906" fmla="*/ 735895 w 9586368"/>
              <a:gd name="connsiteY3906" fmla="*/ 3833046 h 6479439"/>
              <a:gd name="connsiteX3907" fmla="*/ 735895 w 9586368"/>
              <a:gd name="connsiteY3907" fmla="*/ 3842917 h 6479439"/>
              <a:gd name="connsiteX3908" fmla="*/ 731876 w 9586368"/>
              <a:gd name="connsiteY3908" fmla="*/ 3846956 h 6479439"/>
              <a:gd name="connsiteX3909" fmla="*/ 721966 w 9586368"/>
              <a:gd name="connsiteY3909" fmla="*/ 3846956 h 6479439"/>
              <a:gd name="connsiteX3910" fmla="*/ 717947 w 9586368"/>
              <a:gd name="connsiteY3910" fmla="*/ 3842917 h 6479439"/>
              <a:gd name="connsiteX3911" fmla="*/ 717947 w 9586368"/>
              <a:gd name="connsiteY3911" fmla="*/ 3833046 h 6479439"/>
              <a:gd name="connsiteX3912" fmla="*/ 482654 w 9586368"/>
              <a:gd name="connsiteY3912" fmla="*/ 3829008 h 6479439"/>
              <a:gd name="connsiteX3913" fmla="*/ 492564 w 9586368"/>
              <a:gd name="connsiteY3913" fmla="*/ 3829008 h 6479439"/>
              <a:gd name="connsiteX3914" fmla="*/ 496583 w 9586368"/>
              <a:gd name="connsiteY3914" fmla="*/ 3833046 h 6479439"/>
              <a:gd name="connsiteX3915" fmla="*/ 496583 w 9586368"/>
              <a:gd name="connsiteY3915" fmla="*/ 3842917 h 6479439"/>
              <a:gd name="connsiteX3916" fmla="*/ 492564 w 9586368"/>
              <a:gd name="connsiteY3916" fmla="*/ 3846956 h 6479439"/>
              <a:gd name="connsiteX3917" fmla="*/ 482654 w 9586368"/>
              <a:gd name="connsiteY3917" fmla="*/ 3846956 h 6479439"/>
              <a:gd name="connsiteX3918" fmla="*/ 478635 w 9586368"/>
              <a:gd name="connsiteY3918" fmla="*/ 3842917 h 6479439"/>
              <a:gd name="connsiteX3919" fmla="*/ 478635 w 9586368"/>
              <a:gd name="connsiteY3919" fmla="*/ 3833046 h 6479439"/>
              <a:gd name="connsiteX3920" fmla="*/ 243340 w 9586368"/>
              <a:gd name="connsiteY3920" fmla="*/ 3829008 h 6479439"/>
              <a:gd name="connsiteX3921" fmla="*/ 253250 w 9586368"/>
              <a:gd name="connsiteY3921" fmla="*/ 3829008 h 6479439"/>
              <a:gd name="connsiteX3922" fmla="*/ 257269 w 9586368"/>
              <a:gd name="connsiteY3922" fmla="*/ 3833046 h 6479439"/>
              <a:gd name="connsiteX3923" fmla="*/ 257269 w 9586368"/>
              <a:gd name="connsiteY3923" fmla="*/ 3842917 h 6479439"/>
              <a:gd name="connsiteX3924" fmla="*/ 253250 w 9586368"/>
              <a:gd name="connsiteY3924" fmla="*/ 3846956 h 6479439"/>
              <a:gd name="connsiteX3925" fmla="*/ 243340 w 9586368"/>
              <a:gd name="connsiteY3925" fmla="*/ 3846956 h 6479439"/>
              <a:gd name="connsiteX3926" fmla="*/ 239321 w 9586368"/>
              <a:gd name="connsiteY3926" fmla="*/ 3842917 h 6479439"/>
              <a:gd name="connsiteX3927" fmla="*/ 239321 w 9586368"/>
              <a:gd name="connsiteY3927" fmla="*/ 3833046 h 6479439"/>
              <a:gd name="connsiteX3928" fmla="*/ 4027 w 9586368"/>
              <a:gd name="connsiteY3928" fmla="*/ 3829008 h 6479439"/>
              <a:gd name="connsiteX3929" fmla="*/ 13937 w 9586368"/>
              <a:gd name="connsiteY3929" fmla="*/ 3829008 h 6479439"/>
              <a:gd name="connsiteX3930" fmla="*/ 17956 w 9586368"/>
              <a:gd name="connsiteY3930" fmla="*/ 3833046 h 6479439"/>
              <a:gd name="connsiteX3931" fmla="*/ 17956 w 9586368"/>
              <a:gd name="connsiteY3931" fmla="*/ 3842917 h 6479439"/>
              <a:gd name="connsiteX3932" fmla="*/ 13937 w 9586368"/>
              <a:gd name="connsiteY3932" fmla="*/ 3846956 h 6479439"/>
              <a:gd name="connsiteX3933" fmla="*/ 4027 w 9586368"/>
              <a:gd name="connsiteY3933" fmla="*/ 3846956 h 6479439"/>
              <a:gd name="connsiteX3934" fmla="*/ 8 w 9586368"/>
              <a:gd name="connsiteY3934" fmla="*/ 3842917 h 6479439"/>
              <a:gd name="connsiteX3935" fmla="*/ 8 w 9586368"/>
              <a:gd name="connsiteY3935" fmla="*/ 3833046 h 6479439"/>
              <a:gd name="connsiteX3936" fmla="*/ 2157820 w 9586368"/>
              <a:gd name="connsiteY3936" fmla="*/ 3589728 h 6479439"/>
              <a:gd name="connsiteX3937" fmla="*/ 2167731 w 9586368"/>
              <a:gd name="connsiteY3937" fmla="*/ 3589728 h 6479439"/>
              <a:gd name="connsiteX3938" fmla="*/ 2171749 w 9586368"/>
              <a:gd name="connsiteY3938" fmla="*/ 3593767 h 6479439"/>
              <a:gd name="connsiteX3939" fmla="*/ 2171749 w 9586368"/>
              <a:gd name="connsiteY3939" fmla="*/ 3603637 h 6479439"/>
              <a:gd name="connsiteX3940" fmla="*/ 2167731 w 9586368"/>
              <a:gd name="connsiteY3940" fmla="*/ 3607676 h 6479439"/>
              <a:gd name="connsiteX3941" fmla="*/ 2157820 w 9586368"/>
              <a:gd name="connsiteY3941" fmla="*/ 3607676 h 6479439"/>
              <a:gd name="connsiteX3942" fmla="*/ 2153801 w 9586368"/>
              <a:gd name="connsiteY3942" fmla="*/ 3603637 h 6479439"/>
              <a:gd name="connsiteX3943" fmla="*/ 2153801 w 9586368"/>
              <a:gd name="connsiteY3943" fmla="*/ 3593767 h 6479439"/>
              <a:gd name="connsiteX3944" fmla="*/ 1918511 w 9586368"/>
              <a:gd name="connsiteY3944" fmla="*/ 3589728 h 6479439"/>
              <a:gd name="connsiteX3945" fmla="*/ 1928421 w 9586368"/>
              <a:gd name="connsiteY3945" fmla="*/ 3589728 h 6479439"/>
              <a:gd name="connsiteX3946" fmla="*/ 1932441 w 9586368"/>
              <a:gd name="connsiteY3946" fmla="*/ 3593767 h 6479439"/>
              <a:gd name="connsiteX3947" fmla="*/ 1932441 w 9586368"/>
              <a:gd name="connsiteY3947" fmla="*/ 3603637 h 6479439"/>
              <a:gd name="connsiteX3948" fmla="*/ 1928421 w 9586368"/>
              <a:gd name="connsiteY3948" fmla="*/ 3607676 h 6479439"/>
              <a:gd name="connsiteX3949" fmla="*/ 1918511 w 9586368"/>
              <a:gd name="connsiteY3949" fmla="*/ 3607676 h 6479439"/>
              <a:gd name="connsiteX3950" fmla="*/ 1914493 w 9586368"/>
              <a:gd name="connsiteY3950" fmla="*/ 3603637 h 6479439"/>
              <a:gd name="connsiteX3951" fmla="*/ 1914493 w 9586368"/>
              <a:gd name="connsiteY3951" fmla="*/ 3593767 h 6479439"/>
              <a:gd name="connsiteX3952" fmla="*/ 1679209 w 9586368"/>
              <a:gd name="connsiteY3952" fmla="*/ 3589728 h 6479439"/>
              <a:gd name="connsiteX3953" fmla="*/ 1689118 w 9586368"/>
              <a:gd name="connsiteY3953" fmla="*/ 3589728 h 6479439"/>
              <a:gd name="connsiteX3954" fmla="*/ 1693138 w 9586368"/>
              <a:gd name="connsiteY3954" fmla="*/ 3593767 h 6479439"/>
              <a:gd name="connsiteX3955" fmla="*/ 1693138 w 9586368"/>
              <a:gd name="connsiteY3955" fmla="*/ 3603637 h 6479439"/>
              <a:gd name="connsiteX3956" fmla="*/ 1689118 w 9586368"/>
              <a:gd name="connsiteY3956" fmla="*/ 3607676 h 6479439"/>
              <a:gd name="connsiteX3957" fmla="*/ 1679209 w 9586368"/>
              <a:gd name="connsiteY3957" fmla="*/ 3607676 h 6479439"/>
              <a:gd name="connsiteX3958" fmla="*/ 1675190 w 9586368"/>
              <a:gd name="connsiteY3958" fmla="*/ 3603637 h 6479439"/>
              <a:gd name="connsiteX3959" fmla="*/ 1675190 w 9586368"/>
              <a:gd name="connsiteY3959" fmla="*/ 3593767 h 6479439"/>
              <a:gd name="connsiteX3960" fmla="*/ 1439892 w 9586368"/>
              <a:gd name="connsiteY3960" fmla="*/ 3589728 h 6479439"/>
              <a:gd name="connsiteX3961" fmla="*/ 1449803 w 9586368"/>
              <a:gd name="connsiteY3961" fmla="*/ 3589728 h 6479439"/>
              <a:gd name="connsiteX3962" fmla="*/ 1453822 w 9586368"/>
              <a:gd name="connsiteY3962" fmla="*/ 3593767 h 6479439"/>
              <a:gd name="connsiteX3963" fmla="*/ 1453822 w 9586368"/>
              <a:gd name="connsiteY3963" fmla="*/ 3603637 h 6479439"/>
              <a:gd name="connsiteX3964" fmla="*/ 1449803 w 9586368"/>
              <a:gd name="connsiteY3964" fmla="*/ 3607676 h 6479439"/>
              <a:gd name="connsiteX3965" fmla="*/ 1439892 w 9586368"/>
              <a:gd name="connsiteY3965" fmla="*/ 3607676 h 6479439"/>
              <a:gd name="connsiteX3966" fmla="*/ 1435874 w 9586368"/>
              <a:gd name="connsiteY3966" fmla="*/ 3603637 h 6479439"/>
              <a:gd name="connsiteX3967" fmla="*/ 1435874 w 9586368"/>
              <a:gd name="connsiteY3967" fmla="*/ 3593767 h 6479439"/>
              <a:gd name="connsiteX3968" fmla="*/ 1200577 w 9586368"/>
              <a:gd name="connsiteY3968" fmla="*/ 3589728 h 6479439"/>
              <a:gd name="connsiteX3969" fmla="*/ 1210488 w 9586368"/>
              <a:gd name="connsiteY3969" fmla="*/ 3589728 h 6479439"/>
              <a:gd name="connsiteX3970" fmla="*/ 1214506 w 9586368"/>
              <a:gd name="connsiteY3970" fmla="*/ 3593767 h 6479439"/>
              <a:gd name="connsiteX3971" fmla="*/ 1214506 w 9586368"/>
              <a:gd name="connsiteY3971" fmla="*/ 3603637 h 6479439"/>
              <a:gd name="connsiteX3972" fmla="*/ 1210488 w 9586368"/>
              <a:gd name="connsiteY3972" fmla="*/ 3607676 h 6479439"/>
              <a:gd name="connsiteX3973" fmla="*/ 1200577 w 9586368"/>
              <a:gd name="connsiteY3973" fmla="*/ 3607676 h 6479439"/>
              <a:gd name="connsiteX3974" fmla="*/ 1196559 w 9586368"/>
              <a:gd name="connsiteY3974" fmla="*/ 3603637 h 6479439"/>
              <a:gd name="connsiteX3975" fmla="*/ 1196559 w 9586368"/>
              <a:gd name="connsiteY3975" fmla="*/ 3593767 h 6479439"/>
              <a:gd name="connsiteX3976" fmla="*/ 961265 w 9586368"/>
              <a:gd name="connsiteY3976" fmla="*/ 3589728 h 6479439"/>
              <a:gd name="connsiteX3977" fmla="*/ 971175 w 9586368"/>
              <a:gd name="connsiteY3977" fmla="*/ 3589728 h 6479439"/>
              <a:gd name="connsiteX3978" fmla="*/ 975193 w 9586368"/>
              <a:gd name="connsiteY3978" fmla="*/ 3593767 h 6479439"/>
              <a:gd name="connsiteX3979" fmla="*/ 975193 w 9586368"/>
              <a:gd name="connsiteY3979" fmla="*/ 3603637 h 6479439"/>
              <a:gd name="connsiteX3980" fmla="*/ 971175 w 9586368"/>
              <a:gd name="connsiteY3980" fmla="*/ 3607676 h 6479439"/>
              <a:gd name="connsiteX3981" fmla="*/ 961265 w 9586368"/>
              <a:gd name="connsiteY3981" fmla="*/ 3607676 h 6479439"/>
              <a:gd name="connsiteX3982" fmla="*/ 957246 w 9586368"/>
              <a:gd name="connsiteY3982" fmla="*/ 3603637 h 6479439"/>
              <a:gd name="connsiteX3983" fmla="*/ 957246 w 9586368"/>
              <a:gd name="connsiteY3983" fmla="*/ 3593767 h 6479439"/>
              <a:gd name="connsiteX3984" fmla="*/ 9572438 w 9586368"/>
              <a:gd name="connsiteY3984" fmla="*/ 3589677 h 6479439"/>
              <a:gd name="connsiteX3985" fmla="*/ 9582349 w 9586368"/>
              <a:gd name="connsiteY3985" fmla="*/ 3589677 h 6479439"/>
              <a:gd name="connsiteX3986" fmla="*/ 9586368 w 9586368"/>
              <a:gd name="connsiteY3986" fmla="*/ 3593716 h 6479439"/>
              <a:gd name="connsiteX3987" fmla="*/ 9586368 w 9586368"/>
              <a:gd name="connsiteY3987" fmla="*/ 3603586 h 6479439"/>
              <a:gd name="connsiteX3988" fmla="*/ 9582349 w 9586368"/>
              <a:gd name="connsiteY3988" fmla="*/ 3607625 h 6479439"/>
              <a:gd name="connsiteX3989" fmla="*/ 9572438 w 9586368"/>
              <a:gd name="connsiteY3989" fmla="*/ 3607625 h 6479439"/>
              <a:gd name="connsiteX3990" fmla="*/ 9568419 w 9586368"/>
              <a:gd name="connsiteY3990" fmla="*/ 3603586 h 6479439"/>
              <a:gd name="connsiteX3991" fmla="*/ 9568419 w 9586368"/>
              <a:gd name="connsiteY3991" fmla="*/ 3593716 h 6479439"/>
              <a:gd name="connsiteX3992" fmla="*/ 9333125 w 9586368"/>
              <a:gd name="connsiteY3992" fmla="*/ 3589677 h 6479439"/>
              <a:gd name="connsiteX3993" fmla="*/ 9343036 w 9586368"/>
              <a:gd name="connsiteY3993" fmla="*/ 3589677 h 6479439"/>
              <a:gd name="connsiteX3994" fmla="*/ 9347055 w 9586368"/>
              <a:gd name="connsiteY3994" fmla="*/ 3593716 h 6479439"/>
              <a:gd name="connsiteX3995" fmla="*/ 9347055 w 9586368"/>
              <a:gd name="connsiteY3995" fmla="*/ 3603586 h 6479439"/>
              <a:gd name="connsiteX3996" fmla="*/ 9343036 w 9586368"/>
              <a:gd name="connsiteY3996" fmla="*/ 3607625 h 6479439"/>
              <a:gd name="connsiteX3997" fmla="*/ 9333125 w 9586368"/>
              <a:gd name="connsiteY3997" fmla="*/ 3607625 h 6479439"/>
              <a:gd name="connsiteX3998" fmla="*/ 9329106 w 9586368"/>
              <a:gd name="connsiteY3998" fmla="*/ 3603586 h 6479439"/>
              <a:gd name="connsiteX3999" fmla="*/ 9329106 w 9586368"/>
              <a:gd name="connsiteY3999" fmla="*/ 3593716 h 6479439"/>
              <a:gd name="connsiteX4000" fmla="*/ 9093811 w 9586368"/>
              <a:gd name="connsiteY4000" fmla="*/ 3589677 h 6479439"/>
              <a:gd name="connsiteX4001" fmla="*/ 9103722 w 9586368"/>
              <a:gd name="connsiteY4001" fmla="*/ 3589677 h 6479439"/>
              <a:gd name="connsiteX4002" fmla="*/ 9107741 w 9586368"/>
              <a:gd name="connsiteY4002" fmla="*/ 3593716 h 6479439"/>
              <a:gd name="connsiteX4003" fmla="*/ 9107741 w 9586368"/>
              <a:gd name="connsiteY4003" fmla="*/ 3603586 h 6479439"/>
              <a:gd name="connsiteX4004" fmla="*/ 9103722 w 9586368"/>
              <a:gd name="connsiteY4004" fmla="*/ 3607625 h 6479439"/>
              <a:gd name="connsiteX4005" fmla="*/ 9093811 w 9586368"/>
              <a:gd name="connsiteY4005" fmla="*/ 3607625 h 6479439"/>
              <a:gd name="connsiteX4006" fmla="*/ 9089792 w 9586368"/>
              <a:gd name="connsiteY4006" fmla="*/ 3603586 h 6479439"/>
              <a:gd name="connsiteX4007" fmla="*/ 9089792 w 9586368"/>
              <a:gd name="connsiteY4007" fmla="*/ 3593716 h 6479439"/>
              <a:gd name="connsiteX4008" fmla="*/ 8854496 w 9586368"/>
              <a:gd name="connsiteY4008" fmla="*/ 3589677 h 6479439"/>
              <a:gd name="connsiteX4009" fmla="*/ 8864407 w 9586368"/>
              <a:gd name="connsiteY4009" fmla="*/ 3589677 h 6479439"/>
              <a:gd name="connsiteX4010" fmla="*/ 8868426 w 9586368"/>
              <a:gd name="connsiteY4010" fmla="*/ 3593716 h 6479439"/>
              <a:gd name="connsiteX4011" fmla="*/ 8868426 w 9586368"/>
              <a:gd name="connsiteY4011" fmla="*/ 3603586 h 6479439"/>
              <a:gd name="connsiteX4012" fmla="*/ 8864407 w 9586368"/>
              <a:gd name="connsiteY4012" fmla="*/ 3607625 h 6479439"/>
              <a:gd name="connsiteX4013" fmla="*/ 8854496 w 9586368"/>
              <a:gd name="connsiteY4013" fmla="*/ 3607625 h 6479439"/>
              <a:gd name="connsiteX4014" fmla="*/ 8850477 w 9586368"/>
              <a:gd name="connsiteY4014" fmla="*/ 3603586 h 6479439"/>
              <a:gd name="connsiteX4015" fmla="*/ 8850477 w 9586368"/>
              <a:gd name="connsiteY4015" fmla="*/ 3593716 h 6479439"/>
              <a:gd name="connsiteX4016" fmla="*/ 8615184 w 9586368"/>
              <a:gd name="connsiteY4016" fmla="*/ 3589677 h 6479439"/>
              <a:gd name="connsiteX4017" fmla="*/ 8625095 w 9586368"/>
              <a:gd name="connsiteY4017" fmla="*/ 3589677 h 6479439"/>
              <a:gd name="connsiteX4018" fmla="*/ 8629114 w 9586368"/>
              <a:gd name="connsiteY4018" fmla="*/ 3593716 h 6479439"/>
              <a:gd name="connsiteX4019" fmla="*/ 8629114 w 9586368"/>
              <a:gd name="connsiteY4019" fmla="*/ 3603586 h 6479439"/>
              <a:gd name="connsiteX4020" fmla="*/ 8625095 w 9586368"/>
              <a:gd name="connsiteY4020" fmla="*/ 3607625 h 6479439"/>
              <a:gd name="connsiteX4021" fmla="*/ 8615184 w 9586368"/>
              <a:gd name="connsiteY4021" fmla="*/ 3607625 h 6479439"/>
              <a:gd name="connsiteX4022" fmla="*/ 8611165 w 9586368"/>
              <a:gd name="connsiteY4022" fmla="*/ 3603586 h 6479439"/>
              <a:gd name="connsiteX4023" fmla="*/ 8611165 w 9586368"/>
              <a:gd name="connsiteY4023" fmla="*/ 3593716 h 6479439"/>
              <a:gd name="connsiteX4024" fmla="*/ 8375869 w 9586368"/>
              <a:gd name="connsiteY4024" fmla="*/ 3589677 h 6479439"/>
              <a:gd name="connsiteX4025" fmla="*/ 8385779 w 9586368"/>
              <a:gd name="connsiteY4025" fmla="*/ 3589677 h 6479439"/>
              <a:gd name="connsiteX4026" fmla="*/ 8389799 w 9586368"/>
              <a:gd name="connsiteY4026" fmla="*/ 3593716 h 6479439"/>
              <a:gd name="connsiteX4027" fmla="*/ 8389799 w 9586368"/>
              <a:gd name="connsiteY4027" fmla="*/ 3603586 h 6479439"/>
              <a:gd name="connsiteX4028" fmla="*/ 8385779 w 9586368"/>
              <a:gd name="connsiteY4028" fmla="*/ 3607625 h 6479439"/>
              <a:gd name="connsiteX4029" fmla="*/ 8375869 w 9586368"/>
              <a:gd name="connsiteY4029" fmla="*/ 3607625 h 6479439"/>
              <a:gd name="connsiteX4030" fmla="*/ 8371850 w 9586368"/>
              <a:gd name="connsiteY4030" fmla="*/ 3603586 h 6479439"/>
              <a:gd name="connsiteX4031" fmla="*/ 8371850 w 9586368"/>
              <a:gd name="connsiteY4031" fmla="*/ 3593716 h 6479439"/>
              <a:gd name="connsiteX4032" fmla="*/ 8136553 w 9586368"/>
              <a:gd name="connsiteY4032" fmla="*/ 3589677 h 6479439"/>
              <a:gd name="connsiteX4033" fmla="*/ 8146464 w 9586368"/>
              <a:gd name="connsiteY4033" fmla="*/ 3589677 h 6479439"/>
              <a:gd name="connsiteX4034" fmla="*/ 8150483 w 9586368"/>
              <a:gd name="connsiteY4034" fmla="*/ 3593716 h 6479439"/>
              <a:gd name="connsiteX4035" fmla="*/ 8150483 w 9586368"/>
              <a:gd name="connsiteY4035" fmla="*/ 3603586 h 6479439"/>
              <a:gd name="connsiteX4036" fmla="*/ 8146464 w 9586368"/>
              <a:gd name="connsiteY4036" fmla="*/ 3607625 h 6479439"/>
              <a:gd name="connsiteX4037" fmla="*/ 8136553 w 9586368"/>
              <a:gd name="connsiteY4037" fmla="*/ 3607625 h 6479439"/>
              <a:gd name="connsiteX4038" fmla="*/ 8132534 w 9586368"/>
              <a:gd name="connsiteY4038" fmla="*/ 3603586 h 6479439"/>
              <a:gd name="connsiteX4039" fmla="*/ 8132534 w 9586368"/>
              <a:gd name="connsiteY4039" fmla="*/ 3593716 h 6479439"/>
              <a:gd name="connsiteX4040" fmla="*/ 7897241 w 9586368"/>
              <a:gd name="connsiteY4040" fmla="*/ 3589677 h 6479439"/>
              <a:gd name="connsiteX4041" fmla="*/ 7907151 w 9586368"/>
              <a:gd name="connsiteY4041" fmla="*/ 3589677 h 6479439"/>
              <a:gd name="connsiteX4042" fmla="*/ 7911170 w 9586368"/>
              <a:gd name="connsiteY4042" fmla="*/ 3593716 h 6479439"/>
              <a:gd name="connsiteX4043" fmla="*/ 7911170 w 9586368"/>
              <a:gd name="connsiteY4043" fmla="*/ 3603586 h 6479439"/>
              <a:gd name="connsiteX4044" fmla="*/ 7907151 w 9586368"/>
              <a:gd name="connsiteY4044" fmla="*/ 3607625 h 6479439"/>
              <a:gd name="connsiteX4045" fmla="*/ 7897241 w 9586368"/>
              <a:gd name="connsiteY4045" fmla="*/ 3607625 h 6479439"/>
              <a:gd name="connsiteX4046" fmla="*/ 7893222 w 9586368"/>
              <a:gd name="connsiteY4046" fmla="*/ 3603586 h 6479439"/>
              <a:gd name="connsiteX4047" fmla="*/ 7893222 w 9586368"/>
              <a:gd name="connsiteY4047" fmla="*/ 3593716 h 6479439"/>
              <a:gd name="connsiteX4048" fmla="*/ 7657926 w 9586368"/>
              <a:gd name="connsiteY4048" fmla="*/ 3589677 h 6479439"/>
              <a:gd name="connsiteX4049" fmla="*/ 7667836 w 9586368"/>
              <a:gd name="connsiteY4049" fmla="*/ 3589677 h 6479439"/>
              <a:gd name="connsiteX4050" fmla="*/ 7671855 w 9586368"/>
              <a:gd name="connsiteY4050" fmla="*/ 3593716 h 6479439"/>
              <a:gd name="connsiteX4051" fmla="*/ 7671855 w 9586368"/>
              <a:gd name="connsiteY4051" fmla="*/ 3603586 h 6479439"/>
              <a:gd name="connsiteX4052" fmla="*/ 7667836 w 9586368"/>
              <a:gd name="connsiteY4052" fmla="*/ 3607625 h 6479439"/>
              <a:gd name="connsiteX4053" fmla="*/ 7657926 w 9586368"/>
              <a:gd name="connsiteY4053" fmla="*/ 3607625 h 6479439"/>
              <a:gd name="connsiteX4054" fmla="*/ 7653906 w 9586368"/>
              <a:gd name="connsiteY4054" fmla="*/ 3603586 h 6479439"/>
              <a:gd name="connsiteX4055" fmla="*/ 7653906 w 9586368"/>
              <a:gd name="connsiteY4055" fmla="*/ 3593716 h 6479439"/>
              <a:gd name="connsiteX4056" fmla="*/ 7418611 w 9586368"/>
              <a:gd name="connsiteY4056" fmla="*/ 3589677 h 6479439"/>
              <a:gd name="connsiteX4057" fmla="*/ 7428521 w 9586368"/>
              <a:gd name="connsiteY4057" fmla="*/ 3589677 h 6479439"/>
              <a:gd name="connsiteX4058" fmla="*/ 7432540 w 9586368"/>
              <a:gd name="connsiteY4058" fmla="*/ 3593716 h 6479439"/>
              <a:gd name="connsiteX4059" fmla="*/ 7432540 w 9586368"/>
              <a:gd name="connsiteY4059" fmla="*/ 3603586 h 6479439"/>
              <a:gd name="connsiteX4060" fmla="*/ 7428521 w 9586368"/>
              <a:gd name="connsiteY4060" fmla="*/ 3607625 h 6479439"/>
              <a:gd name="connsiteX4061" fmla="*/ 7418611 w 9586368"/>
              <a:gd name="connsiteY4061" fmla="*/ 3607625 h 6479439"/>
              <a:gd name="connsiteX4062" fmla="*/ 7414592 w 9586368"/>
              <a:gd name="connsiteY4062" fmla="*/ 3603586 h 6479439"/>
              <a:gd name="connsiteX4063" fmla="*/ 7414592 w 9586368"/>
              <a:gd name="connsiteY4063" fmla="*/ 3593716 h 6479439"/>
              <a:gd name="connsiteX4064" fmla="*/ 7179298 w 9586368"/>
              <a:gd name="connsiteY4064" fmla="*/ 3589677 h 6479439"/>
              <a:gd name="connsiteX4065" fmla="*/ 7189209 w 9586368"/>
              <a:gd name="connsiteY4065" fmla="*/ 3589677 h 6479439"/>
              <a:gd name="connsiteX4066" fmla="*/ 7193228 w 9586368"/>
              <a:gd name="connsiteY4066" fmla="*/ 3593716 h 6479439"/>
              <a:gd name="connsiteX4067" fmla="*/ 7193228 w 9586368"/>
              <a:gd name="connsiteY4067" fmla="*/ 3603586 h 6479439"/>
              <a:gd name="connsiteX4068" fmla="*/ 7189209 w 9586368"/>
              <a:gd name="connsiteY4068" fmla="*/ 3607625 h 6479439"/>
              <a:gd name="connsiteX4069" fmla="*/ 7179298 w 9586368"/>
              <a:gd name="connsiteY4069" fmla="*/ 3607625 h 6479439"/>
              <a:gd name="connsiteX4070" fmla="*/ 7175279 w 9586368"/>
              <a:gd name="connsiteY4070" fmla="*/ 3603586 h 6479439"/>
              <a:gd name="connsiteX4071" fmla="*/ 7175279 w 9586368"/>
              <a:gd name="connsiteY4071" fmla="*/ 3593716 h 6479439"/>
              <a:gd name="connsiteX4072" fmla="*/ 6939983 w 9586368"/>
              <a:gd name="connsiteY4072" fmla="*/ 3589677 h 6479439"/>
              <a:gd name="connsiteX4073" fmla="*/ 6949894 w 9586368"/>
              <a:gd name="connsiteY4073" fmla="*/ 3589677 h 6479439"/>
              <a:gd name="connsiteX4074" fmla="*/ 6953913 w 9586368"/>
              <a:gd name="connsiteY4074" fmla="*/ 3593716 h 6479439"/>
              <a:gd name="connsiteX4075" fmla="*/ 6953913 w 9586368"/>
              <a:gd name="connsiteY4075" fmla="*/ 3603586 h 6479439"/>
              <a:gd name="connsiteX4076" fmla="*/ 6949894 w 9586368"/>
              <a:gd name="connsiteY4076" fmla="*/ 3607625 h 6479439"/>
              <a:gd name="connsiteX4077" fmla="*/ 6939983 w 9586368"/>
              <a:gd name="connsiteY4077" fmla="*/ 3607625 h 6479439"/>
              <a:gd name="connsiteX4078" fmla="*/ 6935964 w 9586368"/>
              <a:gd name="connsiteY4078" fmla="*/ 3603586 h 6479439"/>
              <a:gd name="connsiteX4079" fmla="*/ 6935964 w 9586368"/>
              <a:gd name="connsiteY4079" fmla="*/ 3593716 h 6479439"/>
              <a:gd name="connsiteX4080" fmla="*/ 6700670 w 9586368"/>
              <a:gd name="connsiteY4080" fmla="*/ 3589677 h 6479439"/>
              <a:gd name="connsiteX4081" fmla="*/ 6710581 w 9586368"/>
              <a:gd name="connsiteY4081" fmla="*/ 3589677 h 6479439"/>
              <a:gd name="connsiteX4082" fmla="*/ 6714600 w 9586368"/>
              <a:gd name="connsiteY4082" fmla="*/ 3593716 h 6479439"/>
              <a:gd name="connsiteX4083" fmla="*/ 6714600 w 9586368"/>
              <a:gd name="connsiteY4083" fmla="*/ 3603586 h 6479439"/>
              <a:gd name="connsiteX4084" fmla="*/ 6710581 w 9586368"/>
              <a:gd name="connsiteY4084" fmla="*/ 3607625 h 6479439"/>
              <a:gd name="connsiteX4085" fmla="*/ 6700670 w 9586368"/>
              <a:gd name="connsiteY4085" fmla="*/ 3607625 h 6479439"/>
              <a:gd name="connsiteX4086" fmla="*/ 6696651 w 9586368"/>
              <a:gd name="connsiteY4086" fmla="*/ 3603586 h 6479439"/>
              <a:gd name="connsiteX4087" fmla="*/ 6696651 w 9586368"/>
              <a:gd name="connsiteY4087" fmla="*/ 3593716 h 6479439"/>
              <a:gd name="connsiteX4088" fmla="*/ 6461356 w 9586368"/>
              <a:gd name="connsiteY4088" fmla="*/ 3589677 h 6479439"/>
              <a:gd name="connsiteX4089" fmla="*/ 6471266 w 9586368"/>
              <a:gd name="connsiteY4089" fmla="*/ 3589677 h 6479439"/>
              <a:gd name="connsiteX4090" fmla="*/ 6475285 w 9586368"/>
              <a:gd name="connsiteY4090" fmla="*/ 3593716 h 6479439"/>
              <a:gd name="connsiteX4091" fmla="*/ 6475285 w 9586368"/>
              <a:gd name="connsiteY4091" fmla="*/ 3603586 h 6479439"/>
              <a:gd name="connsiteX4092" fmla="*/ 6471266 w 9586368"/>
              <a:gd name="connsiteY4092" fmla="*/ 3607625 h 6479439"/>
              <a:gd name="connsiteX4093" fmla="*/ 6461356 w 9586368"/>
              <a:gd name="connsiteY4093" fmla="*/ 3607625 h 6479439"/>
              <a:gd name="connsiteX4094" fmla="*/ 6457337 w 9586368"/>
              <a:gd name="connsiteY4094" fmla="*/ 3603586 h 6479439"/>
              <a:gd name="connsiteX4095" fmla="*/ 6457337 w 9586368"/>
              <a:gd name="connsiteY4095" fmla="*/ 3593716 h 6479439"/>
              <a:gd name="connsiteX4096" fmla="*/ 6222042 w 9586368"/>
              <a:gd name="connsiteY4096" fmla="*/ 3589677 h 6479439"/>
              <a:gd name="connsiteX4097" fmla="*/ 6231952 w 9586368"/>
              <a:gd name="connsiteY4097" fmla="*/ 3589677 h 6479439"/>
              <a:gd name="connsiteX4098" fmla="*/ 6235971 w 9586368"/>
              <a:gd name="connsiteY4098" fmla="*/ 3593716 h 6479439"/>
              <a:gd name="connsiteX4099" fmla="*/ 6235971 w 9586368"/>
              <a:gd name="connsiteY4099" fmla="*/ 3603586 h 6479439"/>
              <a:gd name="connsiteX4100" fmla="*/ 6231952 w 9586368"/>
              <a:gd name="connsiteY4100" fmla="*/ 3607625 h 6479439"/>
              <a:gd name="connsiteX4101" fmla="*/ 6222042 w 9586368"/>
              <a:gd name="connsiteY4101" fmla="*/ 3607625 h 6479439"/>
              <a:gd name="connsiteX4102" fmla="*/ 6218023 w 9586368"/>
              <a:gd name="connsiteY4102" fmla="*/ 3603586 h 6479439"/>
              <a:gd name="connsiteX4103" fmla="*/ 6218023 w 9586368"/>
              <a:gd name="connsiteY4103" fmla="*/ 3593716 h 6479439"/>
              <a:gd name="connsiteX4104" fmla="*/ 5982729 w 9586368"/>
              <a:gd name="connsiteY4104" fmla="*/ 3589677 h 6479439"/>
              <a:gd name="connsiteX4105" fmla="*/ 5992639 w 9586368"/>
              <a:gd name="connsiteY4105" fmla="*/ 3589677 h 6479439"/>
              <a:gd name="connsiteX4106" fmla="*/ 5996658 w 9586368"/>
              <a:gd name="connsiteY4106" fmla="*/ 3593716 h 6479439"/>
              <a:gd name="connsiteX4107" fmla="*/ 5996658 w 9586368"/>
              <a:gd name="connsiteY4107" fmla="*/ 3603586 h 6479439"/>
              <a:gd name="connsiteX4108" fmla="*/ 5992639 w 9586368"/>
              <a:gd name="connsiteY4108" fmla="*/ 3607625 h 6479439"/>
              <a:gd name="connsiteX4109" fmla="*/ 5982729 w 9586368"/>
              <a:gd name="connsiteY4109" fmla="*/ 3607625 h 6479439"/>
              <a:gd name="connsiteX4110" fmla="*/ 5978710 w 9586368"/>
              <a:gd name="connsiteY4110" fmla="*/ 3603586 h 6479439"/>
              <a:gd name="connsiteX4111" fmla="*/ 5978710 w 9586368"/>
              <a:gd name="connsiteY4111" fmla="*/ 3593716 h 6479439"/>
              <a:gd name="connsiteX4112" fmla="*/ 5743412 w 9586368"/>
              <a:gd name="connsiteY4112" fmla="*/ 3589677 h 6479439"/>
              <a:gd name="connsiteX4113" fmla="*/ 5753323 w 9586368"/>
              <a:gd name="connsiteY4113" fmla="*/ 3589677 h 6479439"/>
              <a:gd name="connsiteX4114" fmla="*/ 5757342 w 9586368"/>
              <a:gd name="connsiteY4114" fmla="*/ 3593716 h 6479439"/>
              <a:gd name="connsiteX4115" fmla="*/ 5757342 w 9586368"/>
              <a:gd name="connsiteY4115" fmla="*/ 3603586 h 6479439"/>
              <a:gd name="connsiteX4116" fmla="*/ 5753323 w 9586368"/>
              <a:gd name="connsiteY4116" fmla="*/ 3607625 h 6479439"/>
              <a:gd name="connsiteX4117" fmla="*/ 5743412 w 9586368"/>
              <a:gd name="connsiteY4117" fmla="*/ 3607625 h 6479439"/>
              <a:gd name="connsiteX4118" fmla="*/ 5739393 w 9586368"/>
              <a:gd name="connsiteY4118" fmla="*/ 3603586 h 6479439"/>
              <a:gd name="connsiteX4119" fmla="*/ 5739393 w 9586368"/>
              <a:gd name="connsiteY4119" fmla="*/ 3593716 h 6479439"/>
              <a:gd name="connsiteX4120" fmla="*/ 5504099 w 9586368"/>
              <a:gd name="connsiteY4120" fmla="*/ 3589677 h 6479439"/>
              <a:gd name="connsiteX4121" fmla="*/ 5514010 w 9586368"/>
              <a:gd name="connsiteY4121" fmla="*/ 3589677 h 6479439"/>
              <a:gd name="connsiteX4122" fmla="*/ 5518029 w 9586368"/>
              <a:gd name="connsiteY4122" fmla="*/ 3593716 h 6479439"/>
              <a:gd name="connsiteX4123" fmla="*/ 5518029 w 9586368"/>
              <a:gd name="connsiteY4123" fmla="*/ 3603586 h 6479439"/>
              <a:gd name="connsiteX4124" fmla="*/ 5514010 w 9586368"/>
              <a:gd name="connsiteY4124" fmla="*/ 3607625 h 6479439"/>
              <a:gd name="connsiteX4125" fmla="*/ 5504099 w 9586368"/>
              <a:gd name="connsiteY4125" fmla="*/ 3607625 h 6479439"/>
              <a:gd name="connsiteX4126" fmla="*/ 5500080 w 9586368"/>
              <a:gd name="connsiteY4126" fmla="*/ 3603586 h 6479439"/>
              <a:gd name="connsiteX4127" fmla="*/ 5500080 w 9586368"/>
              <a:gd name="connsiteY4127" fmla="*/ 3593716 h 6479439"/>
              <a:gd name="connsiteX4128" fmla="*/ 5264784 w 9586368"/>
              <a:gd name="connsiteY4128" fmla="*/ 3589677 h 6479439"/>
              <a:gd name="connsiteX4129" fmla="*/ 5274694 w 9586368"/>
              <a:gd name="connsiteY4129" fmla="*/ 3589677 h 6479439"/>
              <a:gd name="connsiteX4130" fmla="*/ 5278713 w 9586368"/>
              <a:gd name="connsiteY4130" fmla="*/ 3593716 h 6479439"/>
              <a:gd name="connsiteX4131" fmla="*/ 5278713 w 9586368"/>
              <a:gd name="connsiteY4131" fmla="*/ 3603586 h 6479439"/>
              <a:gd name="connsiteX4132" fmla="*/ 5274694 w 9586368"/>
              <a:gd name="connsiteY4132" fmla="*/ 3607625 h 6479439"/>
              <a:gd name="connsiteX4133" fmla="*/ 5264784 w 9586368"/>
              <a:gd name="connsiteY4133" fmla="*/ 3607625 h 6479439"/>
              <a:gd name="connsiteX4134" fmla="*/ 5260765 w 9586368"/>
              <a:gd name="connsiteY4134" fmla="*/ 3603586 h 6479439"/>
              <a:gd name="connsiteX4135" fmla="*/ 5260765 w 9586368"/>
              <a:gd name="connsiteY4135" fmla="*/ 3593716 h 6479439"/>
              <a:gd name="connsiteX4136" fmla="*/ 5025470 w 9586368"/>
              <a:gd name="connsiteY4136" fmla="*/ 3589677 h 6479439"/>
              <a:gd name="connsiteX4137" fmla="*/ 5035381 w 9586368"/>
              <a:gd name="connsiteY4137" fmla="*/ 3589677 h 6479439"/>
              <a:gd name="connsiteX4138" fmla="*/ 5039400 w 9586368"/>
              <a:gd name="connsiteY4138" fmla="*/ 3593716 h 6479439"/>
              <a:gd name="connsiteX4139" fmla="*/ 5039400 w 9586368"/>
              <a:gd name="connsiteY4139" fmla="*/ 3603586 h 6479439"/>
              <a:gd name="connsiteX4140" fmla="*/ 5035381 w 9586368"/>
              <a:gd name="connsiteY4140" fmla="*/ 3607625 h 6479439"/>
              <a:gd name="connsiteX4141" fmla="*/ 5025470 w 9586368"/>
              <a:gd name="connsiteY4141" fmla="*/ 3607625 h 6479439"/>
              <a:gd name="connsiteX4142" fmla="*/ 5021451 w 9586368"/>
              <a:gd name="connsiteY4142" fmla="*/ 3603586 h 6479439"/>
              <a:gd name="connsiteX4143" fmla="*/ 5021451 w 9586368"/>
              <a:gd name="connsiteY4143" fmla="*/ 3593716 h 6479439"/>
              <a:gd name="connsiteX4144" fmla="*/ 4786241 w 9586368"/>
              <a:gd name="connsiteY4144" fmla="*/ 3589677 h 6479439"/>
              <a:gd name="connsiteX4145" fmla="*/ 4796152 w 9586368"/>
              <a:gd name="connsiteY4145" fmla="*/ 3589677 h 6479439"/>
              <a:gd name="connsiteX4146" fmla="*/ 4800171 w 9586368"/>
              <a:gd name="connsiteY4146" fmla="*/ 3593716 h 6479439"/>
              <a:gd name="connsiteX4147" fmla="*/ 4800171 w 9586368"/>
              <a:gd name="connsiteY4147" fmla="*/ 3603586 h 6479439"/>
              <a:gd name="connsiteX4148" fmla="*/ 4796152 w 9586368"/>
              <a:gd name="connsiteY4148" fmla="*/ 3607625 h 6479439"/>
              <a:gd name="connsiteX4149" fmla="*/ 4786241 w 9586368"/>
              <a:gd name="connsiteY4149" fmla="*/ 3607625 h 6479439"/>
              <a:gd name="connsiteX4150" fmla="*/ 4782224 w 9586368"/>
              <a:gd name="connsiteY4150" fmla="*/ 3603586 h 6479439"/>
              <a:gd name="connsiteX4151" fmla="*/ 4782224 w 9586368"/>
              <a:gd name="connsiteY4151" fmla="*/ 3593716 h 6479439"/>
              <a:gd name="connsiteX4152" fmla="*/ 4546929 w 9586368"/>
              <a:gd name="connsiteY4152" fmla="*/ 3589677 h 6479439"/>
              <a:gd name="connsiteX4153" fmla="*/ 4556840 w 9586368"/>
              <a:gd name="connsiteY4153" fmla="*/ 3589677 h 6479439"/>
              <a:gd name="connsiteX4154" fmla="*/ 4560859 w 9586368"/>
              <a:gd name="connsiteY4154" fmla="*/ 3593716 h 6479439"/>
              <a:gd name="connsiteX4155" fmla="*/ 4560859 w 9586368"/>
              <a:gd name="connsiteY4155" fmla="*/ 3603586 h 6479439"/>
              <a:gd name="connsiteX4156" fmla="*/ 4556840 w 9586368"/>
              <a:gd name="connsiteY4156" fmla="*/ 3607625 h 6479439"/>
              <a:gd name="connsiteX4157" fmla="*/ 4546929 w 9586368"/>
              <a:gd name="connsiteY4157" fmla="*/ 3607625 h 6479439"/>
              <a:gd name="connsiteX4158" fmla="*/ 4542910 w 9586368"/>
              <a:gd name="connsiteY4158" fmla="*/ 3603586 h 6479439"/>
              <a:gd name="connsiteX4159" fmla="*/ 4542910 w 9586368"/>
              <a:gd name="connsiteY4159" fmla="*/ 3593716 h 6479439"/>
              <a:gd name="connsiteX4160" fmla="*/ 4307612 w 9586368"/>
              <a:gd name="connsiteY4160" fmla="*/ 3589677 h 6479439"/>
              <a:gd name="connsiteX4161" fmla="*/ 4317523 w 9586368"/>
              <a:gd name="connsiteY4161" fmla="*/ 3589677 h 6479439"/>
              <a:gd name="connsiteX4162" fmla="*/ 4321543 w 9586368"/>
              <a:gd name="connsiteY4162" fmla="*/ 3593716 h 6479439"/>
              <a:gd name="connsiteX4163" fmla="*/ 4321543 w 9586368"/>
              <a:gd name="connsiteY4163" fmla="*/ 3603586 h 6479439"/>
              <a:gd name="connsiteX4164" fmla="*/ 4317523 w 9586368"/>
              <a:gd name="connsiteY4164" fmla="*/ 3607625 h 6479439"/>
              <a:gd name="connsiteX4165" fmla="*/ 4307612 w 9586368"/>
              <a:gd name="connsiteY4165" fmla="*/ 3607625 h 6479439"/>
              <a:gd name="connsiteX4166" fmla="*/ 4303595 w 9586368"/>
              <a:gd name="connsiteY4166" fmla="*/ 3603586 h 6479439"/>
              <a:gd name="connsiteX4167" fmla="*/ 4303595 w 9586368"/>
              <a:gd name="connsiteY4167" fmla="*/ 3593716 h 6479439"/>
              <a:gd name="connsiteX4168" fmla="*/ 4068297 w 9586368"/>
              <a:gd name="connsiteY4168" fmla="*/ 3589677 h 6479439"/>
              <a:gd name="connsiteX4169" fmla="*/ 4078210 w 9586368"/>
              <a:gd name="connsiteY4169" fmla="*/ 3589677 h 6479439"/>
              <a:gd name="connsiteX4170" fmla="*/ 4082229 w 9586368"/>
              <a:gd name="connsiteY4170" fmla="*/ 3593716 h 6479439"/>
              <a:gd name="connsiteX4171" fmla="*/ 4082229 w 9586368"/>
              <a:gd name="connsiteY4171" fmla="*/ 3603586 h 6479439"/>
              <a:gd name="connsiteX4172" fmla="*/ 4078210 w 9586368"/>
              <a:gd name="connsiteY4172" fmla="*/ 3607625 h 6479439"/>
              <a:gd name="connsiteX4173" fmla="*/ 4068297 w 9586368"/>
              <a:gd name="connsiteY4173" fmla="*/ 3607625 h 6479439"/>
              <a:gd name="connsiteX4174" fmla="*/ 4064278 w 9586368"/>
              <a:gd name="connsiteY4174" fmla="*/ 3603586 h 6479439"/>
              <a:gd name="connsiteX4175" fmla="*/ 4064278 w 9586368"/>
              <a:gd name="connsiteY4175" fmla="*/ 3593716 h 6479439"/>
              <a:gd name="connsiteX4176" fmla="*/ 3828990 w 9586368"/>
              <a:gd name="connsiteY4176" fmla="*/ 3589677 h 6479439"/>
              <a:gd name="connsiteX4177" fmla="*/ 3838899 w 9586368"/>
              <a:gd name="connsiteY4177" fmla="*/ 3589677 h 6479439"/>
              <a:gd name="connsiteX4178" fmla="*/ 3842917 w 9586368"/>
              <a:gd name="connsiteY4178" fmla="*/ 3593716 h 6479439"/>
              <a:gd name="connsiteX4179" fmla="*/ 3842917 w 9586368"/>
              <a:gd name="connsiteY4179" fmla="*/ 3603586 h 6479439"/>
              <a:gd name="connsiteX4180" fmla="*/ 3838899 w 9586368"/>
              <a:gd name="connsiteY4180" fmla="*/ 3607625 h 6479439"/>
              <a:gd name="connsiteX4181" fmla="*/ 3828990 w 9586368"/>
              <a:gd name="connsiteY4181" fmla="*/ 3607625 h 6479439"/>
              <a:gd name="connsiteX4182" fmla="*/ 3824971 w 9586368"/>
              <a:gd name="connsiteY4182" fmla="*/ 3603586 h 6479439"/>
              <a:gd name="connsiteX4183" fmla="*/ 3824971 w 9586368"/>
              <a:gd name="connsiteY4183" fmla="*/ 3593716 h 6479439"/>
              <a:gd name="connsiteX4184" fmla="*/ 3589676 w 9586368"/>
              <a:gd name="connsiteY4184" fmla="*/ 3589677 h 6479439"/>
              <a:gd name="connsiteX4185" fmla="*/ 3599585 w 9586368"/>
              <a:gd name="connsiteY4185" fmla="*/ 3589677 h 6479439"/>
              <a:gd name="connsiteX4186" fmla="*/ 3603604 w 9586368"/>
              <a:gd name="connsiteY4186" fmla="*/ 3593716 h 6479439"/>
              <a:gd name="connsiteX4187" fmla="*/ 3603604 w 9586368"/>
              <a:gd name="connsiteY4187" fmla="*/ 3603586 h 6479439"/>
              <a:gd name="connsiteX4188" fmla="*/ 3599585 w 9586368"/>
              <a:gd name="connsiteY4188" fmla="*/ 3607625 h 6479439"/>
              <a:gd name="connsiteX4189" fmla="*/ 3589676 w 9586368"/>
              <a:gd name="connsiteY4189" fmla="*/ 3607625 h 6479439"/>
              <a:gd name="connsiteX4190" fmla="*/ 3585657 w 9586368"/>
              <a:gd name="connsiteY4190" fmla="*/ 3603586 h 6479439"/>
              <a:gd name="connsiteX4191" fmla="*/ 3585657 w 9586368"/>
              <a:gd name="connsiteY4191" fmla="*/ 3593716 h 6479439"/>
              <a:gd name="connsiteX4192" fmla="*/ 3350359 w 9586368"/>
              <a:gd name="connsiteY4192" fmla="*/ 3589677 h 6479439"/>
              <a:gd name="connsiteX4193" fmla="*/ 3360268 w 9586368"/>
              <a:gd name="connsiteY4193" fmla="*/ 3589677 h 6479439"/>
              <a:gd name="connsiteX4194" fmla="*/ 3364287 w 9586368"/>
              <a:gd name="connsiteY4194" fmla="*/ 3593716 h 6479439"/>
              <a:gd name="connsiteX4195" fmla="*/ 3364287 w 9586368"/>
              <a:gd name="connsiteY4195" fmla="*/ 3603586 h 6479439"/>
              <a:gd name="connsiteX4196" fmla="*/ 3360268 w 9586368"/>
              <a:gd name="connsiteY4196" fmla="*/ 3607625 h 6479439"/>
              <a:gd name="connsiteX4197" fmla="*/ 3350359 w 9586368"/>
              <a:gd name="connsiteY4197" fmla="*/ 3607625 h 6479439"/>
              <a:gd name="connsiteX4198" fmla="*/ 3346340 w 9586368"/>
              <a:gd name="connsiteY4198" fmla="*/ 3603586 h 6479439"/>
              <a:gd name="connsiteX4199" fmla="*/ 3346340 w 9586368"/>
              <a:gd name="connsiteY4199" fmla="*/ 3593716 h 6479439"/>
              <a:gd name="connsiteX4200" fmla="*/ 3111048 w 9586368"/>
              <a:gd name="connsiteY4200" fmla="*/ 3589677 h 6479439"/>
              <a:gd name="connsiteX4201" fmla="*/ 3120959 w 9586368"/>
              <a:gd name="connsiteY4201" fmla="*/ 3589677 h 6479439"/>
              <a:gd name="connsiteX4202" fmla="*/ 3124977 w 9586368"/>
              <a:gd name="connsiteY4202" fmla="*/ 3593716 h 6479439"/>
              <a:gd name="connsiteX4203" fmla="*/ 3124977 w 9586368"/>
              <a:gd name="connsiteY4203" fmla="*/ 3603586 h 6479439"/>
              <a:gd name="connsiteX4204" fmla="*/ 3120959 w 9586368"/>
              <a:gd name="connsiteY4204" fmla="*/ 3607625 h 6479439"/>
              <a:gd name="connsiteX4205" fmla="*/ 3111048 w 9586368"/>
              <a:gd name="connsiteY4205" fmla="*/ 3607625 h 6479439"/>
              <a:gd name="connsiteX4206" fmla="*/ 3107029 w 9586368"/>
              <a:gd name="connsiteY4206" fmla="*/ 3603586 h 6479439"/>
              <a:gd name="connsiteX4207" fmla="*/ 3107029 w 9586368"/>
              <a:gd name="connsiteY4207" fmla="*/ 3593716 h 6479439"/>
              <a:gd name="connsiteX4208" fmla="*/ 2871737 w 9586368"/>
              <a:gd name="connsiteY4208" fmla="*/ 3589677 h 6479439"/>
              <a:gd name="connsiteX4209" fmla="*/ 2881646 w 9586368"/>
              <a:gd name="connsiteY4209" fmla="*/ 3589677 h 6479439"/>
              <a:gd name="connsiteX4210" fmla="*/ 2885666 w 9586368"/>
              <a:gd name="connsiteY4210" fmla="*/ 3593716 h 6479439"/>
              <a:gd name="connsiteX4211" fmla="*/ 2885666 w 9586368"/>
              <a:gd name="connsiteY4211" fmla="*/ 3603586 h 6479439"/>
              <a:gd name="connsiteX4212" fmla="*/ 2881646 w 9586368"/>
              <a:gd name="connsiteY4212" fmla="*/ 3607625 h 6479439"/>
              <a:gd name="connsiteX4213" fmla="*/ 2871737 w 9586368"/>
              <a:gd name="connsiteY4213" fmla="*/ 3607625 h 6479439"/>
              <a:gd name="connsiteX4214" fmla="*/ 2867717 w 9586368"/>
              <a:gd name="connsiteY4214" fmla="*/ 3603586 h 6479439"/>
              <a:gd name="connsiteX4215" fmla="*/ 2867717 w 9586368"/>
              <a:gd name="connsiteY4215" fmla="*/ 3593716 h 6479439"/>
              <a:gd name="connsiteX4216" fmla="*/ 2632423 w 9586368"/>
              <a:gd name="connsiteY4216" fmla="*/ 3589677 h 6479439"/>
              <a:gd name="connsiteX4217" fmla="*/ 2642334 w 9586368"/>
              <a:gd name="connsiteY4217" fmla="*/ 3589677 h 6479439"/>
              <a:gd name="connsiteX4218" fmla="*/ 2646352 w 9586368"/>
              <a:gd name="connsiteY4218" fmla="*/ 3593716 h 6479439"/>
              <a:gd name="connsiteX4219" fmla="*/ 2646352 w 9586368"/>
              <a:gd name="connsiteY4219" fmla="*/ 3603586 h 6479439"/>
              <a:gd name="connsiteX4220" fmla="*/ 2642334 w 9586368"/>
              <a:gd name="connsiteY4220" fmla="*/ 3607625 h 6479439"/>
              <a:gd name="connsiteX4221" fmla="*/ 2632423 w 9586368"/>
              <a:gd name="connsiteY4221" fmla="*/ 3607625 h 6479439"/>
              <a:gd name="connsiteX4222" fmla="*/ 2628404 w 9586368"/>
              <a:gd name="connsiteY4222" fmla="*/ 3603586 h 6479439"/>
              <a:gd name="connsiteX4223" fmla="*/ 2628404 w 9586368"/>
              <a:gd name="connsiteY4223" fmla="*/ 3593716 h 6479439"/>
              <a:gd name="connsiteX4224" fmla="*/ 2393104 w 9586368"/>
              <a:gd name="connsiteY4224" fmla="*/ 3589677 h 6479439"/>
              <a:gd name="connsiteX4225" fmla="*/ 2403015 w 9586368"/>
              <a:gd name="connsiteY4225" fmla="*/ 3589677 h 6479439"/>
              <a:gd name="connsiteX4226" fmla="*/ 2407034 w 9586368"/>
              <a:gd name="connsiteY4226" fmla="*/ 3593716 h 6479439"/>
              <a:gd name="connsiteX4227" fmla="*/ 2407034 w 9586368"/>
              <a:gd name="connsiteY4227" fmla="*/ 3603586 h 6479439"/>
              <a:gd name="connsiteX4228" fmla="*/ 2403015 w 9586368"/>
              <a:gd name="connsiteY4228" fmla="*/ 3607625 h 6479439"/>
              <a:gd name="connsiteX4229" fmla="*/ 2393104 w 9586368"/>
              <a:gd name="connsiteY4229" fmla="*/ 3607625 h 6479439"/>
              <a:gd name="connsiteX4230" fmla="*/ 2389087 w 9586368"/>
              <a:gd name="connsiteY4230" fmla="*/ 3603586 h 6479439"/>
              <a:gd name="connsiteX4231" fmla="*/ 2389087 w 9586368"/>
              <a:gd name="connsiteY4231" fmla="*/ 3593716 h 6479439"/>
              <a:gd name="connsiteX4232" fmla="*/ 721966 w 9586368"/>
              <a:gd name="connsiteY4232" fmla="*/ 3589677 h 6479439"/>
              <a:gd name="connsiteX4233" fmla="*/ 731877 w 9586368"/>
              <a:gd name="connsiteY4233" fmla="*/ 3589677 h 6479439"/>
              <a:gd name="connsiteX4234" fmla="*/ 735896 w 9586368"/>
              <a:gd name="connsiteY4234" fmla="*/ 3593716 h 6479439"/>
              <a:gd name="connsiteX4235" fmla="*/ 735896 w 9586368"/>
              <a:gd name="connsiteY4235" fmla="*/ 3603586 h 6479439"/>
              <a:gd name="connsiteX4236" fmla="*/ 731877 w 9586368"/>
              <a:gd name="connsiteY4236" fmla="*/ 3607625 h 6479439"/>
              <a:gd name="connsiteX4237" fmla="*/ 721966 w 9586368"/>
              <a:gd name="connsiteY4237" fmla="*/ 3607625 h 6479439"/>
              <a:gd name="connsiteX4238" fmla="*/ 717948 w 9586368"/>
              <a:gd name="connsiteY4238" fmla="*/ 3603586 h 6479439"/>
              <a:gd name="connsiteX4239" fmla="*/ 717948 w 9586368"/>
              <a:gd name="connsiteY4239" fmla="*/ 3593716 h 6479439"/>
              <a:gd name="connsiteX4240" fmla="*/ 482654 w 9586368"/>
              <a:gd name="connsiteY4240" fmla="*/ 3589677 h 6479439"/>
              <a:gd name="connsiteX4241" fmla="*/ 492565 w 9586368"/>
              <a:gd name="connsiteY4241" fmla="*/ 3589677 h 6479439"/>
              <a:gd name="connsiteX4242" fmla="*/ 496584 w 9586368"/>
              <a:gd name="connsiteY4242" fmla="*/ 3593716 h 6479439"/>
              <a:gd name="connsiteX4243" fmla="*/ 496584 w 9586368"/>
              <a:gd name="connsiteY4243" fmla="*/ 3603586 h 6479439"/>
              <a:gd name="connsiteX4244" fmla="*/ 492565 w 9586368"/>
              <a:gd name="connsiteY4244" fmla="*/ 3607625 h 6479439"/>
              <a:gd name="connsiteX4245" fmla="*/ 482654 w 9586368"/>
              <a:gd name="connsiteY4245" fmla="*/ 3607625 h 6479439"/>
              <a:gd name="connsiteX4246" fmla="*/ 478635 w 9586368"/>
              <a:gd name="connsiteY4246" fmla="*/ 3603586 h 6479439"/>
              <a:gd name="connsiteX4247" fmla="*/ 478635 w 9586368"/>
              <a:gd name="connsiteY4247" fmla="*/ 3593716 h 6479439"/>
              <a:gd name="connsiteX4248" fmla="*/ 243341 w 9586368"/>
              <a:gd name="connsiteY4248" fmla="*/ 3589677 h 6479439"/>
              <a:gd name="connsiteX4249" fmla="*/ 253251 w 9586368"/>
              <a:gd name="connsiteY4249" fmla="*/ 3589677 h 6479439"/>
              <a:gd name="connsiteX4250" fmla="*/ 257270 w 9586368"/>
              <a:gd name="connsiteY4250" fmla="*/ 3593716 h 6479439"/>
              <a:gd name="connsiteX4251" fmla="*/ 257270 w 9586368"/>
              <a:gd name="connsiteY4251" fmla="*/ 3603586 h 6479439"/>
              <a:gd name="connsiteX4252" fmla="*/ 253251 w 9586368"/>
              <a:gd name="connsiteY4252" fmla="*/ 3607625 h 6479439"/>
              <a:gd name="connsiteX4253" fmla="*/ 243341 w 9586368"/>
              <a:gd name="connsiteY4253" fmla="*/ 3607625 h 6479439"/>
              <a:gd name="connsiteX4254" fmla="*/ 239321 w 9586368"/>
              <a:gd name="connsiteY4254" fmla="*/ 3603586 h 6479439"/>
              <a:gd name="connsiteX4255" fmla="*/ 239321 w 9586368"/>
              <a:gd name="connsiteY4255" fmla="*/ 3593716 h 6479439"/>
              <a:gd name="connsiteX4256" fmla="*/ 4027 w 9586368"/>
              <a:gd name="connsiteY4256" fmla="*/ 3589677 h 6479439"/>
              <a:gd name="connsiteX4257" fmla="*/ 13938 w 9586368"/>
              <a:gd name="connsiteY4257" fmla="*/ 3589677 h 6479439"/>
              <a:gd name="connsiteX4258" fmla="*/ 17957 w 9586368"/>
              <a:gd name="connsiteY4258" fmla="*/ 3593716 h 6479439"/>
              <a:gd name="connsiteX4259" fmla="*/ 17957 w 9586368"/>
              <a:gd name="connsiteY4259" fmla="*/ 3603586 h 6479439"/>
              <a:gd name="connsiteX4260" fmla="*/ 13938 w 9586368"/>
              <a:gd name="connsiteY4260" fmla="*/ 3607625 h 6479439"/>
              <a:gd name="connsiteX4261" fmla="*/ 4027 w 9586368"/>
              <a:gd name="connsiteY4261" fmla="*/ 3607625 h 6479439"/>
              <a:gd name="connsiteX4262" fmla="*/ 8 w 9586368"/>
              <a:gd name="connsiteY4262" fmla="*/ 3603586 h 6479439"/>
              <a:gd name="connsiteX4263" fmla="*/ 8 w 9586368"/>
              <a:gd name="connsiteY4263" fmla="*/ 3593716 h 6479439"/>
              <a:gd name="connsiteX4264" fmla="*/ 9572438 w 9586368"/>
              <a:gd name="connsiteY4264" fmla="*/ 3350398 h 6479439"/>
              <a:gd name="connsiteX4265" fmla="*/ 9582349 w 9586368"/>
              <a:gd name="connsiteY4265" fmla="*/ 3350398 h 6479439"/>
              <a:gd name="connsiteX4266" fmla="*/ 9586368 w 9586368"/>
              <a:gd name="connsiteY4266" fmla="*/ 3354436 h 6479439"/>
              <a:gd name="connsiteX4267" fmla="*/ 9586368 w 9586368"/>
              <a:gd name="connsiteY4267" fmla="*/ 3364306 h 6479439"/>
              <a:gd name="connsiteX4268" fmla="*/ 9582349 w 9586368"/>
              <a:gd name="connsiteY4268" fmla="*/ 3368345 h 6479439"/>
              <a:gd name="connsiteX4269" fmla="*/ 9572438 w 9586368"/>
              <a:gd name="connsiteY4269" fmla="*/ 3368345 h 6479439"/>
              <a:gd name="connsiteX4270" fmla="*/ 9568419 w 9586368"/>
              <a:gd name="connsiteY4270" fmla="*/ 3364306 h 6479439"/>
              <a:gd name="connsiteX4271" fmla="*/ 9568419 w 9586368"/>
              <a:gd name="connsiteY4271" fmla="*/ 3354436 h 6479439"/>
              <a:gd name="connsiteX4272" fmla="*/ 9333125 w 9586368"/>
              <a:gd name="connsiteY4272" fmla="*/ 3350398 h 6479439"/>
              <a:gd name="connsiteX4273" fmla="*/ 9343036 w 9586368"/>
              <a:gd name="connsiteY4273" fmla="*/ 3350398 h 6479439"/>
              <a:gd name="connsiteX4274" fmla="*/ 9347055 w 9586368"/>
              <a:gd name="connsiteY4274" fmla="*/ 3354436 h 6479439"/>
              <a:gd name="connsiteX4275" fmla="*/ 9347055 w 9586368"/>
              <a:gd name="connsiteY4275" fmla="*/ 3364306 h 6479439"/>
              <a:gd name="connsiteX4276" fmla="*/ 9343036 w 9586368"/>
              <a:gd name="connsiteY4276" fmla="*/ 3368345 h 6479439"/>
              <a:gd name="connsiteX4277" fmla="*/ 9333125 w 9586368"/>
              <a:gd name="connsiteY4277" fmla="*/ 3368345 h 6479439"/>
              <a:gd name="connsiteX4278" fmla="*/ 9329106 w 9586368"/>
              <a:gd name="connsiteY4278" fmla="*/ 3364306 h 6479439"/>
              <a:gd name="connsiteX4279" fmla="*/ 9329106 w 9586368"/>
              <a:gd name="connsiteY4279" fmla="*/ 3354436 h 6479439"/>
              <a:gd name="connsiteX4280" fmla="*/ 9093811 w 9586368"/>
              <a:gd name="connsiteY4280" fmla="*/ 3350398 h 6479439"/>
              <a:gd name="connsiteX4281" fmla="*/ 9103722 w 9586368"/>
              <a:gd name="connsiteY4281" fmla="*/ 3350398 h 6479439"/>
              <a:gd name="connsiteX4282" fmla="*/ 9107741 w 9586368"/>
              <a:gd name="connsiteY4282" fmla="*/ 3354436 h 6479439"/>
              <a:gd name="connsiteX4283" fmla="*/ 9107741 w 9586368"/>
              <a:gd name="connsiteY4283" fmla="*/ 3364306 h 6479439"/>
              <a:gd name="connsiteX4284" fmla="*/ 9103722 w 9586368"/>
              <a:gd name="connsiteY4284" fmla="*/ 3368345 h 6479439"/>
              <a:gd name="connsiteX4285" fmla="*/ 9093811 w 9586368"/>
              <a:gd name="connsiteY4285" fmla="*/ 3368345 h 6479439"/>
              <a:gd name="connsiteX4286" fmla="*/ 9089792 w 9586368"/>
              <a:gd name="connsiteY4286" fmla="*/ 3364306 h 6479439"/>
              <a:gd name="connsiteX4287" fmla="*/ 9089792 w 9586368"/>
              <a:gd name="connsiteY4287" fmla="*/ 3354436 h 6479439"/>
              <a:gd name="connsiteX4288" fmla="*/ 8854496 w 9586368"/>
              <a:gd name="connsiteY4288" fmla="*/ 3350398 h 6479439"/>
              <a:gd name="connsiteX4289" fmla="*/ 8864407 w 9586368"/>
              <a:gd name="connsiteY4289" fmla="*/ 3350398 h 6479439"/>
              <a:gd name="connsiteX4290" fmla="*/ 8868426 w 9586368"/>
              <a:gd name="connsiteY4290" fmla="*/ 3354436 h 6479439"/>
              <a:gd name="connsiteX4291" fmla="*/ 8868426 w 9586368"/>
              <a:gd name="connsiteY4291" fmla="*/ 3364306 h 6479439"/>
              <a:gd name="connsiteX4292" fmla="*/ 8864407 w 9586368"/>
              <a:gd name="connsiteY4292" fmla="*/ 3368345 h 6479439"/>
              <a:gd name="connsiteX4293" fmla="*/ 8854496 w 9586368"/>
              <a:gd name="connsiteY4293" fmla="*/ 3368345 h 6479439"/>
              <a:gd name="connsiteX4294" fmla="*/ 8850477 w 9586368"/>
              <a:gd name="connsiteY4294" fmla="*/ 3364306 h 6479439"/>
              <a:gd name="connsiteX4295" fmla="*/ 8850477 w 9586368"/>
              <a:gd name="connsiteY4295" fmla="*/ 3354436 h 6479439"/>
              <a:gd name="connsiteX4296" fmla="*/ 8615184 w 9586368"/>
              <a:gd name="connsiteY4296" fmla="*/ 3350398 h 6479439"/>
              <a:gd name="connsiteX4297" fmla="*/ 8625095 w 9586368"/>
              <a:gd name="connsiteY4297" fmla="*/ 3350398 h 6479439"/>
              <a:gd name="connsiteX4298" fmla="*/ 8629114 w 9586368"/>
              <a:gd name="connsiteY4298" fmla="*/ 3354436 h 6479439"/>
              <a:gd name="connsiteX4299" fmla="*/ 8629114 w 9586368"/>
              <a:gd name="connsiteY4299" fmla="*/ 3364306 h 6479439"/>
              <a:gd name="connsiteX4300" fmla="*/ 8625095 w 9586368"/>
              <a:gd name="connsiteY4300" fmla="*/ 3368345 h 6479439"/>
              <a:gd name="connsiteX4301" fmla="*/ 8615184 w 9586368"/>
              <a:gd name="connsiteY4301" fmla="*/ 3368345 h 6479439"/>
              <a:gd name="connsiteX4302" fmla="*/ 8611165 w 9586368"/>
              <a:gd name="connsiteY4302" fmla="*/ 3364306 h 6479439"/>
              <a:gd name="connsiteX4303" fmla="*/ 8611165 w 9586368"/>
              <a:gd name="connsiteY4303" fmla="*/ 3354436 h 6479439"/>
              <a:gd name="connsiteX4304" fmla="*/ 8375869 w 9586368"/>
              <a:gd name="connsiteY4304" fmla="*/ 3350398 h 6479439"/>
              <a:gd name="connsiteX4305" fmla="*/ 8385779 w 9586368"/>
              <a:gd name="connsiteY4305" fmla="*/ 3350398 h 6479439"/>
              <a:gd name="connsiteX4306" fmla="*/ 8389799 w 9586368"/>
              <a:gd name="connsiteY4306" fmla="*/ 3354436 h 6479439"/>
              <a:gd name="connsiteX4307" fmla="*/ 8389799 w 9586368"/>
              <a:gd name="connsiteY4307" fmla="*/ 3364306 h 6479439"/>
              <a:gd name="connsiteX4308" fmla="*/ 8385779 w 9586368"/>
              <a:gd name="connsiteY4308" fmla="*/ 3368345 h 6479439"/>
              <a:gd name="connsiteX4309" fmla="*/ 8375869 w 9586368"/>
              <a:gd name="connsiteY4309" fmla="*/ 3368345 h 6479439"/>
              <a:gd name="connsiteX4310" fmla="*/ 8371850 w 9586368"/>
              <a:gd name="connsiteY4310" fmla="*/ 3364306 h 6479439"/>
              <a:gd name="connsiteX4311" fmla="*/ 8371850 w 9586368"/>
              <a:gd name="connsiteY4311" fmla="*/ 3354436 h 6479439"/>
              <a:gd name="connsiteX4312" fmla="*/ 8136553 w 9586368"/>
              <a:gd name="connsiteY4312" fmla="*/ 3350398 h 6479439"/>
              <a:gd name="connsiteX4313" fmla="*/ 8146464 w 9586368"/>
              <a:gd name="connsiteY4313" fmla="*/ 3350398 h 6479439"/>
              <a:gd name="connsiteX4314" fmla="*/ 8150483 w 9586368"/>
              <a:gd name="connsiteY4314" fmla="*/ 3354436 h 6479439"/>
              <a:gd name="connsiteX4315" fmla="*/ 8150483 w 9586368"/>
              <a:gd name="connsiteY4315" fmla="*/ 3364306 h 6479439"/>
              <a:gd name="connsiteX4316" fmla="*/ 8146464 w 9586368"/>
              <a:gd name="connsiteY4316" fmla="*/ 3368345 h 6479439"/>
              <a:gd name="connsiteX4317" fmla="*/ 8136553 w 9586368"/>
              <a:gd name="connsiteY4317" fmla="*/ 3368345 h 6479439"/>
              <a:gd name="connsiteX4318" fmla="*/ 8132534 w 9586368"/>
              <a:gd name="connsiteY4318" fmla="*/ 3364306 h 6479439"/>
              <a:gd name="connsiteX4319" fmla="*/ 8132534 w 9586368"/>
              <a:gd name="connsiteY4319" fmla="*/ 3354436 h 6479439"/>
              <a:gd name="connsiteX4320" fmla="*/ 7897241 w 9586368"/>
              <a:gd name="connsiteY4320" fmla="*/ 3350398 h 6479439"/>
              <a:gd name="connsiteX4321" fmla="*/ 7907151 w 9586368"/>
              <a:gd name="connsiteY4321" fmla="*/ 3350398 h 6479439"/>
              <a:gd name="connsiteX4322" fmla="*/ 7911170 w 9586368"/>
              <a:gd name="connsiteY4322" fmla="*/ 3354436 h 6479439"/>
              <a:gd name="connsiteX4323" fmla="*/ 7911170 w 9586368"/>
              <a:gd name="connsiteY4323" fmla="*/ 3364306 h 6479439"/>
              <a:gd name="connsiteX4324" fmla="*/ 7907151 w 9586368"/>
              <a:gd name="connsiteY4324" fmla="*/ 3368345 h 6479439"/>
              <a:gd name="connsiteX4325" fmla="*/ 7897241 w 9586368"/>
              <a:gd name="connsiteY4325" fmla="*/ 3368345 h 6479439"/>
              <a:gd name="connsiteX4326" fmla="*/ 7893222 w 9586368"/>
              <a:gd name="connsiteY4326" fmla="*/ 3364306 h 6479439"/>
              <a:gd name="connsiteX4327" fmla="*/ 7893222 w 9586368"/>
              <a:gd name="connsiteY4327" fmla="*/ 3354436 h 6479439"/>
              <a:gd name="connsiteX4328" fmla="*/ 7657926 w 9586368"/>
              <a:gd name="connsiteY4328" fmla="*/ 3350398 h 6479439"/>
              <a:gd name="connsiteX4329" fmla="*/ 7667836 w 9586368"/>
              <a:gd name="connsiteY4329" fmla="*/ 3350398 h 6479439"/>
              <a:gd name="connsiteX4330" fmla="*/ 7671855 w 9586368"/>
              <a:gd name="connsiteY4330" fmla="*/ 3354436 h 6479439"/>
              <a:gd name="connsiteX4331" fmla="*/ 7671855 w 9586368"/>
              <a:gd name="connsiteY4331" fmla="*/ 3364306 h 6479439"/>
              <a:gd name="connsiteX4332" fmla="*/ 7667836 w 9586368"/>
              <a:gd name="connsiteY4332" fmla="*/ 3368345 h 6479439"/>
              <a:gd name="connsiteX4333" fmla="*/ 7657926 w 9586368"/>
              <a:gd name="connsiteY4333" fmla="*/ 3368345 h 6479439"/>
              <a:gd name="connsiteX4334" fmla="*/ 7653906 w 9586368"/>
              <a:gd name="connsiteY4334" fmla="*/ 3364306 h 6479439"/>
              <a:gd name="connsiteX4335" fmla="*/ 7653906 w 9586368"/>
              <a:gd name="connsiteY4335" fmla="*/ 3354436 h 6479439"/>
              <a:gd name="connsiteX4336" fmla="*/ 7418611 w 9586368"/>
              <a:gd name="connsiteY4336" fmla="*/ 3350398 h 6479439"/>
              <a:gd name="connsiteX4337" fmla="*/ 7428521 w 9586368"/>
              <a:gd name="connsiteY4337" fmla="*/ 3350398 h 6479439"/>
              <a:gd name="connsiteX4338" fmla="*/ 7432540 w 9586368"/>
              <a:gd name="connsiteY4338" fmla="*/ 3354436 h 6479439"/>
              <a:gd name="connsiteX4339" fmla="*/ 7432540 w 9586368"/>
              <a:gd name="connsiteY4339" fmla="*/ 3364306 h 6479439"/>
              <a:gd name="connsiteX4340" fmla="*/ 7428521 w 9586368"/>
              <a:gd name="connsiteY4340" fmla="*/ 3368345 h 6479439"/>
              <a:gd name="connsiteX4341" fmla="*/ 7418611 w 9586368"/>
              <a:gd name="connsiteY4341" fmla="*/ 3368345 h 6479439"/>
              <a:gd name="connsiteX4342" fmla="*/ 7414592 w 9586368"/>
              <a:gd name="connsiteY4342" fmla="*/ 3364306 h 6479439"/>
              <a:gd name="connsiteX4343" fmla="*/ 7414592 w 9586368"/>
              <a:gd name="connsiteY4343" fmla="*/ 3354436 h 6479439"/>
              <a:gd name="connsiteX4344" fmla="*/ 7179298 w 9586368"/>
              <a:gd name="connsiteY4344" fmla="*/ 3350398 h 6479439"/>
              <a:gd name="connsiteX4345" fmla="*/ 7189209 w 9586368"/>
              <a:gd name="connsiteY4345" fmla="*/ 3350398 h 6479439"/>
              <a:gd name="connsiteX4346" fmla="*/ 7193228 w 9586368"/>
              <a:gd name="connsiteY4346" fmla="*/ 3354436 h 6479439"/>
              <a:gd name="connsiteX4347" fmla="*/ 7193228 w 9586368"/>
              <a:gd name="connsiteY4347" fmla="*/ 3364306 h 6479439"/>
              <a:gd name="connsiteX4348" fmla="*/ 7189209 w 9586368"/>
              <a:gd name="connsiteY4348" fmla="*/ 3368345 h 6479439"/>
              <a:gd name="connsiteX4349" fmla="*/ 7179298 w 9586368"/>
              <a:gd name="connsiteY4349" fmla="*/ 3368345 h 6479439"/>
              <a:gd name="connsiteX4350" fmla="*/ 7175279 w 9586368"/>
              <a:gd name="connsiteY4350" fmla="*/ 3364306 h 6479439"/>
              <a:gd name="connsiteX4351" fmla="*/ 7175279 w 9586368"/>
              <a:gd name="connsiteY4351" fmla="*/ 3354436 h 6479439"/>
              <a:gd name="connsiteX4352" fmla="*/ 6939983 w 9586368"/>
              <a:gd name="connsiteY4352" fmla="*/ 3350398 h 6479439"/>
              <a:gd name="connsiteX4353" fmla="*/ 6949894 w 9586368"/>
              <a:gd name="connsiteY4353" fmla="*/ 3350398 h 6479439"/>
              <a:gd name="connsiteX4354" fmla="*/ 6953913 w 9586368"/>
              <a:gd name="connsiteY4354" fmla="*/ 3354436 h 6479439"/>
              <a:gd name="connsiteX4355" fmla="*/ 6953913 w 9586368"/>
              <a:gd name="connsiteY4355" fmla="*/ 3364306 h 6479439"/>
              <a:gd name="connsiteX4356" fmla="*/ 6949894 w 9586368"/>
              <a:gd name="connsiteY4356" fmla="*/ 3368345 h 6479439"/>
              <a:gd name="connsiteX4357" fmla="*/ 6939983 w 9586368"/>
              <a:gd name="connsiteY4357" fmla="*/ 3368345 h 6479439"/>
              <a:gd name="connsiteX4358" fmla="*/ 6935964 w 9586368"/>
              <a:gd name="connsiteY4358" fmla="*/ 3364306 h 6479439"/>
              <a:gd name="connsiteX4359" fmla="*/ 6935964 w 9586368"/>
              <a:gd name="connsiteY4359" fmla="*/ 3354436 h 6479439"/>
              <a:gd name="connsiteX4360" fmla="*/ 6700670 w 9586368"/>
              <a:gd name="connsiteY4360" fmla="*/ 3350398 h 6479439"/>
              <a:gd name="connsiteX4361" fmla="*/ 6710581 w 9586368"/>
              <a:gd name="connsiteY4361" fmla="*/ 3350398 h 6479439"/>
              <a:gd name="connsiteX4362" fmla="*/ 6714600 w 9586368"/>
              <a:gd name="connsiteY4362" fmla="*/ 3354436 h 6479439"/>
              <a:gd name="connsiteX4363" fmla="*/ 6714600 w 9586368"/>
              <a:gd name="connsiteY4363" fmla="*/ 3364306 h 6479439"/>
              <a:gd name="connsiteX4364" fmla="*/ 6710581 w 9586368"/>
              <a:gd name="connsiteY4364" fmla="*/ 3368345 h 6479439"/>
              <a:gd name="connsiteX4365" fmla="*/ 6700670 w 9586368"/>
              <a:gd name="connsiteY4365" fmla="*/ 3368345 h 6479439"/>
              <a:gd name="connsiteX4366" fmla="*/ 6696651 w 9586368"/>
              <a:gd name="connsiteY4366" fmla="*/ 3364306 h 6479439"/>
              <a:gd name="connsiteX4367" fmla="*/ 6696651 w 9586368"/>
              <a:gd name="connsiteY4367" fmla="*/ 3354436 h 6479439"/>
              <a:gd name="connsiteX4368" fmla="*/ 6461356 w 9586368"/>
              <a:gd name="connsiteY4368" fmla="*/ 3350398 h 6479439"/>
              <a:gd name="connsiteX4369" fmla="*/ 6471266 w 9586368"/>
              <a:gd name="connsiteY4369" fmla="*/ 3350398 h 6479439"/>
              <a:gd name="connsiteX4370" fmla="*/ 6475285 w 9586368"/>
              <a:gd name="connsiteY4370" fmla="*/ 3354436 h 6479439"/>
              <a:gd name="connsiteX4371" fmla="*/ 6475285 w 9586368"/>
              <a:gd name="connsiteY4371" fmla="*/ 3364306 h 6479439"/>
              <a:gd name="connsiteX4372" fmla="*/ 6471266 w 9586368"/>
              <a:gd name="connsiteY4372" fmla="*/ 3368345 h 6479439"/>
              <a:gd name="connsiteX4373" fmla="*/ 6461356 w 9586368"/>
              <a:gd name="connsiteY4373" fmla="*/ 3368345 h 6479439"/>
              <a:gd name="connsiteX4374" fmla="*/ 6457337 w 9586368"/>
              <a:gd name="connsiteY4374" fmla="*/ 3364306 h 6479439"/>
              <a:gd name="connsiteX4375" fmla="*/ 6457337 w 9586368"/>
              <a:gd name="connsiteY4375" fmla="*/ 3354436 h 6479439"/>
              <a:gd name="connsiteX4376" fmla="*/ 6222042 w 9586368"/>
              <a:gd name="connsiteY4376" fmla="*/ 3350398 h 6479439"/>
              <a:gd name="connsiteX4377" fmla="*/ 6231952 w 9586368"/>
              <a:gd name="connsiteY4377" fmla="*/ 3350398 h 6479439"/>
              <a:gd name="connsiteX4378" fmla="*/ 6235971 w 9586368"/>
              <a:gd name="connsiteY4378" fmla="*/ 3354436 h 6479439"/>
              <a:gd name="connsiteX4379" fmla="*/ 6235971 w 9586368"/>
              <a:gd name="connsiteY4379" fmla="*/ 3364306 h 6479439"/>
              <a:gd name="connsiteX4380" fmla="*/ 6231952 w 9586368"/>
              <a:gd name="connsiteY4380" fmla="*/ 3368345 h 6479439"/>
              <a:gd name="connsiteX4381" fmla="*/ 6222042 w 9586368"/>
              <a:gd name="connsiteY4381" fmla="*/ 3368345 h 6479439"/>
              <a:gd name="connsiteX4382" fmla="*/ 6218023 w 9586368"/>
              <a:gd name="connsiteY4382" fmla="*/ 3364306 h 6479439"/>
              <a:gd name="connsiteX4383" fmla="*/ 6218023 w 9586368"/>
              <a:gd name="connsiteY4383" fmla="*/ 3354436 h 6479439"/>
              <a:gd name="connsiteX4384" fmla="*/ 5982729 w 9586368"/>
              <a:gd name="connsiteY4384" fmla="*/ 3350398 h 6479439"/>
              <a:gd name="connsiteX4385" fmla="*/ 5992639 w 9586368"/>
              <a:gd name="connsiteY4385" fmla="*/ 3350398 h 6479439"/>
              <a:gd name="connsiteX4386" fmla="*/ 5996658 w 9586368"/>
              <a:gd name="connsiteY4386" fmla="*/ 3354436 h 6479439"/>
              <a:gd name="connsiteX4387" fmla="*/ 5996658 w 9586368"/>
              <a:gd name="connsiteY4387" fmla="*/ 3364306 h 6479439"/>
              <a:gd name="connsiteX4388" fmla="*/ 5992639 w 9586368"/>
              <a:gd name="connsiteY4388" fmla="*/ 3368345 h 6479439"/>
              <a:gd name="connsiteX4389" fmla="*/ 5982729 w 9586368"/>
              <a:gd name="connsiteY4389" fmla="*/ 3368345 h 6479439"/>
              <a:gd name="connsiteX4390" fmla="*/ 5978710 w 9586368"/>
              <a:gd name="connsiteY4390" fmla="*/ 3364306 h 6479439"/>
              <a:gd name="connsiteX4391" fmla="*/ 5978710 w 9586368"/>
              <a:gd name="connsiteY4391" fmla="*/ 3354436 h 6479439"/>
              <a:gd name="connsiteX4392" fmla="*/ 5743412 w 9586368"/>
              <a:gd name="connsiteY4392" fmla="*/ 3350398 h 6479439"/>
              <a:gd name="connsiteX4393" fmla="*/ 5753323 w 9586368"/>
              <a:gd name="connsiteY4393" fmla="*/ 3350398 h 6479439"/>
              <a:gd name="connsiteX4394" fmla="*/ 5757342 w 9586368"/>
              <a:gd name="connsiteY4394" fmla="*/ 3354436 h 6479439"/>
              <a:gd name="connsiteX4395" fmla="*/ 5757342 w 9586368"/>
              <a:gd name="connsiteY4395" fmla="*/ 3364306 h 6479439"/>
              <a:gd name="connsiteX4396" fmla="*/ 5753323 w 9586368"/>
              <a:gd name="connsiteY4396" fmla="*/ 3368345 h 6479439"/>
              <a:gd name="connsiteX4397" fmla="*/ 5743412 w 9586368"/>
              <a:gd name="connsiteY4397" fmla="*/ 3368345 h 6479439"/>
              <a:gd name="connsiteX4398" fmla="*/ 5739393 w 9586368"/>
              <a:gd name="connsiteY4398" fmla="*/ 3364306 h 6479439"/>
              <a:gd name="connsiteX4399" fmla="*/ 5739393 w 9586368"/>
              <a:gd name="connsiteY4399" fmla="*/ 3354436 h 6479439"/>
              <a:gd name="connsiteX4400" fmla="*/ 5504099 w 9586368"/>
              <a:gd name="connsiteY4400" fmla="*/ 3350398 h 6479439"/>
              <a:gd name="connsiteX4401" fmla="*/ 5514010 w 9586368"/>
              <a:gd name="connsiteY4401" fmla="*/ 3350398 h 6479439"/>
              <a:gd name="connsiteX4402" fmla="*/ 5518029 w 9586368"/>
              <a:gd name="connsiteY4402" fmla="*/ 3354436 h 6479439"/>
              <a:gd name="connsiteX4403" fmla="*/ 5518029 w 9586368"/>
              <a:gd name="connsiteY4403" fmla="*/ 3364306 h 6479439"/>
              <a:gd name="connsiteX4404" fmla="*/ 5514010 w 9586368"/>
              <a:gd name="connsiteY4404" fmla="*/ 3368345 h 6479439"/>
              <a:gd name="connsiteX4405" fmla="*/ 5504099 w 9586368"/>
              <a:gd name="connsiteY4405" fmla="*/ 3368345 h 6479439"/>
              <a:gd name="connsiteX4406" fmla="*/ 5500080 w 9586368"/>
              <a:gd name="connsiteY4406" fmla="*/ 3364306 h 6479439"/>
              <a:gd name="connsiteX4407" fmla="*/ 5500080 w 9586368"/>
              <a:gd name="connsiteY4407" fmla="*/ 3354436 h 6479439"/>
              <a:gd name="connsiteX4408" fmla="*/ 5264784 w 9586368"/>
              <a:gd name="connsiteY4408" fmla="*/ 3350398 h 6479439"/>
              <a:gd name="connsiteX4409" fmla="*/ 5274694 w 9586368"/>
              <a:gd name="connsiteY4409" fmla="*/ 3350398 h 6479439"/>
              <a:gd name="connsiteX4410" fmla="*/ 5278713 w 9586368"/>
              <a:gd name="connsiteY4410" fmla="*/ 3354436 h 6479439"/>
              <a:gd name="connsiteX4411" fmla="*/ 5278713 w 9586368"/>
              <a:gd name="connsiteY4411" fmla="*/ 3364306 h 6479439"/>
              <a:gd name="connsiteX4412" fmla="*/ 5274694 w 9586368"/>
              <a:gd name="connsiteY4412" fmla="*/ 3368345 h 6479439"/>
              <a:gd name="connsiteX4413" fmla="*/ 5264784 w 9586368"/>
              <a:gd name="connsiteY4413" fmla="*/ 3368345 h 6479439"/>
              <a:gd name="connsiteX4414" fmla="*/ 5260765 w 9586368"/>
              <a:gd name="connsiteY4414" fmla="*/ 3364306 h 6479439"/>
              <a:gd name="connsiteX4415" fmla="*/ 5260765 w 9586368"/>
              <a:gd name="connsiteY4415" fmla="*/ 3354436 h 6479439"/>
              <a:gd name="connsiteX4416" fmla="*/ 5025470 w 9586368"/>
              <a:gd name="connsiteY4416" fmla="*/ 3350398 h 6479439"/>
              <a:gd name="connsiteX4417" fmla="*/ 5035381 w 9586368"/>
              <a:gd name="connsiteY4417" fmla="*/ 3350398 h 6479439"/>
              <a:gd name="connsiteX4418" fmla="*/ 5039400 w 9586368"/>
              <a:gd name="connsiteY4418" fmla="*/ 3354436 h 6479439"/>
              <a:gd name="connsiteX4419" fmla="*/ 5039400 w 9586368"/>
              <a:gd name="connsiteY4419" fmla="*/ 3364306 h 6479439"/>
              <a:gd name="connsiteX4420" fmla="*/ 5035381 w 9586368"/>
              <a:gd name="connsiteY4420" fmla="*/ 3368345 h 6479439"/>
              <a:gd name="connsiteX4421" fmla="*/ 5025470 w 9586368"/>
              <a:gd name="connsiteY4421" fmla="*/ 3368345 h 6479439"/>
              <a:gd name="connsiteX4422" fmla="*/ 5021451 w 9586368"/>
              <a:gd name="connsiteY4422" fmla="*/ 3364306 h 6479439"/>
              <a:gd name="connsiteX4423" fmla="*/ 5021451 w 9586368"/>
              <a:gd name="connsiteY4423" fmla="*/ 3354436 h 6479439"/>
              <a:gd name="connsiteX4424" fmla="*/ 4786241 w 9586368"/>
              <a:gd name="connsiteY4424" fmla="*/ 3350398 h 6479439"/>
              <a:gd name="connsiteX4425" fmla="*/ 4796152 w 9586368"/>
              <a:gd name="connsiteY4425" fmla="*/ 3350398 h 6479439"/>
              <a:gd name="connsiteX4426" fmla="*/ 4800171 w 9586368"/>
              <a:gd name="connsiteY4426" fmla="*/ 3354436 h 6479439"/>
              <a:gd name="connsiteX4427" fmla="*/ 4800171 w 9586368"/>
              <a:gd name="connsiteY4427" fmla="*/ 3364306 h 6479439"/>
              <a:gd name="connsiteX4428" fmla="*/ 4796152 w 9586368"/>
              <a:gd name="connsiteY4428" fmla="*/ 3368345 h 6479439"/>
              <a:gd name="connsiteX4429" fmla="*/ 4786241 w 9586368"/>
              <a:gd name="connsiteY4429" fmla="*/ 3368345 h 6479439"/>
              <a:gd name="connsiteX4430" fmla="*/ 4782224 w 9586368"/>
              <a:gd name="connsiteY4430" fmla="*/ 3364306 h 6479439"/>
              <a:gd name="connsiteX4431" fmla="*/ 4782224 w 9586368"/>
              <a:gd name="connsiteY4431" fmla="*/ 3354436 h 6479439"/>
              <a:gd name="connsiteX4432" fmla="*/ 4546929 w 9586368"/>
              <a:gd name="connsiteY4432" fmla="*/ 3350398 h 6479439"/>
              <a:gd name="connsiteX4433" fmla="*/ 4556840 w 9586368"/>
              <a:gd name="connsiteY4433" fmla="*/ 3350398 h 6479439"/>
              <a:gd name="connsiteX4434" fmla="*/ 4560859 w 9586368"/>
              <a:gd name="connsiteY4434" fmla="*/ 3354436 h 6479439"/>
              <a:gd name="connsiteX4435" fmla="*/ 4560859 w 9586368"/>
              <a:gd name="connsiteY4435" fmla="*/ 3364306 h 6479439"/>
              <a:gd name="connsiteX4436" fmla="*/ 4556840 w 9586368"/>
              <a:gd name="connsiteY4436" fmla="*/ 3368345 h 6479439"/>
              <a:gd name="connsiteX4437" fmla="*/ 4546929 w 9586368"/>
              <a:gd name="connsiteY4437" fmla="*/ 3368345 h 6479439"/>
              <a:gd name="connsiteX4438" fmla="*/ 4542910 w 9586368"/>
              <a:gd name="connsiteY4438" fmla="*/ 3364306 h 6479439"/>
              <a:gd name="connsiteX4439" fmla="*/ 4542910 w 9586368"/>
              <a:gd name="connsiteY4439" fmla="*/ 3354436 h 6479439"/>
              <a:gd name="connsiteX4440" fmla="*/ 4307612 w 9586368"/>
              <a:gd name="connsiteY4440" fmla="*/ 3350398 h 6479439"/>
              <a:gd name="connsiteX4441" fmla="*/ 4317523 w 9586368"/>
              <a:gd name="connsiteY4441" fmla="*/ 3350398 h 6479439"/>
              <a:gd name="connsiteX4442" fmla="*/ 4321543 w 9586368"/>
              <a:gd name="connsiteY4442" fmla="*/ 3354436 h 6479439"/>
              <a:gd name="connsiteX4443" fmla="*/ 4321543 w 9586368"/>
              <a:gd name="connsiteY4443" fmla="*/ 3364306 h 6479439"/>
              <a:gd name="connsiteX4444" fmla="*/ 4317523 w 9586368"/>
              <a:gd name="connsiteY4444" fmla="*/ 3368345 h 6479439"/>
              <a:gd name="connsiteX4445" fmla="*/ 4307612 w 9586368"/>
              <a:gd name="connsiteY4445" fmla="*/ 3368345 h 6479439"/>
              <a:gd name="connsiteX4446" fmla="*/ 4303595 w 9586368"/>
              <a:gd name="connsiteY4446" fmla="*/ 3364306 h 6479439"/>
              <a:gd name="connsiteX4447" fmla="*/ 4303595 w 9586368"/>
              <a:gd name="connsiteY4447" fmla="*/ 3354436 h 6479439"/>
              <a:gd name="connsiteX4448" fmla="*/ 4068297 w 9586368"/>
              <a:gd name="connsiteY4448" fmla="*/ 3350398 h 6479439"/>
              <a:gd name="connsiteX4449" fmla="*/ 4078210 w 9586368"/>
              <a:gd name="connsiteY4449" fmla="*/ 3350398 h 6479439"/>
              <a:gd name="connsiteX4450" fmla="*/ 4082229 w 9586368"/>
              <a:gd name="connsiteY4450" fmla="*/ 3354436 h 6479439"/>
              <a:gd name="connsiteX4451" fmla="*/ 4082229 w 9586368"/>
              <a:gd name="connsiteY4451" fmla="*/ 3364306 h 6479439"/>
              <a:gd name="connsiteX4452" fmla="*/ 4078210 w 9586368"/>
              <a:gd name="connsiteY4452" fmla="*/ 3368345 h 6479439"/>
              <a:gd name="connsiteX4453" fmla="*/ 4068297 w 9586368"/>
              <a:gd name="connsiteY4453" fmla="*/ 3368345 h 6479439"/>
              <a:gd name="connsiteX4454" fmla="*/ 4064278 w 9586368"/>
              <a:gd name="connsiteY4454" fmla="*/ 3364306 h 6479439"/>
              <a:gd name="connsiteX4455" fmla="*/ 4064278 w 9586368"/>
              <a:gd name="connsiteY4455" fmla="*/ 3354436 h 6479439"/>
              <a:gd name="connsiteX4456" fmla="*/ 3828990 w 9586368"/>
              <a:gd name="connsiteY4456" fmla="*/ 3350398 h 6479439"/>
              <a:gd name="connsiteX4457" fmla="*/ 3838899 w 9586368"/>
              <a:gd name="connsiteY4457" fmla="*/ 3350398 h 6479439"/>
              <a:gd name="connsiteX4458" fmla="*/ 3842917 w 9586368"/>
              <a:gd name="connsiteY4458" fmla="*/ 3354436 h 6479439"/>
              <a:gd name="connsiteX4459" fmla="*/ 3842917 w 9586368"/>
              <a:gd name="connsiteY4459" fmla="*/ 3364306 h 6479439"/>
              <a:gd name="connsiteX4460" fmla="*/ 3838899 w 9586368"/>
              <a:gd name="connsiteY4460" fmla="*/ 3368345 h 6479439"/>
              <a:gd name="connsiteX4461" fmla="*/ 3828990 w 9586368"/>
              <a:gd name="connsiteY4461" fmla="*/ 3368345 h 6479439"/>
              <a:gd name="connsiteX4462" fmla="*/ 3824971 w 9586368"/>
              <a:gd name="connsiteY4462" fmla="*/ 3364306 h 6479439"/>
              <a:gd name="connsiteX4463" fmla="*/ 3824971 w 9586368"/>
              <a:gd name="connsiteY4463" fmla="*/ 3354436 h 6479439"/>
              <a:gd name="connsiteX4464" fmla="*/ 3589676 w 9586368"/>
              <a:gd name="connsiteY4464" fmla="*/ 3350398 h 6479439"/>
              <a:gd name="connsiteX4465" fmla="*/ 3599585 w 9586368"/>
              <a:gd name="connsiteY4465" fmla="*/ 3350398 h 6479439"/>
              <a:gd name="connsiteX4466" fmla="*/ 3603604 w 9586368"/>
              <a:gd name="connsiteY4466" fmla="*/ 3354436 h 6479439"/>
              <a:gd name="connsiteX4467" fmla="*/ 3603604 w 9586368"/>
              <a:gd name="connsiteY4467" fmla="*/ 3364306 h 6479439"/>
              <a:gd name="connsiteX4468" fmla="*/ 3599585 w 9586368"/>
              <a:gd name="connsiteY4468" fmla="*/ 3368345 h 6479439"/>
              <a:gd name="connsiteX4469" fmla="*/ 3589676 w 9586368"/>
              <a:gd name="connsiteY4469" fmla="*/ 3368345 h 6479439"/>
              <a:gd name="connsiteX4470" fmla="*/ 3585657 w 9586368"/>
              <a:gd name="connsiteY4470" fmla="*/ 3364306 h 6479439"/>
              <a:gd name="connsiteX4471" fmla="*/ 3585657 w 9586368"/>
              <a:gd name="connsiteY4471" fmla="*/ 3354436 h 6479439"/>
              <a:gd name="connsiteX4472" fmla="*/ 3350359 w 9586368"/>
              <a:gd name="connsiteY4472" fmla="*/ 3350398 h 6479439"/>
              <a:gd name="connsiteX4473" fmla="*/ 3360268 w 9586368"/>
              <a:gd name="connsiteY4473" fmla="*/ 3350398 h 6479439"/>
              <a:gd name="connsiteX4474" fmla="*/ 3364287 w 9586368"/>
              <a:gd name="connsiteY4474" fmla="*/ 3354436 h 6479439"/>
              <a:gd name="connsiteX4475" fmla="*/ 3364287 w 9586368"/>
              <a:gd name="connsiteY4475" fmla="*/ 3364306 h 6479439"/>
              <a:gd name="connsiteX4476" fmla="*/ 3360268 w 9586368"/>
              <a:gd name="connsiteY4476" fmla="*/ 3368345 h 6479439"/>
              <a:gd name="connsiteX4477" fmla="*/ 3350359 w 9586368"/>
              <a:gd name="connsiteY4477" fmla="*/ 3368345 h 6479439"/>
              <a:gd name="connsiteX4478" fmla="*/ 3346340 w 9586368"/>
              <a:gd name="connsiteY4478" fmla="*/ 3364306 h 6479439"/>
              <a:gd name="connsiteX4479" fmla="*/ 3346340 w 9586368"/>
              <a:gd name="connsiteY4479" fmla="*/ 3354436 h 6479439"/>
              <a:gd name="connsiteX4480" fmla="*/ 3111048 w 9586368"/>
              <a:gd name="connsiteY4480" fmla="*/ 3350398 h 6479439"/>
              <a:gd name="connsiteX4481" fmla="*/ 3120959 w 9586368"/>
              <a:gd name="connsiteY4481" fmla="*/ 3350398 h 6479439"/>
              <a:gd name="connsiteX4482" fmla="*/ 3124977 w 9586368"/>
              <a:gd name="connsiteY4482" fmla="*/ 3354436 h 6479439"/>
              <a:gd name="connsiteX4483" fmla="*/ 3124977 w 9586368"/>
              <a:gd name="connsiteY4483" fmla="*/ 3364306 h 6479439"/>
              <a:gd name="connsiteX4484" fmla="*/ 3120959 w 9586368"/>
              <a:gd name="connsiteY4484" fmla="*/ 3368345 h 6479439"/>
              <a:gd name="connsiteX4485" fmla="*/ 3111048 w 9586368"/>
              <a:gd name="connsiteY4485" fmla="*/ 3368345 h 6479439"/>
              <a:gd name="connsiteX4486" fmla="*/ 3107029 w 9586368"/>
              <a:gd name="connsiteY4486" fmla="*/ 3364306 h 6479439"/>
              <a:gd name="connsiteX4487" fmla="*/ 3107029 w 9586368"/>
              <a:gd name="connsiteY4487" fmla="*/ 3354436 h 6479439"/>
              <a:gd name="connsiteX4488" fmla="*/ 2871737 w 9586368"/>
              <a:gd name="connsiteY4488" fmla="*/ 3350398 h 6479439"/>
              <a:gd name="connsiteX4489" fmla="*/ 2881646 w 9586368"/>
              <a:gd name="connsiteY4489" fmla="*/ 3350398 h 6479439"/>
              <a:gd name="connsiteX4490" fmla="*/ 2885666 w 9586368"/>
              <a:gd name="connsiteY4490" fmla="*/ 3354436 h 6479439"/>
              <a:gd name="connsiteX4491" fmla="*/ 2885666 w 9586368"/>
              <a:gd name="connsiteY4491" fmla="*/ 3364306 h 6479439"/>
              <a:gd name="connsiteX4492" fmla="*/ 2881646 w 9586368"/>
              <a:gd name="connsiteY4492" fmla="*/ 3368345 h 6479439"/>
              <a:gd name="connsiteX4493" fmla="*/ 2871737 w 9586368"/>
              <a:gd name="connsiteY4493" fmla="*/ 3368345 h 6479439"/>
              <a:gd name="connsiteX4494" fmla="*/ 2867717 w 9586368"/>
              <a:gd name="connsiteY4494" fmla="*/ 3364306 h 6479439"/>
              <a:gd name="connsiteX4495" fmla="*/ 2867717 w 9586368"/>
              <a:gd name="connsiteY4495" fmla="*/ 3354436 h 6479439"/>
              <a:gd name="connsiteX4496" fmla="*/ 2632423 w 9586368"/>
              <a:gd name="connsiteY4496" fmla="*/ 3350398 h 6479439"/>
              <a:gd name="connsiteX4497" fmla="*/ 2642334 w 9586368"/>
              <a:gd name="connsiteY4497" fmla="*/ 3350398 h 6479439"/>
              <a:gd name="connsiteX4498" fmla="*/ 2646352 w 9586368"/>
              <a:gd name="connsiteY4498" fmla="*/ 3354436 h 6479439"/>
              <a:gd name="connsiteX4499" fmla="*/ 2646352 w 9586368"/>
              <a:gd name="connsiteY4499" fmla="*/ 3364306 h 6479439"/>
              <a:gd name="connsiteX4500" fmla="*/ 2642334 w 9586368"/>
              <a:gd name="connsiteY4500" fmla="*/ 3368345 h 6479439"/>
              <a:gd name="connsiteX4501" fmla="*/ 2632423 w 9586368"/>
              <a:gd name="connsiteY4501" fmla="*/ 3368345 h 6479439"/>
              <a:gd name="connsiteX4502" fmla="*/ 2628404 w 9586368"/>
              <a:gd name="connsiteY4502" fmla="*/ 3364306 h 6479439"/>
              <a:gd name="connsiteX4503" fmla="*/ 2628404 w 9586368"/>
              <a:gd name="connsiteY4503" fmla="*/ 3354436 h 6479439"/>
              <a:gd name="connsiteX4504" fmla="*/ 2393104 w 9586368"/>
              <a:gd name="connsiteY4504" fmla="*/ 3350398 h 6479439"/>
              <a:gd name="connsiteX4505" fmla="*/ 2403015 w 9586368"/>
              <a:gd name="connsiteY4505" fmla="*/ 3350398 h 6479439"/>
              <a:gd name="connsiteX4506" fmla="*/ 2407034 w 9586368"/>
              <a:gd name="connsiteY4506" fmla="*/ 3354436 h 6479439"/>
              <a:gd name="connsiteX4507" fmla="*/ 2407034 w 9586368"/>
              <a:gd name="connsiteY4507" fmla="*/ 3364306 h 6479439"/>
              <a:gd name="connsiteX4508" fmla="*/ 2403015 w 9586368"/>
              <a:gd name="connsiteY4508" fmla="*/ 3368345 h 6479439"/>
              <a:gd name="connsiteX4509" fmla="*/ 2393104 w 9586368"/>
              <a:gd name="connsiteY4509" fmla="*/ 3368345 h 6479439"/>
              <a:gd name="connsiteX4510" fmla="*/ 2389087 w 9586368"/>
              <a:gd name="connsiteY4510" fmla="*/ 3364306 h 6479439"/>
              <a:gd name="connsiteX4511" fmla="*/ 2389087 w 9586368"/>
              <a:gd name="connsiteY4511" fmla="*/ 3354436 h 6479439"/>
              <a:gd name="connsiteX4512" fmla="*/ 2157820 w 9586368"/>
              <a:gd name="connsiteY4512" fmla="*/ 3350398 h 6479439"/>
              <a:gd name="connsiteX4513" fmla="*/ 2167731 w 9586368"/>
              <a:gd name="connsiteY4513" fmla="*/ 3350398 h 6479439"/>
              <a:gd name="connsiteX4514" fmla="*/ 2171749 w 9586368"/>
              <a:gd name="connsiteY4514" fmla="*/ 3354436 h 6479439"/>
              <a:gd name="connsiteX4515" fmla="*/ 2171749 w 9586368"/>
              <a:gd name="connsiteY4515" fmla="*/ 3364306 h 6479439"/>
              <a:gd name="connsiteX4516" fmla="*/ 2167731 w 9586368"/>
              <a:gd name="connsiteY4516" fmla="*/ 3368345 h 6479439"/>
              <a:gd name="connsiteX4517" fmla="*/ 2157820 w 9586368"/>
              <a:gd name="connsiteY4517" fmla="*/ 3368345 h 6479439"/>
              <a:gd name="connsiteX4518" fmla="*/ 2153802 w 9586368"/>
              <a:gd name="connsiteY4518" fmla="*/ 3364306 h 6479439"/>
              <a:gd name="connsiteX4519" fmla="*/ 2153802 w 9586368"/>
              <a:gd name="connsiteY4519" fmla="*/ 3354436 h 6479439"/>
              <a:gd name="connsiteX4520" fmla="*/ 1918511 w 9586368"/>
              <a:gd name="connsiteY4520" fmla="*/ 3350398 h 6479439"/>
              <a:gd name="connsiteX4521" fmla="*/ 1928422 w 9586368"/>
              <a:gd name="connsiteY4521" fmla="*/ 3350398 h 6479439"/>
              <a:gd name="connsiteX4522" fmla="*/ 1932441 w 9586368"/>
              <a:gd name="connsiteY4522" fmla="*/ 3354436 h 6479439"/>
              <a:gd name="connsiteX4523" fmla="*/ 1932441 w 9586368"/>
              <a:gd name="connsiteY4523" fmla="*/ 3364306 h 6479439"/>
              <a:gd name="connsiteX4524" fmla="*/ 1928422 w 9586368"/>
              <a:gd name="connsiteY4524" fmla="*/ 3368345 h 6479439"/>
              <a:gd name="connsiteX4525" fmla="*/ 1918511 w 9586368"/>
              <a:gd name="connsiteY4525" fmla="*/ 3368345 h 6479439"/>
              <a:gd name="connsiteX4526" fmla="*/ 1914493 w 9586368"/>
              <a:gd name="connsiteY4526" fmla="*/ 3364306 h 6479439"/>
              <a:gd name="connsiteX4527" fmla="*/ 1914493 w 9586368"/>
              <a:gd name="connsiteY4527" fmla="*/ 3354436 h 6479439"/>
              <a:gd name="connsiteX4528" fmla="*/ 1679210 w 9586368"/>
              <a:gd name="connsiteY4528" fmla="*/ 3350398 h 6479439"/>
              <a:gd name="connsiteX4529" fmla="*/ 1689120 w 9586368"/>
              <a:gd name="connsiteY4529" fmla="*/ 3350398 h 6479439"/>
              <a:gd name="connsiteX4530" fmla="*/ 1693138 w 9586368"/>
              <a:gd name="connsiteY4530" fmla="*/ 3354436 h 6479439"/>
              <a:gd name="connsiteX4531" fmla="*/ 1693138 w 9586368"/>
              <a:gd name="connsiteY4531" fmla="*/ 3364306 h 6479439"/>
              <a:gd name="connsiteX4532" fmla="*/ 1689120 w 9586368"/>
              <a:gd name="connsiteY4532" fmla="*/ 3368345 h 6479439"/>
              <a:gd name="connsiteX4533" fmla="*/ 1679210 w 9586368"/>
              <a:gd name="connsiteY4533" fmla="*/ 3368345 h 6479439"/>
              <a:gd name="connsiteX4534" fmla="*/ 1675191 w 9586368"/>
              <a:gd name="connsiteY4534" fmla="*/ 3364306 h 6479439"/>
              <a:gd name="connsiteX4535" fmla="*/ 1675191 w 9586368"/>
              <a:gd name="connsiteY4535" fmla="*/ 3354436 h 6479439"/>
              <a:gd name="connsiteX4536" fmla="*/ 1439893 w 9586368"/>
              <a:gd name="connsiteY4536" fmla="*/ 3350398 h 6479439"/>
              <a:gd name="connsiteX4537" fmla="*/ 1449803 w 9586368"/>
              <a:gd name="connsiteY4537" fmla="*/ 3350398 h 6479439"/>
              <a:gd name="connsiteX4538" fmla="*/ 1453823 w 9586368"/>
              <a:gd name="connsiteY4538" fmla="*/ 3354436 h 6479439"/>
              <a:gd name="connsiteX4539" fmla="*/ 1453823 w 9586368"/>
              <a:gd name="connsiteY4539" fmla="*/ 3364306 h 6479439"/>
              <a:gd name="connsiteX4540" fmla="*/ 1449803 w 9586368"/>
              <a:gd name="connsiteY4540" fmla="*/ 3368345 h 6479439"/>
              <a:gd name="connsiteX4541" fmla="*/ 1439893 w 9586368"/>
              <a:gd name="connsiteY4541" fmla="*/ 3368345 h 6479439"/>
              <a:gd name="connsiteX4542" fmla="*/ 1435875 w 9586368"/>
              <a:gd name="connsiteY4542" fmla="*/ 3364306 h 6479439"/>
              <a:gd name="connsiteX4543" fmla="*/ 1435875 w 9586368"/>
              <a:gd name="connsiteY4543" fmla="*/ 3354436 h 6479439"/>
              <a:gd name="connsiteX4544" fmla="*/ 1200578 w 9586368"/>
              <a:gd name="connsiteY4544" fmla="*/ 3350398 h 6479439"/>
              <a:gd name="connsiteX4545" fmla="*/ 1210488 w 9586368"/>
              <a:gd name="connsiteY4545" fmla="*/ 3350398 h 6479439"/>
              <a:gd name="connsiteX4546" fmla="*/ 1214507 w 9586368"/>
              <a:gd name="connsiteY4546" fmla="*/ 3354436 h 6479439"/>
              <a:gd name="connsiteX4547" fmla="*/ 1214507 w 9586368"/>
              <a:gd name="connsiteY4547" fmla="*/ 3364306 h 6479439"/>
              <a:gd name="connsiteX4548" fmla="*/ 1210488 w 9586368"/>
              <a:gd name="connsiteY4548" fmla="*/ 3368345 h 6479439"/>
              <a:gd name="connsiteX4549" fmla="*/ 1200578 w 9586368"/>
              <a:gd name="connsiteY4549" fmla="*/ 3368345 h 6479439"/>
              <a:gd name="connsiteX4550" fmla="*/ 1196559 w 9586368"/>
              <a:gd name="connsiteY4550" fmla="*/ 3364306 h 6479439"/>
              <a:gd name="connsiteX4551" fmla="*/ 1196559 w 9586368"/>
              <a:gd name="connsiteY4551" fmla="*/ 3354436 h 6479439"/>
              <a:gd name="connsiteX4552" fmla="*/ 961265 w 9586368"/>
              <a:gd name="connsiteY4552" fmla="*/ 3350398 h 6479439"/>
              <a:gd name="connsiteX4553" fmla="*/ 971176 w 9586368"/>
              <a:gd name="connsiteY4553" fmla="*/ 3350398 h 6479439"/>
              <a:gd name="connsiteX4554" fmla="*/ 975194 w 9586368"/>
              <a:gd name="connsiteY4554" fmla="*/ 3354436 h 6479439"/>
              <a:gd name="connsiteX4555" fmla="*/ 975194 w 9586368"/>
              <a:gd name="connsiteY4555" fmla="*/ 3364306 h 6479439"/>
              <a:gd name="connsiteX4556" fmla="*/ 971176 w 9586368"/>
              <a:gd name="connsiteY4556" fmla="*/ 3368345 h 6479439"/>
              <a:gd name="connsiteX4557" fmla="*/ 961265 w 9586368"/>
              <a:gd name="connsiteY4557" fmla="*/ 3368345 h 6479439"/>
              <a:gd name="connsiteX4558" fmla="*/ 957246 w 9586368"/>
              <a:gd name="connsiteY4558" fmla="*/ 3364306 h 6479439"/>
              <a:gd name="connsiteX4559" fmla="*/ 957246 w 9586368"/>
              <a:gd name="connsiteY4559" fmla="*/ 3354436 h 6479439"/>
              <a:gd name="connsiteX4560" fmla="*/ 721967 w 9586368"/>
              <a:gd name="connsiteY4560" fmla="*/ 3350398 h 6479439"/>
              <a:gd name="connsiteX4561" fmla="*/ 731877 w 9586368"/>
              <a:gd name="connsiteY4561" fmla="*/ 3350398 h 6479439"/>
              <a:gd name="connsiteX4562" fmla="*/ 735896 w 9586368"/>
              <a:gd name="connsiteY4562" fmla="*/ 3354436 h 6479439"/>
              <a:gd name="connsiteX4563" fmla="*/ 735896 w 9586368"/>
              <a:gd name="connsiteY4563" fmla="*/ 3364306 h 6479439"/>
              <a:gd name="connsiteX4564" fmla="*/ 731877 w 9586368"/>
              <a:gd name="connsiteY4564" fmla="*/ 3368345 h 6479439"/>
              <a:gd name="connsiteX4565" fmla="*/ 721967 w 9586368"/>
              <a:gd name="connsiteY4565" fmla="*/ 3368345 h 6479439"/>
              <a:gd name="connsiteX4566" fmla="*/ 717949 w 9586368"/>
              <a:gd name="connsiteY4566" fmla="*/ 3364306 h 6479439"/>
              <a:gd name="connsiteX4567" fmla="*/ 717949 w 9586368"/>
              <a:gd name="connsiteY4567" fmla="*/ 3354436 h 6479439"/>
              <a:gd name="connsiteX4568" fmla="*/ 482655 w 9586368"/>
              <a:gd name="connsiteY4568" fmla="*/ 3350398 h 6479439"/>
              <a:gd name="connsiteX4569" fmla="*/ 492565 w 9586368"/>
              <a:gd name="connsiteY4569" fmla="*/ 3350398 h 6479439"/>
              <a:gd name="connsiteX4570" fmla="*/ 496584 w 9586368"/>
              <a:gd name="connsiteY4570" fmla="*/ 3354436 h 6479439"/>
              <a:gd name="connsiteX4571" fmla="*/ 496584 w 9586368"/>
              <a:gd name="connsiteY4571" fmla="*/ 3364306 h 6479439"/>
              <a:gd name="connsiteX4572" fmla="*/ 492565 w 9586368"/>
              <a:gd name="connsiteY4572" fmla="*/ 3368345 h 6479439"/>
              <a:gd name="connsiteX4573" fmla="*/ 482655 w 9586368"/>
              <a:gd name="connsiteY4573" fmla="*/ 3368345 h 6479439"/>
              <a:gd name="connsiteX4574" fmla="*/ 478636 w 9586368"/>
              <a:gd name="connsiteY4574" fmla="*/ 3364306 h 6479439"/>
              <a:gd name="connsiteX4575" fmla="*/ 478636 w 9586368"/>
              <a:gd name="connsiteY4575" fmla="*/ 3354436 h 6479439"/>
              <a:gd name="connsiteX4576" fmla="*/ 243341 w 9586368"/>
              <a:gd name="connsiteY4576" fmla="*/ 3350398 h 6479439"/>
              <a:gd name="connsiteX4577" fmla="*/ 253252 w 9586368"/>
              <a:gd name="connsiteY4577" fmla="*/ 3350398 h 6479439"/>
              <a:gd name="connsiteX4578" fmla="*/ 257271 w 9586368"/>
              <a:gd name="connsiteY4578" fmla="*/ 3354436 h 6479439"/>
              <a:gd name="connsiteX4579" fmla="*/ 257271 w 9586368"/>
              <a:gd name="connsiteY4579" fmla="*/ 3364306 h 6479439"/>
              <a:gd name="connsiteX4580" fmla="*/ 253252 w 9586368"/>
              <a:gd name="connsiteY4580" fmla="*/ 3368345 h 6479439"/>
              <a:gd name="connsiteX4581" fmla="*/ 243341 w 9586368"/>
              <a:gd name="connsiteY4581" fmla="*/ 3368345 h 6479439"/>
              <a:gd name="connsiteX4582" fmla="*/ 239322 w 9586368"/>
              <a:gd name="connsiteY4582" fmla="*/ 3364306 h 6479439"/>
              <a:gd name="connsiteX4583" fmla="*/ 239322 w 9586368"/>
              <a:gd name="connsiteY4583" fmla="*/ 3354436 h 6479439"/>
              <a:gd name="connsiteX4584" fmla="*/ 4029 w 9586368"/>
              <a:gd name="connsiteY4584" fmla="*/ 3350398 h 6479439"/>
              <a:gd name="connsiteX4585" fmla="*/ 13938 w 9586368"/>
              <a:gd name="connsiteY4585" fmla="*/ 3350398 h 6479439"/>
              <a:gd name="connsiteX4586" fmla="*/ 17957 w 9586368"/>
              <a:gd name="connsiteY4586" fmla="*/ 3354436 h 6479439"/>
              <a:gd name="connsiteX4587" fmla="*/ 17957 w 9586368"/>
              <a:gd name="connsiteY4587" fmla="*/ 3364306 h 6479439"/>
              <a:gd name="connsiteX4588" fmla="*/ 13938 w 9586368"/>
              <a:gd name="connsiteY4588" fmla="*/ 3368345 h 6479439"/>
              <a:gd name="connsiteX4589" fmla="*/ 4029 w 9586368"/>
              <a:gd name="connsiteY4589" fmla="*/ 3368345 h 6479439"/>
              <a:gd name="connsiteX4590" fmla="*/ 9 w 9586368"/>
              <a:gd name="connsiteY4590" fmla="*/ 3364306 h 6479439"/>
              <a:gd name="connsiteX4591" fmla="*/ 9 w 9586368"/>
              <a:gd name="connsiteY4591" fmla="*/ 3354436 h 6479439"/>
              <a:gd name="connsiteX4592" fmla="*/ 2157820 w 9586368"/>
              <a:gd name="connsiteY4592" fmla="*/ 3111118 h 6479439"/>
              <a:gd name="connsiteX4593" fmla="*/ 2167731 w 9586368"/>
              <a:gd name="connsiteY4593" fmla="*/ 3111118 h 6479439"/>
              <a:gd name="connsiteX4594" fmla="*/ 2171750 w 9586368"/>
              <a:gd name="connsiteY4594" fmla="*/ 3115157 h 6479439"/>
              <a:gd name="connsiteX4595" fmla="*/ 2171750 w 9586368"/>
              <a:gd name="connsiteY4595" fmla="*/ 3125027 h 6479439"/>
              <a:gd name="connsiteX4596" fmla="*/ 2167731 w 9586368"/>
              <a:gd name="connsiteY4596" fmla="*/ 3129066 h 6479439"/>
              <a:gd name="connsiteX4597" fmla="*/ 2157820 w 9586368"/>
              <a:gd name="connsiteY4597" fmla="*/ 3129066 h 6479439"/>
              <a:gd name="connsiteX4598" fmla="*/ 2153802 w 9586368"/>
              <a:gd name="connsiteY4598" fmla="*/ 3125027 h 6479439"/>
              <a:gd name="connsiteX4599" fmla="*/ 2153802 w 9586368"/>
              <a:gd name="connsiteY4599" fmla="*/ 3115157 h 6479439"/>
              <a:gd name="connsiteX4600" fmla="*/ 1918513 w 9586368"/>
              <a:gd name="connsiteY4600" fmla="*/ 3111118 h 6479439"/>
              <a:gd name="connsiteX4601" fmla="*/ 1928422 w 9586368"/>
              <a:gd name="connsiteY4601" fmla="*/ 3111118 h 6479439"/>
              <a:gd name="connsiteX4602" fmla="*/ 1932441 w 9586368"/>
              <a:gd name="connsiteY4602" fmla="*/ 3115157 h 6479439"/>
              <a:gd name="connsiteX4603" fmla="*/ 1932441 w 9586368"/>
              <a:gd name="connsiteY4603" fmla="*/ 3125027 h 6479439"/>
              <a:gd name="connsiteX4604" fmla="*/ 1928422 w 9586368"/>
              <a:gd name="connsiteY4604" fmla="*/ 3129066 h 6479439"/>
              <a:gd name="connsiteX4605" fmla="*/ 1918513 w 9586368"/>
              <a:gd name="connsiteY4605" fmla="*/ 3129066 h 6479439"/>
              <a:gd name="connsiteX4606" fmla="*/ 1914493 w 9586368"/>
              <a:gd name="connsiteY4606" fmla="*/ 3125027 h 6479439"/>
              <a:gd name="connsiteX4607" fmla="*/ 1914493 w 9586368"/>
              <a:gd name="connsiteY4607" fmla="*/ 3115157 h 6479439"/>
              <a:gd name="connsiteX4608" fmla="*/ 1679211 w 9586368"/>
              <a:gd name="connsiteY4608" fmla="*/ 3111118 h 6479439"/>
              <a:gd name="connsiteX4609" fmla="*/ 1689121 w 9586368"/>
              <a:gd name="connsiteY4609" fmla="*/ 3111118 h 6479439"/>
              <a:gd name="connsiteX4610" fmla="*/ 1693139 w 9586368"/>
              <a:gd name="connsiteY4610" fmla="*/ 3115157 h 6479439"/>
              <a:gd name="connsiteX4611" fmla="*/ 1693139 w 9586368"/>
              <a:gd name="connsiteY4611" fmla="*/ 3125027 h 6479439"/>
              <a:gd name="connsiteX4612" fmla="*/ 1689121 w 9586368"/>
              <a:gd name="connsiteY4612" fmla="*/ 3129066 h 6479439"/>
              <a:gd name="connsiteX4613" fmla="*/ 1679211 w 9586368"/>
              <a:gd name="connsiteY4613" fmla="*/ 3129066 h 6479439"/>
              <a:gd name="connsiteX4614" fmla="*/ 1675191 w 9586368"/>
              <a:gd name="connsiteY4614" fmla="*/ 3125027 h 6479439"/>
              <a:gd name="connsiteX4615" fmla="*/ 1675191 w 9586368"/>
              <a:gd name="connsiteY4615" fmla="*/ 3115157 h 6479439"/>
              <a:gd name="connsiteX4616" fmla="*/ 1439895 w 9586368"/>
              <a:gd name="connsiteY4616" fmla="*/ 3111118 h 6479439"/>
              <a:gd name="connsiteX4617" fmla="*/ 1449805 w 9586368"/>
              <a:gd name="connsiteY4617" fmla="*/ 3111118 h 6479439"/>
              <a:gd name="connsiteX4618" fmla="*/ 1453823 w 9586368"/>
              <a:gd name="connsiteY4618" fmla="*/ 3115157 h 6479439"/>
              <a:gd name="connsiteX4619" fmla="*/ 1453823 w 9586368"/>
              <a:gd name="connsiteY4619" fmla="*/ 3125027 h 6479439"/>
              <a:gd name="connsiteX4620" fmla="*/ 1449805 w 9586368"/>
              <a:gd name="connsiteY4620" fmla="*/ 3129066 h 6479439"/>
              <a:gd name="connsiteX4621" fmla="*/ 1439895 w 9586368"/>
              <a:gd name="connsiteY4621" fmla="*/ 3129066 h 6479439"/>
              <a:gd name="connsiteX4622" fmla="*/ 1435875 w 9586368"/>
              <a:gd name="connsiteY4622" fmla="*/ 3125027 h 6479439"/>
              <a:gd name="connsiteX4623" fmla="*/ 1435875 w 9586368"/>
              <a:gd name="connsiteY4623" fmla="*/ 3115157 h 6479439"/>
              <a:gd name="connsiteX4624" fmla="*/ 1200578 w 9586368"/>
              <a:gd name="connsiteY4624" fmla="*/ 3111118 h 6479439"/>
              <a:gd name="connsiteX4625" fmla="*/ 1210489 w 9586368"/>
              <a:gd name="connsiteY4625" fmla="*/ 3111118 h 6479439"/>
              <a:gd name="connsiteX4626" fmla="*/ 1214507 w 9586368"/>
              <a:gd name="connsiteY4626" fmla="*/ 3115157 h 6479439"/>
              <a:gd name="connsiteX4627" fmla="*/ 1214507 w 9586368"/>
              <a:gd name="connsiteY4627" fmla="*/ 3125027 h 6479439"/>
              <a:gd name="connsiteX4628" fmla="*/ 1210489 w 9586368"/>
              <a:gd name="connsiteY4628" fmla="*/ 3129066 h 6479439"/>
              <a:gd name="connsiteX4629" fmla="*/ 1200578 w 9586368"/>
              <a:gd name="connsiteY4629" fmla="*/ 3129066 h 6479439"/>
              <a:gd name="connsiteX4630" fmla="*/ 1196560 w 9586368"/>
              <a:gd name="connsiteY4630" fmla="*/ 3125027 h 6479439"/>
              <a:gd name="connsiteX4631" fmla="*/ 1196560 w 9586368"/>
              <a:gd name="connsiteY4631" fmla="*/ 3115157 h 6479439"/>
              <a:gd name="connsiteX4632" fmla="*/ 961266 w 9586368"/>
              <a:gd name="connsiteY4632" fmla="*/ 3111118 h 6479439"/>
              <a:gd name="connsiteX4633" fmla="*/ 971176 w 9586368"/>
              <a:gd name="connsiteY4633" fmla="*/ 3111118 h 6479439"/>
              <a:gd name="connsiteX4634" fmla="*/ 975195 w 9586368"/>
              <a:gd name="connsiteY4634" fmla="*/ 3115157 h 6479439"/>
              <a:gd name="connsiteX4635" fmla="*/ 975195 w 9586368"/>
              <a:gd name="connsiteY4635" fmla="*/ 3125027 h 6479439"/>
              <a:gd name="connsiteX4636" fmla="*/ 971176 w 9586368"/>
              <a:gd name="connsiteY4636" fmla="*/ 3129066 h 6479439"/>
              <a:gd name="connsiteX4637" fmla="*/ 961266 w 9586368"/>
              <a:gd name="connsiteY4637" fmla="*/ 3129066 h 6479439"/>
              <a:gd name="connsiteX4638" fmla="*/ 957247 w 9586368"/>
              <a:gd name="connsiteY4638" fmla="*/ 3125027 h 6479439"/>
              <a:gd name="connsiteX4639" fmla="*/ 957247 w 9586368"/>
              <a:gd name="connsiteY4639" fmla="*/ 3115157 h 6479439"/>
              <a:gd name="connsiteX4640" fmla="*/ 9572438 w 9586368"/>
              <a:gd name="connsiteY4640" fmla="*/ 3111067 h 6479439"/>
              <a:gd name="connsiteX4641" fmla="*/ 9582349 w 9586368"/>
              <a:gd name="connsiteY4641" fmla="*/ 3111067 h 6479439"/>
              <a:gd name="connsiteX4642" fmla="*/ 9586368 w 9586368"/>
              <a:gd name="connsiteY4642" fmla="*/ 3115105 h 6479439"/>
              <a:gd name="connsiteX4643" fmla="*/ 9586368 w 9586368"/>
              <a:gd name="connsiteY4643" fmla="*/ 3124976 h 6479439"/>
              <a:gd name="connsiteX4644" fmla="*/ 9582349 w 9586368"/>
              <a:gd name="connsiteY4644" fmla="*/ 3129015 h 6479439"/>
              <a:gd name="connsiteX4645" fmla="*/ 9572438 w 9586368"/>
              <a:gd name="connsiteY4645" fmla="*/ 3129015 h 6479439"/>
              <a:gd name="connsiteX4646" fmla="*/ 9568419 w 9586368"/>
              <a:gd name="connsiteY4646" fmla="*/ 3124976 h 6479439"/>
              <a:gd name="connsiteX4647" fmla="*/ 9568419 w 9586368"/>
              <a:gd name="connsiteY4647" fmla="*/ 3115105 h 6479439"/>
              <a:gd name="connsiteX4648" fmla="*/ 9333125 w 9586368"/>
              <a:gd name="connsiteY4648" fmla="*/ 3111067 h 6479439"/>
              <a:gd name="connsiteX4649" fmla="*/ 9343036 w 9586368"/>
              <a:gd name="connsiteY4649" fmla="*/ 3111067 h 6479439"/>
              <a:gd name="connsiteX4650" fmla="*/ 9347055 w 9586368"/>
              <a:gd name="connsiteY4650" fmla="*/ 3115105 h 6479439"/>
              <a:gd name="connsiteX4651" fmla="*/ 9347055 w 9586368"/>
              <a:gd name="connsiteY4651" fmla="*/ 3124976 h 6479439"/>
              <a:gd name="connsiteX4652" fmla="*/ 9343036 w 9586368"/>
              <a:gd name="connsiteY4652" fmla="*/ 3129015 h 6479439"/>
              <a:gd name="connsiteX4653" fmla="*/ 9333125 w 9586368"/>
              <a:gd name="connsiteY4653" fmla="*/ 3129015 h 6479439"/>
              <a:gd name="connsiteX4654" fmla="*/ 9329106 w 9586368"/>
              <a:gd name="connsiteY4654" fmla="*/ 3124976 h 6479439"/>
              <a:gd name="connsiteX4655" fmla="*/ 9329106 w 9586368"/>
              <a:gd name="connsiteY4655" fmla="*/ 3115105 h 6479439"/>
              <a:gd name="connsiteX4656" fmla="*/ 9093811 w 9586368"/>
              <a:gd name="connsiteY4656" fmla="*/ 3111067 h 6479439"/>
              <a:gd name="connsiteX4657" fmla="*/ 9103722 w 9586368"/>
              <a:gd name="connsiteY4657" fmla="*/ 3111067 h 6479439"/>
              <a:gd name="connsiteX4658" fmla="*/ 9107741 w 9586368"/>
              <a:gd name="connsiteY4658" fmla="*/ 3115105 h 6479439"/>
              <a:gd name="connsiteX4659" fmla="*/ 9107741 w 9586368"/>
              <a:gd name="connsiteY4659" fmla="*/ 3124976 h 6479439"/>
              <a:gd name="connsiteX4660" fmla="*/ 9103722 w 9586368"/>
              <a:gd name="connsiteY4660" fmla="*/ 3129015 h 6479439"/>
              <a:gd name="connsiteX4661" fmla="*/ 9093811 w 9586368"/>
              <a:gd name="connsiteY4661" fmla="*/ 3129015 h 6479439"/>
              <a:gd name="connsiteX4662" fmla="*/ 9089792 w 9586368"/>
              <a:gd name="connsiteY4662" fmla="*/ 3124976 h 6479439"/>
              <a:gd name="connsiteX4663" fmla="*/ 9089792 w 9586368"/>
              <a:gd name="connsiteY4663" fmla="*/ 3115105 h 6479439"/>
              <a:gd name="connsiteX4664" fmla="*/ 8854496 w 9586368"/>
              <a:gd name="connsiteY4664" fmla="*/ 3111067 h 6479439"/>
              <a:gd name="connsiteX4665" fmla="*/ 8864407 w 9586368"/>
              <a:gd name="connsiteY4665" fmla="*/ 3111067 h 6479439"/>
              <a:gd name="connsiteX4666" fmla="*/ 8868426 w 9586368"/>
              <a:gd name="connsiteY4666" fmla="*/ 3115105 h 6479439"/>
              <a:gd name="connsiteX4667" fmla="*/ 8868426 w 9586368"/>
              <a:gd name="connsiteY4667" fmla="*/ 3124976 h 6479439"/>
              <a:gd name="connsiteX4668" fmla="*/ 8864407 w 9586368"/>
              <a:gd name="connsiteY4668" fmla="*/ 3129015 h 6479439"/>
              <a:gd name="connsiteX4669" fmla="*/ 8854496 w 9586368"/>
              <a:gd name="connsiteY4669" fmla="*/ 3129015 h 6479439"/>
              <a:gd name="connsiteX4670" fmla="*/ 8850477 w 9586368"/>
              <a:gd name="connsiteY4670" fmla="*/ 3124976 h 6479439"/>
              <a:gd name="connsiteX4671" fmla="*/ 8850477 w 9586368"/>
              <a:gd name="connsiteY4671" fmla="*/ 3115105 h 6479439"/>
              <a:gd name="connsiteX4672" fmla="*/ 8615184 w 9586368"/>
              <a:gd name="connsiteY4672" fmla="*/ 3111067 h 6479439"/>
              <a:gd name="connsiteX4673" fmla="*/ 8625095 w 9586368"/>
              <a:gd name="connsiteY4673" fmla="*/ 3111067 h 6479439"/>
              <a:gd name="connsiteX4674" fmla="*/ 8629114 w 9586368"/>
              <a:gd name="connsiteY4674" fmla="*/ 3115105 h 6479439"/>
              <a:gd name="connsiteX4675" fmla="*/ 8629114 w 9586368"/>
              <a:gd name="connsiteY4675" fmla="*/ 3124976 h 6479439"/>
              <a:gd name="connsiteX4676" fmla="*/ 8625095 w 9586368"/>
              <a:gd name="connsiteY4676" fmla="*/ 3129015 h 6479439"/>
              <a:gd name="connsiteX4677" fmla="*/ 8615184 w 9586368"/>
              <a:gd name="connsiteY4677" fmla="*/ 3129015 h 6479439"/>
              <a:gd name="connsiteX4678" fmla="*/ 8611165 w 9586368"/>
              <a:gd name="connsiteY4678" fmla="*/ 3124976 h 6479439"/>
              <a:gd name="connsiteX4679" fmla="*/ 8611165 w 9586368"/>
              <a:gd name="connsiteY4679" fmla="*/ 3115105 h 6479439"/>
              <a:gd name="connsiteX4680" fmla="*/ 8375869 w 9586368"/>
              <a:gd name="connsiteY4680" fmla="*/ 3111067 h 6479439"/>
              <a:gd name="connsiteX4681" fmla="*/ 8385779 w 9586368"/>
              <a:gd name="connsiteY4681" fmla="*/ 3111067 h 6479439"/>
              <a:gd name="connsiteX4682" fmla="*/ 8389799 w 9586368"/>
              <a:gd name="connsiteY4682" fmla="*/ 3115105 h 6479439"/>
              <a:gd name="connsiteX4683" fmla="*/ 8389799 w 9586368"/>
              <a:gd name="connsiteY4683" fmla="*/ 3124976 h 6479439"/>
              <a:gd name="connsiteX4684" fmla="*/ 8385779 w 9586368"/>
              <a:gd name="connsiteY4684" fmla="*/ 3129015 h 6479439"/>
              <a:gd name="connsiteX4685" fmla="*/ 8375869 w 9586368"/>
              <a:gd name="connsiteY4685" fmla="*/ 3129015 h 6479439"/>
              <a:gd name="connsiteX4686" fmla="*/ 8371850 w 9586368"/>
              <a:gd name="connsiteY4686" fmla="*/ 3124976 h 6479439"/>
              <a:gd name="connsiteX4687" fmla="*/ 8371850 w 9586368"/>
              <a:gd name="connsiteY4687" fmla="*/ 3115105 h 6479439"/>
              <a:gd name="connsiteX4688" fmla="*/ 8136553 w 9586368"/>
              <a:gd name="connsiteY4688" fmla="*/ 3111067 h 6479439"/>
              <a:gd name="connsiteX4689" fmla="*/ 8146464 w 9586368"/>
              <a:gd name="connsiteY4689" fmla="*/ 3111067 h 6479439"/>
              <a:gd name="connsiteX4690" fmla="*/ 8150483 w 9586368"/>
              <a:gd name="connsiteY4690" fmla="*/ 3115105 h 6479439"/>
              <a:gd name="connsiteX4691" fmla="*/ 8150483 w 9586368"/>
              <a:gd name="connsiteY4691" fmla="*/ 3124976 h 6479439"/>
              <a:gd name="connsiteX4692" fmla="*/ 8146464 w 9586368"/>
              <a:gd name="connsiteY4692" fmla="*/ 3129015 h 6479439"/>
              <a:gd name="connsiteX4693" fmla="*/ 8136553 w 9586368"/>
              <a:gd name="connsiteY4693" fmla="*/ 3129015 h 6479439"/>
              <a:gd name="connsiteX4694" fmla="*/ 8132534 w 9586368"/>
              <a:gd name="connsiteY4694" fmla="*/ 3124976 h 6479439"/>
              <a:gd name="connsiteX4695" fmla="*/ 8132534 w 9586368"/>
              <a:gd name="connsiteY4695" fmla="*/ 3115105 h 6479439"/>
              <a:gd name="connsiteX4696" fmla="*/ 7897241 w 9586368"/>
              <a:gd name="connsiteY4696" fmla="*/ 3111067 h 6479439"/>
              <a:gd name="connsiteX4697" fmla="*/ 7907151 w 9586368"/>
              <a:gd name="connsiteY4697" fmla="*/ 3111067 h 6479439"/>
              <a:gd name="connsiteX4698" fmla="*/ 7911170 w 9586368"/>
              <a:gd name="connsiteY4698" fmla="*/ 3115105 h 6479439"/>
              <a:gd name="connsiteX4699" fmla="*/ 7911170 w 9586368"/>
              <a:gd name="connsiteY4699" fmla="*/ 3124976 h 6479439"/>
              <a:gd name="connsiteX4700" fmla="*/ 7907151 w 9586368"/>
              <a:gd name="connsiteY4700" fmla="*/ 3129015 h 6479439"/>
              <a:gd name="connsiteX4701" fmla="*/ 7897241 w 9586368"/>
              <a:gd name="connsiteY4701" fmla="*/ 3129015 h 6479439"/>
              <a:gd name="connsiteX4702" fmla="*/ 7893222 w 9586368"/>
              <a:gd name="connsiteY4702" fmla="*/ 3124976 h 6479439"/>
              <a:gd name="connsiteX4703" fmla="*/ 7893222 w 9586368"/>
              <a:gd name="connsiteY4703" fmla="*/ 3115105 h 6479439"/>
              <a:gd name="connsiteX4704" fmla="*/ 7657926 w 9586368"/>
              <a:gd name="connsiteY4704" fmla="*/ 3111067 h 6479439"/>
              <a:gd name="connsiteX4705" fmla="*/ 7667836 w 9586368"/>
              <a:gd name="connsiteY4705" fmla="*/ 3111067 h 6479439"/>
              <a:gd name="connsiteX4706" fmla="*/ 7671855 w 9586368"/>
              <a:gd name="connsiteY4706" fmla="*/ 3115105 h 6479439"/>
              <a:gd name="connsiteX4707" fmla="*/ 7671855 w 9586368"/>
              <a:gd name="connsiteY4707" fmla="*/ 3124976 h 6479439"/>
              <a:gd name="connsiteX4708" fmla="*/ 7667836 w 9586368"/>
              <a:gd name="connsiteY4708" fmla="*/ 3129015 h 6479439"/>
              <a:gd name="connsiteX4709" fmla="*/ 7657926 w 9586368"/>
              <a:gd name="connsiteY4709" fmla="*/ 3129015 h 6479439"/>
              <a:gd name="connsiteX4710" fmla="*/ 7653906 w 9586368"/>
              <a:gd name="connsiteY4710" fmla="*/ 3124976 h 6479439"/>
              <a:gd name="connsiteX4711" fmla="*/ 7653906 w 9586368"/>
              <a:gd name="connsiteY4711" fmla="*/ 3115105 h 6479439"/>
              <a:gd name="connsiteX4712" fmla="*/ 7418611 w 9586368"/>
              <a:gd name="connsiteY4712" fmla="*/ 3111067 h 6479439"/>
              <a:gd name="connsiteX4713" fmla="*/ 7428521 w 9586368"/>
              <a:gd name="connsiteY4713" fmla="*/ 3111067 h 6479439"/>
              <a:gd name="connsiteX4714" fmla="*/ 7432540 w 9586368"/>
              <a:gd name="connsiteY4714" fmla="*/ 3115105 h 6479439"/>
              <a:gd name="connsiteX4715" fmla="*/ 7432540 w 9586368"/>
              <a:gd name="connsiteY4715" fmla="*/ 3124976 h 6479439"/>
              <a:gd name="connsiteX4716" fmla="*/ 7428521 w 9586368"/>
              <a:gd name="connsiteY4716" fmla="*/ 3129015 h 6479439"/>
              <a:gd name="connsiteX4717" fmla="*/ 7418611 w 9586368"/>
              <a:gd name="connsiteY4717" fmla="*/ 3129015 h 6479439"/>
              <a:gd name="connsiteX4718" fmla="*/ 7414592 w 9586368"/>
              <a:gd name="connsiteY4718" fmla="*/ 3124976 h 6479439"/>
              <a:gd name="connsiteX4719" fmla="*/ 7414592 w 9586368"/>
              <a:gd name="connsiteY4719" fmla="*/ 3115105 h 6479439"/>
              <a:gd name="connsiteX4720" fmla="*/ 7179298 w 9586368"/>
              <a:gd name="connsiteY4720" fmla="*/ 3111067 h 6479439"/>
              <a:gd name="connsiteX4721" fmla="*/ 7189209 w 9586368"/>
              <a:gd name="connsiteY4721" fmla="*/ 3111067 h 6479439"/>
              <a:gd name="connsiteX4722" fmla="*/ 7193228 w 9586368"/>
              <a:gd name="connsiteY4722" fmla="*/ 3115105 h 6479439"/>
              <a:gd name="connsiteX4723" fmla="*/ 7193228 w 9586368"/>
              <a:gd name="connsiteY4723" fmla="*/ 3124976 h 6479439"/>
              <a:gd name="connsiteX4724" fmla="*/ 7189209 w 9586368"/>
              <a:gd name="connsiteY4724" fmla="*/ 3129015 h 6479439"/>
              <a:gd name="connsiteX4725" fmla="*/ 7179298 w 9586368"/>
              <a:gd name="connsiteY4725" fmla="*/ 3129015 h 6479439"/>
              <a:gd name="connsiteX4726" fmla="*/ 7175279 w 9586368"/>
              <a:gd name="connsiteY4726" fmla="*/ 3124976 h 6479439"/>
              <a:gd name="connsiteX4727" fmla="*/ 7175279 w 9586368"/>
              <a:gd name="connsiteY4727" fmla="*/ 3115105 h 6479439"/>
              <a:gd name="connsiteX4728" fmla="*/ 6939983 w 9586368"/>
              <a:gd name="connsiteY4728" fmla="*/ 3111067 h 6479439"/>
              <a:gd name="connsiteX4729" fmla="*/ 6949894 w 9586368"/>
              <a:gd name="connsiteY4729" fmla="*/ 3111067 h 6479439"/>
              <a:gd name="connsiteX4730" fmla="*/ 6953913 w 9586368"/>
              <a:gd name="connsiteY4730" fmla="*/ 3115105 h 6479439"/>
              <a:gd name="connsiteX4731" fmla="*/ 6953913 w 9586368"/>
              <a:gd name="connsiteY4731" fmla="*/ 3124976 h 6479439"/>
              <a:gd name="connsiteX4732" fmla="*/ 6949894 w 9586368"/>
              <a:gd name="connsiteY4732" fmla="*/ 3129015 h 6479439"/>
              <a:gd name="connsiteX4733" fmla="*/ 6939983 w 9586368"/>
              <a:gd name="connsiteY4733" fmla="*/ 3129015 h 6479439"/>
              <a:gd name="connsiteX4734" fmla="*/ 6935964 w 9586368"/>
              <a:gd name="connsiteY4734" fmla="*/ 3124976 h 6479439"/>
              <a:gd name="connsiteX4735" fmla="*/ 6935964 w 9586368"/>
              <a:gd name="connsiteY4735" fmla="*/ 3115105 h 6479439"/>
              <a:gd name="connsiteX4736" fmla="*/ 6700670 w 9586368"/>
              <a:gd name="connsiteY4736" fmla="*/ 3111067 h 6479439"/>
              <a:gd name="connsiteX4737" fmla="*/ 6710581 w 9586368"/>
              <a:gd name="connsiteY4737" fmla="*/ 3111067 h 6479439"/>
              <a:gd name="connsiteX4738" fmla="*/ 6714600 w 9586368"/>
              <a:gd name="connsiteY4738" fmla="*/ 3115105 h 6479439"/>
              <a:gd name="connsiteX4739" fmla="*/ 6714600 w 9586368"/>
              <a:gd name="connsiteY4739" fmla="*/ 3124976 h 6479439"/>
              <a:gd name="connsiteX4740" fmla="*/ 6710581 w 9586368"/>
              <a:gd name="connsiteY4740" fmla="*/ 3129015 h 6479439"/>
              <a:gd name="connsiteX4741" fmla="*/ 6700670 w 9586368"/>
              <a:gd name="connsiteY4741" fmla="*/ 3129015 h 6479439"/>
              <a:gd name="connsiteX4742" fmla="*/ 6696651 w 9586368"/>
              <a:gd name="connsiteY4742" fmla="*/ 3124976 h 6479439"/>
              <a:gd name="connsiteX4743" fmla="*/ 6696651 w 9586368"/>
              <a:gd name="connsiteY4743" fmla="*/ 3115105 h 6479439"/>
              <a:gd name="connsiteX4744" fmla="*/ 6461356 w 9586368"/>
              <a:gd name="connsiteY4744" fmla="*/ 3111067 h 6479439"/>
              <a:gd name="connsiteX4745" fmla="*/ 6471266 w 9586368"/>
              <a:gd name="connsiteY4745" fmla="*/ 3111067 h 6479439"/>
              <a:gd name="connsiteX4746" fmla="*/ 6475285 w 9586368"/>
              <a:gd name="connsiteY4746" fmla="*/ 3115105 h 6479439"/>
              <a:gd name="connsiteX4747" fmla="*/ 6475285 w 9586368"/>
              <a:gd name="connsiteY4747" fmla="*/ 3124976 h 6479439"/>
              <a:gd name="connsiteX4748" fmla="*/ 6471266 w 9586368"/>
              <a:gd name="connsiteY4748" fmla="*/ 3129015 h 6479439"/>
              <a:gd name="connsiteX4749" fmla="*/ 6461356 w 9586368"/>
              <a:gd name="connsiteY4749" fmla="*/ 3129015 h 6479439"/>
              <a:gd name="connsiteX4750" fmla="*/ 6457337 w 9586368"/>
              <a:gd name="connsiteY4750" fmla="*/ 3124976 h 6479439"/>
              <a:gd name="connsiteX4751" fmla="*/ 6457337 w 9586368"/>
              <a:gd name="connsiteY4751" fmla="*/ 3115105 h 6479439"/>
              <a:gd name="connsiteX4752" fmla="*/ 6222042 w 9586368"/>
              <a:gd name="connsiteY4752" fmla="*/ 3111067 h 6479439"/>
              <a:gd name="connsiteX4753" fmla="*/ 6231952 w 9586368"/>
              <a:gd name="connsiteY4753" fmla="*/ 3111067 h 6479439"/>
              <a:gd name="connsiteX4754" fmla="*/ 6235971 w 9586368"/>
              <a:gd name="connsiteY4754" fmla="*/ 3115105 h 6479439"/>
              <a:gd name="connsiteX4755" fmla="*/ 6235971 w 9586368"/>
              <a:gd name="connsiteY4755" fmla="*/ 3124976 h 6479439"/>
              <a:gd name="connsiteX4756" fmla="*/ 6231952 w 9586368"/>
              <a:gd name="connsiteY4756" fmla="*/ 3129015 h 6479439"/>
              <a:gd name="connsiteX4757" fmla="*/ 6222042 w 9586368"/>
              <a:gd name="connsiteY4757" fmla="*/ 3129015 h 6479439"/>
              <a:gd name="connsiteX4758" fmla="*/ 6218023 w 9586368"/>
              <a:gd name="connsiteY4758" fmla="*/ 3124976 h 6479439"/>
              <a:gd name="connsiteX4759" fmla="*/ 6218023 w 9586368"/>
              <a:gd name="connsiteY4759" fmla="*/ 3115105 h 6479439"/>
              <a:gd name="connsiteX4760" fmla="*/ 5982729 w 9586368"/>
              <a:gd name="connsiteY4760" fmla="*/ 3111067 h 6479439"/>
              <a:gd name="connsiteX4761" fmla="*/ 5992639 w 9586368"/>
              <a:gd name="connsiteY4761" fmla="*/ 3111067 h 6479439"/>
              <a:gd name="connsiteX4762" fmla="*/ 5996658 w 9586368"/>
              <a:gd name="connsiteY4762" fmla="*/ 3115105 h 6479439"/>
              <a:gd name="connsiteX4763" fmla="*/ 5996658 w 9586368"/>
              <a:gd name="connsiteY4763" fmla="*/ 3124976 h 6479439"/>
              <a:gd name="connsiteX4764" fmla="*/ 5992639 w 9586368"/>
              <a:gd name="connsiteY4764" fmla="*/ 3129015 h 6479439"/>
              <a:gd name="connsiteX4765" fmla="*/ 5982729 w 9586368"/>
              <a:gd name="connsiteY4765" fmla="*/ 3129015 h 6479439"/>
              <a:gd name="connsiteX4766" fmla="*/ 5978710 w 9586368"/>
              <a:gd name="connsiteY4766" fmla="*/ 3124976 h 6479439"/>
              <a:gd name="connsiteX4767" fmla="*/ 5978710 w 9586368"/>
              <a:gd name="connsiteY4767" fmla="*/ 3115105 h 6479439"/>
              <a:gd name="connsiteX4768" fmla="*/ 5743412 w 9586368"/>
              <a:gd name="connsiteY4768" fmla="*/ 3111067 h 6479439"/>
              <a:gd name="connsiteX4769" fmla="*/ 5753323 w 9586368"/>
              <a:gd name="connsiteY4769" fmla="*/ 3111067 h 6479439"/>
              <a:gd name="connsiteX4770" fmla="*/ 5757342 w 9586368"/>
              <a:gd name="connsiteY4770" fmla="*/ 3115105 h 6479439"/>
              <a:gd name="connsiteX4771" fmla="*/ 5757342 w 9586368"/>
              <a:gd name="connsiteY4771" fmla="*/ 3124976 h 6479439"/>
              <a:gd name="connsiteX4772" fmla="*/ 5753323 w 9586368"/>
              <a:gd name="connsiteY4772" fmla="*/ 3129015 h 6479439"/>
              <a:gd name="connsiteX4773" fmla="*/ 5743412 w 9586368"/>
              <a:gd name="connsiteY4773" fmla="*/ 3129015 h 6479439"/>
              <a:gd name="connsiteX4774" fmla="*/ 5739393 w 9586368"/>
              <a:gd name="connsiteY4774" fmla="*/ 3124976 h 6479439"/>
              <a:gd name="connsiteX4775" fmla="*/ 5739393 w 9586368"/>
              <a:gd name="connsiteY4775" fmla="*/ 3115105 h 6479439"/>
              <a:gd name="connsiteX4776" fmla="*/ 5504099 w 9586368"/>
              <a:gd name="connsiteY4776" fmla="*/ 3111067 h 6479439"/>
              <a:gd name="connsiteX4777" fmla="*/ 5514010 w 9586368"/>
              <a:gd name="connsiteY4777" fmla="*/ 3111067 h 6479439"/>
              <a:gd name="connsiteX4778" fmla="*/ 5518029 w 9586368"/>
              <a:gd name="connsiteY4778" fmla="*/ 3115105 h 6479439"/>
              <a:gd name="connsiteX4779" fmla="*/ 5518029 w 9586368"/>
              <a:gd name="connsiteY4779" fmla="*/ 3124976 h 6479439"/>
              <a:gd name="connsiteX4780" fmla="*/ 5514010 w 9586368"/>
              <a:gd name="connsiteY4780" fmla="*/ 3129015 h 6479439"/>
              <a:gd name="connsiteX4781" fmla="*/ 5504099 w 9586368"/>
              <a:gd name="connsiteY4781" fmla="*/ 3129015 h 6479439"/>
              <a:gd name="connsiteX4782" fmla="*/ 5500080 w 9586368"/>
              <a:gd name="connsiteY4782" fmla="*/ 3124976 h 6479439"/>
              <a:gd name="connsiteX4783" fmla="*/ 5500080 w 9586368"/>
              <a:gd name="connsiteY4783" fmla="*/ 3115105 h 6479439"/>
              <a:gd name="connsiteX4784" fmla="*/ 5264784 w 9586368"/>
              <a:gd name="connsiteY4784" fmla="*/ 3111067 h 6479439"/>
              <a:gd name="connsiteX4785" fmla="*/ 5274694 w 9586368"/>
              <a:gd name="connsiteY4785" fmla="*/ 3111067 h 6479439"/>
              <a:gd name="connsiteX4786" fmla="*/ 5278713 w 9586368"/>
              <a:gd name="connsiteY4786" fmla="*/ 3115105 h 6479439"/>
              <a:gd name="connsiteX4787" fmla="*/ 5278713 w 9586368"/>
              <a:gd name="connsiteY4787" fmla="*/ 3124976 h 6479439"/>
              <a:gd name="connsiteX4788" fmla="*/ 5274694 w 9586368"/>
              <a:gd name="connsiteY4788" fmla="*/ 3129015 h 6479439"/>
              <a:gd name="connsiteX4789" fmla="*/ 5264784 w 9586368"/>
              <a:gd name="connsiteY4789" fmla="*/ 3129015 h 6479439"/>
              <a:gd name="connsiteX4790" fmla="*/ 5260765 w 9586368"/>
              <a:gd name="connsiteY4790" fmla="*/ 3124976 h 6479439"/>
              <a:gd name="connsiteX4791" fmla="*/ 5260765 w 9586368"/>
              <a:gd name="connsiteY4791" fmla="*/ 3115105 h 6479439"/>
              <a:gd name="connsiteX4792" fmla="*/ 5025470 w 9586368"/>
              <a:gd name="connsiteY4792" fmla="*/ 3111067 h 6479439"/>
              <a:gd name="connsiteX4793" fmla="*/ 5035381 w 9586368"/>
              <a:gd name="connsiteY4793" fmla="*/ 3111067 h 6479439"/>
              <a:gd name="connsiteX4794" fmla="*/ 5039400 w 9586368"/>
              <a:gd name="connsiteY4794" fmla="*/ 3115105 h 6479439"/>
              <a:gd name="connsiteX4795" fmla="*/ 5039400 w 9586368"/>
              <a:gd name="connsiteY4795" fmla="*/ 3124976 h 6479439"/>
              <a:gd name="connsiteX4796" fmla="*/ 5035381 w 9586368"/>
              <a:gd name="connsiteY4796" fmla="*/ 3129015 h 6479439"/>
              <a:gd name="connsiteX4797" fmla="*/ 5025470 w 9586368"/>
              <a:gd name="connsiteY4797" fmla="*/ 3129015 h 6479439"/>
              <a:gd name="connsiteX4798" fmla="*/ 5021451 w 9586368"/>
              <a:gd name="connsiteY4798" fmla="*/ 3124976 h 6479439"/>
              <a:gd name="connsiteX4799" fmla="*/ 5021451 w 9586368"/>
              <a:gd name="connsiteY4799" fmla="*/ 3115105 h 6479439"/>
              <a:gd name="connsiteX4800" fmla="*/ 4786241 w 9586368"/>
              <a:gd name="connsiteY4800" fmla="*/ 3111067 h 6479439"/>
              <a:gd name="connsiteX4801" fmla="*/ 4796152 w 9586368"/>
              <a:gd name="connsiteY4801" fmla="*/ 3111067 h 6479439"/>
              <a:gd name="connsiteX4802" fmla="*/ 4800171 w 9586368"/>
              <a:gd name="connsiteY4802" fmla="*/ 3115105 h 6479439"/>
              <a:gd name="connsiteX4803" fmla="*/ 4800171 w 9586368"/>
              <a:gd name="connsiteY4803" fmla="*/ 3124976 h 6479439"/>
              <a:gd name="connsiteX4804" fmla="*/ 4796152 w 9586368"/>
              <a:gd name="connsiteY4804" fmla="*/ 3129015 h 6479439"/>
              <a:gd name="connsiteX4805" fmla="*/ 4786241 w 9586368"/>
              <a:gd name="connsiteY4805" fmla="*/ 3129015 h 6479439"/>
              <a:gd name="connsiteX4806" fmla="*/ 4782224 w 9586368"/>
              <a:gd name="connsiteY4806" fmla="*/ 3124976 h 6479439"/>
              <a:gd name="connsiteX4807" fmla="*/ 4782224 w 9586368"/>
              <a:gd name="connsiteY4807" fmla="*/ 3115105 h 6479439"/>
              <a:gd name="connsiteX4808" fmla="*/ 4546929 w 9586368"/>
              <a:gd name="connsiteY4808" fmla="*/ 3111067 h 6479439"/>
              <a:gd name="connsiteX4809" fmla="*/ 4556840 w 9586368"/>
              <a:gd name="connsiteY4809" fmla="*/ 3111067 h 6479439"/>
              <a:gd name="connsiteX4810" fmla="*/ 4560859 w 9586368"/>
              <a:gd name="connsiteY4810" fmla="*/ 3115105 h 6479439"/>
              <a:gd name="connsiteX4811" fmla="*/ 4560859 w 9586368"/>
              <a:gd name="connsiteY4811" fmla="*/ 3124976 h 6479439"/>
              <a:gd name="connsiteX4812" fmla="*/ 4556840 w 9586368"/>
              <a:gd name="connsiteY4812" fmla="*/ 3129015 h 6479439"/>
              <a:gd name="connsiteX4813" fmla="*/ 4546929 w 9586368"/>
              <a:gd name="connsiteY4813" fmla="*/ 3129015 h 6479439"/>
              <a:gd name="connsiteX4814" fmla="*/ 4542910 w 9586368"/>
              <a:gd name="connsiteY4814" fmla="*/ 3124976 h 6479439"/>
              <a:gd name="connsiteX4815" fmla="*/ 4542910 w 9586368"/>
              <a:gd name="connsiteY4815" fmla="*/ 3115105 h 6479439"/>
              <a:gd name="connsiteX4816" fmla="*/ 4307612 w 9586368"/>
              <a:gd name="connsiteY4816" fmla="*/ 3111067 h 6479439"/>
              <a:gd name="connsiteX4817" fmla="*/ 4317523 w 9586368"/>
              <a:gd name="connsiteY4817" fmla="*/ 3111067 h 6479439"/>
              <a:gd name="connsiteX4818" fmla="*/ 4321543 w 9586368"/>
              <a:gd name="connsiteY4818" fmla="*/ 3115105 h 6479439"/>
              <a:gd name="connsiteX4819" fmla="*/ 4321543 w 9586368"/>
              <a:gd name="connsiteY4819" fmla="*/ 3124976 h 6479439"/>
              <a:gd name="connsiteX4820" fmla="*/ 4317523 w 9586368"/>
              <a:gd name="connsiteY4820" fmla="*/ 3129015 h 6479439"/>
              <a:gd name="connsiteX4821" fmla="*/ 4307612 w 9586368"/>
              <a:gd name="connsiteY4821" fmla="*/ 3129015 h 6479439"/>
              <a:gd name="connsiteX4822" fmla="*/ 4303595 w 9586368"/>
              <a:gd name="connsiteY4822" fmla="*/ 3124976 h 6479439"/>
              <a:gd name="connsiteX4823" fmla="*/ 4303595 w 9586368"/>
              <a:gd name="connsiteY4823" fmla="*/ 3115105 h 6479439"/>
              <a:gd name="connsiteX4824" fmla="*/ 4068297 w 9586368"/>
              <a:gd name="connsiteY4824" fmla="*/ 3111067 h 6479439"/>
              <a:gd name="connsiteX4825" fmla="*/ 4078210 w 9586368"/>
              <a:gd name="connsiteY4825" fmla="*/ 3111067 h 6479439"/>
              <a:gd name="connsiteX4826" fmla="*/ 4082229 w 9586368"/>
              <a:gd name="connsiteY4826" fmla="*/ 3115105 h 6479439"/>
              <a:gd name="connsiteX4827" fmla="*/ 4082229 w 9586368"/>
              <a:gd name="connsiteY4827" fmla="*/ 3124976 h 6479439"/>
              <a:gd name="connsiteX4828" fmla="*/ 4078210 w 9586368"/>
              <a:gd name="connsiteY4828" fmla="*/ 3129015 h 6479439"/>
              <a:gd name="connsiteX4829" fmla="*/ 4068297 w 9586368"/>
              <a:gd name="connsiteY4829" fmla="*/ 3129015 h 6479439"/>
              <a:gd name="connsiteX4830" fmla="*/ 4064278 w 9586368"/>
              <a:gd name="connsiteY4830" fmla="*/ 3124976 h 6479439"/>
              <a:gd name="connsiteX4831" fmla="*/ 4064278 w 9586368"/>
              <a:gd name="connsiteY4831" fmla="*/ 3115105 h 6479439"/>
              <a:gd name="connsiteX4832" fmla="*/ 3828990 w 9586368"/>
              <a:gd name="connsiteY4832" fmla="*/ 3111067 h 6479439"/>
              <a:gd name="connsiteX4833" fmla="*/ 3838899 w 9586368"/>
              <a:gd name="connsiteY4833" fmla="*/ 3111067 h 6479439"/>
              <a:gd name="connsiteX4834" fmla="*/ 3842917 w 9586368"/>
              <a:gd name="connsiteY4834" fmla="*/ 3115105 h 6479439"/>
              <a:gd name="connsiteX4835" fmla="*/ 3842917 w 9586368"/>
              <a:gd name="connsiteY4835" fmla="*/ 3124976 h 6479439"/>
              <a:gd name="connsiteX4836" fmla="*/ 3838899 w 9586368"/>
              <a:gd name="connsiteY4836" fmla="*/ 3129015 h 6479439"/>
              <a:gd name="connsiteX4837" fmla="*/ 3828990 w 9586368"/>
              <a:gd name="connsiteY4837" fmla="*/ 3129015 h 6479439"/>
              <a:gd name="connsiteX4838" fmla="*/ 3824971 w 9586368"/>
              <a:gd name="connsiteY4838" fmla="*/ 3124976 h 6479439"/>
              <a:gd name="connsiteX4839" fmla="*/ 3824971 w 9586368"/>
              <a:gd name="connsiteY4839" fmla="*/ 3115105 h 6479439"/>
              <a:gd name="connsiteX4840" fmla="*/ 3589676 w 9586368"/>
              <a:gd name="connsiteY4840" fmla="*/ 3111067 h 6479439"/>
              <a:gd name="connsiteX4841" fmla="*/ 3599585 w 9586368"/>
              <a:gd name="connsiteY4841" fmla="*/ 3111067 h 6479439"/>
              <a:gd name="connsiteX4842" fmla="*/ 3603604 w 9586368"/>
              <a:gd name="connsiteY4842" fmla="*/ 3115105 h 6479439"/>
              <a:gd name="connsiteX4843" fmla="*/ 3603604 w 9586368"/>
              <a:gd name="connsiteY4843" fmla="*/ 3124976 h 6479439"/>
              <a:gd name="connsiteX4844" fmla="*/ 3599585 w 9586368"/>
              <a:gd name="connsiteY4844" fmla="*/ 3129015 h 6479439"/>
              <a:gd name="connsiteX4845" fmla="*/ 3589676 w 9586368"/>
              <a:gd name="connsiteY4845" fmla="*/ 3129015 h 6479439"/>
              <a:gd name="connsiteX4846" fmla="*/ 3585657 w 9586368"/>
              <a:gd name="connsiteY4846" fmla="*/ 3124976 h 6479439"/>
              <a:gd name="connsiteX4847" fmla="*/ 3585657 w 9586368"/>
              <a:gd name="connsiteY4847" fmla="*/ 3115105 h 6479439"/>
              <a:gd name="connsiteX4848" fmla="*/ 3350359 w 9586368"/>
              <a:gd name="connsiteY4848" fmla="*/ 3111067 h 6479439"/>
              <a:gd name="connsiteX4849" fmla="*/ 3360268 w 9586368"/>
              <a:gd name="connsiteY4849" fmla="*/ 3111067 h 6479439"/>
              <a:gd name="connsiteX4850" fmla="*/ 3364287 w 9586368"/>
              <a:gd name="connsiteY4850" fmla="*/ 3115105 h 6479439"/>
              <a:gd name="connsiteX4851" fmla="*/ 3364287 w 9586368"/>
              <a:gd name="connsiteY4851" fmla="*/ 3124976 h 6479439"/>
              <a:gd name="connsiteX4852" fmla="*/ 3360268 w 9586368"/>
              <a:gd name="connsiteY4852" fmla="*/ 3129015 h 6479439"/>
              <a:gd name="connsiteX4853" fmla="*/ 3350359 w 9586368"/>
              <a:gd name="connsiteY4853" fmla="*/ 3129015 h 6479439"/>
              <a:gd name="connsiteX4854" fmla="*/ 3346340 w 9586368"/>
              <a:gd name="connsiteY4854" fmla="*/ 3124976 h 6479439"/>
              <a:gd name="connsiteX4855" fmla="*/ 3346340 w 9586368"/>
              <a:gd name="connsiteY4855" fmla="*/ 3115105 h 6479439"/>
              <a:gd name="connsiteX4856" fmla="*/ 3111048 w 9586368"/>
              <a:gd name="connsiteY4856" fmla="*/ 3111067 h 6479439"/>
              <a:gd name="connsiteX4857" fmla="*/ 3120959 w 9586368"/>
              <a:gd name="connsiteY4857" fmla="*/ 3111067 h 6479439"/>
              <a:gd name="connsiteX4858" fmla="*/ 3124977 w 9586368"/>
              <a:gd name="connsiteY4858" fmla="*/ 3115105 h 6479439"/>
              <a:gd name="connsiteX4859" fmla="*/ 3124977 w 9586368"/>
              <a:gd name="connsiteY4859" fmla="*/ 3124976 h 6479439"/>
              <a:gd name="connsiteX4860" fmla="*/ 3120959 w 9586368"/>
              <a:gd name="connsiteY4860" fmla="*/ 3129015 h 6479439"/>
              <a:gd name="connsiteX4861" fmla="*/ 3111048 w 9586368"/>
              <a:gd name="connsiteY4861" fmla="*/ 3129015 h 6479439"/>
              <a:gd name="connsiteX4862" fmla="*/ 3107029 w 9586368"/>
              <a:gd name="connsiteY4862" fmla="*/ 3124976 h 6479439"/>
              <a:gd name="connsiteX4863" fmla="*/ 3107029 w 9586368"/>
              <a:gd name="connsiteY4863" fmla="*/ 3115105 h 6479439"/>
              <a:gd name="connsiteX4864" fmla="*/ 2871737 w 9586368"/>
              <a:gd name="connsiteY4864" fmla="*/ 3111067 h 6479439"/>
              <a:gd name="connsiteX4865" fmla="*/ 2881646 w 9586368"/>
              <a:gd name="connsiteY4865" fmla="*/ 3111067 h 6479439"/>
              <a:gd name="connsiteX4866" fmla="*/ 2885666 w 9586368"/>
              <a:gd name="connsiteY4866" fmla="*/ 3115105 h 6479439"/>
              <a:gd name="connsiteX4867" fmla="*/ 2885666 w 9586368"/>
              <a:gd name="connsiteY4867" fmla="*/ 3124976 h 6479439"/>
              <a:gd name="connsiteX4868" fmla="*/ 2881646 w 9586368"/>
              <a:gd name="connsiteY4868" fmla="*/ 3129015 h 6479439"/>
              <a:gd name="connsiteX4869" fmla="*/ 2871737 w 9586368"/>
              <a:gd name="connsiteY4869" fmla="*/ 3129015 h 6479439"/>
              <a:gd name="connsiteX4870" fmla="*/ 2867717 w 9586368"/>
              <a:gd name="connsiteY4870" fmla="*/ 3124976 h 6479439"/>
              <a:gd name="connsiteX4871" fmla="*/ 2867717 w 9586368"/>
              <a:gd name="connsiteY4871" fmla="*/ 3115105 h 6479439"/>
              <a:gd name="connsiteX4872" fmla="*/ 2632423 w 9586368"/>
              <a:gd name="connsiteY4872" fmla="*/ 3111067 h 6479439"/>
              <a:gd name="connsiteX4873" fmla="*/ 2642334 w 9586368"/>
              <a:gd name="connsiteY4873" fmla="*/ 3111067 h 6479439"/>
              <a:gd name="connsiteX4874" fmla="*/ 2646352 w 9586368"/>
              <a:gd name="connsiteY4874" fmla="*/ 3115105 h 6479439"/>
              <a:gd name="connsiteX4875" fmla="*/ 2646352 w 9586368"/>
              <a:gd name="connsiteY4875" fmla="*/ 3124976 h 6479439"/>
              <a:gd name="connsiteX4876" fmla="*/ 2642334 w 9586368"/>
              <a:gd name="connsiteY4876" fmla="*/ 3129015 h 6479439"/>
              <a:gd name="connsiteX4877" fmla="*/ 2632423 w 9586368"/>
              <a:gd name="connsiteY4877" fmla="*/ 3129015 h 6479439"/>
              <a:gd name="connsiteX4878" fmla="*/ 2628404 w 9586368"/>
              <a:gd name="connsiteY4878" fmla="*/ 3124976 h 6479439"/>
              <a:gd name="connsiteX4879" fmla="*/ 2628404 w 9586368"/>
              <a:gd name="connsiteY4879" fmla="*/ 3115105 h 6479439"/>
              <a:gd name="connsiteX4880" fmla="*/ 2393104 w 9586368"/>
              <a:gd name="connsiteY4880" fmla="*/ 3111067 h 6479439"/>
              <a:gd name="connsiteX4881" fmla="*/ 2403015 w 9586368"/>
              <a:gd name="connsiteY4881" fmla="*/ 3111067 h 6479439"/>
              <a:gd name="connsiteX4882" fmla="*/ 2407034 w 9586368"/>
              <a:gd name="connsiteY4882" fmla="*/ 3115105 h 6479439"/>
              <a:gd name="connsiteX4883" fmla="*/ 2407034 w 9586368"/>
              <a:gd name="connsiteY4883" fmla="*/ 3124976 h 6479439"/>
              <a:gd name="connsiteX4884" fmla="*/ 2403015 w 9586368"/>
              <a:gd name="connsiteY4884" fmla="*/ 3129015 h 6479439"/>
              <a:gd name="connsiteX4885" fmla="*/ 2393104 w 9586368"/>
              <a:gd name="connsiteY4885" fmla="*/ 3129015 h 6479439"/>
              <a:gd name="connsiteX4886" fmla="*/ 2389087 w 9586368"/>
              <a:gd name="connsiteY4886" fmla="*/ 3124976 h 6479439"/>
              <a:gd name="connsiteX4887" fmla="*/ 2389087 w 9586368"/>
              <a:gd name="connsiteY4887" fmla="*/ 3115105 h 6479439"/>
              <a:gd name="connsiteX4888" fmla="*/ 721968 w 9586368"/>
              <a:gd name="connsiteY4888" fmla="*/ 3111067 h 6479439"/>
              <a:gd name="connsiteX4889" fmla="*/ 731878 w 9586368"/>
              <a:gd name="connsiteY4889" fmla="*/ 3111067 h 6479439"/>
              <a:gd name="connsiteX4890" fmla="*/ 735897 w 9586368"/>
              <a:gd name="connsiteY4890" fmla="*/ 3115105 h 6479439"/>
              <a:gd name="connsiteX4891" fmla="*/ 735897 w 9586368"/>
              <a:gd name="connsiteY4891" fmla="*/ 3124976 h 6479439"/>
              <a:gd name="connsiteX4892" fmla="*/ 731878 w 9586368"/>
              <a:gd name="connsiteY4892" fmla="*/ 3129015 h 6479439"/>
              <a:gd name="connsiteX4893" fmla="*/ 721968 w 9586368"/>
              <a:gd name="connsiteY4893" fmla="*/ 3129015 h 6479439"/>
              <a:gd name="connsiteX4894" fmla="*/ 717949 w 9586368"/>
              <a:gd name="connsiteY4894" fmla="*/ 3124976 h 6479439"/>
              <a:gd name="connsiteX4895" fmla="*/ 717949 w 9586368"/>
              <a:gd name="connsiteY4895" fmla="*/ 3115105 h 6479439"/>
              <a:gd name="connsiteX4896" fmla="*/ 482656 w 9586368"/>
              <a:gd name="connsiteY4896" fmla="*/ 3111067 h 6479439"/>
              <a:gd name="connsiteX4897" fmla="*/ 492566 w 9586368"/>
              <a:gd name="connsiteY4897" fmla="*/ 3111067 h 6479439"/>
              <a:gd name="connsiteX4898" fmla="*/ 496585 w 9586368"/>
              <a:gd name="connsiteY4898" fmla="*/ 3115105 h 6479439"/>
              <a:gd name="connsiteX4899" fmla="*/ 496585 w 9586368"/>
              <a:gd name="connsiteY4899" fmla="*/ 3124976 h 6479439"/>
              <a:gd name="connsiteX4900" fmla="*/ 492566 w 9586368"/>
              <a:gd name="connsiteY4900" fmla="*/ 3129015 h 6479439"/>
              <a:gd name="connsiteX4901" fmla="*/ 482656 w 9586368"/>
              <a:gd name="connsiteY4901" fmla="*/ 3129015 h 6479439"/>
              <a:gd name="connsiteX4902" fmla="*/ 478637 w 9586368"/>
              <a:gd name="connsiteY4902" fmla="*/ 3124976 h 6479439"/>
              <a:gd name="connsiteX4903" fmla="*/ 478637 w 9586368"/>
              <a:gd name="connsiteY4903" fmla="*/ 3115105 h 6479439"/>
              <a:gd name="connsiteX4904" fmla="*/ 243342 w 9586368"/>
              <a:gd name="connsiteY4904" fmla="*/ 3111067 h 6479439"/>
              <a:gd name="connsiteX4905" fmla="*/ 253252 w 9586368"/>
              <a:gd name="connsiteY4905" fmla="*/ 3111067 h 6479439"/>
              <a:gd name="connsiteX4906" fmla="*/ 257271 w 9586368"/>
              <a:gd name="connsiteY4906" fmla="*/ 3115105 h 6479439"/>
              <a:gd name="connsiteX4907" fmla="*/ 257271 w 9586368"/>
              <a:gd name="connsiteY4907" fmla="*/ 3124976 h 6479439"/>
              <a:gd name="connsiteX4908" fmla="*/ 253252 w 9586368"/>
              <a:gd name="connsiteY4908" fmla="*/ 3129015 h 6479439"/>
              <a:gd name="connsiteX4909" fmla="*/ 243342 w 9586368"/>
              <a:gd name="connsiteY4909" fmla="*/ 3129015 h 6479439"/>
              <a:gd name="connsiteX4910" fmla="*/ 239323 w 9586368"/>
              <a:gd name="connsiteY4910" fmla="*/ 3124976 h 6479439"/>
              <a:gd name="connsiteX4911" fmla="*/ 239323 w 9586368"/>
              <a:gd name="connsiteY4911" fmla="*/ 3115105 h 6479439"/>
              <a:gd name="connsiteX4912" fmla="*/ 4029 w 9586368"/>
              <a:gd name="connsiteY4912" fmla="*/ 3111067 h 6479439"/>
              <a:gd name="connsiteX4913" fmla="*/ 13939 w 9586368"/>
              <a:gd name="connsiteY4913" fmla="*/ 3111067 h 6479439"/>
              <a:gd name="connsiteX4914" fmla="*/ 17959 w 9586368"/>
              <a:gd name="connsiteY4914" fmla="*/ 3115105 h 6479439"/>
              <a:gd name="connsiteX4915" fmla="*/ 17959 w 9586368"/>
              <a:gd name="connsiteY4915" fmla="*/ 3124976 h 6479439"/>
              <a:gd name="connsiteX4916" fmla="*/ 13939 w 9586368"/>
              <a:gd name="connsiteY4916" fmla="*/ 3129015 h 6479439"/>
              <a:gd name="connsiteX4917" fmla="*/ 4029 w 9586368"/>
              <a:gd name="connsiteY4917" fmla="*/ 3129015 h 6479439"/>
              <a:gd name="connsiteX4918" fmla="*/ 10 w 9586368"/>
              <a:gd name="connsiteY4918" fmla="*/ 3124976 h 6479439"/>
              <a:gd name="connsiteX4919" fmla="*/ 10 w 9586368"/>
              <a:gd name="connsiteY4919" fmla="*/ 3115105 h 6479439"/>
              <a:gd name="connsiteX4920" fmla="*/ 2157820 w 9586368"/>
              <a:gd name="connsiteY4920" fmla="*/ 2871788 h 6479439"/>
              <a:gd name="connsiteX4921" fmla="*/ 2167732 w 9586368"/>
              <a:gd name="connsiteY4921" fmla="*/ 2871788 h 6479439"/>
              <a:gd name="connsiteX4922" fmla="*/ 2171750 w 9586368"/>
              <a:gd name="connsiteY4922" fmla="*/ 2875826 h 6479439"/>
              <a:gd name="connsiteX4923" fmla="*/ 2171750 w 9586368"/>
              <a:gd name="connsiteY4923" fmla="*/ 2885696 h 6479439"/>
              <a:gd name="connsiteX4924" fmla="*/ 2167732 w 9586368"/>
              <a:gd name="connsiteY4924" fmla="*/ 2889735 h 6479439"/>
              <a:gd name="connsiteX4925" fmla="*/ 2157820 w 9586368"/>
              <a:gd name="connsiteY4925" fmla="*/ 2889735 h 6479439"/>
              <a:gd name="connsiteX4926" fmla="*/ 2153802 w 9586368"/>
              <a:gd name="connsiteY4926" fmla="*/ 2885696 h 6479439"/>
              <a:gd name="connsiteX4927" fmla="*/ 2153802 w 9586368"/>
              <a:gd name="connsiteY4927" fmla="*/ 2875826 h 6479439"/>
              <a:gd name="connsiteX4928" fmla="*/ 1918513 w 9586368"/>
              <a:gd name="connsiteY4928" fmla="*/ 2871788 h 6479439"/>
              <a:gd name="connsiteX4929" fmla="*/ 1928422 w 9586368"/>
              <a:gd name="connsiteY4929" fmla="*/ 2871788 h 6479439"/>
              <a:gd name="connsiteX4930" fmla="*/ 1932441 w 9586368"/>
              <a:gd name="connsiteY4930" fmla="*/ 2875826 h 6479439"/>
              <a:gd name="connsiteX4931" fmla="*/ 1932441 w 9586368"/>
              <a:gd name="connsiteY4931" fmla="*/ 2885696 h 6479439"/>
              <a:gd name="connsiteX4932" fmla="*/ 1928422 w 9586368"/>
              <a:gd name="connsiteY4932" fmla="*/ 2889735 h 6479439"/>
              <a:gd name="connsiteX4933" fmla="*/ 1918513 w 9586368"/>
              <a:gd name="connsiteY4933" fmla="*/ 2889735 h 6479439"/>
              <a:gd name="connsiteX4934" fmla="*/ 1914493 w 9586368"/>
              <a:gd name="connsiteY4934" fmla="*/ 2885696 h 6479439"/>
              <a:gd name="connsiteX4935" fmla="*/ 1914493 w 9586368"/>
              <a:gd name="connsiteY4935" fmla="*/ 2875826 h 6479439"/>
              <a:gd name="connsiteX4936" fmla="*/ 1679211 w 9586368"/>
              <a:gd name="connsiteY4936" fmla="*/ 2871788 h 6479439"/>
              <a:gd name="connsiteX4937" fmla="*/ 1689121 w 9586368"/>
              <a:gd name="connsiteY4937" fmla="*/ 2871788 h 6479439"/>
              <a:gd name="connsiteX4938" fmla="*/ 1693141 w 9586368"/>
              <a:gd name="connsiteY4938" fmla="*/ 2875826 h 6479439"/>
              <a:gd name="connsiteX4939" fmla="*/ 1693141 w 9586368"/>
              <a:gd name="connsiteY4939" fmla="*/ 2885696 h 6479439"/>
              <a:gd name="connsiteX4940" fmla="*/ 1689121 w 9586368"/>
              <a:gd name="connsiteY4940" fmla="*/ 2889735 h 6479439"/>
              <a:gd name="connsiteX4941" fmla="*/ 1679211 w 9586368"/>
              <a:gd name="connsiteY4941" fmla="*/ 2889735 h 6479439"/>
              <a:gd name="connsiteX4942" fmla="*/ 1675193 w 9586368"/>
              <a:gd name="connsiteY4942" fmla="*/ 2885696 h 6479439"/>
              <a:gd name="connsiteX4943" fmla="*/ 1675193 w 9586368"/>
              <a:gd name="connsiteY4943" fmla="*/ 2875826 h 6479439"/>
              <a:gd name="connsiteX4944" fmla="*/ 1439895 w 9586368"/>
              <a:gd name="connsiteY4944" fmla="*/ 2871788 h 6479439"/>
              <a:gd name="connsiteX4945" fmla="*/ 1449805 w 9586368"/>
              <a:gd name="connsiteY4945" fmla="*/ 2871788 h 6479439"/>
              <a:gd name="connsiteX4946" fmla="*/ 1453824 w 9586368"/>
              <a:gd name="connsiteY4946" fmla="*/ 2875826 h 6479439"/>
              <a:gd name="connsiteX4947" fmla="*/ 1453824 w 9586368"/>
              <a:gd name="connsiteY4947" fmla="*/ 2885696 h 6479439"/>
              <a:gd name="connsiteX4948" fmla="*/ 1449805 w 9586368"/>
              <a:gd name="connsiteY4948" fmla="*/ 2889735 h 6479439"/>
              <a:gd name="connsiteX4949" fmla="*/ 1439895 w 9586368"/>
              <a:gd name="connsiteY4949" fmla="*/ 2889735 h 6479439"/>
              <a:gd name="connsiteX4950" fmla="*/ 1435876 w 9586368"/>
              <a:gd name="connsiteY4950" fmla="*/ 2885696 h 6479439"/>
              <a:gd name="connsiteX4951" fmla="*/ 1435876 w 9586368"/>
              <a:gd name="connsiteY4951" fmla="*/ 2875826 h 6479439"/>
              <a:gd name="connsiteX4952" fmla="*/ 1200579 w 9586368"/>
              <a:gd name="connsiteY4952" fmla="*/ 2871788 h 6479439"/>
              <a:gd name="connsiteX4953" fmla="*/ 1210489 w 9586368"/>
              <a:gd name="connsiteY4953" fmla="*/ 2871788 h 6479439"/>
              <a:gd name="connsiteX4954" fmla="*/ 1214509 w 9586368"/>
              <a:gd name="connsiteY4954" fmla="*/ 2875826 h 6479439"/>
              <a:gd name="connsiteX4955" fmla="*/ 1214509 w 9586368"/>
              <a:gd name="connsiteY4955" fmla="*/ 2885696 h 6479439"/>
              <a:gd name="connsiteX4956" fmla="*/ 1210489 w 9586368"/>
              <a:gd name="connsiteY4956" fmla="*/ 2889735 h 6479439"/>
              <a:gd name="connsiteX4957" fmla="*/ 1200579 w 9586368"/>
              <a:gd name="connsiteY4957" fmla="*/ 2889735 h 6479439"/>
              <a:gd name="connsiteX4958" fmla="*/ 1196560 w 9586368"/>
              <a:gd name="connsiteY4958" fmla="*/ 2885696 h 6479439"/>
              <a:gd name="connsiteX4959" fmla="*/ 1196560 w 9586368"/>
              <a:gd name="connsiteY4959" fmla="*/ 2875826 h 6479439"/>
              <a:gd name="connsiteX4960" fmla="*/ 961267 w 9586368"/>
              <a:gd name="connsiteY4960" fmla="*/ 2871788 h 6479439"/>
              <a:gd name="connsiteX4961" fmla="*/ 971177 w 9586368"/>
              <a:gd name="connsiteY4961" fmla="*/ 2871788 h 6479439"/>
              <a:gd name="connsiteX4962" fmla="*/ 975195 w 9586368"/>
              <a:gd name="connsiteY4962" fmla="*/ 2875826 h 6479439"/>
              <a:gd name="connsiteX4963" fmla="*/ 975195 w 9586368"/>
              <a:gd name="connsiteY4963" fmla="*/ 2885696 h 6479439"/>
              <a:gd name="connsiteX4964" fmla="*/ 971177 w 9586368"/>
              <a:gd name="connsiteY4964" fmla="*/ 2889735 h 6479439"/>
              <a:gd name="connsiteX4965" fmla="*/ 961267 w 9586368"/>
              <a:gd name="connsiteY4965" fmla="*/ 2889735 h 6479439"/>
              <a:gd name="connsiteX4966" fmla="*/ 957247 w 9586368"/>
              <a:gd name="connsiteY4966" fmla="*/ 2885696 h 6479439"/>
              <a:gd name="connsiteX4967" fmla="*/ 957247 w 9586368"/>
              <a:gd name="connsiteY4967" fmla="*/ 2875826 h 6479439"/>
              <a:gd name="connsiteX4968" fmla="*/ 9572438 w 9586368"/>
              <a:gd name="connsiteY4968" fmla="*/ 2871736 h 6479439"/>
              <a:gd name="connsiteX4969" fmla="*/ 9582349 w 9586368"/>
              <a:gd name="connsiteY4969" fmla="*/ 2871736 h 6479439"/>
              <a:gd name="connsiteX4970" fmla="*/ 9586368 w 9586368"/>
              <a:gd name="connsiteY4970" fmla="*/ 2875775 h 6479439"/>
              <a:gd name="connsiteX4971" fmla="*/ 9586368 w 9586368"/>
              <a:gd name="connsiteY4971" fmla="*/ 2885645 h 6479439"/>
              <a:gd name="connsiteX4972" fmla="*/ 9582349 w 9586368"/>
              <a:gd name="connsiteY4972" fmla="*/ 2889684 h 6479439"/>
              <a:gd name="connsiteX4973" fmla="*/ 9572438 w 9586368"/>
              <a:gd name="connsiteY4973" fmla="*/ 2889684 h 6479439"/>
              <a:gd name="connsiteX4974" fmla="*/ 9568419 w 9586368"/>
              <a:gd name="connsiteY4974" fmla="*/ 2885645 h 6479439"/>
              <a:gd name="connsiteX4975" fmla="*/ 9568419 w 9586368"/>
              <a:gd name="connsiteY4975" fmla="*/ 2875775 h 6479439"/>
              <a:gd name="connsiteX4976" fmla="*/ 9333125 w 9586368"/>
              <a:gd name="connsiteY4976" fmla="*/ 2871736 h 6479439"/>
              <a:gd name="connsiteX4977" fmla="*/ 9343036 w 9586368"/>
              <a:gd name="connsiteY4977" fmla="*/ 2871736 h 6479439"/>
              <a:gd name="connsiteX4978" fmla="*/ 9347055 w 9586368"/>
              <a:gd name="connsiteY4978" fmla="*/ 2875775 h 6479439"/>
              <a:gd name="connsiteX4979" fmla="*/ 9347055 w 9586368"/>
              <a:gd name="connsiteY4979" fmla="*/ 2885645 h 6479439"/>
              <a:gd name="connsiteX4980" fmla="*/ 9343036 w 9586368"/>
              <a:gd name="connsiteY4980" fmla="*/ 2889684 h 6479439"/>
              <a:gd name="connsiteX4981" fmla="*/ 9333125 w 9586368"/>
              <a:gd name="connsiteY4981" fmla="*/ 2889684 h 6479439"/>
              <a:gd name="connsiteX4982" fmla="*/ 9329106 w 9586368"/>
              <a:gd name="connsiteY4982" fmla="*/ 2885645 h 6479439"/>
              <a:gd name="connsiteX4983" fmla="*/ 9329106 w 9586368"/>
              <a:gd name="connsiteY4983" fmla="*/ 2875775 h 6479439"/>
              <a:gd name="connsiteX4984" fmla="*/ 9093811 w 9586368"/>
              <a:gd name="connsiteY4984" fmla="*/ 2871736 h 6479439"/>
              <a:gd name="connsiteX4985" fmla="*/ 9103722 w 9586368"/>
              <a:gd name="connsiteY4985" fmla="*/ 2871736 h 6479439"/>
              <a:gd name="connsiteX4986" fmla="*/ 9107741 w 9586368"/>
              <a:gd name="connsiteY4986" fmla="*/ 2875775 h 6479439"/>
              <a:gd name="connsiteX4987" fmla="*/ 9107741 w 9586368"/>
              <a:gd name="connsiteY4987" fmla="*/ 2885645 h 6479439"/>
              <a:gd name="connsiteX4988" fmla="*/ 9103722 w 9586368"/>
              <a:gd name="connsiteY4988" fmla="*/ 2889684 h 6479439"/>
              <a:gd name="connsiteX4989" fmla="*/ 9093811 w 9586368"/>
              <a:gd name="connsiteY4989" fmla="*/ 2889684 h 6479439"/>
              <a:gd name="connsiteX4990" fmla="*/ 9089792 w 9586368"/>
              <a:gd name="connsiteY4990" fmla="*/ 2885645 h 6479439"/>
              <a:gd name="connsiteX4991" fmla="*/ 9089792 w 9586368"/>
              <a:gd name="connsiteY4991" fmla="*/ 2875775 h 6479439"/>
              <a:gd name="connsiteX4992" fmla="*/ 8854496 w 9586368"/>
              <a:gd name="connsiteY4992" fmla="*/ 2871736 h 6479439"/>
              <a:gd name="connsiteX4993" fmla="*/ 8864407 w 9586368"/>
              <a:gd name="connsiteY4993" fmla="*/ 2871736 h 6479439"/>
              <a:gd name="connsiteX4994" fmla="*/ 8868426 w 9586368"/>
              <a:gd name="connsiteY4994" fmla="*/ 2875775 h 6479439"/>
              <a:gd name="connsiteX4995" fmla="*/ 8868426 w 9586368"/>
              <a:gd name="connsiteY4995" fmla="*/ 2885645 h 6479439"/>
              <a:gd name="connsiteX4996" fmla="*/ 8864407 w 9586368"/>
              <a:gd name="connsiteY4996" fmla="*/ 2889684 h 6479439"/>
              <a:gd name="connsiteX4997" fmla="*/ 8854496 w 9586368"/>
              <a:gd name="connsiteY4997" fmla="*/ 2889684 h 6479439"/>
              <a:gd name="connsiteX4998" fmla="*/ 8850477 w 9586368"/>
              <a:gd name="connsiteY4998" fmla="*/ 2885645 h 6479439"/>
              <a:gd name="connsiteX4999" fmla="*/ 8850477 w 9586368"/>
              <a:gd name="connsiteY4999" fmla="*/ 2875775 h 6479439"/>
              <a:gd name="connsiteX5000" fmla="*/ 8615184 w 9586368"/>
              <a:gd name="connsiteY5000" fmla="*/ 2871736 h 6479439"/>
              <a:gd name="connsiteX5001" fmla="*/ 8625095 w 9586368"/>
              <a:gd name="connsiteY5001" fmla="*/ 2871736 h 6479439"/>
              <a:gd name="connsiteX5002" fmla="*/ 8629114 w 9586368"/>
              <a:gd name="connsiteY5002" fmla="*/ 2875775 h 6479439"/>
              <a:gd name="connsiteX5003" fmla="*/ 8629114 w 9586368"/>
              <a:gd name="connsiteY5003" fmla="*/ 2885645 h 6479439"/>
              <a:gd name="connsiteX5004" fmla="*/ 8625095 w 9586368"/>
              <a:gd name="connsiteY5004" fmla="*/ 2889684 h 6479439"/>
              <a:gd name="connsiteX5005" fmla="*/ 8615184 w 9586368"/>
              <a:gd name="connsiteY5005" fmla="*/ 2889684 h 6479439"/>
              <a:gd name="connsiteX5006" fmla="*/ 8611165 w 9586368"/>
              <a:gd name="connsiteY5006" fmla="*/ 2885645 h 6479439"/>
              <a:gd name="connsiteX5007" fmla="*/ 8611165 w 9586368"/>
              <a:gd name="connsiteY5007" fmla="*/ 2875775 h 6479439"/>
              <a:gd name="connsiteX5008" fmla="*/ 8375869 w 9586368"/>
              <a:gd name="connsiteY5008" fmla="*/ 2871736 h 6479439"/>
              <a:gd name="connsiteX5009" fmla="*/ 8385779 w 9586368"/>
              <a:gd name="connsiteY5009" fmla="*/ 2871736 h 6479439"/>
              <a:gd name="connsiteX5010" fmla="*/ 8389799 w 9586368"/>
              <a:gd name="connsiteY5010" fmla="*/ 2875775 h 6479439"/>
              <a:gd name="connsiteX5011" fmla="*/ 8389799 w 9586368"/>
              <a:gd name="connsiteY5011" fmla="*/ 2885645 h 6479439"/>
              <a:gd name="connsiteX5012" fmla="*/ 8385779 w 9586368"/>
              <a:gd name="connsiteY5012" fmla="*/ 2889684 h 6479439"/>
              <a:gd name="connsiteX5013" fmla="*/ 8375869 w 9586368"/>
              <a:gd name="connsiteY5013" fmla="*/ 2889684 h 6479439"/>
              <a:gd name="connsiteX5014" fmla="*/ 8371850 w 9586368"/>
              <a:gd name="connsiteY5014" fmla="*/ 2885645 h 6479439"/>
              <a:gd name="connsiteX5015" fmla="*/ 8371850 w 9586368"/>
              <a:gd name="connsiteY5015" fmla="*/ 2875775 h 6479439"/>
              <a:gd name="connsiteX5016" fmla="*/ 8136553 w 9586368"/>
              <a:gd name="connsiteY5016" fmla="*/ 2871736 h 6479439"/>
              <a:gd name="connsiteX5017" fmla="*/ 8146464 w 9586368"/>
              <a:gd name="connsiteY5017" fmla="*/ 2871736 h 6479439"/>
              <a:gd name="connsiteX5018" fmla="*/ 8150483 w 9586368"/>
              <a:gd name="connsiteY5018" fmla="*/ 2875775 h 6479439"/>
              <a:gd name="connsiteX5019" fmla="*/ 8150483 w 9586368"/>
              <a:gd name="connsiteY5019" fmla="*/ 2885645 h 6479439"/>
              <a:gd name="connsiteX5020" fmla="*/ 8146464 w 9586368"/>
              <a:gd name="connsiteY5020" fmla="*/ 2889684 h 6479439"/>
              <a:gd name="connsiteX5021" fmla="*/ 8136553 w 9586368"/>
              <a:gd name="connsiteY5021" fmla="*/ 2889684 h 6479439"/>
              <a:gd name="connsiteX5022" fmla="*/ 8132534 w 9586368"/>
              <a:gd name="connsiteY5022" fmla="*/ 2885645 h 6479439"/>
              <a:gd name="connsiteX5023" fmla="*/ 8132534 w 9586368"/>
              <a:gd name="connsiteY5023" fmla="*/ 2875775 h 6479439"/>
              <a:gd name="connsiteX5024" fmla="*/ 7897241 w 9586368"/>
              <a:gd name="connsiteY5024" fmla="*/ 2871736 h 6479439"/>
              <a:gd name="connsiteX5025" fmla="*/ 7907151 w 9586368"/>
              <a:gd name="connsiteY5025" fmla="*/ 2871736 h 6479439"/>
              <a:gd name="connsiteX5026" fmla="*/ 7911170 w 9586368"/>
              <a:gd name="connsiteY5026" fmla="*/ 2875775 h 6479439"/>
              <a:gd name="connsiteX5027" fmla="*/ 7911170 w 9586368"/>
              <a:gd name="connsiteY5027" fmla="*/ 2885645 h 6479439"/>
              <a:gd name="connsiteX5028" fmla="*/ 7907151 w 9586368"/>
              <a:gd name="connsiteY5028" fmla="*/ 2889684 h 6479439"/>
              <a:gd name="connsiteX5029" fmla="*/ 7897241 w 9586368"/>
              <a:gd name="connsiteY5029" fmla="*/ 2889684 h 6479439"/>
              <a:gd name="connsiteX5030" fmla="*/ 7893222 w 9586368"/>
              <a:gd name="connsiteY5030" fmla="*/ 2885645 h 6479439"/>
              <a:gd name="connsiteX5031" fmla="*/ 7893222 w 9586368"/>
              <a:gd name="connsiteY5031" fmla="*/ 2875775 h 6479439"/>
              <a:gd name="connsiteX5032" fmla="*/ 7657926 w 9586368"/>
              <a:gd name="connsiteY5032" fmla="*/ 2871736 h 6479439"/>
              <a:gd name="connsiteX5033" fmla="*/ 7667836 w 9586368"/>
              <a:gd name="connsiteY5033" fmla="*/ 2871736 h 6479439"/>
              <a:gd name="connsiteX5034" fmla="*/ 7671855 w 9586368"/>
              <a:gd name="connsiteY5034" fmla="*/ 2875775 h 6479439"/>
              <a:gd name="connsiteX5035" fmla="*/ 7671855 w 9586368"/>
              <a:gd name="connsiteY5035" fmla="*/ 2885645 h 6479439"/>
              <a:gd name="connsiteX5036" fmla="*/ 7667836 w 9586368"/>
              <a:gd name="connsiteY5036" fmla="*/ 2889684 h 6479439"/>
              <a:gd name="connsiteX5037" fmla="*/ 7657926 w 9586368"/>
              <a:gd name="connsiteY5037" fmla="*/ 2889684 h 6479439"/>
              <a:gd name="connsiteX5038" fmla="*/ 7653906 w 9586368"/>
              <a:gd name="connsiteY5038" fmla="*/ 2885645 h 6479439"/>
              <a:gd name="connsiteX5039" fmla="*/ 7653906 w 9586368"/>
              <a:gd name="connsiteY5039" fmla="*/ 2875775 h 6479439"/>
              <a:gd name="connsiteX5040" fmla="*/ 7418611 w 9586368"/>
              <a:gd name="connsiteY5040" fmla="*/ 2871736 h 6479439"/>
              <a:gd name="connsiteX5041" fmla="*/ 7428521 w 9586368"/>
              <a:gd name="connsiteY5041" fmla="*/ 2871736 h 6479439"/>
              <a:gd name="connsiteX5042" fmla="*/ 7432540 w 9586368"/>
              <a:gd name="connsiteY5042" fmla="*/ 2875775 h 6479439"/>
              <a:gd name="connsiteX5043" fmla="*/ 7432540 w 9586368"/>
              <a:gd name="connsiteY5043" fmla="*/ 2885645 h 6479439"/>
              <a:gd name="connsiteX5044" fmla="*/ 7428521 w 9586368"/>
              <a:gd name="connsiteY5044" fmla="*/ 2889684 h 6479439"/>
              <a:gd name="connsiteX5045" fmla="*/ 7418611 w 9586368"/>
              <a:gd name="connsiteY5045" fmla="*/ 2889684 h 6479439"/>
              <a:gd name="connsiteX5046" fmla="*/ 7414592 w 9586368"/>
              <a:gd name="connsiteY5046" fmla="*/ 2885645 h 6479439"/>
              <a:gd name="connsiteX5047" fmla="*/ 7414592 w 9586368"/>
              <a:gd name="connsiteY5047" fmla="*/ 2875775 h 6479439"/>
              <a:gd name="connsiteX5048" fmla="*/ 7179298 w 9586368"/>
              <a:gd name="connsiteY5048" fmla="*/ 2871736 h 6479439"/>
              <a:gd name="connsiteX5049" fmla="*/ 7189209 w 9586368"/>
              <a:gd name="connsiteY5049" fmla="*/ 2871736 h 6479439"/>
              <a:gd name="connsiteX5050" fmla="*/ 7193228 w 9586368"/>
              <a:gd name="connsiteY5050" fmla="*/ 2875775 h 6479439"/>
              <a:gd name="connsiteX5051" fmla="*/ 7193228 w 9586368"/>
              <a:gd name="connsiteY5051" fmla="*/ 2885645 h 6479439"/>
              <a:gd name="connsiteX5052" fmla="*/ 7189209 w 9586368"/>
              <a:gd name="connsiteY5052" fmla="*/ 2889684 h 6479439"/>
              <a:gd name="connsiteX5053" fmla="*/ 7179298 w 9586368"/>
              <a:gd name="connsiteY5053" fmla="*/ 2889684 h 6479439"/>
              <a:gd name="connsiteX5054" fmla="*/ 7175279 w 9586368"/>
              <a:gd name="connsiteY5054" fmla="*/ 2885645 h 6479439"/>
              <a:gd name="connsiteX5055" fmla="*/ 7175279 w 9586368"/>
              <a:gd name="connsiteY5055" fmla="*/ 2875775 h 6479439"/>
              <a:gd name="connsiteX5056" fmla="*/ 6939983 w 9586368"/>
              <a:gd name="connsiteY5056" fmla="*/ 2871736 h 6479439"/>
              <a:gd name="connsiteX5057" fmla="*/ 6949894 w 9586368"/>
              <a:gd name="connsiteY5057" fmla="*/ 2871736 h 6479439"/>
              <a:gd name="connsiteX5058" fmla="*/ 6953913 w 9586368"/>
              <a:gd name="connsiteY5058" fmla="*/ 2875775 h 6479439"/>
              <a:gd name="connsiteX5059" fmla="*/ 6953913 w 9586368"/>
              <a:gd name="connsiteY5059" fmla="*/ 2885645 h 6479439"/>
              <a:gd name="connsiteX5060" fmla="*/ 6949894 w 9586368"/>
              <a:gd name="connsiteY5060" fmla="*/ 2889684 h 6479439"/>
              <a:gd name="connsiteX5061" fmla="*/ 6939983 w 9586368"/>
              <a:gd name="connsiteY5061" fmla="*/ 2889684 h 6479439"/>
              <a:gd name="connsiteX5062" fmla="*/ 6935964 w 9586368"/>
              <a:gd name="connsiteY5062" fmla="*/ 2885645 h 6479439"/>
              <a:gd name="connsiteX5063" fmla="*/ 6935964 w 9586368"/>
              <a:gd name="connsiteY5063" fmla="*/ 2875775 h 6479439"/>
              <a:gd name="connsiteX5064" fmla="*/ 6700670 w 9586368"/>
              <a:gd name="connsiteY5064" fmla="*/ 2871736 h 6479439"/>
              <a:gd name="connsiteX5065" fmla="*/ 6710581 w 9586368"/>
              <a:gd name="connsiteY5065" fmla="*/ 2871736 h 6479439"/>
              <a:gd name="connsiteX5066" fmla="*/ 6714600 w 9586368"/>
              <a:gd name="connsiteY5066" fmla="*/ 2875775 h 6479439"/>
              <a:gd name="connsiteX5067" fmla="*/ 6714600 w 9586368"/>
              <a:gd name="connsiteY5067" fmla="*/ 2885645 h 6479439"/>
              <a:gd name="connsiteX5068" fmla="*/ 6710581 w 9586368"/>
              <a:gd name="connsiteY5068" fmla="*/ 2889684 h 6479439"/>
              <a:gd name="connsiteX5069" fmla="*/ 6700670 w 9586368"/>
              <a:gd name="connsiteY5069" fmla="*/ 2889684 h 6479439"/>
              <a:gd name="connsiteX5070" fmla="*/ 6696651 w 9586368"/>
              <a:gd name="connsiteY5070" fmla="*/ 2885645 h 6479439"/>
              <a:gd name="connsiteX5071" fmla="*/ 6696651 w 9586368"/>
              <a:gd name="connsiteY5071" fmla="*/ 2875775 h 6479439"/>
              <a:gd name="connsiteX5072" fmla="*/ 6461356 w 9586368"/>
              <a:gd name="connsiteY5072" fmla="*/ 2871736 h 6479439"/>
              <a:gd name="connsiteX5073" fmla="*/ 6471266 w 9586368"/>
              <a:gd name="connsiteY5073" fmla="*/ 2871736 h 6479439"/>
              <a:gd name="connsiteX5074" fmla="*/ 6475285 w 9586368"/>
              <a:gd name="connsiteY5074" fmla="*/ 2875775 h 6479439"/>
              <a:gd name="connsiteX5075" fmla="*/ 6475285 w 9586368"/>
              <a:gd name="connsiteY5075" fmla="*/ 2885645 h 6479439"/>
              <a:gd name="connsiteX5076" fmla="*/ 6471266 w 9586368"/>
              <a:gd name="connsiteY5076" fmla="*/ 2889684 h 6479439"/>
              <a:gd name="connsiteX5077" fmla="*/ 6461356 w 9586368"/>
              <a:gd name="connsiteY5077" fmla="*/ 2889684 h 6479439"/>
              <a:gd name="connsiteX5078" fmla="*/ 6457337 w 9586368"/>
              <a:gd name="connsiteY5078" fmla="*/ 2885645 h 6479439"/>
              <a:gd name="connsiteX5079" fmla="*/ 6457337 w 9586368"/>
              <a:gd name="connsiteY5079" fmla="*/ 2875775 h 6479439"/>
              <a:gd name="connsiteX5080" fmla="*/ 6222042 w 9586368"/>
              <a:gd name="connsiteY5080" fmla="*/ 2871736 h 6479439"/>
              <a:gd name="connsiteX5081" fmla="*/ 6231952 w 9586368"/>
              <a:gd name="connsiteY5081" fmla="*/ 2871736 h 6479439"/>
              <a:gd name="connsiteX5082" fmla="*/ 6235971 w 9586368"/>
              <a:gd name="connsiteY5082" fmla="*/ 2875775 h 6479439"/>
              <a:gd name="connsiteX5083" fmla="*/ 6235971 w 9586368"/>
              <a:gd name="connsiteY5083" fmla="*/ 2885645 h 6479439"/>
              <a:gd name="connsiteX5084" fmla="*/ 6231952 w 9586368"/>
              <a:gd name="connsiteY5084" fmla="*/ 2889684 h 6479439"/>
              <a:gd name="connsiteX5085" fmla="*/ 6222042 w 9586368"/>
              <a:gd name="connsiteY5085" fmla="*/ 2889684 h 6479439"/>
              <a:gd name="connsiteX5086" fmla="*/ 6218023 w 9586368"/>
              <a:gd name="connsiteY5086" fmla="*/ 2885645 h 6479439"/>
              <a:gd name="connsiteX5087" fmla="*/ 6218023 w 9586368"/>
              <a:gd name="connsiteY5087" fmla="*/ 2875775 h 6479439"/>
              <a:gd name="connsiteX5088" fmla="*/ 5982729 w 9586368"/>
              <a:gd name="connsiteY5088" fmla="*/ 2871736 h 6479439"/>
              <a:gd name="connsiteX5089" fmla="*/ 5992639 w 9586368"/>
              <a:gd name="connsiteY5089" fmla="*/ 2871736 h 6479439"/>
              <a:gd name="connsiteX5090" fmla="*/ 5996658 w 9586368"/>
              <a:gd name="connsiteY5090" fmla="*/ 2875775 h 6479439"/>
              <a:gd name="connsiteX5091" fmla="*/ 5996658 w 9586368"/>
              <a:gd name="connsiteY5091" fmla="*/ 2885645 h 6479439"/>
              <a:gd name="connsiteX5092" fmla="*/ 5992639 w 9586368"/>
              <a:gd name="connsiteY5092" fmla="*/ 2889684 h 6479439"/>
              <a:gd name="connsiteX5093" fmla="*/ 5982729 w 9586368"/>
              <a:gd name="connsiteY5093" fmla="*/ 2889684 h 6479439"/>
              <a:gd name="connsiteX5094" fmla="*/ 5978710 w 9586368"/>
              <a:gd name="connsiteY5094" fmla="*/ 2885645 h 6479439"/>
              <a:gd name="connsiteX5095" fmla="*/ 5978710 w 9586368"/>
              <a:gd name="connsiteY5095" fmla="*/ 2875775 h 6479439"/>
              <a:gd name="connsiteX5096" fmla="*/ 5743412 w 9586368"/>
              <a:gd name="connsiteY5096" fmla="*/ 2871736 h 6479439"/>
              <a:gd name="connsiteX5097" fmla="*/ 5753323 w 9586368"/>
              <a:gd name="connsiteY5097" fmla="*/ 2871736 h 6479439"/>
              <a:gd name="connsiteX5098" fmla="*/ 5757342 w 9586368"/>
              <a:gd name="connsiteY5098" fmla="*/ 2875775 h 6479439"/>
              <a:gd name="connsiteX5099" fmla="*/ 5757342 w 9586368"/>
              <a:gd name="connsiteY5099" fmla="*/ 2885645 h 6479439"/>
              <a:gd name="connsiteX5100" fmla="*/ 5753323 w 9586368"/>
              <a:gd name="connsiteY5100" fmla="*/ 2889684 h 6479439"/>
              <a:gd name="connsiteX5101" fmla="*/ 5743412 w 9586368"/>
              <a:gd name="connsiteY5101" fmla="*/ 2889684 h 6479439"/>
              <a:gd name="connsiteX5102" fmla="*/ 5739393 w 9586368"/>
              <a:gd name="connsiteY5102" fmla="*/ 2885645 h 6479439"/>
              <a:gd name="connsiteX5103" fmla="*/ 5739393 w 9586368"/>
              <a:gd name="connsiteY5103" fmla="*/ 2875775 h 6479439"/>
              <a:gd name="connsiteX5104" fmla="*/ 5504099 w 9586368"/>
              <a:gd name="connsiteY5104" fmla="*/ 2871736 h 6479439"/>
              <a:gd name="connsiteX5105" fmla="*/ 5514010 w 9586368"/>
              <a:gd name="connsiteY5105" fmla="*/ 2871736 h 6479439"/>
              <a:gd name="connsiteX5106" fmla="*/ 5518029 w 9586368"/>
              <a:gd name="connsiteY5106" fmla="*/ 2875775 h 6479439"/>
              <a:gd name="connsiteX5107" fmla="*/ 5518029 w 9586368"/>
              <a:gd name="connsiteY5107" fmla="*/ 2885645 h 6479439"/>
              <a:gd name="connsiteX5108" fmla="*/ 5514010 w 9586368"/>
              <a:gd name="connsiteY5108" fmla="*/ 2889684 h 6479439"/>
              <a:gd name="connsiteX5109" fmla="*/ 5504099 w 9586368"/>
              <a:gd name="connsiteY5109" fmla="*/ 2889684 h 6479439"/>
              <a:gd name="connsiteX5110" fmla="*/ 5500080 w 9586368"/>
              <a:gd name="connsiteY5110" fmla="*/ 2885645 h 6479439"/>
              <a:gd name="connsiteX5111" fmla="*/ 5500080 w 9586368"/>
              <a:gd name="connsiteY5111" fmla="*/ 2875775 h 6479439"/>
              <a:gd name="connsiteX5112" fmla="*/ 5264784 w 9586368"/>
              <a:gd name="connsiteY5112" fmla="*/ 2871736 h 6479439"/>
              <a:gd name="connsiteX5113" fmla="*/ 5274694 w 9586368"/>
              <a:gd name="connsiteY5113" fmla="*/ 2871736 h 6479439"/>
              <a:gd name="connsiteX5114" fmla="*/ 5278713 w 9586368"/>
              <a:gd name="connsiteY5114" fmla="*/ 2875775 h 6479439"/>
              <a:gd name="connsiteX5115" fmla="*/ 5278713 w 9586368"/>
              <a:gd name="connsiteY5115" fmla="*/ 2885645 h 6479439"/>
              <a:gd name="connsiteX5116" fmla="*/ 5274694 w 9586368"/>
              <a:gd name="connsiteY5116" fmla="*/ 2889684 h 6479439"/>
              <a:gd name="connsiteX5117" fmla="*/ 5264784 w 9586368"/>
              <a:gd name="connsiteY5117" fmla="*/ 2889684 h 6479439"/>
              <a:gd name="connsiteX5118" fmla="*/ 5260765 w 9586368"/>
              <a:gd name="connsiteY5118" fmla="*/ 2885645 h 6479439"/>
              <a:gd name="connsiteX5119" fmla="*/ 5260765 w 9586368"/>
              <a:gd name="connsiteY5119" fmla="*/ 2875775 h 6479439"/>
              <a:gd name="connsiteX5120" fmla="*/ 5025470 w 9586368"/>
              <a:gd name="connsiteY5120" fmla="*/ 2871736 h 6479439"/>
              <a:gd name="connsiteX5121" fmla="*/ 5035381 w 9586368"/>
              <a:gd name="connsiteY5121" fmla="*/ 2871736 h 6479439"/>
              <a:gd name="connsiteX5122" fmla="*/ 5039400 w 9586368"/>
              <a:gd name="connsiteY5122" fmla="*/ 2875775 h 6479439"/>
              <a:gd name="connsiteX5123" fmla="*/ 5039400 w 9586368"/>
              <a:gd name="connsiteY5123" fmla="*/ 2885645 h 6479439"/>
              <a:gd name="connsiteX5124" fmla="*/ 5035381 w 9586368"/>
              <a:gd name="connsiteY5124" fmla="*/ 2889684 h 6479439"/>
              <a:gd name="connsiteX5125" fmla="*/ 5025470 w 9586368"/>
              <a:gd name="connsiteY5125" fmla="*/ 2889684 h 6479439"/>
              <a:gd name="connsiteX5126" fmla="*/ 5021451 w 9586368"/>
              <a:gd name="connsiteY5126" fmla="*/ 2885645 h 6479439"/>
              <a:gd name="connsiteX5127" fmla="*/ 5021451 w 9586368"/>
              <a:gd name="connsiteY5127" fmla="*/ 2875775 h 6479439"/>
              <a:gd name="connsiteX5128" fmla="*/ 4786241 w 9586368"/>
              <a:gd name="connsiteY5128" fmla="*/ 2871736 h 6479439"/>
              <a:gd name="connsiteX5129" fmla="*/ 4796152 w 9586368"/>
              <a:gd name="connsiteY5129" fmla="*/ 2871736 h 6479439"/>
              <a:gd name="connsiteX5130" fmla="*/ 4800171 w 9586368"/>
              <a:gd name="connsiteY5130" fmla="*/ 2875775 h 6479439"/>
              <a:gd name="connsiteX5131" fmla="*/ 4800171 w 9586368"/>
              <a:gd name="connsiteY5131" fmla="*/ 2885645 h 6479439"/>
              <a:gd name="connsiteX5132" fmla="*/ 4796152 w 9586368"/>
              <a:gd name="connsiteY5132" fmla="*/ 2889684 h 6479439"/>
              <a:gd name="connsiteX5133" fmla="*/ 4786241 w 9586368"/>
              <a:gd name="connsiteY5133" fmla="*/ 2889684 h 6479439"/>
              <a:gd name="connsiteX5134" fmla="*/ 4782224 w 9586368"/>
              <a:gd name="connsiteY5134" fmla="*/ 2885645 h 6479439"/>
              <a:gd name="connsiteX5135" fmla="*/ 4782224 w 9586368"/>
              <a:gd name="connsiteY5135" fmla="*/ 2875775 h 6479439"/>
              <a:gd name="connsiteX5136" fmla="*/ 4546929 w 9586368"/>
              <a:gd name="connsiteY5136" fmla="*/ 2871736 h 6479439"/>
              <a:gd name="connsiteX5137" fmla="*/ 4556840 w 9586368"/>
              <a:gd name="connsiteY5137" fmla="*/ 2871736 h 6479439"/>
              <a:gd name="connsiteX5138" fmla="*/ 4560859 w 9586368"/>
              <a:gd name="connsiteY5138" fmla="*/ 2875775 h 6479439"/>
              <a:gd name="connsiteX5139" fmla="*/ 4560859 w 9586368"/>
              <a:gd name="connsiteY5139" fmla="*/ 2885645 h 6479439"/>
              <a:gd name="connsiteX5140" fmla="*/ 4556840 w 9586368"/>
              <a:gd name="connsiteY5140" fmla="*/ 2889684 h 6479439"/>
              <a:gd name="connsiteX5141" fmla="*/ 4546929 w 9586368"/>
              <a:gd name="connsiteY5141" fmla="*/ 2889684 h 6479439"/>
              <a:gd name="connsiteX5142" fmla="*/ 4542910 w 9586368"/>
              <a:gd name="connsiteY5142" fmla="*/ 2885645 h 6479439"/>
              <a:gd name="connsiteX5143" fmla="*/ 4542910 w 9586368"/>
              <a:gd name="connsiteY5143" fmla="*/ 2875775 h 6479439"/>
              <a:gd name="connsiteX5144" fmla="*/ 4307612 w 9586368"/>
              <a:gd name="connsiteY5144" fmla="*/ 2871736 h 6479439"/>
              <a:gd name="connsiteX5145" fmla="*/ 4317523 w 9586368"/>
              <a:gd name="connsiteY5145" fmla="*/ 2871736 h 6479439"/>
              <a:gd name="connsiteX5146" fmla="*/ 4321543 w 9586368"/>
              <a:gd name="connsiteY5146" fmla="*/ 2875775 h 6479439"/>
              <a:gd name="connsiteX5147" fmla="*/ 4321543 w 9586368"/>
              <a:gd name="connsiteY5147" fmla="*/ 2885645 h 6479439"/>
              <a:gd name="connsiteX5148" fmla="*/ 4317523 w 9586368"/>
              <a:gd name="connsiteY5148" fmla="*/ 2889684 h 6479439"/>
              <a:gd name="connsiteX5149" fmla="*/ 4307612 w 9586368"/>
              <a:gd name="connsiteY5149" fmla="*/ 2889684 h 6479439"/>
              <a:gd name="connsiteX5150" fmla="*/ 4303595 w 9586368"/>
              <a:gd name="connsiteY5150" fmla="*/ 2885645 h 6479439"/>
              <a:gd name="connsiteX5151" fmla="*/ 4303595 w 9586368"/>
              <a:gd name="connsiteY5151" fmla="*/ 2875775 h 6479439"/>
              <a:gd name="connsiteX5152" fmla="*/ 4068297 w 9586368"/>
              <a:gd name="connsiteY5152" fmla="*/ 2871736 h 6479439"/>
              <a:gd name="connsiteX5153" fmla="*/ 4078210 w 9586368"/>
              <a:gd name="connsiteY5153" fmla="*/ 2871736 h 6479439"/>
              <a:gd name="connsiteX5154" fmla="*/ 4082229 w 9586368"/>
              <a:gd name="connsiteY5154" fmla="*/ 2875775 h 6479439"/>
              <a:gd name="connsiteX5155" fmla="*/ 4082229 w 9586368"/>
              <a:gd name="connsiteY5155" fmla="*/ 2885645 h 6479439"/>
              <a:gd name="connsiteX5156" fmla="*/ 4078210 w 9586368"/>
              <a:gd name="connsiteY5156" fmla="*/ 2889684 h 6479439"/>
              <a:gd name="connsiteX5157" fmla="*/ 4068297 w 9586368"/>
              <a:gd name="connsiteY5157" fmla="*/ 2889684 h 6479439"/>
              <a:gd name="connsiteX5158" fmla="*/ 4064278 w 9586368"/>
              <a:gd name="connsiteY5158" fmla="*/ 2885645 h 6479439"/>
              <a:gd name="connsiteX5159" fmla="*/ 4064278 w 9586368"/>
              <a:gd name="connsiteY5159" fmla="*/ 2875775 h 6479439"/>
              <a:gd name="connsiteX5160" fmla="*/ 3828990 w 9586368"/>
              <a:gd name="connsiteY5160" fmla="*/ 2871736 h 6479439"/>
              <a:gd name="connsiteX5161" fmla="*/ 3838899 w 9586368"/>
              <a:gd name="connsiteY5161" fmla="*/ 2871736 h 6479439"/>
              <a:gd name="connsiteX5162" fmla="*/ 3842917 w 9586368"/>
              <a:gd name="connsiteY5162" fmla="*/ 2875775 h 6479439"/>
              <a:gd name="connsiteX5163" fmla="*/ 3842917 w 9586368"/>
              <a:gd name="connsiteY5163" fmla="*/ 2885645 h 6479439"/>
              <a:gd name="connsiteX5164" fmla="*/ 3838899 w 9586368"/>
              <a:gd name="connsiteY5164" fmla="*/ 2889684 h 6479439"/>
              <a:gd name="connsiteX5165" fmla="*/ 3828990 w 9586368"/>
              <a:gd name="connsiteY5165" fmla="*/ 2889684 h 6479439"/>
              <a:gd name="connsiteX5166" fmla="*/ 3824971 w 9586368"/>
              <a:gd name="connsiteY5166" fmla="*/ 2885645 h 6479439"/>
              <a:gd name="connsiteX5167" fmla="*/ 3824971 w 9586368"/>
              <a:gd name="connsiteY5167" fmla="*/ 2875775 h 6479439"/>
              <a:gd name="connsiteX5168" fmla="*/ 3589676 w 9586368"/>
              <a:gd name="connsiteY5168" fmla="*/ 2871736 h 6479439"/>
              <a:gd name="connsiteX5169" fmla="*/ 3599585 w 9586368"/>
              <a:gd name="connsiteY5169" fmla="*/ 2871736 h 6479439"/>
              <a:gd name="connsiteX5170" fmla="*/ 3603604 w 9586368"/>
              <a:gd name="connsiteY5170" fmla="*/ 2875775 h 6479439"/>
              <a:gd name="connsiteX5171" fmla="*/ 3603604 w 9586368"/>
              <a:gd name="connsiteY5171" fmla="*/ 2885645 h 6479439"/>
              <a:gd name="connsiteX5172" fmla="*/ 3599585 w 9586368"/>
              <a:gd name="connsiteY5172" fmla="*/ 2889684 h 6479439"/>
              <a:gd name="connsiteX5173" fmla="*/ 3589676 w 9586368"/>
              <a:gd name="connsiteY5173" fmla="*/ 2889684 h 6479439"/>
              <a:gd name="connsiteX5174" fmla="*/ 3585657 w 9586368"/>
              <a:gd name="connsiteY5174" fmla="*/ 2885645 h 6479439"/>
              <a:gd name="connsiteX5175" fmla="*/ 3585657 w 9586368"/>
              <a:gd name="connsiteY5175" fmla="*/ 2875775 h 6479439"/>
              <a:gd name="connsiteX5176" fmla="*/ 3350359 w 9586368"/>
              <a:gd name="connsiteY5176" fmla="*/ 2871736 h 6479439"/>
              <a:gd name="connsiteX5177" fmla="*/ 3360268 w 9586368"/>
              <a:gd name="connsiteY5177" fmla="*/ 2871736 h 6479439"/>
              <a:gd name="connsiteX5178" fmla="*/ 3364287 w 9586368"/>
              <a:gd name="connsiteY5178" fmla="*/ 2875775 h 6479439"/>
              <a:gd name="connsiteX5179" fmla="*/ 3364287 w 9586368"/>
              <a:gd name="connsiteY5179" fmla="*/ 2885645 h 6479439"/>
              <a:gd name="connsiteX5180" fmla="*/ 3360268 w 9586368"/>
              <a:gd name="connsiteY5180" fmla="*/ 2889684 h 6479439"/>
              <a:gd name="connsiteX5181" fmla="*/ 3350359 w 9586368"/>
              <a:gd name="connsiteY5181" fmla="*/ 2889684 h 6479439"/>
              <a:gd name="connsiteX5182" fmla="*/ 3346340 w 9586368"/>
              <a:gd name="connsiteY5182" fmla="*/ 2885645 h 6479439"/>
              <a:gd name="connsiteX5183" fmla="*/ 3346340 w 9586368"/>
              <a:gd name="connsiteY5183" fmla="*/ 2875775 h 6479439"/>
              <a:gd name="connsiteX5184" fmla="*/ 3111048 w 9586368"/>
              <a:gd name="connsiteY5184" fmla="*/ 2871736 h 6479439"/>
              <a:gd name="connsiteX5185" fmla="*/ 3120959 w 9586368"/>
              <a:gd name="connsiteY5185" fmla="*/ 2871736 h 6479439"/>
              <a:gd name="connsiteX5186" fmla="*/ 3124977 w 9586368"/>
              <a:gd name="connsiteY5186" fmla="*/ 2875775 h 6479439"/>
              <a:gd name="connsiteX5187" fmla="*/ 3124977 w 9586368"/>
              <a:gd name="connsiteY5187" fmla="*/ 2885645 h 6479439"/>
              <a:gd name="connsiteX5188" fmla="*/ 3120959 w 9586368"/>
              <a:gd name="connsiteY5188" fmla="*/ 2889684 h 6479439"/>
              <a:gd name="connsiteX5189" fmla="*/ 3111048 w 9586368"/>
              <a:gd name="connsiteY5189" fmla="*/ 2889684 h 6479439"/>
              <a:gd name="connsiteX5190" fmla="*/ 3107029 w 9586368"/>
              <a:gd name="connsiteY5190" fmla="*/ 2885645 h 6479439"/>
              <a:gd name="connsiteX5191" fmla="*/ 3107029 w 9586368"/>
              <a:gd name="connsiteY5191" fmla="*/ 2875775 h 6479439"/>
              <a:gd name="connsiteX5192" fmla="*/ 2871737 w 9586368"/>
              <a:gd name="connsiteY5192" fmla="*/ 2871736 h 6479439"/>
              <a:gd name="connsiteX5193" fmla="*/ 2881646 w 9586368"/>
              <a:gd name="connsiteY5193" fmla="*/ 2871736 h 6479439"/>
              <a:gd name="connsiteX5194" fmla="*/ 2885666 w 9586368"/>
              <a:gd name="connsiteY5194" fmla="*/ 2875775 h 6479439"/>
              <a:gd name="connsiteX5195" fmla="*/ 2885666 w 9586368"/>
              <a:gd name="connsiteY5195" fmla="*/ 2885645 h 6479439"/>
              <a:gd name="connsiteX5196" fmla="*/ 2881646 w 9586368"/>
              <a:gd name="connsiteY5196" fmla="*/ 2889684 h 6479439"/>
              <a:gd name="connsiteX5197" fmla="*/ 2871737 w 9586368"/>
              <a:gd name="connsiteY5197" fmla="*/ 2889684 h 6479439"/>
              <a:gd name="connsiteX5198" fmla="*/ 2867717 w 9586368"/>
              <a:gd name="connsiteY5198" fmla="*/ 2885645 h 6479439"/>
              <a:gd name="connsiteX5199" fmla="*/ 2867717 w 9586368"/>
              <a:gd name="connsiteY5199" fmla="*/ 2875775 h 6479439"/>
              <a:gd name="connsiteX5200" fmla="*/ 2632423 w 9586368"/>
              <a:gd name="connsiteY5200" fmla="*/ 2871736 h 6479439"/>
              <a:gd name="connsiteX5201" fmla="*/ 2642334 w 9586368"/>
              <a:gd name="connsiteY5201" fmla="*/ 2871736 h 6479439"/>
              <a:gd name="connsiteX5202" fmla="*/ 2646352 w 9586368"/>
              <a:gd name="connsiteY5202" fmla="*/ 2875775 h 6479439"/>
              <a:gd name="connsiteX5203" fmla="*/ 2646352 w 9586368"/>
              <a:gd name="connsiteY5203" fmla="*/ 2885645 h 6479439"/>
              <a:gd name="connsiteX5204" fmla="*/ 2642334 w 9586368"/>
              <a:gd name="connsiteY5204" fmla="*/ 2889684 h 6479439"/>
              <a:gd name="connsiteX5205" fmla="*/ 2632423 w 9586368"/>
              <a:gd name="connsiteY5205" fmla="*/ 2889684 h 6479439"/>
              <a:gd name="connsiteX5206" fmla="*/ 2628404 w 9586368"/>
              <a:gd name="connsiteY5206" fmla="*/ 2885645 h 6479439"/>
              <a:gd name="connsiteX5207" fmla="*/ 2628404 w 9586368"/>
              <a:gd name="connsiteY5207" fmla="*/ 2875775 h 6479439"/>
              <a:gd name="connsiteX5208" fmla="*/ 2393104 w 9586368"/>
              <a:gd name="connsiteY5208" fmla="*/ 2871736 h 6479439"/>
              <a:gd name="connsiteX5209" fmla="*/ 2403015 w 9586368"/>
              <a:gd name="connsiteY5209" fmla="*/ 2871736 h 6479439"/>
              <a:gd name="connsiteX5210" fmla="*/ 2407034 w 9586368"/>
              <a:gd name="connsiteY5210" fmla="*/ 2875775 h 6479439"/>
              <a:gd name="connsiteX5211" fmla="*/ 2407034 w 9586368"/>
              <a:gd name="connsiteY5211" fmla="*/ 2885645 h 6479439"/>
              <a:gd name="connsiteX5212" fmla="*/ 2403015 w 9586368"/>
              <a:gd name="connsiteY5212" fmla="*/ 2889684 h 6479439"/>
              <a:gd name="connsiteX5213" fmla="*/ 2393104 w 9586368"/>
              <a:gd name="connsiteY5213" fmla="*/ 2889684 h 6479439"/>
              <a:gd name="connsiteX5214" fmla="*/ 2389087 w 9586368"/>
              <a:gd name="connsiteY5214" fmla="*/ 2885645 h 6479439"/>
              <a:gd name="connsiteX5215" fmla="*/ 2389087 w 9586368"/>
              <a:gd name="connsiteY5215" fmla="*/ 2875775 h 6479439"/>
              <a:gd name="connsiteX5216" fmla="*/ 721969 w 9586368"/>
              <a:gd name="connsiteY5216" fmla="*/ 2871736 h 6479439"/>
              <a:gd name="connsiteX5217" fmla="*/ 731879 w 9586368"/>
              <a:gd name="connsiteY5217" fmla="*/ 2871736 h 6479439"/>
              <a:gd name="connsiteX5218" fmla="*/ 735898 w 9586368"/>
              <a:gd name="connsiteY5218" fmla="*/ 2875775 h 6479439"/>
              <a:gd name="connsiteX5219" fmla="*/ 735898 w 9586368"/>
              <a:gd name="connsiteY5219" fmla="*/ 2885645 h 6479439"/>
              <a:gd name="connsiteX5220" fmla="*/ 731879 w 9586368"/>
              <a:gd name="connsiteY5220" fmla="*/ 2889684 h 6479439"/>
              <a:gd name="connsiteX5221" fmla="*/ 721969 w 9586368"/>
              <a:gd name="connsiteY5221" fmla="*/ 2889684 h 6479439"/>
              <a:gd name="connsiteX5222" fmla="*/ 717950 w 9586368"/>
              <a:gd name="connsiteY5222" fmla="*/ 2885645 h 6479439"/>
              <a:gd name="connsiteX5223" fmla="*/ 717950 w 9586368"/>
              <a:gd name="connsiteY5223" fmla="*/ 2875775 h 6479439"/>
              <a:gd name="connsiteX5224" fmla="*/ 482656 w 9586368"/>
              <a:gd name="connsiteY5224" fmla="*/ 2871736 h 6479439"/>
              <a:gd name="connsiteX5225" fmla="*/ 492567 w 9586368"/>
              <a:gd name="connsiteY5225" fmla="*/ 2871736 h 6479439"/>
              <a:gd name="connsiteX5226" fmla="*/ 496586 w 9586368"/>
              <a:gd name="connsiteY5226" fmla="*/ 2875775 h 6479439"/>
              <a:gd name="connsiteX5227" fmla="*/ 496586 w 9586368"/>
              <a:gd name="connsiteY5227" fmla="*/ 2885645 h 6479439"/>
              <a:gd name="connsiteX5228" fmla="*/ 492567 w 9586368"/>
              <a:gd name="connsiteY5228" fmla="*/ 2889684 h 6479439"/>
              <a:gd name="connsiteX5229" fmla="*/ 482656 w 9586368"/>
              <a:gd name="connsiteY5229" fmla="*/ 2889684 h 6479439"/>
              <a:gd name="connsiteX5230" fmla="*/ 478637 w 9586368"/>
              <a:gd name="connsiteY5230" fmla="*/ 2885645 h 6479439"/>
              <a:gd name="connsiteX5231" fmla="*/ 478637 w 9586368"/>
              <a:gd name="connsiteY5231" fmla="*/ 2875775 h 6479439"/>
              <a:gd name="connsiteX5232" fmla="*/ 243343 w 9586368"/>
              <a:gd name="connsiteY5232" fmla="*/ 2871736 h 6479439"/>
              <a:gd name="connsiteX5233" fmla="*/ 253253 w 9586368"/>
              <a:gd name="connsiteY5233" fmla="*/ 2871736 h 6479439"/>
              <a:gd name="connsiteX5234" fmla="*/ 257272 w 9586368"/>
              <a:gd name="connsiteY5234" fmla="*/ 2875775 h 6479439"/>
              <a:gd name="connsiteX5235" fmla="*/ 257272 w 9586368"/>
              <a:gd name="connsiteY5235" fmla="*/ 2885645 h 6479439"/>
              <a:gd name="connsiteX5236" fmla="*/ 253253 w 9586368"/>
              <a:gd name="connsiteY5236" fmla="*/ 2889684 h 6479439"/>
              <a:gd name="connsiteX5237" fmla="*/ 243343 w 9586368"/>
              <a:gd name="connsiteY5237" fmla="*/ 2889684 h 6479439"/>
              <a:gd name="connsiteX5238" fmla="*/ 239324 w 9586368"/>
              <a:gd name="connsiteY5238" fmla="*/ 2885645 h 6479439"/>
              <a:gd name="connsiteX5239" fmla="*/ 239324 w 9586368"/>
              <a:gd name="connsiteY5239" fmla="*/ 2875775 h 6479439"/>
              <a:gd name="connsiteX5240" fmla="*/ 4030 w 9586368"/>
              <a:gd name="connsiteY5240" fmla="*/ 2871736 h 6479439"/>
              <a:gd name="connsiteX5241" fmla="*/ 13940 w 9586368"/>
              <a:gd name="connsiteY5241" fmla="*/ 2871736 h 6479439"/>
              <a:gd name="connsiteX5242" fmla="*/ 17959 w 9586368"/>
              <a:gd name="connsiteY5242" fmla="*/ 2875775 h 6479439"/>
              <a:gd name="connsiteX5243" fmla="*/ 17959 w 9586368"/>
              <a:gd name="connsiteY5243" fmla="*/ 2885645 h 6479439"/>
              <a:gd name="connsiteX5244" fmla="*/ 13940 w 9586368"/>
              <a:gd name="connsiteY5244" fmla="*/ 2889684 h 6479439"/>
              <a:gd name="connsiteX5245" fmla="*/ 4030 w 9586368"/>
              <a:gd name="connsiteY5245" fmla="*/ 2889684 h 6479439"/>
              <a:gd name="connsiteX5246" fmla="*/ 11 w 9586368"/>
              <a:gd name="connsiteY5246" fmla="*/ 2885645 h 6479439"/>
              <a:gd name="connsiteX5247" fmla="*/ 11 w 9586368"/>
              <a:gd name="connsiteY5247" fmla="*/ 2875775 h 6479439"/>
              <a:gd name="connsiteX5248" fmla="*/ 9572438 w 9586368"/>
              <a:gd name="connsiteY5248" fmla="*/ 2632457 h 6479439"/>
              <a:gd name="connsiteX5249" fmla="*/ 9582349 w 9586368"/>
              <a:gd name="connsiteY5249" fmla="*/ 2632457 h 6479439"/>
              <a:gd name="connsiteX5250" fmla="*/ 9586368 w 9586368"/>
              <a:gd name="connsiteY5250" fmla="*/ 2636496 h 6479439"/>
              <a:gd name="connsiteX5251" fmla="*/ 9586368 w 9586368"/>
              <a:gd name="connsiteY5251" fmla="*/ 2646366 h 6479439"/>
              <a:gd name="connsiteX5252" fmla="*/ 9582349 w 9586368"/>
              <a:gd name="connsiteY5252" fmla="*/ 2650405 h 6479439"/>
              <a:gd name="connsiteX5253" fmla="*/ 9572438 w 9586368"/>
              <a:gd name="connsiteY5253" fmla="*/ 2650405 h 6479439"/>
              <a:gd name="connsiteX5254" fmla="*/ 9568419 w 9586368"/>
              <a:gd name="connsiteY5254" fmla="*/ 2646366 h 6479439"/>
              <a:gd name="connsiteX5255" fmla="*/ 9568419 w 9586368"/>
              <a:gd name="connsiteY5255" fmla="*/ 2636496 h 6479439"/>
              <a:gd name="connsiteX5256" fmla="*/ 9333125 w 9586368"/>
              <a:gd name="connsiteY5256" fmla="*/ 2632457 h 6479439"/>
              <a:gd name="connsiteX5257" fmla="*/ 9343036 w 9586368"/>
              <a:gd name="connsiteY5257" fmla="*/ 2632457 h 6479439"/>
              <a:gd name="connsiteX5258" fmla="*/ 9347055 w 9586368"/>
              <a:gd name="connsiteY5258" fmla="*/ 2636496 h 6479439"/>
              <a:gd name="connsiteX5259" fmla="*/ 9347055 w 9586368"/>
              <a:gd name="connsiteY5259" fmla="*/ 2646366 h 6479439"/>
              <a:gd name="connsiteX5260" fmla="*/ 9343036 w 9586368"/>
              <a:gd name="connsiteY5260" fmla="*/ 2650405 h 6479439"/>
              <a:gd name="connsiteX5261" fmla="*/ 9333125 w 9586368"/>
              <a:gd name="connsiteY5261" fmla="*/ 2650405 h 6479439"/>
              <a:gd name="connsiteX5262" fmla="*/ 9329106 w 9586368"/>
              <a:gd name="connsiteY5262" fmla="*/ 2646366 h 6479439"/>
              <a:gd name="connsiteX5263" fmla="*/ 9329106 w 9586368"/>
              <a:gd name="connsiteY5263" fmla="*/ 2636496 h 6479439"/>
              <a:gd name="connsiteX5264" fmla="*/ 9093811 w 9586368"/>
              <a:gd name="connsiteY5264" fmla="*/ 2632457 h 6479439"/>
              <a:gd name="connsiteX5265" fmla="*/ 9103722 w 9586368"/>
              <a:gd name="connsiteY5265" fmla="*/ 2632457 h 6479439"/>
              <a:gd name="connsiteX5266" fmla="*/ 9107741 w 9586368"/>
              <a:gd name="connsiteY5266" fmla="*/ 2636496 h 6479439"/>
              <a:gd name="connsiteX5267" fmla="*/ 9107741 w 9586368"/>
              <a:gd name="connsiteY5267" fmla="*/ 2646366 h 6479439"/>
              <a:gd name="connsiteX5268" fmla="*/ 9103722 w 9586368"/>
              <a:gd name="connsiteY5268" fmla="*/ 2650405 h 6479439"/>
              <a:gd name="connsiteX5269" fmla="*/ 9093811 w 9586368"/>
              <a:gd name="connsiteY5269" fmla="*/ 2650405 h 6479439"/>
              <a:gd name="connsiteX5270" fmla="*/ 9089792 w 9586368"/>
              <a:gd name="connsiteY5270" fmla="*/ 2646366 h 6479439"/>
              <a:gd name="connsiteX5271" fmla="*/ 9089792 w 9586368"/>
              <a:gd name="connsiteY5271" fmla="*/ 2636496 h 6479439"/>
              <a:gd name="connsiteX5272" fmla="*/ 8854496 w 9586368"/>
              <a:gd name="connsiteY5272" fmla="*/ 2632457 h 6479439"/>
              <a:gd name="connsiteX5273" fmla="*/ 8864407 w 9586368"/>
              <a:gd name="connsiteY5273" fmla="*/ 2632457 h 6479439"/>
              <a:gd name="connsiteX5274" fmla="*/ 8868426 w 9586368"/>
              <a:gd name="connsiteY5274" fmla="*/ 2636496 h 6479439"/>
              <a:gd name="connsiteX5275" fmla="*/ 8868426 w 9586368"/>
              <a:gd name="connsiteY5275" fmla="*/ 2646366 h 6479439"/>
              <a:gd name="connsiteX5276" fmla="*/ 8864407 w 9586368"/>
              <a:gd name="connsiteY5276" fmla="*/ 2650405 h 6479439"/>
              <a:gd name="connsiteX5277" fmla="*/ 8854496 w 9586368"/>
              <a:gd name="connsiteY5277" fmla="*/ 2650405 h 6479439"/>
              <a:gd name="connsiteX5278" fmla="*/ 8850477 w 9586368"/>
              <a:gd name="connsiteY5278" fmla="*/ 2646366 h 6479439"/>
              <a:gd name="connsiteX5279" fmla="*/ 8850477 w 9586368"/>
              <a:gd name="connsiteY5279" fmla="*/ 2636496 h 6479439"/>
              <a:gd name="connsiteX5280" fmla="*/ 8615184 w 9586368"/>
              <a:gd name="connsiteY5280" fmla="*/ 2632457 h 6479439"/>
              <a:gd name="connsiteX5281" fmla="*/ 8625095 w 9586368"/>
              <a:gd name="connsiteY5281" fmla="*/ 2632457 h 6479439"/>
              <a:gd name="connsiteX5282" fmla="*/ 8629114 w 9586368"/>
              <a:gd name="connsiteY5282" fmla="*/ 2636496 h 6479439"/>
              <a:gd name="connsiteX5283" fmla="*/ 8629114 w 9586368"/>
              <a:gd name="connsiteY5283" fmla="*/ 2646366 h 6479439"/>
              <a:gd name="connsiteX5284" fmla="*/ 8625095 w 9586368"/>
              <a:gd name="connsiteY5284" fmla="*/ 2650405 h 6479439"/>
              <a:gd name="connsiteX5285" fmla="*/ 8615184 w 9586368"/>
              <a:gd name="connsiteY5285" fmla="*/ 2650405 h 6479439"/>
              <a:gd name="connsiteX5286" fmla="*/ 8611165 w 9586368"/>
              <a:gd name="connsiteY5286" fmla="*/ 2646366 h 6479439"/>
              <a:gd name="connsiteX5287" fmla="*/ 8611165 w 9586368"/>
              <a:gd name="connsiteY5287" fmla="*/ 2636496 h 6479439"/>
              <a:gd name="connsiteX5288" fmla="*/ 8375869 w 9586368"/>
              <a:gd name="connsiteY5288" fmla="*/ 2632457 h 6479439"/>
              <a:gd name="connsiteX5289" fmla="*/ 8385779 w 9586368"/>
              <a:gd name="connsiteY5289" fmla="*/ 2632457 h 6479439"/>
              <a:gd name="connsiteX5290" fmla="*/ 8389799 w 9586368"/>
              <a:gd name="connsiteY5290" fmla="*/ 2636496 h 6479439"/>
              <a:gd name="connsiteX5291" fmla="*/ 8389799 w 9586368"/>
              <a:gd name="connsiteY5291" fmla="*/ 2646366 h 6479439"/>
              <a:gd name="connsiteX5292" fmla="*/ 8385779 w 9586368"/>
              <a:gd name="connsiteY5292" fmla="*/ 2650405 h 6479439"/>
              <a:gd name="connsiteX5293" fmla="*/ 8375869 w 9586368"/>
              <a:gd name="connsiteY5293" fmla="*/ 2650405 h 6479439"/>
              <a:gd name="connsiteX5294" fmla="*/ 8371850 w 9586368"/>
              <a:gd name="connsiteY5294" fmla="*/ 2646366 h 6479439"/>
              <a:gd name="connsiteX5295" fmla="*/ 8371850 w 9586368"/>
              <a:gd name="connsiteY5295" fmla="*/ 2636496 h 6479439"/>
              <a:gd name="connsiteX5296" fmla="*/ 8136553 w 9586368"/>
              <a:gd name="connsiteY5296" fmla="*/ 2632457 h 6479439"/>
              <a:gd name="connsiteX5297" fmla="*/ 8146464 w 9586368"/>
              <a:gd name="connsiteY5297" fmla="*/ 2632457 h 6479439"/>
              <a:gd name="connsiteX5298" fmla="*/ 8150483 w 9586368"/>
              <a:gd name="connsiteY5298" fmla="*/ 2636496 h 6479439"/>
              <a:gd name="connsiteX5299" fmla="*/ 8150483 w 9586368"/>
              <a:gd name="connsiteY5299" fmla="*/ 2646366 h 6479439"/>
              <a:gd name="connsiteX5300" fmla="*/ 8146464 w 9586368"/>
              <a:gd name="connsiteY5300" fmla="*/ 2650405 h 6479439"/>
              <a:gd name="connsiteX5301" fmla="*/ 8136553 w 9586368"/>
              <a:gd name="connsiteY5301" fmla="*/ 2650405 h 6479439"/>
              <a:gd name="connsiteX5302" fmla="*/ 8132534 w 9586368"/>
              <a:gd name="connsiteY5302" fmla="*/ 2646366 h 6479439"/>
              <a:gd name="connsiteX5303" fmla="*/ 8132534 w 9586368"/>
              <a:gd name="connsiteY5303" fmla="*/ 2636496 h 6479439"/>
              <a:gd name="connsiteX5304" fmla="*/ 7897241 w 9586368"/>
              <a:gd name="connsiteY5304" fmla="*/ 2632457 h 6479439"/>
              <a:gd name="connsiteX5305" fmla="*/ 7907151 w 9586368"/>
              <a:gd name="connsiteY5305" fmla="*/ 2632457 h 6479439"/>
              <a:gd name="connsiteX5306" fmla="*/ 7911170 w 9586368"/>
              <a:gd name="connsiteY5306" fmla="*/ 2636496 h 6479439"/>
              <a:gd name="connsiteX5307" fmla="*/ 7911170 w 9586368"/>
              <a:gd name="connsiteY5307" fmla="*/ 2646366 h 6479439"/>
              <a:gd name="connsiteX5308" fmla="*/ 7907151 w 9586368"/>
              <a:gd name="connsiteY5308" fmla="*/ 2650405 h 6479439"/>
              <a:gd name="connsiteX5309" fmla="*/ 7897241 w 9586368"/>
              <a:gd name="connsiteY5309" fmla="*/ 2650405 h 6479439"/>
              <a:gd name="connsiteX5310" fmla="*/ 7893222 w 9586368"/>
              <a:gd name="connsiteY5310" fmla="*/ 2646366 h 6479439"/>
              <a:gd name="connsiteX5311" fmla="*/ 7893222 w 9586368"/>
              <a:gd name="connsiteY5311" fmla="*/ 2636496 h 6479439"/>
              <a:gd name="connsiteX5312" fmla="*/ 7657926 w 9586368"/>
              <a:gd name="connsiteY5312" fmla="*/ 2632457 h 6479439"/>
              <a:gd name="connsiteX5313" fmla="*/ 7667836 w 9586368"/>
              <a:gd name="connsiteY5313" fmla="*/ 2632457 h 6479439"/>
              <a:gd name="connsiteX5314" fmla="*/ 7671855 w 9586368"/>
              <a:gd name="connsiteY5314" fmla="*/ 2636496 h 6479439"/>
              <a:gd name="connsiteX5315" fmla="*/ 7671855 w 9586368"/>
              <a:gd name="connsiteY5315" fmla="*/ 2646366 h 6479439"/>
              <a:gd name="connsiteX5316" fmla="*/ 7667836 w 9586368"/>
              <a:gd name="connsiteY5316" fmla="*/ 2650405 h 6479439"/>
              <a:gd name="connsiteX5317" fmla="*/ 7657926 w 9586368"/>
              <a:gd name="connsiteY5317" fmla="*/ 2650405 h 6479439"/>
              <a:gd name="connsiteX5318" fmla="*/ 7653906 w 9586368"/>
              <a:gd name="connsiteY5318" fmla="*/ 2646366 h 6479439"/>
              <a:gd name="connsiteX5319" fmla="*/ 7653906 w 9586368"/>
              <a:gd name="connsiteY5319" fmla="*/ 2636496 h 6479439"/>
              <a:gd name="connsiteX5320" fmla="*/ 7418611 w 9586368"/>
              <a:gd name="connsiteY5320" fmla="*/ 2632457 h 6479439"/>
              <a:gd name="connsiteX5321" fmla="*/ 7428521 w 9586368"/>
              <a:gd name="connsiteY5321" fmla="*/ 2632457 h 6479439"/>
              <a:gd name="connsiteX5322" fmla="*/ 7432540 w 9586368"/>
              <a:gd name="connsiteY5322" fmla="*/ 2636496 h 6479439"/>
              <a:gd name="connsiteX5323" fmla="*/ 7432540 w 9586368"/>
              <a:gd name="connsiteY5323" fmla="*/ 2646366 h 6479439"/>
              <a:gd name="connsiteX5324" fmla="*/ 7428521 w 9586368"/>
              <a:gd name="connsiteY5324" fmla="*/ 2650405 h 6479439"/>
              <a:gd name="connsiteX5325" fmla="*/ 7418611 w 9586368"/>
              <a:gd name="connsiteY5325" fmla="*/ 2650405 h 6479439"/>
              <a:gd name="connsiteX5326" fmla="*/ 7414592 w 9586368"/>
              <a:gd name="connsiteY5326" fmla="*/ 2646366 h 6479439"/>
              <a:gd name="connsiteX5327" fmla="*/ 7414592 w 9586368"/>
              <a:gd name="connsiteY5327" fmla="*/ 2636496 h 6479439"/>
              <a:gd name="connsiteX5328" fmla="*/ 7179298 w 9586368"/>
              <a:gd name="connsiteY5328" fmla="*/ 2632457 h 6479439"/>
              <a:gd name="connsiteX5329" fmla="*/ 7189209 w 9586368"/>
              <a:gd name="connsiteY5329" fmla="*/ 2632457 h 6479439"/>
              <a:gd name="connsiteX5330" fmla="*/ 7193228 w 9586368"/>
              <a:gd name="connsiteY5330" fmla="*/ 2636496 h 6479439"/>
              <a:gd name="connsiteX5331" fmla="*/ 7193228 w 9586368"/>
              <a:gd name="connsiteY5331" fmla="*/ 2646366 h 6479439"/>
              <a:gd name="connsiteX5332" fmla="*/ 7189209 w 9586368"/>
              <a:gd name="connsiteY5332" fmla="*/ 2650405 h 6479439"/>
              <a:gd name="connsiteX5333" fmla="*/ 7179298 w 9586368"/>
              <a:gd name="connsiteY5333" fmla="*/ 2650405 h 6479439"/>
              <a:gd name="connsiteX5334" fmla="*/ 7175279 w 9586368"/>
              <a:gd name="connsiteY5334" fmla="*/ 2646366 h 6479439"/>
              <a:gd name="connsiteX5335" fmla="*/ 7175279 w 9586368"/>
              <a:gd name="connsiteY5335" fmla="*/ 2636496 h 6479439"/>
              <a:gd name="connsiteX5336" fmla="*/ 6939983 w 9586368"/>
              <a:gd name="connsiteY5336" fmla="*/ 2632457 h 6479439"/>
              <a:gd name="connsiteX5337" fmla="*/ 6949894 w 9586368"/>
              <a:gd name="connsiteY5337" fmla="*/ 2632457 h 6479439"/>
              <a:gd name="connsiteX5338" fmla="*/ 6953913 w 9586368"/>
              <a:gd name="connsiteY5338" fmla="*/ 2636496 h 6479439"/>
              <a:gd name="connsiteX5339" fmla="*/ 6953913 w 9586368"/>
              <a:gd name="connsiteY5339" fmla="*/ 2646366 h 6479439"/>
              <a:gd name="connsiteX5340" fmla="*/ 6949894 w 9586368"/>
              <a:gd name="connsiteY5340" fmla="*/ 2650405 h 6479439"/>
              <a:gd name="connsiteX5341" fmla="*/ 6939983 w 9586368"/>
              <a:gd name="connsiteY5341" fmla="*/ 2650405 h 6479439"/>
              <a:gd name="connsiteX5342" fmla="*/ 6935964 w 9586368"/>
              <a:gd name="connsiteY5342" fmla="*/ 2646366 h 6479439"/>
              <a:gd name="connsiteX5343" fmla="*/ 6935964 w 9586368"/>
              <a:gd name="connsiteY5343" fmla="*/ 2636496 h 6479439"/>
              <a:gd name="connsiteX5344" fmla="*/ 6700670 w 9586368"/>
              <a:gd name="connsiteY5344" fmla="*/ 2632457 h 6479439"/>
              <a:gd name="connsiteX5345" fmla="*/ 6710581 w 9586368"/>
              <a:gd name="connsiteY5345" fmla="*/ 2632457 h 6479439"/>
              <a:gd name="connsiteX5346" fmla="*/ 6714600 w 9586368"/>
              <a:gd name="connsiteY5346" fmla="*/ 2636496 h 6479439"/>
              <a:gd name="connsiteX5347" fmla="*/ 6714600 w 9586368"/>
              <a:gd name="connsiteY5347" fmla="*/ 2646366 h 6479439"/>
              <a:gd name="connsiteX5348" fmla="*/ 6710581 w 9586368"/>
              <a:gd name="connsiteY5348" fmla="*/ 2650405 h 6479439"/>
              <a:gd name="connsiteX5349" fmla="*/ 6700670 w 9586368"/>
              <a:gd name="connsiteY5349" fmla="*/ 2650405 h 6479439"/>
              <a:gd name="connsiteX5350" fmla="*/ 6696651 w 9586368"/>
              <a:gd name="connsiteY5350" fmla="*/ 2646366 h 6479439"/>
              <a:gd name="connsiteX5351" fmla="*/ 6696651 w 9586368"/>
              <a:gd name="connsiteY5351" fmla="*/ 2636496 h 6479439"/>
              <a:gd name="connsiteX5352" fmla="*/ 6461356 w 9586368"/>
              <a:gd name="connsiteY5352" fmla="*/ 2632457 h 6479439"/>
              <a:gd name="connsiteX5353" fmla="*/ 6471266 w 9586368"/>
              <a:gd name="connsiteY5353" fmla="*/ 2632457 h 6479439"/>
              <a:gd name="connsiteX5354" fmla="*/ 6475285 w 9586368"/>
              <a:gd name="connsiteY5354" fmla="*/ 2636496 h 6479439"/>
              <a:gd name="connsiteX5355" fmla="*/ 6475285 w 9586368"/>
              <a:gd name="connsiteY5355" fmla="*/ 2646366 h 6479439"/>
              <a:gd name="connsiteX5356" fmla="*/ 6471266 w 9586368"/>
              <a:gd name="connsiteY5356" fmla="*/ 2650405 h 6479439"/>
              <a:gd name="connsiteX5357" fmla="*/ 6461356 w 9586368"/>
              <a:gd name="connsiteY5357" fmla="*/ 2650405 h 6479439"/>
              <a:gd name="connsiteX5358" fmla="*/ 6457337 w 9586368"/>
              <a:gd name="connsiteY5358" fmla="*/ 2646366 h 6479439"/>
              <a:gd name="connsiteX5359" fmla="*/ 6457337 w 9586368"/>
              <a:gd name="connsiteY5359" fmla="*/ 2636496 h 6479439"/>
              <a:gd name="connsiteX5360" fmla="*/ 6222042 w 9586368"/>
              <a:gd name="connsiteY5360" fmla="*/ 2632457 h 6479439"/>
              <a:gd name="connsiteX5361" fmla="*/ 6231952 w 9586368"/>
              <a:gd name="connsiteY5361" fmla="*/ 2632457 h 6479439"/>
              <a:gd name="connsiteX5362" fmla="*/ 6235971 w 9586368"/>
              <a:gd name="connsiteY5362" fmla="*/ 2636496 h 6479439"/>
              <a:gd name="connsiteX5363" fmla="*/ 6235971 w 9586368"/>
              <a:gd name="connsiteY5363" fmla="*/ 2646366 h 6479439"/>
              <a:gd name="connsiteX5364" fmla="*/ 6231952 w 9586368"/>
              <a:gd name="connsiteY5364" fmla="*/ 2650405 h 6479439"/>
              <a:gd name="connsiteX5365" fmla="*/ 6222042 w 9586368"/>
              <a:gd name="connsiteY5365" fmla="*/ 2650405 h 6479439"/>
              <a:gd name="connsiteX5366" fmla="*/ 6218023 w 9586368"/>
              <a:gd name="connsiteY5366" fmla="*/ 2646366 h 6479439"/>
              <a:gd name="connsiteX5367" fmla="*/ 6218023 w 9586368"/>
              <a:gd name="connsiteY5367" fmla="*/ 2636496 h 6479439"/>
              <a:gd name="connsiteX5368" fmla="*/ 5982729 w 9586368"/>
              <a:gd name="connsiteY5368" fmla="*/ 2632457 h 6479439"/>
              <a:gd name="connsiteX5369" fmla="*/ 5992639 w 9586368"/>
              <a:gd name="connsiteY5369" fmla="*/ 2632457 h 6479439"/>
              <a:gd name="connsiteX5370" fmla="*/ 5996658 w 9586368"/>
              <a:gd name="connsiteY5370" fmla="*/ 2636496 h 6479439"/>
              <a:gd name="connsiteX5371" fmla="*/ 5996658 w 9586368"/>
              <a:gd name="connsiteY5371" fmla="*/ 2646366 h 6479439"/>
              <a:gd name="connsiteX5372" fmla="*/ 5992639 w 9586368"/>
              <a:gd name="connsiteY5372" fmla="*/ 2650405 h 6479439"/>
              <a:gd name="connsiteX5373" fmla="*/ 5982729 w 9586368"/>
              <a:gd name="connsiteY5373" fmla="*/ 2650405 h 6479439"/>
              <a:gd name="connsiteX5374" fmla="*/ 5978710 w 9586368"/>
              <a:gd name="connsiteY5374" fmla="*/ 2646366 h 6479439"/>
              <a:gd name="connsiteX5375" fmla="*/ 5978710 w 9586368"/>
              <a:gd name="connsiteY5375" fmla="*/ 2636496 h 6479439"/>
              <a:gd name="connsiteX5376" fmla="*/ 5743412 w 9586368"/>
              <a:gd name="connsiteY5376" fmla="*/ 2632457 h 6479439"/>
              <a:gd name="connsiteX5377" fmla="*/ 5753323 w 9586368"/>
              <a:gd name="connsiteY5377" fmla="*/ 2632457 h 6479439"/>
              <a:gd name="connsiteX5378" fmla="*/ 5757342 w 9586368"/>
              <a:gd name="connsiteY5378" fmla="*/ 2636496 h 6479439"/>
              <a:gd name="connsiteX5379" fmla="*/ 5757342 w 9586368"/>
              <a:gd name="connsiteY5379" fmla="*/ 2646366 h 6479439"/>
              <a:gd name="connsiteX5380" fmla="*/ 5753323 w 9586368"/>
              <a:gd name="connsiteY5380" fmla="*/ 2650405 h 6479439"/>
              <a:gd name="connsiteX5381" fmla="*/ 5743412 w 9586368"/>
              <a:gd name="connsiteY5381" fmla="*/ 2650405 h 6479439"/>
              <a:gd name="connsiteX5382" fmla="*/ 5739393 w 9586368"/>
              <a:gd name="connsiteY5382" fmla="*/ 2646366 h 6479439"/>
              <a:gd name="connsiteX5383" fmla="*/ 5739393 w 9586368"/>
              <a:gd name="connsiteY5383" fmla="*/ 2636496 h 6479439"/>
              <a:gd name="connsiteX5384" fmla="*/ 5504099 w 9586368"/>
              <a:gd name="connsiteY5384" fmla="*/ 2632457 h 6479439"/>
              <a:gd name="connsiteX5385" fmla="*/ 5514010 w 9586368"/>
              <a:gd name="connsiteY5385" fmla="*/ 2632457 h 6479439"/>
              <a:gd name="connsiteX5386" fmla="*/ 5518029 w 9586368"/>
              <a:gd name="connsiteY5386" fmla="*/ 2636496 h 6479439"/>
              <a:gd name="connsiteX5387" fmla="*/ 5518029 w 9586368"/>
              <a:gd name="connsiteY5387" fmla="*/ 2646366 h 6479439"/>
              <a:gd name="connsiteX5388" fmla="*/ 5514010 w 9586368"/>
              <a:gd name="connsiteY5388" fmla="*/ 2650405 h 6479439"/>
              <a:gd name="connsiteX5389" fmla="*/ 5504099 w 9586368"/>
              <a:gd name="connsiteY5389" fmla="*/ 2650405 h 6479439"/>
              <a:gd name="connsiteX5390" fmla="*/ 5500080 w 9586368"/>
              <a:gd name="connsiteY5390" fmla="*/ 2646366 h 6479439"/>
              <a:gd name="connsiteX5391" fmla="*/ 5500080 w 9586368"/>
              <a:gd name="connsiteY5391" fmla="*/ 2636496 h 6479439"/>
              <a:gd name="connsiteX5392" fmla="*/ 5264784 w 9586368"/>
              <a:gd name="connsiteY5392" fmla="*/ 2632457 h 6479439"/>
              <a:gd name="connsiteX5393" fmla="*/ 5274694 w 9586368"/>
              <a:gd name="connsiteY5393" fmla="*/ 2632457 h 6479439"/>
              <a:gd name="connsiteX5394" fmla="*/ 5278713 w 9586368"/>
              <a:gd name="connsiteY5394" fmla="*/ 2636496 h 6479439"/>
              <a:gd name="connsiteX5395" fmla="*/ 5278713 w 9586368"/>
              <a:gd name="connsiteY5395" fmla="*/ 2646366 h 6479439"/>
              <a:gd name="connsiteX5396" fmla="*/ 5274694 w 9586368"/>
              <a:gd name="connsiteY5396" fmla="*/ 2650405 h 6479439"/>
              <a:gd name="connsiteX5397" fmla="*/ 5264784 w 9586368"/>
              <a:gd name="connsiteY5397" fmla="*/ 2650405 h 6479439"/>
              <a:gd name="connsiteX5398" fmla="*/ 5260765 w 9586368"/>
              <a:gd name="connsiteY5398" fmla="*/ 2646366 h 6479439"/>
              <a:gd name="connsiteX5399" fmla="*/ 5260765 w 9586368"/>
              <a:gd name="connsiteY5399" fmla="*/ 2636496 h 6479439"/>
              <a:gd name="connsiteX5400" fmla="*/ 5025470 w 9586368"/>
              <a:gd name="connsiteY5400" fmla="*/ 2632457 h 6479439"/>
              <a:gd name="connsiteX5401" fmla="*/ 5035381 w 9586368"/>
              <a:gd name="connsiteY5401" fmla="*/ 2632457 h 6479439"/>
              <a:gd name="connsiteX5402" fmla="*/ 5039400 w 9586368"/>
              <a:gd name="connsiteY5402" fmla="*/ 2636496 h 6479439"/>
              <a:gd name="connsiteX5403" fmla="*/ 5039400 w 9586368"/>
              <a:gd name="connsiteY5403" fmla="*/ 2646366 h 6479439"/>
              <a:gd name="connsiteX5404" fmla="*/ 5035381 w 9586368"/>
              <a:gd name="connsiteY5404" fmla="*/ 2650405 h 6479439"/>
              <a:gd name="connsiteX5405" fmla="*/ 5025470 w 9586368"/>
              <a:gd name="connsiteY5405" fmla="*/ 2650405 h 6479439"/>
              <a:gd name="connsiteX5406" fmla="*/ 5021451 w 9586368"/>
              <a:gd name="connsiteY5406" fmla="*/ 2646366 h 6479439"/>
              <a:gd name="connsiteX5407" fmla="*/ 5021451 w 9586368"/>
              <a:gd name="connsiteY5407" fmla="*/ 2636496 h 6479439"/>
              <a:gd name="connsiteX5408" fmla="*/ 4786241 w 9586368"/>
              <a:gd name="connsiteY5408" fmla="*/ 2632457 h 6479439"/>
              <a:gd name="connsiteX5409" fmla="*/ 4796152 w 9586368"/>
              <a:gd name="connsiteY5409" fmla="*/ 2632457 h 6479439"/>
              <a:gd name="connsiteX5410" fmla="*/ 4800171 w 9586368"/>
              <a:gd name="connsiteY5410" fmla="*/ 2636496 h 6479439"/>
              <a:gd name="connsiteX5411" fmla="*/ 4800171 w 9586368"/>
              <a:gd name="connsiteY5411" fmla="*/ 2646366 h 6479439"/>
              <a:gd name="connsiteX5412" fmla="*/ 4796152 w 9586368"/>
              <a:gd name="connsiteY5412" fmla="*/ 2650405 h 6479439"/>
              <a:gd name="connsiteX5413" fmla="*/ 4786241 w 9586368"/>
              <a:gd name="connsiteY5413" fmla="*/ 2650405 h 6479439"/>
              <a:gd name="connsiteX5414" fmla="*/ 4782224 w 9586368"/>
              <a:gd name="connsiteY5414" fmla="*/ 2646366 h 6479439"/>
              <a:gd name="connsiteX5415" fmla="*/ 4782224 w 9586368"/>
              <a:gd name="connsiteY5415" fmla="*/ 2636496 h 6479439"/>
              <a:gd name="connsiteX5416" fmla="*/ 4546929 w 9586368"/>
              <a:gd name="connsiteY5416" fmla="*/ 2632457 h 6479439"/>
              <a:gd name="connsiteX5417" fmla="*/ 4556840 w 9586368"/>
              <a:gd name="connsiteY5417" fmla="*/ 2632457 h 6479439"/>
              <a:gd name="connsiteX5418" fmla="*/ 4560859 w 9586368"/>
              <a:gd name="connsiteY5418" fmla="*/ 2636496 h 6479439"/>
              <a:gd name="connsiteX5419" fmla="*/ 4560859 w 9586368"/>
              <a:gd name="connsiteY5419" fmla="*/ 2646366 h 6479439"/>
              <a:gd name="connsiteX5420" fmla="*/ 4556840 w 9586368"/>
              <a:gd name="connsiteY5420" fmla="*/ 2650405 h 6479439"/>
              <a:gd name="connsiteX5421" fmla="*/ 4546929 w 9586368"/>
              <a:gd name="connsiteY5421" fmla="*/ 2650405 h 6479439"/>
              <a:gd name="connsiteX5422" fmla="*/ 4542910 w 9586368"/>
              <a:gd name="connsiteY5422" fmla="*/ 2646366 h 6479439"/>
              <a:gd name="connsiteX5423" fmla="*/ 4542910 w 9586368"/>
              <a:gd name="connsiteY5423" fmla="*/ 2636496 h 6479439"/>
              <a:gd name="connsiteX5424" fmla="*/ 4307612 w 9586368"/>
              <a:gd name="connsiteY5424" fmla="*/ 2632457 h 6479439"/>
              <a:gd name="connsiteX5425" fmla="*/ 4317523 w 9586368"/>
              <a:gd name="connsiteY5425" fmla="*/ 2632457 h 6479439"/>
              <a:gd name="connsiteX5426" fmla="*/ 4321543 w 9586368"/>
              <a:gd name="connsiteY5426" fmla="*/ 2636496 h 6479439"/>
              <a:gd name="connsiteX5427" fmla="*/ 4321543 w 9586368"/>
              <a:gd name="connsiteY5427" fmla="*/ 2646366 h 6479439"/>
              <a:gd name="connsiteX5428" fmla="*/ 4317523 w 9586368"/>
              <a:gd name="connsiteY5428" fmla="*/ 2650405 h 6479439"/>
              <a:gd name="connsiteX5429" fmla="*/ 4307612 w 9586368"/>
              <a:gd name="connsiteY5429" fmla="*/ 2650405 h 6479439"/>
              <a:gd name="connsiteX5430" fmla="*/ 4303595 w 9586368"/>
              <a:gd name="connsiteY5430" fmla="*/ 2646366 h 6479439"/>
              <a:gd name="connsiteX5431" fmla="*/ 4303595 w 9586368"/>
              <a:gd name="connsiteY5431" fmla="*/ 2636496 h 6479439"/>
              <a:gd name="connsiteX5432" fmla="*/ 4068297 w 9586368"/>
              <a:gd name="connsiteY5432" fmla="*/ 2632457 h 6479439"/>
              <a:gd name="connsiteX5433" fmla="*/ 4078210 w 9586368"/>
              <a:gd name="connsiteY5433" fmla="*/ 2632457 h 6479439"/>
              <a:gd name="connsiteX5434" fmla="*/ 4082229 w 9586368"/>
              <a:gd name="connsiteY5434" fmla="*/ 2636496 h 6479439"/>
              <a:gd name="connsiteX5435" fmla="*/ 4082229 w 9586368"/>
              <a:gd name="connsiteY5435" fmla="*/ 2646366 h 6479439"/>
              <a:gd name="connsiteX5436" fmla="*/ 4078210 w 9586368"/>
              <a:gd name="connsiteY5436" fmla="*/ 2650405 h 6479439"/>
              <a:gd name="connsiteX5437" fmla="*/ 4068297 w 9586368"/>
              <a:gd name="connsiteY5437" fmla="*/ 2650405 h 6479439"/>
              <a:gd name="connsiteX5438" fmla="*/ 4064278 w 9586368"/>
              <a:gd name="connsiteY5438" fmla="*/ 2646366 h 6479439"/>
              <a:gd name="connsiteX5439" fmla="*/ 4064278 w 9586368"/>
              <a:gd name="connsiteY5439" fmla="*/ 2636496 h 6479439"/>
              <a:gd name="connsiteX5440" fmla="*/ 3828990 w 9586368"/>
              <a:gd name="connsiteY5440" fmla="*/ 2632457 h 6479439"/>
              <a:gd name="connsiteX5441" fmla="*/ 3838899 w 9586368"/>
              <a:gd name="connsiteY5441" fmla="*/ 2632457 h 6479439"/>
              <a:gd name="connsiteX5442" fmla="*/ 3842917 w 9586368"/>
              <a:gd name="connsiteY5442" fmla="*/ 2636496 h 6479439"/>
              <a:gd name="connsiteX5443" fmla="*/ 3842917 w 9586368"/>
              <a:gd name="connsiteY5443" fmla="*/ 2646366 h 6479439"/>
              <a:gd name="connsiteX5444" fmla="*/ 3838899 w 9586368"/>
              <a:gd name="connsiteY5444" fmla="*/ 2650405 h 6479439"/>
              <a:gd name="connsiteX5445" fmla="*/ 3828990 w 9586368"/>
              <a:gd name="connsiteY5445" fmla="*/ 2650405 h 6479439"/>
              <a:gd name="connsiteX5446" fmla="*/ 3824971 w 9586368"/>
              <a:gd name="connsiteY5446" fmla="*/ 2646366 h 6479439"/>
              <a:gd name="connsiteX5447" fmla="*/ 3824971 w 9586368"/>
              <a:gd name="connsiteY5447" fmla="*/ 2636496 h 6479439"/>
              <a:gd name="connsiteX5448" fmla="*/ 3589676 w 9586368"/>
              <a:gd name="connsiteY5448" fmla="*/ 2632457 h 6479439"/>
              <a:gd name="connsiteX5449" fmla="*/ 3599585 w 9586368"/>
              <a:gd name="connsiteY5449" fmla="*/ 2632457 h 6479439"/>
              <a:gd name="connsiteX5450" fmla="*/ 3603604 w 9586368"/>
              <a:gd name="connsiteY5450" fmla="*/ 2636496 h 6479439"/>
              <a:gd name="connsiteX5451" fmla="*/ 3603604 w 9586368"/>
              <a:gd name="connsiteY5451" fmla="*/ 2646366 h 6479439"/>
              <a:gd name="connsiteX5452" fmla="*/ 3599585 w 9586368"/>
              <a:gd name="connsiteY5452" fmla="*/ 2650405 h 6479439"/>
              <a:gd name="connsiteX5453" fmla="*/ 3589676 w 9586368"/>
              <a:gd name="connsiteY5453" fmla="*/ 2650405 h 6479439"/>
              <a:gd name="connsiteX5454" fmla="*/ 3585657 w 9586368"/>
              <a:gd name="connsiteY5454" fmla="*/ 2646366 h 6479439"/>
              <a:gd name="connsiteX5455" fmla="*/ 3585657 w 9586368"/>
              <a:gd name="connsiteY5455" fmla="*/ 2636496 h 6479439"/>
              <a:gd name="connsiteX5456" fmla="*/ 3350359 w 9586368"/>
              <a:gd name="connsiteY5456" fmla="*/ 2632457 h 6479439"/>
              <a:gd name="connsiteX5457" fmla="*/ 3360268 w 9586368"/>
              <a:gd name="connsiteY5457" fmla="*/ 2632457 h 6479439"/>
              <a:gd name="connsiteX5458" fmla="*/ 3364287 w 9586368"/>
              <a:gd name="connsiteY5458" fmla="*/ 2636496 h 6479439"/>
              <a:gd name="connsiteX5459" fmla="*/ 3364287 w 9586368"/>
              <a:gd name="connsiteY5459" fmla="*/ 2646366 h 6479439"/>
              <a:gd name="connsiteX5460" fmla="*/ 3360268 w 9586368"/>
              <a:gd name="connsiteY5460" fmla="*/ 2650405 h 6479439"/>
              <a:gd name="connsiteX5461" fmla="*/ 3350359 w 9586368"/>
              <a:gd name="connsiteY5461" fmla="*/ 2650405 h 6479439"/>
              <a:gd name="connsiteX5462" fmla="*/ 3346340 w 9586368"/>
              <a:gd name="connsiteY5462" fmla="*/ 2646366 h 6479439"/>
              <a:gd name="connsiteX5463" fmla="*/ 3346340 w 9586368"/>
              <a:gd name="connsiteY5463" fmla="*/ 2636496 h 6479439"/>
              <a:gd name="connsiteX5464" fmla="*/ 3111048 w 9586368"/>
              <a:gd name="connsiteY5464" fmla="*/ 2632457 h 6479439"/>
              <a:gd name="connsiteX5465" fmla="*/ 3120959 w 9586368"/>
              <a:gd name="connsiteY5465" fmla="*/ 2632457 h 6479439"/>
              <a:gd name="connsiteX5466" fmla="*/ 3124977 w 9586368"/>
              <a:gd name="connsiteY5466" fmla="*/ 2636496 h 6479439"/>
              <a:gd name="connsiteX5467" fmla="*/ 3124977 w 9586368"/>
              <a:gd name="connsiteY5467" fmla="*/ 2646366 h 6479439"/>
              <a:gd name="connsiteX5468" fmla="*/ 3120959 w 9586368"/>
              <a:gd name="connsiteY5468" fmla="*/ 2650405 h 6479439"/>
              <a:gd name="connsiteX5469" fmla="*/ 3111048 w 9586368"/>
              <a:gd name="connsiteY5469" fmla="*/ 2650405 h 6479439"/>
              <a:gd name="connsiteX5470" fmla="*/ 3107029 w 9586368"/>
              <a:gd name="connsiteY5470" fmla="*/ 2646366 h 6479439"/>
              <a:gd name="connsiteX5471" fmla="*/ 3107029 w 9586368"/>
              <a:gd name="connsiteY5471" fmla="*/ 2636496 h 6479439"/>
              <a:gd name="connsiteX5472" fmla="*/ 2871737 w 9586368"/>
              <a:gd name="connsiteY5472" fmla="*/ 2632457 h 6479439"/>
              <a:gd name="connsiteX5473" fmla="*/ 2881646 w 9586368"/>
              <a:gd name="connsiteY5473" fmla="*/ 2632457 h 6479439"/>
              <a:gd name="connsiteX5474" fmla="*/ 2885666 w 9586368"/>
              <a:gd name="connsiteY5474" fmla="*/ 2636496 h 6479439"/>
              <a:gd name="connsiteX5475" fmla="*/ 2885666 w 9586368"/>
              <a:gd name="connsiteY5475" fmla="*/ 2646366 h 6479439"/>
              <a:gd name="connsiteX5476" fmla="*/ 2881646 w 9586368"/>
              <a:gd name="connsiteY5476" fmla="*/ 2650405 h 6479439"/>
              <a:gd name="connsiteX5477" fmla="*/ 2871737 w 9586368"/>
              <a:gd name="connsiteY5477" fmla="*/ 2650405 h 6479439"/>
              <a:gd name="connsiteX5478" fmla="*/ 2867717 w 9586368"/>
              <a:gd name="connsiteY5478" fmla="*/ 2646366 h 6479439"/>
              <a:gd name="connsiteX5479" fmla="*/ 2867717 w 9586368"/>
              <a:gd name="connsiteY5479" fmla="*/ 2636496 h 6479439"/>
              <a:gd name="connsiteX5480" fmla="*/ 2632423 w 9586368"/>
              <a:gd name="connsiteY5480" fmla="*/ 2632457 h 6479439"/>
              <a:gd name="connsiteX5481" fmla="*/ 2642334 w 9586368"/>
              <a:gd name="connsiteY5481" fmla="*/ 2632457 h 6479439"/>
              <a:gd name="connsiteX5482" fmla="*/ 2646352 w 9586368"/>
              <a:gd name="connsiteY5482" fmla="*/ 2636496 h 6479439"/>
              <a:gd name="connsiteX5483" fmla="*/ 2646352 w 9586368"/>
              <a:gd name="connsiteY5483" fmla="*/ 2646366 h 6479439"/>
              <a:gd name="connsiteX5484" fmla="*/ 2642334 w 9586368"/>
              <a:gd name="connsiteY5484" fmla="*/ 2650405 h 6479439"/>
              <a:gd name="connsiteX5485" fmla="*/ 2632423 w 9586368"/>
              <a:gd name="connsiteY5485" fmla="*/ 2650405 h 6479439"/>
              <a:gd name="connsiteX5486" fmla="*/ 2628404 w 9586368"/>
              <a:gd name="connsiteY5486" fmla="*/ 2646366 h 6479439"/>
              <a:gd name="connsiteX5487" fmla="*/ 2628404 w 9586368"/>
              <a:gd name="connsiteY5487" fmla="*/ 2636496 h 6479439"/>
              <a:gd name="connsiteX5488" fmla="*/ 2393104 w 9586368"/>
              <a:gd name="connsiteY5488" fmla="*/ 2632457 h 6479439"/>
              <a:gd name="connsiteX5489" fmla="*/ 2403015 w 9586368"/>
              <a:gd name="connsiteY5489" fmla="*/ 2632457 h 6479439"/>
              <a:gd name="connsiteX5490" fmla="*/ 2407034 w 9586368"/>
              <a:gd name="connsiteY5490" fmla="*/ 2636496 h 6479439"/>
              <a:gd name="connsiteX5491" fmla="*/ 2407034 w 9586368"/>
              <a:gd name="connsiteY5491" fmla="*/ 2646366 h 6479439"/>
              <a:gd name="connsiteX5492" fmla="*/ 2403015 w 9586368"/>
              <a:gd name="connsiteY5492" fmla="*/ 2650405 h 6479439"/>
              <a:gd name="connsiteX5493" fmla="*/ 2393104 w 9586368"/>
              <a:gd name="connsiteY5493" fmla="*/ 2650405 h 6479439"/>
              <a:gd name="connsiteX5494" fmla="*/ 2389087 w 9586368"/>
              <a:gd name="connsiteY5494" fmla="*/ 2646366 h 6479439"/>
              <a:gd name="connsiteX5495" fmla="*/ 2389087 w 9586368"/>
              <a:gd name="connsiteY5495" fmla="*/ 2636496 h 6479439"/>
              <a:gd name="connsiteX5496" fmla="*/ 2157821 w 9586368"/>
              <a:gd name="connsiteY5496" fmla="*/ 2632457 h 6479439"/>
              <a:gd name="connsiteX5497" fmla="*/ 2167732 w 9586368"/>
              <a:gd name="connsiteY5497" fmla="*/ 2632457 h 6479439"/>
              <a:gd name="connsiteX5498" fmla="*/ 2171750 w 9586368"/>
              <a:gd name="connsiteY5498" fmla="*/ 2636496 h 6479439"/>
              <a:gd name="connsiteX5499" fmla="*/ 2171750 w 9586368"/>
              <a:gd name="connsiteY5499" fmla="*/ 2646366 h 6479439"/>
              <a:gd name="connsiteX5500" fmla="*/ 2167732 w 9586368"/>
              <a:gd name="connsiteY5500" fmla="*/ 2650405 h 6479439"/>
              <a:gd name="connsiteX5501" fmla="*/ 2157821 w 9586368"/>
              <a:gd name="connsiteY5501" fmla="*/ 2650405 h 6479439"/>
              <a:gd name="connsiteX5502" fmla="*/ 2153802 w 9586368"/>
              <a:gd name="connsiteY5502" fmla="*/ 2646366 h 6479439"/>
              <a:gd name="connsiteX5503" fmla="*/ 2153802 w 9586368"/>
              <a:gd name="connsiteY5503" fmla="*/ 2636496 h 6479439"/>
              <a:gd name="connsiteX5504" fmla="*/ 1918513 w 9586368"/>
              <a:gd name="connsiteY5504" fmla="*/ 2632457 h 6479439"/>
              <a:gd name="connsiteX5505" fmla="*/ 1928422 w 9586368"/>
              <a:gd name="connsiteY5505" fmla="*/ 2632457 h 6479439"/>
              <a:gd name="connsiteX5506" fmla="*/ 1932441 w 9586368"/>
              <a:gd name="connsiteY5506" fmla="*/ 2636496 h 6479439"/>
              <a:gd name="connsiteX5507" fmla="*/ 1932441 w 9586368"/>
              <a:gd name="connsiteY5507" fmla="*/ 2646366 h 6479439"/>
              <a:gd name="connsiteX5508" fmla="*/ 1928422 w 9586368"/>
              <a:gd name="connsiteY5508" fmla="*/ 2650405 h 6479439"/>
              <a:gd name="connsiteX5509" fmla="*/ 1918513 w 9586368"/>
              <a:gd name="connsiteY5509" fmla="*/ 2650405 h 6479439"/>
              <a:gd name="connsiteX5510" fmla="*/ 1914494 w 9586368"/>
              <a:gd name="connsiteY5510" fmla="*/ 2646366 h 6479439"/>
              <a:gd name="connsiteX5511" fmla="*/ 1914494 w 9586368"/>
              <a:gd name="connsiteY5511" fmla="*/ 2636496 h 6479439"/>
              <a:gd name="connsiteX5512" fmla="*/ 1679212 w 9586368"/>
              <a:gd name="connsiteY5512" fmla="*/ 2632457 h 6479439"/>
              <a:gd name="connsiteX5513" fmla="*/ 1689122 w 9586368"/>
              <a:gd name="connsiteY5513" fmla="*/ 2632457 h 6479439"/>
              <a:gd name="connsiteX5514" fmla="*/ 1693141 w 9586368"/>
              <a:gd name="connsiteY5514" fmla="*/ 2636496 h 6479439"/>
              <a:gd name="connsiteX5515" fmla="*/ 1693141 w 9586368"/>
              <a:gd name="connsiteY5515" fmla="*/ 2646366 h 6479439"/>
              <a:gd name="connsiteX5516" fmla="*/ 1689122 w 9586368"/>
              <a:gd name="connsiteY5516" fmla="*/ 2650405 h 6479439"/>
              <a:gd name="connsiteX5517" fmla="*/ 1679212 w 9586368"/>
              <a:gd name="connsiteY5517" fmla="*/ 2650405 h 6479439"/>
              <a:gd name="connsiteX5518" fmla="*/ 1675193 w 9586368"/>
              <a:gd name="connsiteY5518" fmla="*/ 2646366 h 6479439"/>
              <a:gd name="connsiteX5519" fmla="*/ 1675193 w 9586368"/>
              <a:gd name="connsiteY5519" fmla="*/ 2636496 h 6479439"/>
              <a:gd name="connsiteX5520" fmla="*/ 1439896 w 9586368"/>
              <a:gd name="connsiteY5520" fmla="*/ 2632457 h 6479439"/>
              <a:gd name="connsiteX5521" fmla="*/ 1449806 w 9586368"/>
              <a:gd name="connsiteY5521" fmla="*/ 2632457 h 6479439"/>
              <a:gd name="connsiteX5522" fmla="*/ 1453824 w 9586368"/>
              <a:gd name="connsiteY5522" fmla="*/ 2636496 h 6479439"/>
              <a:gd name="connsiteX5523" fmla="*/ 1453824 w 9586368"/>
              <a:gd name="connsiteY5523" fmla="*/ 2646366 h 6479439"/>
              <a:gd name="connsiteX5524" fmla="*/ 1449806 w 9586368"/>
              <a:gd name="connsiteY5524" fmla="*/ 2650405 h 6479439"/>
              <a:gd name="connsiteX5525" fmla="*/ 1439896 w 9586368"/>
              <a:gd name="connsiteY5525" fmla="*/ 2650405 h 6479439"/>
              <a:gd name="connsiteX5526" fmla="*/ 1435876 w 9586368"/>
              <a:gd name="connsiteY5526" fmla="*/ 2646366 h 6479439"/>
              <a:gd name="connsiteX5527" fmla="*/ 1435876 w 9586368"/>
              <a:gd name="connsiteY5527" fmla="*/ 2636496 h 6479439"/>
              <a:gd name="connsiteX5528" fmla="*/ 1200580 w 9586368"/>
              <a:gd name="connsiteY5528" fmla="*/ 2632457 h 6479439"/>
              <a:gd name="connsiteX5529" fmla="*/ 1210490 w 9586368"/>
              <a:gd name="connsiteY5529" fmla="*/ 2632457 h 6479439"/>
              <a:gd name="connsiteX5530" fmla="*/ 1214509 w 9586368"/>
              <a:gd name="connsiteY5530" fmla="*/ 2636496 h 6479439"/>
              <a:gd name="connsiteX5531" fmla="*/ 1214509 w 9586368"/>
              <a:gd name="connsiteY5531" fmla="*/ 2646366 h 6479439"/>
              <a:gd name="connsiteX5532" fmla="*/ 1210490 w 9586368"/>
              <a:gd name="connsiteY5532" fmla="*/ 2650405 h 6479439"/>
              <a:gd name="connsiteX5533" fmla="*/ 1200580 w 9586368"/>
              <a:gd name="connsiteY5533" fmla="*/ 2650405 h 6479439"/>
              <a:gd name="connsiteX5534" fmla="*/ 1196561 w 9586368"/>
              <a:gd name="connsiteY5534" fmla="*/ 2646366 h 6479439"/>
              <a:gd name="connsiteX5535" fmla="*/ 1196561 w 9586368"/>
              <a:gd name="connsiteY5535" fmla="*/ 2636496 h 6479439"/>
              <a:gd name="connsiteX5536" fmla="*/ 961267 w 9586368"/>
              <a:gd name="connsiteY5536" fmla="*/ 2632457 h 6479439"/>
              <a:gd name="connsiteX5537" fmla="*/ 971178 w 9586368"/>
              <a:gd name="connsiteY5537" fmla="*/ 2632457 h 6479439"/>
              <a:gd name="connsiteX5538" fmla="*/ 975196 w 9586368"/>
              <a:gd name="connsiteY5538" fmla="*/ 2636496 h 6479439"/>
              <a:gd name="connsiteX5539" fmla="*/ 975196 w 9586368"/>
              <a:gd name="connsiteY5539" fmla="*/ 2646366 h 6479439"/>
              <a:gd name="connsiteX5540" fmla="*/ 971178 w 9586368"/>
              <a:gd name="connsiteY5540" fmla="*/ 2650405 h 6479439"/>
              <a:gd name="connsiteX5541" fmla="*/ 961267 w 9586368"/>
              <a:gd name="connsiteY5541" fmla="*/ 2650405 h 6479439"/>
              <a:gd name="connsiteX5542" fmla="*/ 957249 w 9586368"/>
              <a:gd name="connsiteY5542" fmla="*/ 2646366 h 6479439"/>
              <a:gd name="connsiteX5543" fmla="*/ 957249 w 9586368"/>
              <a:gd name="connsiteY5543" fmla="*/ 2636496 h 6479439"/>
              <a:gd name="connsiteX5544" fmla="*/ 721970 w 9586368"/>
              <a:gd name="connsiteY5544" fmla="*/ 2632457 h 6479439"/>
              <a:gd name="connsiteX5545" fmla="*/ 731879 w 9586368"/>
              <a:gd name="connsiteY5545" fmla="*/ 2632457 h 6479439"/>
              <a:gd name="connsiteX5546" fmla="*/ 735898 w 9586368"/>
              <a:gd name="connsiteY5546" fmla="*/ 2636496 h 6479439"/>
              <a:gd name="connsiteX5547" fmla="*/ 735898 w 9586368"/>
              <a:gd name="connsiteY5547" fmla="*/ 2646366 h 6479439"/>
              <a:gd name="connsiteX5548" fmla="*/ 731879 w 9586368"/>
              <a:gd name="connsiteY5548" fmla="*/ 2650405 h 6479439"/>
              <a:gd name="connsiteX5549" fmla="*/ 721970 w 9586368"/>
              <a:gd name="connsiteY5549" fmla="*/ 2650405 h 6479439"/>
              <a:gd name="connsiteX5550" fmla="*/ 717951 w 9586368"/>
              <a:gd name="connsiteY5550" fmla="*/ 2646366 h 6479439"/>
              <a:gd name="connsiteX5551" fmla="*/ 717951 w 9586368"/>
              <a:gd name="connsiteY5551" fmla="*/ 2636496 h 6479439"/>
              <a:gd name="connsiteX5552" fmla="*/ 482657 w 9586368"/>
              <a:gd name="connsiteY5552" fmla="*/ 2632457 h 6479439"/>
              <a:gd name="connsiteX5553" fmla="*/ 492567 w 9586368"/>
              <a:gd name="connsiteY5553" fmla="*/ 2632457 h 6479439"/>
              <a:gd name="connsiteX5554" fmla="*/ 496586 w 9586368"/>
              <a:gd name="connsiteY5554" fmla="*/ 2636496 h 6479439"/>
              <a:gd name="connsiteX5555" fmla="*/ 496586 w 9586368"/>
              <a:gd name="connsiteY5555" fmla="*/ 2646366 h 6479439"/>
              <a:gd name="connsiteX5556" fmla="*/ 492567 w 9586368"/>
              <a:gd name="connsiteY5556" fmla="*/ 2650405 h 6479439"/>
              <a:gd name="connsiteX5557" fmla="*/ 482657 w 9586368"/>
              <a:gd name="connsiteY5557" fmla="*/ 2650405 h 6479439"/>
              <a:gd name="connsiteX5558" fmla="*/ 478638 w 9586368"/>
              <a:gd name="connsiteY5558" fmla="*/ 2646366 h 6479439"/>
              <a:gd name="connsiteX5559" fmla="*/ 478638 w 9586368"/>
              <a:gd name="connsiteY5559" fmla="*/ 2636496 h 6479439"/>
              <a:gd name="connsiteX5560" fmla="*/ 243344 w 9586368"/>
              <a:gd name="connsiteY5560" fmla="*/ 2632457 h 6479439"/>
              <a:gd name="connsiteX5561" fmla="*/ 253254 w 9586368"/>
              <a:gd name="connsiteY5561" fmla="*/ 2632457 h 6479439"/>
              <a:gd name="connsiteX5562" fmla="*/ 257273 w 9586368"/>
              <a:gd name="connsiteY5562" fmla="*/ 2636496 h 6479439"/>
              <a:gd name="connsiteX5563" fmla="*/ 257273 w 9586368"/>
              <a:gd name="connsiteY5563" fmla="*/ 2646366 h 6479439"/>
              <a:gd name="connsiteX5564" fmla="*/ 253254 w 9586368"/>
              <a:gd name="connsiteY5564" fmla="*/ 2650405 h 6479439"/>
              <a:gd name="connsiteX5565" fmla="*/ 243344 w 9586368"/>
              <a:gd name="connsiteY5565" fmla="*/ 2650405 h 6479439"/>
              <a:gd name="connsiteX5566" fmla="*/ 239325 w 9586368"/>
              <a:gd name="connsiteY5566" fmla="*/ 2646366 h 6479439"/>
              <a:gd name="connsiteX5567" fmla="*/ 239325 w 9586368"/>
              <a:gd name="connsiteY5567" fmla="*/ 2636496 h 6479439"/>
              <a:gd name="connsiteX5568" fmla="*/ 4030 w 9586368"/>
              <a:gd name="connsiteY5568" fmla="*/ 2632457 h 6479439"/>
              <a:gd name="connsiteX5569" fmla="*/ 13941 w 9586368"/>
              <a:gd name="connsiteY5569" fmla="*/ 2632457 h 6479439"/>
              <a:gd name="connsiteX5570" fmla="*/ 17960 w 9586368"/>
              <a:gd name="connsiteY5570" fmla="*/ 2636496 h 6479439"/>
              <a:gd name="connsiteX5571" fmla="*/ 17960 w 9586368"/>
              <a:gd name="connsiteY5571" fmla="*/ 2646366 h 6479439"/>
              <a:gd name="connsiteX5572" fmla="*/ 13941 w 9586368"/>
              <a:gd name="connsiteY5572" fmla="*/ 2650405 h 6479439"/>
              <a:gd name="connsiteX5573" fmla="*/ 4030 w 9586368"/>
              <a:gd name="connsiteY5573" fmla="*/ 2650405 h 6479439"/>
              <a:gd name="connsiteX5574" fmla="*/ 11 w 9586368"/>
              <a:gd name="connsiteY5574" fmla="*/ 2646366 h 6479439"/>
              <a:gd name="connsiteX5575" fmla="*/ 11 w 9586368"/>
              <a:gd name="connsiteY5575" fmla="*/ 2636496 h 6479439"/>
              <a:gd name="connsiteX5576" fmla="*/ 2157821 w 9586368"/>
              <a:gd name="connsiteY5576" fmla="*/ 2393178 h 6479439"/>
              <a:gd name="connsiteX5577" fmla="*/ 2167732 w 9586368"/>
              <a:gd name="connsiteY5577" fmla="*/ 2393178 h 6479439"/>
              <a:gd name="connsiteX5578" fmla="*/ 2171750 w 9586368"/>
              <a:gd name="connsiteY5578" fmla="*/ 2397216 h 6479439"/>
              <a:gd name="connsiteX5579" fmla="*/ 2171750 w 9586368"/>
              <a:gd name="connsiteY5579" fmla="*/ 2407087 h 6479439"/>
              <a:gd name="connsiteX5580" fmla="*/ 2167732 w 9586368"/>
              <a:gd name="connsiteY5580" fmla="*/ 2411126 h 6479439"/>
              <a:gd name="connsiteX5581" fmla="*/ 2157821 w 9586368"/>
              <a:gd name="connsiteY5581" fmla="*/ 2411126 h 6479439"/>
              <a:gd name="connsiteX5582" fmla="*/ 2153802 w 9586368"/>
              <a:gd name="connsiteY5582" fmla="*/ 2407087 h 6479439"/>
              <a:gd name="connsiteX5583" fmla="*/ 2153802 w 9586368"/>
              <a:gd name="connsiteY5583" fmla="*/ 2397216 h 6479439"/>
              <a:gd name="connsiteX5584" fmla="*/ 1918513 w 9586368"/>
              <a:gd name="connsiteY5584" fmla="*/ 2393178 h 6479439"/>
              <a:gd name="connsiteX5585" fmla="*/ 1928422 w 9586368"/>
              <a:gd name="connsiteY5585" fmla="*/ 2393178 h 6479439"/>
              <a:gd name="connsiteX5586" fmla="*/ 1932443 w 9586368"/>
              <a:gd name="connsiteY5586" fmla="*/ 2397216 h 6479439"/>
              <a:gd name="connsiteX5587" fmla="*/ 1932443 w 9586368"/>
              <a:gd name="connsiteY5587" fmla="*/ 2407087 h 6479439"/>
              <a:gd name="connsiteX5588" fmla="*/ 1928422 w 9586368"/>
              <a:gd name="connsiteY5588" fmla="*/ 2411126 h 6479439"/>
              <a:gd name="connsiteX5589" fmla="*/ 1918513 w 9586368"/>
              <a:gd name="connsiteY5589" fmla="*/ 2411126 h 6479439"/>
              <a:gd name="connsiteX5590" fmla="*/ 1914494 w 9586368"/>
              <a:gd name="connsiteY5590" fmla="*/ 2407087 h 6479439"/>
              <a:gd name="connsiteX5591" fmla="*/ 1914494 w 9586368"/>
              <a:gd name="connsiteY5591" fmla="*/ 2397216 h 6479439"/>
              <a:gd name="connsiteX5592" fmla="*/ 1679212 w 9586368"/>
              <a:gd name="connsiteY5592" fmla="*/ 2393178 h 6479439"/>
              <a:gd name="connsiteX5593" fmla="*/ 1689123 w 9586368"/>
              <a:gd name="connsiteY5593" fmla="*/ 2393178 h 6479439"/>
              <a:gd name="connsiteX5594" fmla="*/ 1693142 w 9586368"/>
              <a:gd name="connsiteY5594" fmla="*/ 2397216 h 6479439"/>
              <a:gd name="connsiteX5595" fmla="*/ 1693142 w 9586368"/>
              <a:gd name="connsiteY5595" fmla="*/ 2407087 h 6479439"/>
              <a:gd name="connsiteX5596" fmla="*/ 1689123 w 9586368"/>
              <a:gd name="connsiteY5596" fmla="*/ 2411126 h 6479439"/>
              <a:gd name="connsiteX5597" fmla="*/ 1679212 w 9586368"/>
              <a:gd name="connsiteY5597" fmla="*/ 2411126 h 6479439"/>
              <a:gd name="connsiteX5598" fmla="*/ 1675194 w 9586368"/>
              <a:gd name="connsiteY5598" fmla="*/ 2407087 h 6479439"/>
              <a:gd name="connsiteX5599" fmla="*/ 1675194 w 9586368"/>
              <a:gd name="connsiteY5599" fmla="*/ 2397216 h 6479439"/>
              <a:gd name="connsiteX5600" fmla="*/ 1439896 w 9586368"/>
              <a:gd name="connsiteY5600" fmla="*/ 2393178 h 6479439"/>
              <a:gd name="connsiteX5601" fmla="*/ 1449806 w 9586368"/>
              <a:gd name="connsiteY5601" fmla="*/ 2393178 h 6479439"/>
              <a:gd name="connsiteX5602" fmla="*/ 1453826 w 9586368"/>
              <a:gd name="connsiteY5602" fmla="*/ 2397216 h 6479439"/>
              <a:gd name="connsiteX5603" fmla="*/ 1453826 w 9586368"/>
              <a:gd name="connsiteY5603" fmla="*/ 2407087 h 6479439"/>
              <a:gd name="connsiteX5604" fmla="*/ 1449806 w 9586368"/>
              <a:gd name="connsiteY5604" fmla="*/ 2411126 h 6479439"/>
              <a:gd name="connsiteX5605" fmla="*/ 1439896 w 9586368"/>
              <a:gd name="connsiteY5605" fmla="*/ 2411126 h 6479439"/>
              <a:gd name="connsiteX5606" fmla="*/ 1435878 w 9586368"/>
              <a:gd name="connsiteY5606" fmla="*/ 2407087 h 6479439"/>
              <a:gd name="connsiteX5607" fmla="*/ 1435878 w 9586368"/>
              <a:gd name="connsiteY5607" fmla="*/ 2397216 h 6479439"/>
              <a:gd name="connsiteX5608" fmla="*/ 1200580 w 9586368"/>
              <a:gd name="connsiteY5608" fmla="*/ 2393178 h 6479439"/>
              <a:gd name="connsiteX5609" fmla="*/ 1210491 w 9586368"/>
              <a:gd name="connsiteY5609" fmla="*/ 2393178 h 6479439"/>
              <a:gd name="connsiteX5610" fmla="*/ 1214510 w 9586368"/>
              <a:gd name="connsiteY5610" fmla="*/ 2397216 h 6479439"/>
              <a:gd name="connsiteX5611" fmla="*/ 1214510 w 9586368"/>
              <a:gd name="connsiteY5611" fmla="*/ 2407087 h 6479439"/>
              <a:gd name="connsiteX5612" fmla="*/ 1210491 w 9586368"/>
              <a:gd name="connsiteY5612" fmla="*/ 2411126 h 6479439"/>
              <a:gd name="connsiteX5613" fmla="*/ 1200580 w 9586368"/>
              <a:gd name="connsiteY5613" fmla="*/ 2411126 h 6479439"/>
              <a:gd name="connsiteX5614" fmla="*/ 1196562 w 9586368"/>
              <a:gd name="connsiteY5614" fmla="*/ 2407087 h 6479439"/>
              <a:gd name="connsiteX5615" fmla="*/ 1196562 w 9586368"/>
              <a:gd name="connsiteY5615" fmla="*/ 2397216 h 6479439"/>
              <a:gd name="connsiteX5616" fmla="*/ 961268 w 9586368"/>
              <a:gd name="connsiteY5616" fmla="*/ 2393178 h 6479439"/>
              <a:gd name="connsiteX5617" fmla="*/ 971178 w 9586368"/>
              <a:gd name="connsiteY5617" fmla="*/ 2393178 h 6479439"/>
              <a:gd name="connsiteX5618" fmla="*/ 975196 w 9586368"/>
              <a:gd name="connsiteY5618" fmla="*/ 2397216 h 6479439"/>
              <a:gd name="connsiteX5619" fmla="*/ 975196 w 9586368"/>
              <a:gd name="connsiteY5619" fmla="*/ 2407087 h 6479439"/>
              <a:gd name="connsiteX5620" fmla="*/ 971178 w 9586368"/>
              <a:gd name="connsiteY5620" fmla="*/ 2411126 h 6479439"/>
              <a:gd name="connsiteX5621" fmla="*/ 961268 w 9586368"/>
              <a:gd name="connsiteY5621" fmla="*/ 2411126 h 6479439"/>
              <a:gd name="connsiteX5622" fmla="*/ 957249 w 9586368"/>
              <a:gd name="connsiteY5622" fmla="*/ 2407087 h 6479439"/>
              <a:gd name="connsiteX5623" fmla="*/ 957249 w 9586368"/>
              <a:gd name="connsiteY5623" fmla="*/ 2397216 h 6479439"/>
              <a:gd name="connsiteX5624" fmla="*/ 9572438 w 9586368"/>
              <a:gd name="connsiteY5624" fmla="*/ 2393127 h 6479439"/>
              <a:gd name="connsiteX5625" fmla="*/ 9582349 w 9586368"/>
              <a:gd name="connsiteY5625" fmla="*/ 2393127 h 6479439"/>
              <a:gd name="connsiteX5626" fmla="*/ 9586368 w 9586368"/>
              <a:gd name="connsiteY5626" fmla="*/ 2397165 h 6479439"/>
              <a:gd name="connsiteX5627" fmla="*/ 9586368 w 9586368"/>
              <a:gd name="connsiteY5627" fmla="*/ 2407036 h 6479439"/>
              <a:gd name="connsiteX5628" fmla="*/ 9582349 w 9586368"/>
              <a:gd name="connsiteY5628" fmla="*/ 2411074 h 6479439"/>
              <a:gd name="connsiteX5629" fmla="*/ 9572438 w 9586368"/>
              <a:gd name="connsiteY5629" fmla="*/ 2411074 h 6479439"/>
              <a:gd name="connsiteX5630" fmla="*/ 9568419 w 9586368"/>
              <a:gd name="connsiteY5630" fmla="*/ 2407036 h 6479439"/>
              <a:gd name="connsiteX5631" fmla="*/ 9568419 w 9586368"/>
              <a:gd name="connsiteY5631" fmla="*/ 2397165 h 6479439"/>
              <a:gd name="connsiteX5632" fmla="*/ 9333125 w 9586368"/>
              <a:gd name="connsiteY5632" fmla="*/ 2393127 h 6479439"/>
              <a:gd name="connsiteX5633" fmla="*/ 9343036 w 9586368"/>
              <a:gd name="connsiteY5633" fmla="*/ 2393127 h 6479439"/>
              <a:gd name="connsiteX5634" fmla="*/ 9347055 w 9586368"/>
              <a:gd name="connsiteY5634" fmla="*/ 2397165 h 6479439"/>
              <a:gd name="connsiteX5635" fmla="*/ 9347055 w 9586368"/>
              <a:gd name="connsiteY5635" fmla="*/ 2407036 h 6479439"/>
              <a:gd name="connsiteX5636" fmla="*/ 9343036 w 9586368"/>
              <a:gd name="connsiteY5636" fmla="*/ 2411074 h 6479439"/>
              <a:gd name="connsiteX5637" fmla="*/ 9333125 w 9586368"/>
              <a:gd name="connsiteY5637" fmla="*/ 2411074 h 6479439"/>
              <a:gd name="connsiteX5638" fmla="*/ 9329106 w 9586368"/>
              <a:gd name="connsiteY5638" fmla="*/ 2407036 h 6479439"/>
              <a:gd name="connsiteX5639" fmla="*/ 9329106 w 9586368"/>
              <a:gd name="connsiteY5639" fmla="*/ 2397165 h 6479439"/>
              <a:gd name="connsiteX5640" fmla="*/ 9093811 w 9586368"/>
              <a:gd name="connsiteY5640" fmla="*/ 2393127 h 6479439"/>
              <a:gd name="connsiteX5641" fmla="*/ 9103722 w 9586368"/>
              <a:gd name="connsiteY5641" fmla="*/ 2393127 h 6479439"/>
              <a:gd name="connsiteX5642" fmla="*/ 9107741 w 9586368"/>
              <a:gd name="connsiteY5642" fmla="*/ 2397165 h 6479439"/>
              <a:gd name="connsiteX5643" fmla="*/ 9107741 w 9586368"/>
              <a:gd name="connsiteY5643" fmla="*/ 2407036 h 6479439"/>
              <a:gd name="connsiteX5644" fmla="*/ 9103722 w 9586368"/>
              <a:gd name="connsiteY5644" fmla="*/ 2411074 h 6479439"/>
              <a:gd name="connsiteX5645" fmla="*/ 9093811 w 9586368"/>
              <a:gd name="connsiteY5645" fmla="*/ 2411074 h 6479439"/>
              <a:gd name="connsiteX5646" fmla="*/ 9089792 w 9586368"/>
              <a:gd name="connsiteY5646" fmla="*/ 2407036 h 6479439"/>
              <a:gd name="connsiteX5647" fmla="*/ 9089792 w 9586368"/>
              <a:gd name="connsiteY5647" fmla="*/ 2397165 h 6479439"/>
              <a:gd name="connsiteX5648" fmla="*/ 8854496 w 9586368"/>
              <a:gd name="connsiteY5648" fmla="*/ 2393127 h 6479439"/>
              <a:gd name="connsiteX5649" fmla="*/ 8864407 w 9586368"/>
              <a:gd name="connsiteY5649" fmla="*/ 2393127 h 6479439"/>
              <a:gd name="connsiteX5650" fmla="*/ 8868426 w 9586368"/>
              <a:gd name="connsiteY5650" fmla="*/ 2397165 h 6479439"/>
              <a:gd name="connsiteX5651" fmla="*/ 8868426 w 9586368"/>
              <a:gd name="connsiteY5651" fmla="*/ 2407036 h 6479439"/>
              <a:gd name="connsiteX5652" fmla="*/ 8864407 w 9586368"/>
              <a:gd name="connsiteY5652" fmla="*/ 2411074 h 6479439"/>
              <a:gd name="connsiteX5653" fmla="*/ 8854496 w 9586368"/>
              <a:gd name="connsiteY5653" fmla="*/ 2411074 h 6479439"/>
              <a:gd name="connsiteX5654" fmla="*/ 8850477 w 9586368"/>
              <a:gd name="connsiteY5654" fmla="*/ 2407036 h 6479439"/>
              <a:gd name="connsiteX5655" fmla="*/ 8850477 w 9586368"/>
              <a:gd name="connsiteY5655" fmla="*/ 2397165 h 6479439"/>
              <a:gd name="connsiteX5656" fmla="*/ 8615184 w 9586368"/>
              <a:gd name="connsiteY5656" fmla="*/ 2393127 h 6479439"/>
              <a:gd name="connsiteX5657" fmla="*/ 8625095 w 9586368"/>
              <a:gd name="connsiteY5657" fmla="*/ 2393127 h 6479439"/>
              <a:gd name="connsiteX5658" fmla="*/ 8629114 w 9586368"/>
              <a:gd name="connsiteY5658" fmla="*/ 2397165 h 6479439"/>
              <a:gd name="connsiteX5659" fmla="*/ 8629114 w 9586368"/>
              <a:gd name="connsiteY5659" fmla="*/ 2407036 h 6479439"/>
              <a:gd name="connsiteX5660" fmla="*/ 8625095 w 9586368"/>
              <a:gd name="connsiteY5660" fmla="*/ 2411074 h 6479439"/>
              <a:gd name="connsiteX5661" fmla="*/ 8615184 w 9586368"/>
              <a:gd name="connsiteY5661" fmla="*/ 2411074 h 6479439"/>
              <a:gd name="connsiteX5662" fmla="*/ 8611165 w 9586368"/>
              <a:gd name="connsiteY5662" fmla="*/ 2407036 h 6479439"/>
              <a:gd name="connsiteX5663" fmla="*/ 8611165 w 9586368"/>
              <a:gd name="connsiteY5663" fmla="*/ 2397165 h 6479439"/>
              <a:gd name="connsiteX5664" fmla="*/ 8375869 w 9586368"/>
              <a:gd name="connsiteY5664" fmla="*/ 2393127 h 6479439"/>
              <a:gd name="connsiteX5665" fmla="*/ 8385779 w 9586368"/>
              <a:gd name="connsiteY5665" fmla="*/ 2393127 h 6479439"/>
              <a:gd name="connsiteX5666" fmla="*/ 8389799 w 9586368"/>
              <a:gd name="connsiteY5666" fmla="*/ 2397165 h 6479439"/>
              <a:gd name="connsiteX5667" fmla="*/ 8389799 w 9586368"/>
              <a:gd name="connsiteY5667" fmla="*/ 2407036 h 6479439"/>
              <a:gd name="connsiteX5668" fmla="*/ 8385779 w 9586368"/>
              <a:gd name="connsiteY5668" fmla="*/ 2411074 h 6479439"/>
              <a:gd name="connsiteX5669" fmla="*/ 8375869 w 9586368"/>
              <a:gd name="connsiteY5669" fmla="*/ 2411074 h 6479439"/>
              <a:gd name="connsiteX5670" fmla="*/ 8371850 w 9586368"/>
              <a:gd name="connsiteY5670" fmla="*/ 2407036 h 6479439"/>
              <a:gd name="connsiteX5671" fmla="*/ 8371850 w 9586368"/>
              <a:gd name="connsiteY5671" fmla="*/ 2397165 h 6479439"/>
              <a:gd name="connsiteX5672" fmla="*/ 8136553 w 9586368"/>
              <a:gd name="connsiteY5672" fmla="*/ 2393127 h 6479439"/>
              <a:gd name="connsiteX5673" fmla="*/ 8146464 w 9586368"/>
              <a:gd name="connsiteY5673" fmla="*/ 2393127 h 6479439"/>
              <a:gd name="connsiteX5674" fmla="*/ 8150483 w 9586368"/>
              <a:gd name="connsiteY5674" fmla="*/ 2397165 h 6479439"/>
              <a:gd name="connsiteX5675" fmla="*/ 8150483 w 9586368"/>
              <a:gd name="connsiteY5675" fmla="*/ 2407036 h 6479439"/>
              <a:gd name="connsiteX5676" fmla="*/ 8146464 w 9586368"/>
              <a:gd name="connsiteY5676" fmla="*/ 2411074 h 6479439"/>
              <a:gd name="connsiteX5677" fmla="*/ 8136553 w 9586368"/>
              <a:gd name="connsiteY5677" fmla="*/ 2411074 h 6479439"/>
              <a:gd name="connsiteX5678" fmla="*/ 8132534 w 9586368"/>
              <a:gd name="connsiteY5678" fmla="*/ 2407036 h 6479439"/>
              <a:gd name="connsiteX5679" fmla="*/ 8132534 w 9586368"/>
              <a:gd name="connsiteY5679" fmla="*/ 2397165 h 6479439"/>
              <a:gd name="connsiteX5680" fmla="*/ 7897241 w 9586368"/>
              <a:gd name="connsiteY5680" fmla="*/ 2393127 h 6479439"/>
              <a:gd name="connsiteX5681" fmla="*/ 7907151 w 9586368"/>
              <a:gd name="connsiteY5681" fmla="*/ 2393127 h 6479439"/>
              <a:gd name="connsiteX5682" fmla="*/ 7911170 w 9586368"/>
              <a:gd name="connsiteY5682" fmla="*/ 2397165 h 6479439"/>
              <a:gd name="connsiteX5683" fmla="*/ 7911170 w 9586368"/>
              <a:gd name="connsiteY5683" fmla="*/ 2407036 h 6479439"/>
              <a:gd name="connsiteX5684" fmla="*/ 7907151 w 9586368"/>
              <a:gd name="connsiteY5684" fmla="*/ 2411074 h 6479439"/>
              <a:gd name="connsiteX5685" fmla="*/ 7897241 w 9586368"/>
              <a:gd name="connsiteY5685" fmla="*/ 2411074 h 6479439"/>
              <a:gd name="connsiteX5686" fmla="*/ 7893222 w 9586368"/>
              <a:gd name="connsiteY5686" fmla="*/ 2407036 h 6479439"/>
              <a:gd name="connsiteX5687" fmla="*/ 7893222 w 9586368"/>
              <a:gd name="connsiteY5687" fmla="*/ 2397165 h 6479439"/>
              <a:gd name="connsiteX5688" fmla="*/ 7657926 w 9586368"/>
              <a:gd name="connsiteY5688" fmla="*/ 2393127 h 6479439"/>
              <a:gd name="connsiteX5689" fmla="*/ 7667836 w 9586368"/>
              <a:gd name="connsiteY5689" fmla="*/ 2393127 h 6479439"/>
              <a:gd name="connsiteX5690" fmla="*/ 7671855 w 9586368"/>
              <a:gd name="connsiteY5690" fmla="*/ 2397165 h 6479439"/>
              <a:gd name="connsiteX5691" fmla="*/ 7671855 w 9586368"/>
              <a:gd name="connsiteY5691" fmla="*/ 2407036 h 6479439"/>
              <a:gd name="connsiteX5692" fmla="*/ 7667836 w 9586368"/>
              <a:gd name="connsiteY5692" fmla="*/ 2411074 h 6479439"/>
              <a:gd name="connsiteX5693" fmla="*/ 7657926 w 9586368"/>
              <a:gd name="connsiteY5693" fmla="*/ 2411074 h 6479439"/>
              <a:gd name="connsiteX5694" fmla="*/ 7653906 w 9586368"/>
              <a:gd name="connsiteY5694" fmla="*/ 2407036 h 6479439"/>
              <a:gd name="connsiteX5695" fmla="*/ 7653906 w 9586368"/>
              <a:gd name="connsiteY5695" fmla="*/ 2397165 h 6479439"/>
              <a:gd name="connsiteX5696" fmla="*/ 7418611 w 9586368"/>
              <a:gd name="connsiteY5696" fmla="*/ 2393127 h 6479439"/>
              <a:gd name="connsiteX5697" fmla="*/ 7428521 w 9586368"/>
              <a:gd name="connsiteY5697" fmla="*/ 2393127 h 6479439"/>
              <a:gd name="connsiteX5698" fmla="*/ 7432540 w 9586368"/>
              <a:gd name="connsiteY5698" fmla="*/ 2397165 h 6479439"/>
              <a:gd name="connsiteX5699" fmla="*/ 7432540 w 9586368"/>
              <a:gd name="connsiteY5699" fmla="*/ 2407036 h 6479439"/>
              <a:gd name="connsiteX5700" fmla="*/ 7428521 w 9586368"/>
              <a:gd name="connsiteY5700" fmla="*/ 2411074 h 6479439"/>
              <a:gd name="connsiteX5701" fmla="*/ 7418611 w 9586368"/>
              <a:gd name="connsiteY5701" fmla="*/ 2411074 h 6479439"/>
              <a:gd name="connsiteX5702" fmla="*/ 7414592 w 9586368"/>
              <a:gd name="connsiteY5702" fmla="*/ 2407036 h 6479439"/>
              <a:gd name="connsiteX5703" fmla="*/ 7414592 w 9586368"/>
              <a:gd name="connsiteY5703" fmla="*/ 2397165 h 6479439"/>
              <a:gd name="connsiteX5704" fmla="*/ 7179298 w 9586368"/>
              <a:gd name="connsiteY5704" fmla="*/ 2393127 h 6479439"/>
              <a:gd name="connsiteX5705" fmla="*/ 7189209 w 9586368"/>
              <a:gd name="connsiteY5705" fmla="*/ 2393127 h 6479439"/>
              <a:gd name="connsiteX5706" fmla="*/ 7193228 w 9586368"/>
              <a:gd name="connsiteY5706" fmla="*/ 2397165 h 6479439"/>
              <a:gd name="connsiteX5707" fmla="*/ 7193228 w 9586368"/>
              <a:gd name="connsiteY5707" fmla="*/ 2407036 h 6479439"/>
              <a:gd name="connsiteX5708" fmla="*/ 7189209 w 9586368"/>
              <a:gd name="connsiteY5708" fmla="*/ 2411074 h 6479439"/>
              <a:gd name="connsiteX5709" fmla="*/ 7179298 w 9586368"/>
              <a:gd name="connsiteY5709" fmla="*/ 2411074 h 6479439"/>
              <a:gd name="connsiteX5710" fmla="*/ 7175279 w 9586368"/>
              <a:gd name="connsiteY5710" fmla="*/ 2407036 h 6479439"/>
              <a:gd name="connsiteX5711" fmla="*/ 7175279 w 9586368"/>
              <a:gd name="connsiteY5711" fmla="*/ 2397165 h 6479439"/>
              <a:gd name="connsiteX5712" fmla="*/ 6939983 w 9586368"/>
              <a:gd name="connsiteY5712" fmla="*/ 2393127 h 6479439"/>
              <a:gd name="connsiteX5713" fmla="*/ 6949894 w 9586368"/>
              <a:gd name="connsiteY5713" fmla="*/ 2393127 h 6479439"/>
              <a:gd name="connsiteX5714" fmla="*/ 6953913 w 9586368"/>
              <a:gd name="connsiteY5714" fmla="*/ 2397165 h 6479439"/>
              <a:gd name="connsiteX5715" fmla="*/ 6953913 w 9586368"/>
              <a:gd name="connsiteY5715" fmla="*/ 2407036 h 6479439"/>
              <a:gd name="connsiteX5716" fmla="*/ 6949894 w 9586368"/>
              <a:gd name="connsiteY5716" fmla="*/ 2411074 h 6479439"/>
              <a:gd name="connsiteX5717" fmla="*/ 6939983 w 9586368"/>
              <a:gd name="connsiteY5717" fmla="*/ 2411074 h 6479439"/>
              <a:gd name="connsiteX5718" fmla="*/ 6935964 w 9586368"/>
              <a:gd name="connsiteY5718" fmla="*/ 2407036 h 6479439"/>
              <a:gd name="connsiteX5719" fmla="*/ 6935964 w 9586368"/>
              <a:gd name="connsiteY5719" fmla="*/ 2397165 h 6479439"/>
              <a:gd name="connsiteX5720" fmla="*/ 6700670 w 9586368"/>
              <a:gd name="connsiteY5720" fmla="*/ 2393127 h 6479439"/>
              <a:gd name="connsiteX5721" fmla="*/ 6710581 w 9586368"/>
              <a:gd name="connsiteY5721" fmla="*/ 2393127 h 6479439"/>
              <a:gd name="connsiteX5722" fmla="*/ 6714600 w 9586368"/>
              <a:gd name="connsiteY5722" fmla="*/ 2397165 h 6479439"/>
              <a:gd name="connsiteX5723" fmla="*/ 6714600 w 9586368"/>
              <a:gd name="connsiteY5723" fmla="*/ 2407036 h 6479439"/>
              <a:gd name="connsiteX5724" fmla="*/ 6710581 w 9586368"/>
              <a:gd name="connsiteY5724" fmla="*/ 2411074 h 6479439"/>
              <a:gd name="connsiteX5725" fmla="*/ 6700670 w 9586368"/>
              <a:gd name="connsiteY5725" fmla="*/ 2411074 h 6479439"/>
              <a:gd name="connsiteX5726" fmla="*/ 6696651 w 9586368"/>
              <a:gd name="connsiteY5726" fmla="*/ 2407036 h 6479439"/>
              <a:gd name="connsiteX5727" fmla="*/ 6696651 w 9586368"/>
              <a:gd name="connsiteY5727" fmla="*/ 2397165 h 6479439"/>
              <a:gd name="connsiteX5728" fmla="*/ 6461356 w 9586368"/>
              <a:gd name="connsiteY5728" fmla="*/ 2393127 h 6479439"/>
              <a:gd name="connsiteX5729" fmla="*/ 6471266 w 9586368"/>
              <a:gd name="connsiteY5729" fmla="*/ 2393127 h 6479439"/>
              <a:gd name="connsiteX5730" fmla="*/ 6475285 w 9586368"/>
              <a:gd name="connsiteY5730" fmla="*/ 2397165 h 6479439"/>
              <a:gd name="connsiteX5731" fmla="*/ 6475285 w 9586368"/>
              <a:gd name="connsiteY5731" fmla="*/ 2407036 h 6479439"/>
              <a:gd name="connsiteX5732" fmla="*/ 6471266 w 9586368"/>
              <a:gd name="connsiteY5732" fmla="*/ 2411074 h 6479439"/>
              <a:gd name="connsiteX5733" fmla="*/ 6461356 w 9586368"/>
              <a:gd name="connsiteY5733" fmla="*/ 2411074 h 6479439"/>
              <a:gd name="connsiteX5734" fmla="*/ 6457337 w 9586368"/>
              <a:gd name="connsiteY5734" fmla="*/ 2407036 h 6479439"/>
              <a:gd name="connsiteX5735" fmla="*/ 6457337 w 9586368"/>
              <a:gd name="connsiteY5735" fmla="*/ 2397165 h 6479439"/>
              <a:gd name="connsiteX5736" fmla="*/ 6222042 w 9586368"/>
              <a:gd name="connsiteY5736" fmla="*/ 2393127 h 6479439"/>
              <a:gd name="connsiteX5737" fmla="*/ 6231952 w 9586368"/>
              <a:gd name="connsiteY5737" fmla="*/ 2393127 h 6479439"/>
              <a:gd name="connsiteX5738" fmla="*/ 6235971 w 9586368"/>
              <a:gd name="connsiteY5738" fmla="*/ 2397165 h 6479439"/>
              <a:gd name="connsiteX5739" fmla="*/ 6235971 w 9586368"/>
              <a:gd name="connsiteY5739" fmla="*/ 2407036 h 6479439"/>
              <a:gd name="connsiteX5740" fmla="*/ 6231952 w 9586368"/>
              <a:gd name="connsiteY5740" fmla="*/ 2411074 h 6479439"/>
              <a:gd name="connsiteX5741" fmla="*/ 6222042 w 9586368"/>
              <a:gd name="connsiteY5741" fmla="*/ 2411074 h 6479439"/>
              <a:gd name="connsiteX5742" fmla="*/ 6218023 w 9586368"/>
              <a:gd name="connsiteY5742" fmla="*/ 2407036 h 6479439"/>
              <a:gd name="connsiteX5743" fmla="*/ 6218023 w 9586368"/>
              <a:gd name="connsiteY5743" fmla="*/ 2397165 h 6479439"/>
              <a:gd name="connsiteX5744" fmla="*/ 5982729 w 9586368"/>
              <a:gd name="connsiteY5744" fmla="*/ 2393127 h 6479439"/>
              <a:gd name="connsiteX5745" fmla="*/ 5992639 w 9586368"/>
              <a:gd name="connsiteY5745" fmla="*/ 2393127 h 6479439"/>
              <a:gd name="connsiteX5746" fmla="*/ 5996658 w 9586368"/>
              <a:gd name="connsiteY5746" fmla="*/ 2397165 h 6479439"/>
              <a:gd name="connsiteX5747" fmla="*/ 5996658 w 9586368"/>
              <a:gd name="connsiteY5747" fmla="*/ 2407036 h 6479439"/>
              <a:gd name="connsiteX5748" fmla="*/ 5992639 w 9586368"/>
              <a:gd name="connsiteY5748" fmla="*/ 2411074 h 6479439"/>
              <a:gd name="connsiteX5749" fmla="*/ 5982729 w 9586368"/>
              <a:gd name="connsiteY5749" fmla="*/ 2411074 h 6479439"/>
              <a:gd name="connsiteX5750" fmla="*/ 5978710 w 9586368"/>
              <a:gd name="connsiteY5750" fmla="*/ 2407036 h 6479439"/>
              <a:gd name="connsiteX5751" fmla="*/ 5978710 w 9586368"/>
              <a:gd name="connsiteY5751" fmla="*/ 2397165 h 6479439"/>
              <a:gd name="connsiteX5752" fmla="*/ 5743412 w 9586368"/>
              <a:gd name="connsiteY5752" fmla="*/ 2393127 h 6479439"/>
              <a:gd name="connsiteX5753" fmla="*/ 5753323 w 9586368"/>
              <a:gd name="connsiteY5753" fmla="*/ 2393127 h 6479439"/>
              <a:gd name="connsiteX5754" fmla="*/ 5757342 w 9586368"/>
              <a:gd name="connsiteY5754" fmla="*/ 2397165 h 6479439"/>
              <a:gd name="connsiteX5755" fmla="*/ 5757342 w 9586368"/>
              <a:gd name="connsiteY5755" fmla="*/ 2407036 h 6479439"/>
              <a:gd name="connsiteX5756" fmla="*/ 5753323 w 9586368"/>
              <a:gd name="connsiteY5756" fmla="*/ 2411074 h 6479439"/>
              <a:gd name="connsiteX5757" fmla="*/ 5743412 w 9586368"/>
              <a:gd name="connsiteY5757" fmla="*/ 2411074 h 6479439"/>
              <a:gd name="connsiteX5758" fmla="*/ 5739393 w 9586368"/>
              <a:gd name="connsiteY5758" fmla="*/ 2407036 h 6479439"/>
              <a:gd name="connsiteX5759" fmla="*/ 5739393 w 9586368"/>
              <a:gd name="connsiteY5759" fmla="*/ 2397165 h 6479439"/>
              <a:gd name="connsiteX5760" fmla="*/ 5504099 w 9586368"/>
              <a:gd name="connsiteY5760" fmla="*/ 2393127 h 6479439"/>
              <a:gd name="connsiteX5761" fmla="*/ 5514010 w 9586368"/>
              <a:gd name="connsiteY5761" fmla="*/ 2393127 h 6479439"/>
              <a:gd name="connsiteX5762" fmla="*/ 5518029 w 9586368"/>
              <a:gd name="connsiteY5762" fmla="*/ 2397165 h 6479439"/>
              <a:gd name="connsiteX5763" fmla="*/ 5518029 w 9586368"/>
              <a:gd name="connsiteY5763" fmla="*/ 2407036 h 6479439"/>
              <a:gd name="connsiteX5764" fmla="*/ 5514010 w 9586368"/>
              <a:gd name="connsiteY5764" fmla="*/ 2411074 h 6479439"/>
              <a:gd name="connsiteX5765" fmla="*/ 5504099 w 9586368"/>
              <a:gd name="connsiteY5765" fmla="*/ 2411074 h 6479439"/>
              <a:gd name="connsiteX5766" fmla="*/ 5500080 w 9586368"/>
              <a:gd name="connsiteY5766" fmla="*/ 2407036 h 6479439"/>
              <a:gd name="connsiteX5767" fmla="*/ 5500080 w 9586368"/>
              <a:gd name="connsiteY5767" fmla="*/ 2397165 h 6479439"/>
              <a:gd name="connsiteX5768" fmla="*/ 5264784 w 9586368"/>
              <a:gd name="connsiteY5768" fmla="*/ 2393127 h 6479439"/>
              <a:gd name="connsiteX5769" fmla="*/ 5274694 w 9586368"/>
              <a:gd name="connsiteY5769" fmla="*/ 2393127 h 6479439"/>
              <a:gd name="connsiteX5770" fmla="*/ 5278713 w 9586368"/>
              <a:gd name="connsiteY5770" fmla="*/ 2397165 h 6479439"/>
              <a:gd name="connsiteX5771" fmla="*/ 5278713 w 9586368"/>
              <a:gd name="connsiteY5771" fmla="*/ 2407036 h 6479439"/>
              <a:gd name="connsiteX5772" fmla="*/ 5274694 w 9586368"/>
              <a:gd name="connsiteY5772" fmla="*/ 2411074 h 6479439"/>
              <a:gd name="connsiteX5773" fmla="*/ 5264784 w 9586368"/>
              <a:gd name="connsiteY5773" fmla="*/ 2411074 h 6479439"/>
              <a:gd name="connsiteX5774" fmla="*/ 5260765 w 9586368"/>
              <a:gd name="connsiteY5774" fmla="*/ 2407036 h 6479439"/>
              <a:gd name="connsiteX5775" fmla="*/ 5260765 w 9586368"/>
              <a:gd name="connsiteY5775" fmla="*/ 2397165 h 6479439"/>
              <a:gd name="connsiteX5776" fmla="*/ 5025470 w 9586368"/>
              <a:gd name="connsiteY5776" fmla="*/ 2393127 h 6479439"/>
              <a:gd name="connsiteX5777" fmla="*/ 5035381 w 9586368"/>
              <a:gd name="connsiteY5777" fmla="*/ 2393127 h 6479439"/>
              <a:gd name="connsiteX5778" fmla="*/ 5039400 w 9586368"/>
              <a:gd name="connsiteY5778" fmla="*/ 2397165 h 6479439"/>
              <a:gd name="connsiteX5779" fmla="*/ 5039400 w 9586368"/>
              <a:gd name="connsiteY5779" fmla="*/ 2407036 h 6479439"/>
              <a:gd name="connsiteX5780" fmla="*/ 5035381 w 9586368"/>
              <a:gd name="connsiteY5780" fmla="*/ 2411074 h 6479439"/>
              <a:gd name="connsiteX5781" fmla="*/ 5025470 w 9586368"/>
              <a:gd name="connsiteY5781" fmla="*/ 2411074 h 6479439"/>
              <a:gd name="connsiteX5782" fmla="*/ 5021451 w 9586368"/>
              <a:gd name="connsiteY5782" fmla="*/ 2407036 h 6479439"/>
              <a:gd name="connsiteX5783" fmla="*/ 5021451 w 9586368"/>
              <a:gd name="connsiteY5783" fmla="*/ 2397165 h 6479439"/>
              <a:gd name="connsiteX5784" fmla="*/ 4786241 w 9586368"/>
              <a:gd name="connsiteY5784" fmla="*/ 2393127 h 6479439"/>
              <a:gd name="connsiteX5785" fmla="*/ 4796152 w 9586368"/>
              <a:gd name="connsiteY5785" fmla="*/ 2393127 h 6479439"/>
              <a:gd name="connsiteX5786" fmla="*/ 4800171 w 9586368"/>
              <a:gd name="connsiteY5786" fmla="*/ 2397165 h 6479439"/>
              <a:gd name="connsiteX5787" fmla="*/ 4800171 w 9586368"/>
              <a:gd name="connsiteY5787" fmla="*/ 2407036 h 6479439"/>
              <a:gd name="connsiteX5788" fmla="*/ 4796152 w 9586368"/>
              <a:gd name="connsiteY5788" fmla="*/ 2411074 h 6479439"/>
              <a:gd name="connsiteX5789" fmla="*/ 4786241 w 9586368"/>
              <a:gd name="connsiteY5789" fmla="*/ 2411074 h 6479439"/>
              <a:gd name="connsiteX5790" fmla="*/ 4782224 w 9586368"/>
              <a:gd name="connsiteY5790" fmla="*/ 2407036 h 6479439"/>
              <a:gd name="connsiteX5791" fmla="*/ 4782224 w 9586368"/>
              <a:gd name="connsiteY5791" fmla="*/ 2397165 h 6479439"/>
              <a:gd name="connsiteX5792" fmla="*/ 4546929 w 9586368"/>
              <a:gd name="connsiteY5792" fmla="*/ 2393127 h 6479439"/>
              <a:gd name="connsiteX5793" fmla="*/ 4556840 w 9586368"/>
              <a:gd name="connsiteY5793" fmla="*/ 2393127 h 6479439"/>
              <a:gd name="connsiteX5794" fmla="*/ 4560859 w 9586368"/>
              <a:gd name="connsiteY5794" fmla="*/ 2397165 h 6479439"/>
              <a:gd name="connsiteX5795" fmla="*/ 4560859 w 9586368"/>
              <a:gd name="connsiteY5795" fmla="*/ 2407036 h 6479439"/>
              <a:gd name="connsiteX5796" fmla="*/ 4556840 w 9586368"/>
              <a:gd name="connsiteY5796" fmla="*/ 2411074 h 6479439"/>
              <a:gd name="connsiteX5797" fmla="*/ 4546929 w 9586368"/>
              <a:gd name="connsiteY5797" fmla="*/ 2411074 h 6479439"/>
              <a:gd name="connsiteX5798" fmla="*/ 4542910 w 9586368"/>
              <a:gd name="connsiteY5798" fmla="*/ 2407036 h 6479439"/>
              <a:gd name="connsiteX5799" fmla="*/ 4542910 w 9586368"/>
              <a:gd name="connsiteY5799" fmla="*/ 2397165 h 6479439"/>
              <a:gd name="connsiteX5800" fmla="*/ 4307612 w 9586368"/>
              <a:gd name="connsiteY5800" fmla="*/ 2393127 h 6479439"/>
              <a:gd name="connsiteX5801" fmla="*/ 4317523 w 9586368"/>
              <a:gd name="connsiteY5801" fmla="*/ 2393127 h 6479439"/>
              <a:gd name="connsiteX5802" fmla="*/ 4321543 w 9586368"/>
              <a:gd name="connsiteY5802" fmla="*/ 2397165 h 6479439"/>
              <a:gd name="connsiteX5803" fmla="*/ 4321543 w 9586368"/>
              <a:gd name="connsiteY5803" fmla="*/ 2407036 h 6479439"/>
              <a:gd name="connsiteX5804" fmla="*/ 4317523 w 9586368"/>
              <a:gd name="connsiteY5804" fmla="*/ 2411074 h 6479439"/>
              <a:gd name="connsiteX5805" fmla="*/ 4307612 w 9586368"/>
              <a:gd name="connsiteY5805" fmla="*/ 2411074 h 6479439"/>
              <a:gd name="connsiteX5806" fmla="*/ 4303595 w 9586368"/>
              <a:gd name="connsiteY5806" fmla="*/ 2407036 h 6479439"/>
              <a:gd name="connsiteX5807" fmla="*/ 4303595 w 9586368"/>
              <a:gd name="connsiteY5807" fmla="*/ 2397165 h 6479439"/>
              <a:gd name="connsiteX5808" fmla="*/ 4068297 w 9586368"/>
              <a:gd name="connsiteY5808" fmla="*/ 2393127 h 6479439"/>
              <a:gd name="connsiteX5809" fmla="*/ 4078210 w 9586368"/>
              <a:gd name="connsiteY5809" fmla="*/ 2393127 h 6479439"/>
              <a:gd name="connsiteX5810" fmla="*/ 4082229 w 9586368"/>
              <a:gd name="connsiteY5810" fmla="*/ 2397165 h 6479439"/>
              <a:gd name="connsiteX5811" fmla="*/ 4082229 w 9586368"/>
              <a:gd name="connsiteY5811" fmla="*/ 2407036 h 6479439"/>
              <a:gd name="connsiteX5812" fmla="*/ 4078210 w 9586368"/>
              <a:gd name="connsiteY5812" fmla="*/ 2411074 h 6479439"/>
              <a:gd name="connsiteX5813" fmla="*/ 4068297 w 9586368"/>
              <a:gd name="connsiteY5813" fmla="*/ 2411074 h 6479439"/>
              <a:gd name="connsiteX5814" fmla="*/ 4064278 w 9586368"/>
              <a:gd name="connsiteY5814" fmla="*/ 2407036 h 6479439"/>
              <a:gd name="connsiteX5815" fmla="*/ 4064278 w 9586368"/>
              <a:gd name="connsiteY5815" fmla="*/ 2397165 h 6479439"/>
              <a:gd name="connsiteX5816" fmla="*/ 3828990 w 9586368"/>
              <a:gd name="connsiteY5816" fmla="*/ 2393127 h 6479439"/>
              <a:gd name="connsiteX5817" fmla="*/ 3838899 w 9586368"/>
              <a:gd name="connsiteY5817" fmla="*/ 2393127 h 6479439"/>
              <a:gd name="connsiteX5818" fmla="*/ 3842917 w 9586368"/>
              <a:gd name="connsiteY5818" fmla="*/ 2397165 h 6479439"/>
              <a:gd name="connsiteX5819" fmla="*/ 3842917 w 9586368"/>
              <a:gd name="connsiteY5819" fmla="*/ 2407036 h 6479439"/>
              <a:gd name="connsiteX5820" fmla="*/ 3838899 w 9586368"/>
              <a:gd name="connsiteY5820" fmla="*/ 2411074 h 6479439"/>
              <a:gd name="connsiteX5821" fmla="*/ 3828990 w 9586368"/>
              <a:gd name="connsiteY5821" fmla="*/ 2411074 h 6479439"/>
              <a:gd name="connsiteX5822" fmla="*/ 3824971 w 9586368"/>
              <a:gd name="connsiteY5822" fmla="*/ 2407036 h 6479439"/>
              <a:gd name="connsiteX5823" fmla="*/ 3824971 w 9586368"/>
              <a:gd name="connsiteY5823" fmla="*/ 2397165 h 6479439"/>
              <a:gd name="connsiteX5824" fmla="*/ 3589676 w 9586368"/>
              <a:gd name="connsiteY5824" fmla="*/ 2393127 h 6479439"/>
              <a:gd name="connsiteX5825" fmla="*/ 3599585 w 9586368"/>
              <a:gd name="connsiteY5825" fmla="*/ 2393127 h 6479439"/>
              <a:gd name="connsiteX5826" fmla="*/ 3603604 w 9586368"/>
              <a:gd name="connsiteY5826" fmla="*/ 2397165 h 6479439"/>
              <a:gd name="connsiteX5827" fmla="*/ 3603604 w 9586368"/>
              <a:gd name="connsiteY5827" fmla="*/ 2407036 h 6479439"/>
              <a:gd name="connsiteX5828" fmla="*/ 3599585 w 9586368"/>
              <a:gd name="connsiteY5828" fmla="*/ 2411074 h 6479439"/>
              <a:gd name="connsiteX5829" fmla="*/ 3589676 w 9586368"/>
              <a:gd name="connsiteY5829" fmla="*/ 2411074 h 6479439"/>
              <a:gd name="connsiteX5830" fmla="*/ 3585657 w 9586368"/>
              <a:gd name="connsiteY5830" fmla="*/ 2407036 h 6479439"/>
              <a:gd name="connsiteX5831" fmla="*/ 3585657 w 9586368"/>
              <a:gd name="connsiteY5831" fmla="*/ 2397165 h 6479439"/>
              <a:gd name="connsiteX5832" fmla="*/ 3350359 w 9586368"/>
              <a:gd name="connsiteY5832" fmla="*/ 2393127 h 6479439"/>
              <a:gd name="connsiteX5833" fmla="*/ 3360268 w 9586368"/>
              <a:gd name="connsiteY5833" fmla="*/ 2393127 h 6479439"/>
              <a:gd name="connsiteX5834" fmla="*/ 3364287 w 9586368"/>
              <a:gd name="connsiteY5834" fmla="*/ 2397165 h 6479439"/>
              <a:gd name="connsiteX5835" fmla="*/ 3364287 w 9586368"/>
              <a:gd name="connsiteY5835" fmla="*/ 2407036 h 6479439"/>
              <a:gd name="connsiteX5836" fmla="*/ 3360268 w 9586368"/>
              <a:gd name="connsiteY5836" fmla="*/ 2411074 h 6479439"/>
              <a:gd name="connsiteX5837" fmla="*/ 3350359 w 9586368"/>
              <a:gd name="connsiteY5837" fmla="*/ 2411074 h 6479439"/>
              <a:gd name="connsiteX5838" fmla="*/ 3346340 w 9586368"/>
              <a:gd name="connsiteY5838" fmla="*/ 2407036 h 6479439"/>
              <a:gd name="connsiteX5839" fmla="*/ 3346340 w 9586368"/>
              <a:gd name="connsiteY5839" fmla="*/ 2397165 h 6479439"/>
              <a:gd name="connsiteX5840" fmla="*/ 3111048 w 9586368"/>
              <a:gd name="connsiteY5840" fmla="*/ 2393127 h 6479439"/>
              <a:gd name="connsiteX5841" fmla="*/ 3120959 w 9586368"/>
              <a:gd name="connsiteY5841" fmla="*/ 2393127 h 6479439"/>
              <a:gd name="connsiteX5842" fmla="*/ 3124977 w 9586368"/>
              <a:gd name="connsiteY5842" fmla="*/ 2397165 h 6479439"/>
              <a:gd name="connsiteX5843" fmla="*/ 3124977 w 9586368"/>
              <a:gd name="connsiteY5843" fmla="*/ 2407036 h 6479439"/>
              <a:gd name="connsiteX5844" fmla="*/ 3120959 w 9586368"/>
              <a:gd name="connsiteY5844" fmla="*/ 2411074 h 6479439"/>
              <a:gd name="connsiteX5845" fmla="*/ 3111048 w 9586368"/>
              <a:gd name="connsiteY5845" fmla="*/ 2411074 h 6479439"/>
              <a:gd name="connsiteX5846" fmla="*/ 3107029 w 9586368"/>
              <a:gd name="connsiteY5846" fmla="*/ 2407036 h 6479439"/>
              <a:gd name="connsiteX5847" fmla="*/ 3107029 w 9586368"/>
              <a:gd name="connsiteY5847" fmla="*/ 2397165 h 6479439"/>
              <a:gd name="connsiteX5848" fmla="*/ 2871737 w 9586368"/>
              <a:gd name="connsiteY5848" fmla="*/ 2393127 h 6479439"/>
              <a:gd name="connsiteX5849" fmla="*/ 2881646 w 9586368"/>
              <a:gd name="connsiteY5849" fmla="*/ 2393127 h 6479439"/>
              <a:gd name="connsiteX5850" fmla="*/ 2885666 w 9586368"/>
              <a:gd name="connsiteY5850" fmla="*/ 2397165 h 6479439"/>
              <a:gd name="connsiteX5851" fmla="*/ 2885666 w 9586368"/>
              <a:gd name="connsiteY5851" fmla="*/ 2407036 h 6479439"/>
              <a:gd name="connsiteX5852" fmla="*/ 2881646 w 9586368"/>
              <a:gd name="connsiteY5852" fmla="*/ 2411074 h 6479439"/>
              <a:gd name="connsiteX5853" fmla="*/ 2871737 w 9586368"/>
              <a:gd name="connsiteY5853" fmla="*/ 2411074 h 6479439"/>
              <a:gd name="connsiteX5854" fmla="*/ 2867717 w 9586368"/>
              <a:gd name="connsiteY5854" fmla="*/ 2407036 h 6479439"/>
              <a:gd name="connsiteX5855" fmla="*/ 2867717 w 9586368"/>
              <a:gd name="connsiteY5855" fmla="*/ 2397165 h 6479439"/>
              <a:gd name="connsiteX5856" fmla="*/ 2632423 w 9586368"/>
              <a:gd name="connsiteY5856" fmla="*/ 2393127 h 6479439"/>
              <a:gd name="connsiteX5857" fmla="*/ 2642334 w 9586368"/>
              <a:gd name="connsiteY5857" fmla="*/ 2393127 h 6479439"/>
              <a:gd name="connsiteX5858" fmla="*/ 2646352 w 9586368"/>
              <a:gd name="connsiteY5858" fmla="*/ 2397165 h 6479439"/>
              <a:gd name="connsiteX5859" fmla="*/ 2646352 w 9586368"/>
              <a:gd name="connsiteY5859" fmla="*/ 2407036 h 6479439"/>
              <a:gd name="connsiteX5860" fmla="*/ 2642334 w 9586368"/>
              <a:gd name="connsiteY5860" fmla="*/ 2411074 h 6479439"/>
              <a:gd name="connsiteX5861" fmla="*/ 2632423 w 9586368"/>
              <a:gd name="connsiteY5861" fmla="*/ 2411074 h 6479439"/>
              <a:gd name="connsiteX5862" fmla="*/ 2628404 w 9586368"/>
              <a:gd name="connsiteY5862" fmla="*/ 2407036 h 6479439"/>
              <a:gd name="connsiteX5863" fmla="*/ 2628404 w 9586368"/>
              <a:gd name="connsiteY5863" fmla="*/ 2397165 h 6479439"/>
              <a:gd name="connsiteX5864" fmla="*/ 2393104 w 9586368"/>
              <a:gd name="connsiteY5864" fmla="*/ 2393127 h 6479439"/>
              <a:gd name="connsiteX5865" fmla="*/ 2403015 w 9586368"/>
              <a:gd name="connsiteY5865" fmla="*/ 2393127 h 6479439"/>
              <a:gd name="connsiteX5866" fmla="*/ 2407034 w 9586368"/>
              <a:gd name="connsiteY5866" fmla="*/ 2397165 h 6479439"/>
              <a:gd name="connsiteX5867" fmla="*/ 2407034 w 9586368"/>
              <a:gd name="connsiteY5867" fmla="*/ 2407036 h 6479439"/>
              <a:gd name="connsiteX5868" fmla="*/ 2403015 w 9586368"/>
              <a:gd name="connsiteY5868" fmla="*/ 2411074 h 6479439"/>
              <a:gd name="connsiteX5869" fmla="*/ 2393104 w 9586368"/>
              <a:gd name="connsiteY5869" fmla="*/ 2411074 h 6479439"/>
              <a:gd name="connsiteX5870" fmla="*/ 2389087 w 9586368"/>
              <a:gd name="connsiteY5870" fmla="*/ 2407036 h 6479439"/>
              <a:gd name="connsiteX5871" fmla="*/ 2389087 w 9586368"/>
              <a:gd name="connsiteY5871" fmla="*/ 2397165 h 6479439"/>
              <a:gd name="connsiteX5872" fmla="*/ 721970 w 9586368"/>
              <a:gd name="connsiteY5872" fmla="*/ 2393127 h 6479439"/>
              <a:gd name="connsiteX5873" fmla="*/ 731881 w 9586368"/>
              <a:gd name="connsiteY5873" fmla="*/ 2393127 h 6479439"/>
              <a:gd name="connsiteX5874" fmla="*/ 735899 w 9586368"/>
              <a:gd name="connsiteY5874" fmla="*/ 2397165 h 6479439"/>
              <a:gd name="connsiteX5875" fmla="*/ 735899 w 9586368"/>
              <a:gd name="connsiteY5875" fmla="*/ 2407036 h 6479439"/>
              <a:gd name="connsiteX5876" fmla="*/ 731881 w 9586368"/>
              <a:gd name="connsiteY5876" fmla="*/ 2411074 h 6479439"/>
              <a:gd name="connsiteX5877" fmla="*/ 721970 w 9586368"/>
              <a:gd name="connsiteY5877" fmla="*/ 2411074 h 6479439"/>
              <a:gd name="connsiteX5878" fmla="*/ 717951 w 9586368"/>
              <a:gd name="connsiteY5878" fmla="*/ 2407036 h 6479439"/>
              <a:gd name="connsiteX5879" fmla="*/ 717951 w 9586368"/>
              <a:gd name="connsiteY5879" fmla="*/ 2397165 h 6479439"/>
              <a:gd name="connsiteX5880" fmla="*/ 482658 w 9586368"/>
              <a:gd name="connsiteY5880" fmla="*/ 2393127 h 6479439"/>
              <a:gd name="connsiteX5881" fmla="*/ 492568 w 9586368"/>
              <a:gd name="connsiteY5881" fmla="*/ 2393127 h 6479439"/>
              <a:gd name="connsiteX5882" fmla="*/ 496588 w 9586368"/>
              <a:gd name="connsiteY5882" fmla="*/ 2397165 h 6479439"/>
              <a:gd name="connsiteX5883" fmla="*/ 496588 w 9586368"/>
              <a:gd name="connsiteY5883" fmla="*/ 2407036 h 6479439"/>
              <a:gd name="connsiteX5884" fmla="*/ 492568 w 9586368"/>
              <a:gd name="connsiteY5884" fmla="*/ 2411074 h 6479439"/>
              <a:gd name="connsiteX5885" fmla="*/ 482658 w 9586368"/>
              <a:gd name="connsiteY5885" fmla="*/ 2411074 h 6479439"/>
              <a:gd name="connsiteX5886" fmla="*/ 478639 w 9586368"/>
              <a:gd name="connsiteY5886" fmla="*/ 2407036 h 6479439"/>
              <a:gd name="connsiteX5887" fmla="*/ 478639 w 9586368"/>
              <a:gd name="connsiteY5887" fmla="*/ 2397165 h 6479439"/>
              <a:gd name="connsiteX5888" fmla="*/ 243344 w 9586368"/>
              <a:gd name="connsiteY5888" fmla="*/ 2393127 h 6479439"/>
              <a:gd name="connsiteX5889" fmla="*/ 253255 w 9586368"/>
              <a:gd name="connsiteY5889" fmla="*/ 2393127 h 6479439"/>
              <a:gd name="connsiteX5890" fmla="*/ 257274 w 9586368"/>
              <a:gd name="connsiteY5890" fmla="*/ 2397165 h 6479439"/>
              <a:gd name="connsiteX5891" fmla="*/ 257274 w 9586368"/>
              <a:gd name="connsiteY5891" fmla="*/ 2407036 h 6479439"/>
              <a:gd name="connsiteX5892" fmla="*/ 253255 w 9586368"/>
              <a:gd name="connsiteY5892" fmla="*/ 2411074 h 6479439"/>
              <a:gd name="connsiteX5893" fmla="*/ 243344 w 9586368"/>
              <a:gd name="connsiteY5893" fmla="*/ 2411074 h 6479439"/>
              <a:gd name="connsiteX5894" fmla="*/ 239325 w 9586368"/>
              <a:gd name="connsiteY5894" fmla="*/ 2407036 h 6479439"/>
              <a:gd name="connsiteX5895" fmla="*/ 239325 w 9586368"/>
              <a:gd name="connsiteY5895" fmla="*/ 2397165 h 6479439"/>
              <a:gd name="connsiteX5896" fmla="*/ 4031 w 9586368"/>
              <a:gd name="connsiteY5896" fmla="*/ 2393127 h 6479439"/>
              <a:gd name="connsiteX5897" fmla="*/ 13941 w 9586368"/>
              <a:gd name="connsiteY5897" fmla="*/ 2393127 h 6479439"/>
              <a:gd name="connsiteX5898" fmla="*/ 17961 w 9586368"/>
              <a:gd name="connsiteY5898" fmla="*/ 2397165 h 6479439"/>
              <a:gd name="connsiteX5899" fmla="*/ 17961 w 9586368"/>
              <a:gd name="connsiteY5899" fmla="*/ 2407036 h 6479439"/>
              <a:gd name="connsiteX5900" fmla="*/ 13941 w 9586368"/>
              <a:gd name="connsiteY5900" fmla="*/ 2411074 h 6479439"/>
              <a:gd name="connsiteX5901" fmla="*/ 4031 w 9586368"/>
              <a:gd name="connsiteY5901" fmla="*/ 2411074 h 6479439"/>
              <a:gd name="connsiteX5902" fmla="*/ 12 w 9586368"/>
              <a:gd name="connsiteY5902" fmla="*/ 2407036 h 6479439"/>
              <a:gd name="connsiteX5903" fmla="*/ 12 w 9586368"/>
              <a:gd name="connsiteY5903" fmla="*/ 2397165 h 6479439"/>
              <a:gd name="connsiteX5904" fmla="*/ 3111048 w 9586368"/>
              <a:gd name="connsiteY5904" fmla="*/ 2153996 h 6479439"/>
              <a:gd name="connsiteX5905" fmla="*/ 3120959 w 9586368"/>
              <a:gd name="connsiteY5905" fmla="*/ 2153996 h 6479439"/>
              <a:gd name="connsiteX5906" fmla="*/ 3124977 w 9586368"/>
              <a:gd name="connsiteY5906" fmla="*/ 2158034 h 6479439"/>
              <a:gd name="connsiteX5907" fmla="*/ 3124977 w 9586368"/>
              <a:gd name="connsiteY5907" fmla="*/ 2167907 h 6479439"/>
              <a:gd name="connsiteX5908" fmla="*/ 3120959 w 9586368"/>
              <a:gd name="connsiteY5908" fmla="*/ 2171946 h 6479439"/>
              <a:gd name="connsiteX5909" fmla="*/ 3111048 w 9586368"/>
              <a:gd name="connsiteY5909" fmla="*/ 2171946 h 6479439"/>
              <a:gd name="connsiteX5910" fmla="*/ 3107029 w 9586368"/>
              <a:gd name="connsiteY5910" fmla="*/ 2167907 h 6479439"/>
              <a:gd name="connsiteX5911" fmla="*/ 3107029 w 9586368"/>
              <a:gd name="connsiteY5911" fmla="*/ 2158034 h 6479439"/>
              <a:gd name="connsiteX5912" fmla="*/ 2871737 w 9586368"/>
              <a:gd name="connsiteY5912" fmla="*/ 2153996 h 6479439"/>
              <a:gd name="connsiteX5913" fmla="*/ 2881646 w 9586368"/>
              <a:gd name="connsiteY5913" fmla="*/ 2153996 h 6479439"/>
              <a:gd name="connsiteX5914" fmla="*/ 2885666 w 9586368"/>
              <a:gd name="connsiteY5914" fmla="*/ 2158034 h 6479439"/>
              <a:gd name="connsiteX5915" fmla="*/ 2885666 w 9586368"/>
              <a:gd name="connsiteY5915" fmla="*/ 2167907 h 6479439"/>
              <a:gd name="connsiteX5916" fmla="*/ 2881646 w 9586368"/>
              <a:gd name="connsiteY5916" fmla="*/ 2171946 h 6479439"/>
              <a:gd name="connsiteX5917" fmla="*/ 2871737 w 9586368"/>
              <a:gd name="connsiteY5917" fmla="*/ 2171946 h 6479439"/>
              <a:gd name="connsiteX5918" fmla="*/ 2867717 w 9586368"/>
              <a:gd name="connsiteY5918" fmla="*/ 2167907 h 6479439"/>
              <a:gd name="connsiteX5919" fmla="*/ 2867717 w 9586368"/>
              <a:gd name="connsiteY5919" fmla="*/ 2158034 h 6479439"/>
              <a:gd name="connsiteX5920" fmla="*/ 2632423 w 9586368"/>
              <a:gd name="connsiteY5920" fmla="*/ 2153996 h 6479439"/>
              <a:gd name="connsiteX5921" fmla="*/ 2642334 w 9586368"/>
              <a:gd name="connsiteY5921" fmla="*/ 2153996 h 6479439"/>
              <a:gd name="connsiteX5922" fmla="*/ 2646352 w 9586368"/>
              <a:gd name="connsiteY5922" fmla="*/ 2158034 h 6479439"/>
              <a:gd name="connsiteX5923" fmla="*/ 2646352 w 9586368"/>
              <a:gd name="connsiteY5923" fmla="*/ 2167907 h 6479439"/>
              <a:gd name="connsiteX5924" fmla="*/ 2642334 w 9586368"/>
              <a:gd name="connsiteY5924" fmla="*/ 2171947 h 6479439"/>
              <a:gd name="connsiteX5925" fmla="*/ 2632423 w 9586368"/>
              <a:gd name="connsiteY5925" fmla="*/ 2171947 h 6479439"/>
              <a:gd name="connsiteX5926" fmla="*/ 2628404 w 9586368"/>
              <a:gd name="connsiteY5926" fmla="*/ 2167907 h 6479439"/>
              <a:gd name="connsiteX5927" fmla="*/ 2628404 w 9586368"/>
              <a:gd name="connsiteY5927" fmla="*/ 2158034 h 6479439"/>
              <a:gd name="connsiteX5928" fmla="*/ 2393104 w 9586368"/>
              <a:gd name="connsiteY5928" fmla="*/ 2153996 h 6479439"/>
              <a:gd name="connsiteX5929" fmla="*/ 2403015 w 9586368"/>
              <a:gd name="connsiteY5929" fmla="*/ 2153996 h 6479439"/>
              <a:gd name="connsiteX5930" fmla="*/ 2407034 w 9586368"/>
              <a:gd name="connsiteY5930" fmla="*/ 2158034 h 6479439"/>
              <a:gd name="connsiteX5931" fmla="*/ 2407034 w 9586368"/>
              <a:gd name="connsiteY5931" fmla="*/ 2167907 h 6479439"/>
              <a:gd name="connsiteX5932" fmla="*/ 2403015 w 9586368"/>
              <a:gd name="connsiteY5932" fmla="*/ 2171947 h 6479439"/>
              <a:gd name="connsiteX5933" fmla="*/ 2393104 w 9586368"/>
              <a:gd name="connsiteY5933" fmla="*/ 2171947 h 6479439"/>
              <a:gd name="connsiteX5934" fmla="*/ 2389087 w 9586368"/>
              <a:gd name="connsiteY5934" fmla="*/ 2167907 h 6479439"/>
              <a:gd name="connsiteX5935" fmla="*/ 2389087 w 9586368"/>
              <a:gd name="connsiteY5935" fmla="*/ 2158034 h 6479439"/>
              <a:gd name="connsiteX5936" fmla="*/ 3350359 w 9586368"/>
              <a:gd name="connsiteY5936" fmla="*/ 2153995 h 6479439"/>
              <a:gd name="connsiteX5937" fmla="*/ 3360268 w 9586368"/>
              <a:gd name="connsiteY5937" fmla="*/ 2153995 h 6479439"/>
              <a:gd name="connsiteX5938" fmla="*/ 3364287 w 9586368"/>
              <a:gd name="connsiteY5938" fmla="*/ 2158034 h 6479439"/>
              <a:gd name="connsiteX5939" fmla="*/ 3364287 w 9586368"/>
              <a:gd name="connsiteY5939" fmla="*/ 2167907 h 6479439"/>
              <a:gd name="connsiteX5940" fmla="*/ 3360268 w 9586368"/>
              <a:gd name="connsiteY5940" fmla="*/ 2171946 h 6479439"/>
              <a:gd name="connsiteX5941" fmla="*/ 3350359 w 9586368"/>
              <a:gd name="connsiteY5941" fmla="*/ 2171946 h 6479439"/>
              <a:gd name="connsiteX5942" fmla="*/ 3346340 w 9586368"/>
              <a:gd name="connsiteY5942" fmla="*/ 2167907 h 6479439"/>
              <a:gd name="connsiteX5943" fmla="*/ 3346340 w 9586368"/>
              <a:gd name="connsiteY5943" fmla="*/ 2158034 h 6479439"/>
              <a:gd name="connsiteX5944" fmla="*/ 4546929 w 9586368"/>
              <a:gd name="connsiteY5944" fmla="*/ 2153976 h 6479439"/>
              <a:gd name="connsiteX5945" fmla="*/ 4556840 w 9586368"/>
              <a:gd name="connsiteY5945" fmla="*/ 2153976 h 6479439"/>
              <a:gd name="connsiteX5946" fmla="*/ 4560859 w 9586368"/>
              <a:gd name="connsiteY5946" fmla="*/ 2158014 h 6479439"/>
              <a:gd name="connsiteX5947" fmla="*/ 4560859 w 9586368"/>
              <a:gd name="connsiteY5947" fmla="*/ 2167886 h 6479439"/>
              <a:gd name="connsiteX5948" fmla="*/ 4556840 w 9586368"/>
              <a:gd name="connsiteY5948" fmla="*/ 2171926 h 6479439"/>
              <a:gd name="connsiteX5949" fmla="*/ 4546929 w 9586368"/>
              <a:gd name="connsiteY5949" fmla="*/ 2171926 h 6479439"/>
              <a:gd name="connsiteX5950" fmla="*/ 4542910 w 9586368"/>
              <a:gd name="connsiteY5950" fmla="*/ 2167886 h 6479439"/>
              <a:gd name="connsiteX5951" fmla="*/ 4542910 w 9586368"/>
              <a:gd name="connsiteY5951" fmla="*/ 2158014 h 6479439"/>
              <a:gd name="connsiteX5952" fmla="*/ 4307612 w 9586368"/>
              <a:gd name="connsiteY5952" fmla="*/ 2153976 h 6479439"/>
              <a:gd name="connsiteX5953" fmla="*/ 4317523 w 9586368"/>
              <a:gd name="connsiteY5953" fmla="*/ 2153976 h 6479439"/>
              <a:gd name="connsiteX5954" fmla="*/ 4321543 w 9586368"/>
              <a:gd name="connsiteY5954" fmla="*/ 2158014 h 6479439"/>
              <a:gd name="connsiteX5955" fmla="*/ 4321543 w 9586368"/>
              <a:gd name="connsiteY5955" fmla="*/ 2167887 h 6479439"/>
              <a:gd name="connsiteX5956" fmla="*/ 4317523 w 9586368"/>
              <a:gd name="connsiteY5956" fmla="*/ 2171926 h 6479439"/>
              <a:gd name="connsiteX5957" fmla="*/ 4307612 w 9586368"/>
              <a:gd name="connsiteY5957" fmla="*/ 2171926 h 6479439"/>
              <a:gd name="connsiteX5958" fmla="*/ 4303595 w 9586368"/>
              <a:gd name="connsiteY5958" fmla="*/ 2167887 h 6479439"/>
              <a:gd name="connsiteX5959" fmla="*/ 4303595 w 9586368"/>
              <a:gd name="connsiteY5959" fmla="*/ 2158014 h 6479439"/>
              <a:gd name="connsiteX5960" fmla="*/ 4068297 w 9586368"/>
              <a:gd name="connsiteY5960" fmla="*/ 2153976 h 6479439"/>
              <a:gd name="connsiteX5961" fmla="*/ 4078210 w 9586368"/>
              <a:gd name="connsiteY5961" fmla="*/ 2153976 h 6479439"/>
              <a:gd name="connsiteX5962" fmla="*/ 4082229 w 9586368"/>
              <a:gd name="connsiteY5962" fmla="*/ 2158014 h 6479439"/>
              <a:gd name="connsiteX5963" fmla="*/ 4082229 w 9586368"/>
              <a:gd name="connsiteY5963" fmla="*/ 2167887 h 6479439"/>
              <a:gd name="connsiteX5964" fmla="*/ 4078210 w 9586368"/>
              <a:gd name="connsiteY5964" fmla="*/ 2171926 h 6479439"/>
              <a:gd name="connsiteX5965" fmla="*/ 4068297 w 9586368"/>
              <a:gd name="connsiteY5965" fmla="*/ 2171926 h 6479439"/>
              <a:gd name="connsiteX5966" fmla="*/ 4064278 w 9586368"/>
              <a:gd name="connsiteY5966" fmla="*/ 2167887 h 6479439"/>
              <a:gd name="connsiteX5967" fmla="*/ 4064278 w 9586368"/>
              <a:gd name="connsiteY5967" fmla="*/ 2158014 h 6479439"/>
              <a:gd name="connsiteX5968" fmla="*/ 3828990 w 9586368"/>
              <a:gd name="connsiteY5968" fmla="*/ 2153976 h 6479439"/>
              <a:gd name="connsiteX5969" fmla="*/ 3838899 w 9586368"/>
              <a:gd name="connsiteY5969" fmla="*/ 2153976 h 6479439"/>
              <a:gd name="connsiteX5970" fmla="*/ 3842917 w 9586368"/>
              <a:gd name="connsiteY5970" fmla="*/ 2158014 h 6479439"/>
              <a:gd name="connsiteX5971" fmla="*/ 3842917 w 9586368"/>
              <a:gd name="connsiteY5971" fmla="*/ 2167887 h 6479439"/>
              <a:gd name="connsiteX5972" fmla="*/ 3838899 w 9586368"/>
              <a:gd name="connsiteY5972" fmla="*/ 2171926 h 6479439"/>
              <a:gd name="connsiteX5973" fmla="*/ 3828990 w 9586368"/>
              <a:gd name="connsiteY5973" fmla="*/ 2171926 h 6479439"/>
              <a:gd name="connsiteX5974" fmla="*/ 3824971 w 9586368"/>
              <a:gd name="connsiteY5974" fmla="*/ 2167887 h 6479439"/>
              <a:gd name="connsiteX5975" fmla="*/ 3824971 w 9586368"/>
              <a:gd name="connsiteY5975" fmla="*/ 2158014 h 6479439"/>
              <a:gd name="connsiteX5976" fmla="*/ 3589676 w 9586368"/>
              <a:gd name="connsiteY5976" fmla="*/ 2153976 h 6479439"/>
              <a:gd name="connsiteX5977" fmla="*/ 3599585 w 9586368"/>
              <a:gd name="connsiteY5977" fmla="*/ 2153976 h 6479439"/>
              <a:gd name="connsiteX5978" fmla="*/ 3603604 w 9586368"/>
              <a:gd name="connsiteY5978" fmla="*/ 2158014 h 6479439"/>
              <a:gd name="connsiteX5979" fmla="*/ 3603604 w 9586368"/>
              <a:gd name="connsiteY5979" fmla="*/ 2167887 h 6479439"/>
              <a:gd name="connsiteX5980" fmla="*/ 3599585 w 9586368"/>
              <a:gd name="connsiteY5980" fmla="*/ 2171926 h 6479439"/>
              <a:gd name="connsiteX5981" fmla="*/ 3589676 w 9586368"/>
              <a:gd name="connsiteY5981" fmla="*/ 2171926 h 6479439"/>
              <a:gd name="connsiteX5982" fmla="*/ 3585657 w 9586368"/>
              <a:gd name="connsiteY5982" fmla="*/ 2167887 h 6479439"/>
              <a:gd name="connsiteX5983" fmla="*/ 3585657 w 9586368"/>
              <a:gd name="connsiteY5983" fmla="*/ 2158014 h 6479439"/>
              <a:gd name="connsiteX5984" fmla="*/ 5504099 w 9586368"/>
              <a:gd name="connsiteY5984" fmla="*/ 2153956 h 6479439"/>
              <a:gd name="connsiteX5985" fmla="*/ 5514010 w 9586368"/>
              <a:gd name="connsiteY5985" fmla="*/ 2153956 h 6479439"/>
              <a:gd name="connsiteX5986" fmla="*/ 5518029 w 9586368"/>
              <a:gd name="connsiteY5986" fmla="*/ 2157994 h 6479439"/>
              <a:gd name="connsiteX5987" fmla="*/ 5518029 w 9586368"/>
              <a:gd name="connsiteY5987" fmla="*/ 2167867 h 6479439"/>
              <a:gd name="connsiteX5988" fmla="*/ 5514010 w 9586368"/>
              <a:gd name="connsiteY5988" fmla="*/ 2171905 h 6479439"/>
              <a:gd name="connsiteX5989" fmla="*/ 5504099 w 9586368"/>
              <a:gd name="connsiteY5989" fmla="*/ 2171905 h 6479439"/>
              <a:gd name="connsiteX5990" fmla="*/ 5500080 w 9586368"/>
              <a:gd name="connsiteY5990" fmla="*/ 2167867 h 6479439"/>
              <a:gd name="connsiteX5991" fmla="*/ 5500080 w 9586368"/>
              <a:gd name="connsiteY5991" fmla="*/ 2157994 h 6479439"/>
              <a:gd name="connsiteX5992" fmla="*/ 5264784 w 9586368"/>
              <a:gd name="connsiteY5992" fmla="*/ 2153956 h 6479439"/>
              <a:gd name="connsiteX5993" fmla="*/ 5274694 w 9586368"/>
              <a:gd name="connsiteY5993" fmla="*/ 2153956 h 6479439"/>
              <a:gd name="connsiteX5994" fmla="*/ 5278713 w 9586368"/>
              <a:gd name="connsiteY5994" fmla="*/ 2157994 h 6479439"/>
              <a:gd name="connsiteX5995" fmla="*/ 5278713 w 9586368"/>
              <a:gd name="connsiteY5995" fmla="*/ 2167867 h 6479439"/>
              <a:gd name="connsiteX5996" fmla="*/ 5274694 w 9586368"/>
              <a:gd name="connsiteY5996" fmla="*/ 2171905 h 6479439"/>
              <a:gd name="connsiteX5997" fmla="*/ 5264784 w 9586368"/>
              <a:gd name="connsiteY5997" fmla="*/ 2171905 h 6479439"/>
              <a:gd name="connsiteX5998" fmla="*/ 5260765 w 9586368"/>
              <a:gd name="connsiteY5998" fmla="*/ 2167867 h 6479439"/>
              <a:gd name="connsiteX5999" fmla="*/ 5260765 w 9586368"/>
              <a:gd name="connsiteY5999" fmla="*/ 2157994 h 6479439"/>
              <a:gd name="connsiteX6000" fmla="*/ 5025470 w 9586368"/>
              <a:gd name="connsiteY6000" fmla="*/ 2153956 h 6479439"/>
              <a:gd name="connsiteX6001" fmla="*/ 5035381 w 9586368"/>
              <a:gd name="connsiteY6001" fmla="*/ 2153956 h 6479439"/>
              <a:gd name="connsiteX6002" fmla="*/ 5039400 w 9586368"/>
              <a:gd name="connsiteY6002" fmla="*/ 2157994 h 6479439"/>
              <a:gd name="connsiteX6003" fmla="*/ 5039400 w 9586368"/>
              <a:gd name="connsiteY6003" fmla="*/ 2167867 h 6479439"/>
              <a:gd name="connsiteX6004" fmla="*/ 5035381 w 9586368"/>
              <a:gd name="connsiteY6004" fmla="*/ 2171906 h 6479439"/>
              <a:gd name="connsiteX6005" fmla="*/ 5025470 w 9586368"/>
              <a:gd name="connsiteY6005" fmla="*/ 2171906 h 6479439"/>
              <a:gd name="connsiteX6006" fmla="*/ 5021451 w 9586368"/>
              <a:gd name="connsiteY6006" fmla="*/ 2167867 h 6479439"/>
              <a:gd name="connsiteX6007" fmla="*/ 5021451 w 9586368"/>
              <a:gd name="connsiteY6007" fmla="*/ 2157994 h 6479439"/>
              <a:gd name="connsiteX6008" fmla="*/ 4786241 w 9586368"/>
              <a:gd name="connsiteY6008" fmla="*/ 2153956 h 6479439"/>
              <a:gd name="connsiteX6009" fmla="*/ 4796152 w 9586368"/>
              <a:gd name="connsiteY6009" fmla="*/ 2153956 h 6479439"/>
              <a:gd name="connsiteX6010" fmla="*/ 4800171 w 9586368"/>
              <a:gd name="connsiteY6010" fmla="*/ 2157994 h 6479439"/>
              <a:gd name="connsiteX6011" fmla="*/ 4800171 w 9586368"/>
              <a:gd name="connsiteY6011" fmla="*/ 2167867 h 6479439"/>
              <a:gd name="connsiteX6012" fmla="*/ 4796152 w 9586368"/>
              <a:gd name="connsiteY6012" fmla="*/ 2171906 h 6479439"/>
              <a:gd name="connsiteX6013" fmla="*/ 4786241 w 9586368"/>
              <a:gd name="connsiteY6013" fmla="*/ 2171906 h 6479439"/>
              <a:gd name="connsiteX6014" fmla="*/ 4782224 w 9586368"/>
              <a:gd name="connsiteY6014" fmla="*/ 2167867 h 6479439"/>
              <a:gd name="connsiteX6015" fmla="*/ 4782224 w 9586368"/>
              <a:gd name="connsiteY6015" fmla="*/ 2157994 h 6479439"/>
              <a:gd name="connsiteX6016" fmla="*/ 5743412 w 9586368"/>
              <a:gd name="connsiteY6016" fmla="*/ 2153955 h 6479439"/>
              <a:gd name="connsiteX6017" fmla="*/ 5753323 w 9586368"/>
              <a:gd name="connsiteY6017" fmla="*/ 2153955 h 6479439"/>
              <a:gd name="connsiteX6018" fmla="*/ 5757342 w 9586368"/>
              <a:gd name="connsiteY6018" fmla="*/ 2157994 h 6479439"/>
              <a:gd name="connsiteX6019" fmla="*/ 5757342 w 9586368"/>
              <a:gd name="connsiteY6019" fmla="*/ 2167866 h 6479439"/>
              <a:gd name="connsiteX6020" fmla="*/ 5753323 w 9586368"/>
              <a:gd name="connsiteY6020" fmla="*/ 2171905 h 6479439"/>
              <a:gd name="connsiteX6021" fmla="*/ 5743412 w 9586368"/>
              <a:gd name="connsiteY6021" fmla="*/ 2171905 h 6479439"/>
              <a:gd name="connsiteX6022" fmla="*/ 5739393 w 9586368"/>
              <a:gd name="connsiteY6022" fmla="*/ 2167866 h 6479439"/>
              <a:gd name="connsiteX6023" fmla="*/ 5739393 w 9586368"/>
              <a:gd name="connsiteY6023" fmla="*/ 2157994 h 6479439"/>
              <a:gd name="connsiteX6024" fmla="*/ 6222042 w 9586368"/>
              <a:gd name="connsiteY6024" fmla="*/ 2153936 h 6479439"/>
              <a:gd name="connsiteX6025" fmla="*/ 6231952 w 9586368"/>
              <a:gd name="connsiteY6025" fmla="*/ 2153936 h 6479439"/>
              <a:gd name="connsiteX6026" fmla="*/ 6235971 w 9586368"/>
              <a:gd name="connsiteY6026" fmla="*/ 2157974 h 6479439"/>
              <a:gd name="connsiteX6027" fmla="*/ 6235971 w 9586368"/>
              <a:gd name="connsiteY6027" fmla="*/ 2167846 h 6479439"/>
              <a:gd name="connsiteX6028" fmla="*/ 6231952 w 9586368"/>
              <a:gd name="connsiteY6028" fmla="*/ 2171885 h 6479439"/>
              <a:gd name="connsiteX6029" fmla="*/ 6222042 w 9586368"/>
              <a:gd name="connsiteY6029" fmla="*/ 2171885 h 6479439"/>
              <a:gd name="connsiteX6030" fmla="*/ 6218023 w 9586368"/>
              <a:gd name="connsiteY6030" fmla="*/ 2167846 h 6479439"/>
              <a:gd name="connsiteX6031" fmla="*/ 6218023 w 9586368"/>
              <a:gd name="connsiteY6031" fmla="*/ 2157974 h 6479439"/>
              <a:gd name="connsiteX6032" fmla="*/ 5982729 w 9586368"/>
              <a:gd name="connsiteY6032" fmla="*/ 2153936 h 6479439"/>
              <a:gd name="connsiteX6033" fmla="*/ 5992639 w 9586368"/>
              <a:gd name="connsiteY6033" fmla="*/ 2153936 h 6479439"/>
              <a:gd name="connsiteX6034" fmla="*/ 5996658 w 9586368"/>
              <a:gd name="connsiteY6034" fmla="*/ 2157974 h 6479439"/>
              <a:gd name="connsiteX6035" fmla="*/ 5996658 w 9586368"/>
              <a:gd name="connsiteY6035" fmla="*/ 2167846 h 6479439"/>
              <a:gd name="connsiteX6036" fmla="*/ 5992639 w 9586368"/>
              <a:gd name="connsiteY6036" fmla="*/ 2171885 h 6479439"/>
              <a:gd name="connsiteX6037" fmla="*/ 5982729 w 9586368"/>
              <a:gd name="connsiteY6037" fmla="*/ 2171885 h 6479439"/>
              <a:gd name="connsiteX6038" fmla="*/ 5978710 w 9586368"/>
              <a:gd name="connsiteY6038" fmla="*/ 2167846 h 6479439"/>
              <a:gd name="connsiteX6039" fmla="*/ 5978710 w 9586368"/>
              <a:gd name="connsiteY6039" fmla="*/ 2157974 h 6479439"/>
              <a:gd name="connsiteX6040" fmla="*/ 6939983 w 9586368"/>
              <a:gd name="connsiteY6040" fmla="*/ 2153935 h 6479439"/>
              <a:gd name="connsiteX6041" fmla="*/ 6949894 w 9586368"/>
              <a:gd name="connsiteY6041" fmla="*/ 2153935 h 6479439"/>
              <a:gd name="connsiteX6042" fmla="*/ 6953913 w 9586368"/>
              <a:gd name="connsiteY6042" fmla="*/ 2157974 h 6479439"/>
              <a:gd name="connsiteX6043" fmla="*/ 6953913 w 9586368"/>
              <a:gd name="connsiteY6043" fmla="*/ 2167845 h 6479439"/>
              <a:gd name="connsiteX6044" fmla="*/ 6949894 w 9586368"/>
              <a:gd name="connsiteY6044" fmla="*/ 2171885 h 6479439"/>
              <a:gd name="connsiteX6045" fmla="*/ 6939983 w 9586368"/>
              <a:gd name="connsiteY6045" fmla="*/ 2171885 h 6479439"/>
              <a:gd name="connsiteX6046" fmla="*/ 6935964 w 9586368"/>
              <a:gd name="connsiteY6046" fmla="*/ 2167845 h 6479439"/>
              <a:gd name="connsiteX6047" fmla="*/ 6935964 w 9586368"/>
              <a:gd name="connsiteY6047" fmla="*/ 2157974 h 6479439"/>
              <a:gd name="connsiteX6048" fmla="*/ 6700670 w 9586368"/>
              <a:gd name="connsiteY6048" fmla="*/ 2153935 h 6479439"/>
              <a:gd name="connsiteX6049" fmla="*/ 6710581 w 9586368"/>
              <a:gd name="connsiteY6049" fmla="*/ 2153935 h 6479439"/>
              <a:gd name="connsiteX6050" fmla="*/ 6714600 w 9586368"/>
              <a:gd name="connsiteY6050" fmla="*/ 2157974 h 6479439"/>
              <a:gd name="connsiteX6051" fmla="*/ 6714600 w 9586368"/>
              <a:gd name="connsiteY6051" fmla="*/ 2167846 h 6479439"/>
              <a:gd name="connsiteX6052" fmla="*/ 6710581 w 9586368"/>
              <a:gd name="connsiteY6052" fmla="*/ 2171885 h 6479439"/>
              <a:gd name="connsiteX6053" fmla="*/ 6700670 w 9586368"/>
              <a:gd name="connsiteY6053" fmla="*/ 2171885 h 6479439"/>
              <a:gd name="connsiteX6054" fmla="*/ 6696651 w 9586368"/>
              <a:gd name="connsiteY6054" fmla="*/ 2167846 h 6479439"/>
              <a:gd name="connsiteX6055" fmla="*/ 6696651 w 9586368"/>
              <a:gd name="connsiteY6055" fmla="*/ 2157974 h 6479439"/>
              <a:gd name="connsiteX6056" fmla="*/ 6461356 w 9586368"/>
              <a:gd name="connsiteY6056" fmla="*/ 2153935 h 6479439"/>
              <a:gd name="connsiteX6057" fmla="*/ 6471266 w 9586368"/>
              <a:gd name="connsiteY6057" fmla="*/ 2153935 h 6479439"/>
              <a:gd name="connsiteX6058" fmla="*/ 6475285 w 9586368"/>
              <a:gd name="connsiteY6058" fmla="*/ 2157974 h 6479439"/>
              <a:gd name="connsiteX6059" fmla="*/ 6475285 w 9586368"/>
              <a:gd name="connsiteY6059" fmla="*/ 2167846 h 6479439"/>
              <a:gd name="connsiteX6060" fmla="*/ 6471266 w 9586368"/>
              <a:gd name="connsiteY6060" fmla="*/ 2171885 h 6479439"/>
              <a:gd name="connsiteX6061" fmla="*/ 6461356 w 9586368"/>
              <a:gd name="connsiteY6061" fmla="*/ 2171885 h 6479439"/>
              <a:gd name="connsiteX6062" fmla="*/ 6457337 w 9586368"/>
              <a:gd name="connsiteY6062" fmla="*/ 2167846 h 6479439"/>
              <a:gd name="connsiteX6063" fmla="*/ 6457337 w 9586368"/>
              <a:gd name="connsiteY6063" fmla="*/ 2157974 h 6479439"/>
              <a:gd name="connsiteX6064" fmla="*/ 7418611 w 9586368"/>
              <a:gd name="connsiteY6064" fmla="*/ 2153916 h 6479439"/>
              <a:gd name="connsiteX6065" fmla="*/ 7428521 w 9586368"/>
              <a:gd name="connsiteY6065" fmla="*/ 2153916 h 6479439"/>
              <a:gd name="connsiteX6066" fmla="*/ 7432540 w 9586368"/>
              <a:gd name="connsiteY6066" fmla="*/ 2157955 h 6479439"/>
              <a:gd name="connsiteX6067" fmla="*/ 7432540 w 9586368"/>
              <a:gd name="connsiteY6067" fmla="*/ 2167826 h 6479439"/>
              <a:gd name="connsiteX6068" fmla="*/ 7428521 w 9586368"/>
              <a:gd name="connsiteY6068" fmla="*/ 2171865 h 6479439"/>
              <a:gd name="connsiteX6069" fmla="*/ 7418611 w 9586368"/>
              <a:gd name="connsiteY6069" fmla="*/ 2171865 h 6479439"/>
              <a:gd name="connsiteX6070" fmla="*/ 7414592 w 9586368"/>
              <a:gd name="connsiteY6070" fmla="*/ 2167826 h 6479439"/>
              <a:gd name="connsiteX6071" fmla="*/ 7414592 w 9586368"/>
              <a:gd name="connsiteY6071" fmla="*/ 2157955 h 6479439"/>
              <a:gd name="connsiteX6072" fmla="*/ 7179298 w 9586368"/>
              <a:gd name="connsiteY6072" fmla="*/ 2153916 h 6479439"/>
              <a:gd name="connsiteX6073" fmla="*/ 7189209 w 9586368"/>
              <a:gd name="connsiteY6073" fmla="*/ 2153916 h 6479439"/>
              <a:gd name="connsiteX6074" fmla="*/ 7193228 w 9586368"/>
              <a:gd name="connsiteY6074" fmla="*/ 2157955 h 6479439"/>
              <a:gd name="connsiteX6075" fmla="*/ 7193228 w 9586368"/>
              <a:gd name="connsiteY6075" fmla="*/ 2167826 h 6479439"/>
              <a:gd name="connsiteX6076" fmla="*/ 7189209 w 9586368"/>
              <a:gd name="connsiteY6076" fmla="*/ 2171865 h 6479439"/>
              <a:gd name="connsiteX6077" fmla="*/ 7179298 w 9586368"/>
              <a:gd name="connsiteY6077" fmla="*/ 2171865 h 6479439"/>
              <a:gd name="connsiteX6078" fmla="*/ 7175279 w 9586368"/>
              <a:gd name="connsiteY6078" fmla="*/ 2167826 h 6479439"/>
              <a:gd name="connsiteX6079" fmla="*/ 7175279 w 9586368"/>
              <a:gd name="connsiteY6079" fmla="*/ 2157955 h 6479439"/>
              <a:gd name="connsiteX6080" fmla="*/ 8136553 w 9586368"/>
              <a:gd name="connsiteY6080" fmla="*/ 2153915 h 6479439"/>
              <a:gd name="connsiteX6081" fmla="*/ 8146464 w 9586368"/>
              <a:gd name="connsiteY6081" fmla="*/ 2153915 h 6479439"/>
              <a:gd name="connsiteX6082" fmla="*/ 8150483 w 9586368"/>
              <a:gd name="connsiteY6082" fmla="*/ 2157955 h 6479439"/>
              <a:gd name="connsiteX6083" fmla="*/ 8150483 w 9586368"/>
              <a:gd name="connsiteY6083" fmla="*/ 2167825 h 6479439"/>
              <a:gd name="connsiteX6084" fmla="*/ 8146464 w 9586368"/>
              <a:gd name="connsiteY6084" fmla="*/ 2171864 h 6479439"/>
              <a:gd name="connsiteX6085" fmla="*/ 8136553 w 9586368"/>
              <a:gd name="connsiteY6085" fmla="*/ 2171864 h 6479439"/>
              <a:gd name="connsiteX6086" fmla="*/ 8132534 w 9586368"/>
              <a:gd name="connsiteY6086" fmla="*/ 2167825 h 6479439"/>
              <a:gd name="connsiteX6087" fmla="*/ 8132534 w 9586368"/>
              <a:gd name="connsiteY6087" fmla="*/ 2157955 h 6479439"/>
              <a:gd name="connsiteX6088" fmla="*/ 7897241 w 9586368"/>
              <a:gd name="connsiteY6088" fmla="*/ 2153915 h 6479439"/>
              <a:gd name="connsiteX6089" fmla="*/ 7907151 w 9586368"/>
              <a:gd name="connsiteY6089" fmla="*/ 2153915 h 6479439"/>
              <a:gd name="connsiteX6090" fmla="*/ 7911170 w 9586368"/>
              <a:gd name="connsiteY6090" fmla="*/ 2157955 h 6479439"/>
              <a:gd name="connsiteX6091" fmla="*/ 7911170 w 9586368"/>
              <a:gd name="connsiteY6091" fmla="*/ 2167826 h 6479439"/>
              <a:gd name="connsiteX6092" fmla="*/ 7907151 w 9586368"/>
              <a:gd name="connsiteY6092" fmla="*/ 2171864 h 6479439"/>
              <a:gd name="connsiteX6093" fmla="*/ 7897241 w 9586368"/>
              <a:gd name="connsiteY6093" fmla="*/ 2171864 h 6479439"/>
              <a:gd name="connsiteX6094" fmla="*/ 7893222 w 9586368"/>
              <a:gd name="connsiteY6094" fmla="*/ 2167826 h 6479439"/>
              <a:gd name="connsiteX6095" fmla="*/ 7893222 w 9586368"/>
              <a:gd name="connsiteY6095" fmla="*/ 2157955 h 6479439"/>
              <a:gd name="connsiteX6096" fmla="*/ 7657926 w 9586368"/>
              <a:gd name="connsiteY6096" fmla="*/ 2153915 h 6479439"/>
              <a:gd name="connsiteX6097" fmla="*/ 7667836 w 9586368"/>
              <a:gd name="connsiteY6097" fmla="*/ 2153915 h 6479439"/>
              <a:gd name="connsiteX6098" fmla="*/ 7671855 w 9586368"/>
              <a:gd name="connsiteY6098" fmla="*/ 2157955 h 6479439"/>
              <a:gd name="connsiteX6099" fmla="*/ 7671855 w 9586368"/>
              <a:gd name="connsiteY6099" fmla="*/ 2167826 h 6479439"/>
              <a:gd name="connsiteX6100" fmla="*/ 7667836 w 9586368"/>
              <a:gd name="connsiteY6100" fmla="*/ 2171864 h 6479439"/>
              <a:gd name="connsiteX6101" fmla="*/ 7657926 w 9586368"/>
              <a:gd name="connsiteY6101" fmla="*/ 2171864 h 6479439"/>
              <a:gd name="connsiteX6102" fmla="*/ 7653906 w 9586368"/>
              <a:gd name="connsiteY6102" fmla="*/ 2167826 h 6479439"/>
              <a:gd name="connsiteX6103" fmla="*/ 7653906 w 9586368"/>
              <a:gd name="connsiteY6103" fmla="*/ 2157955 h 6479439"/>
              <a:gd name="connsiteX6104" fmla="*/ 8615184 w 9586368"/>
              <a:gd name="connsiteY6104" fmla="*/ 2153896 h 6479439"/>
              <a:gd name="connsiteX6105" fmla="*/ 8625095 w 9586368"/>
              <a:gd name="connsiteY6105" fmla="*/ 2153896 h 6479439"/>
              <a:gd name="connsiteX6106" fmla="*/ 8629114 w 9586368"/>
              <a:gd name="connsiteY6106" fmla="*/ 2157935 h 6479439"/>
              <a:gd name="connsiteX6107" fmla="*/ 8629114 w 9586368"/>
              <a:gd name="connsiteY6107" fmla="*/ 2167805 h 6479439"/>
              <a:gd name="connsiteX6108" fmla="*/ 8625095 w 9586368"/>
              <a:gd name="connsiteY6108" fmla="*/ 2171844 h 6479439"/>
              <a:gd name="connsiteX6109" fmla="*/ 8615184 w 9586368"/>
              <a:gd name="connsiteY6109" fmla="*/ 2171844 h 6479439"/>
              <a:gd name="connsiteX6110" fmla="*/ 8611165 w 9586368"/>
              <a:gd name="connsiteY6110" fmla="*/ 2167805 h 6479439"/>
              <a:gd name="connsiteX6111" fmla="*/ 8611165 w 9586368"/>
              <a:gd name="connsiteY6111" fmla="*/ 2157935 h 6479439"/>
              <a:gd name="connsiteX6112" fmla="*/ 8375869 w 9586368"/>
              <a:gd name="connsiteY6112" fmla="*/ 2153896 h 6479439"/>
              <a:gd name="connsiteX6113" fmla="*/ 8385779 w 9586368"/>
              <a:gd name="connsiteY6113" fmla="*/ 2153896 h 6479439"/>
              <a:gd name="connsiteX6114" fmla="*/ 8389799 w 9586368"/>
              <a:gd name="connsiteY6114" fmla="*/ 2157935 h 6479439"/>
              <a:gd name="connsiteX6115" fmla="*/ 8389799 w 9586368"/>
              <a:gd name="connsiteY6115" fmla="*/ 2167805 h 6479439"/>
              <a:gd name="connsiteX6116" fmla="*/ 8385779 w 9586368"/>
              <a:gd name="connsiteY6116" fmla="*/ 2171844 h 6479439"/>
              <a:gd name="connsiteX6117" fmla="*/ 8375869 w 9586368"/>
              <a:gd name="connsiteY6117" fmla="*/ 2171844 h 6479439"/>
              <a:gd name="connsiteX6118" fmla="*/ 8371850 w 9586368"/>
              <a:gd name="connsiteY6118" fmla="*/ 2167805 h 6479439"/>
              <a:gd name="connsiteX6119" fmla="*/ 8371850 w 9586368"/>
              <a:gd name="connsiteY6119" fmla="*/ 2157935 h 6479439"/>
              <a:gd name="connsiteX6120" fmla="*/ 9333125 w 9586368"/>
              <a:gd name="connsiteY6120" fmla="*/ 2153895 h 6479439"/>
              <a:gd name="connsiteX6121" fmla="*/ 9343036 w 9586368"/>
              <a:gd name="connsiteY6121" fmla="*/ 2153895 h 6479439"/>
              <a:gd name="connsiteX6122" fmla="*/ 9347055 w 9586368"/>
              <a:gd name="connsiteY6122" fmla="*/ 2157934 h 6479439"/>
              <a:gd name="connsiteX6123" fmla="*/ 9347055 w 9586368"/>
              <a:gd name="connsiteY6123" fmla="*/ 2167805 h 6479439"/>
              <a:gd name="connsiteX6124" fmla="*/ 9343036 w 9586368"/>
              <a:gd name="connsiteY6124" fmla="*/ 2171844 h 6479439"/>
              <a:gd name="connsiteX6125" fmla="*/ 9333125 w 9586368"/>
              <a:gd name="connsiteY6125" fmla="*/ 2171844 h 6479439"/>
              <a:gd name="connsiteX6126" fmla="*/ 9329106 w 9586368"/>
              <a:gd name="connsiteY6126" fmla="*/ 2167805 h 6479439"/>
              <a:gd name="connsiteX6127" fmla="*/ 9329106 w 9586368"/>
              <a:gd name="connsiteY6127" fmla="*/ 2157934 h 6479439"/>
              <a:gd name="connsiteX6128" fmla="*/ 9093811 w 9586368"/>
              <a:gd name="connsiteY6128" fmla="*/ 2153895 h 6479439"/>
              <a:gd name="connsiteX6129" fmla="*/ 9103722 w 9586368"/>
              <a:gd name="connsiteY6129" fmla="*/ 2153895 h 6479439"/>
              <a:gd name="connsiteX6130" fmla="*/ 9107741 w 9586368"/>
              <a:gd name="connsiteY6130" fmla="*/ 2157935 h 6479439"/>
              <a:gd name="connsiteX6131" fmla="*/ 9107741 w 9586368"/>
              <a:gd name="connsiteY6131" fmla="*/ 2167805 h 6479439"/>
              <a:gd name="connsiteX6132" fmla="*/ 9103722 w 9586368"/>
              <a:gd name="connsiteY6132" fmla="*/ 2171844 h 6479439"/>
              <a:gd name="connsiteX6133" fmla="*/ 9093811 w 9586368"/>
              <a:gd name="connsiteY6133" fmla="*/ 2171844 h 6479439"/>
              <a:gd name="connsiteX6134" fmla="*/ 9089792 w 9586368"/>
              <a:gd name="connsiteY6134" fmla="*/ 2167805 h 6479439"/>
              <a:gd name="connsiteX6135" fmla="*/ 9089792 w 9586368"/>
              <a:gd name="connsiteY6135" fmla="*/ 2157935 h 6479439"/>
              <a:gd name="connsiteX6136" fmla="*/ 8854496 w 9586368"/>
              <a:gd name="connsiteY6136" fmla="*/ 2153895 h 6479439"/>
              <a:gd name="connsiteX6137" fmla="*/ 8864407 w 9586368"/>
              <a:gd name="connsiteY6137" fmla="*/ 2153895 h 6479439"/>
              <a:gd name="connsiteX6138" fmla="*/ 8868426 w 9586368"/>
              <a:gd name="connsiteY6138" fmla="*/ 2157935 h 6479439"/>
              <a:gd name="connsiteX6139" fmla="*/ 8868426 w 9586368"/>
              <a:gd name="connsiteY6139" fmla="*/ 2167805 h 6479439"/>
              <a:gd name="connsiteX6140" fmla="*/ 8864407 w 9586368"/>
              <a:gd name="connsiteY6140" fmla="*/ 2171844 h 6479439"/>
              <a:gd name="connsiteX6141" fmla="*/ 8854496 w 9586368"/>
              <a:gd name="connsiteY6141" fmla="*/ 2171844 h 6479439"/>
              <a:gd name="connsiteX6142" fmla="*/ 8850477 w 9586368"/>
              <a:gd name="connsiteY6142" fmla="*/ 2167805 h 6479439"/>
              <a:gd name="connsiteX6143" fmla="*/ 8850477 w 9586368"/>
              <a:gd name="connsiteY6143" fmla="*/ 2157935 h 6479439"/>
              <a:gd name="connsiteX6144" fmla="*/ 9572438 w 9586368"/>
              <a:gd name="connsiteY6144" fmla="*/ 2153876 h 6479439"/>
              <a:gd name="connsiteX6145" fmla="*/ 9582349 w 9586368"/>
              <a:gd name="connsiteY6145" fmla="*/ 2153876 h 6479439"/>
              <a:gd name="connsiteX6146" fmla="*/ 9586368 w 9586368"/>
              <a:gd name="connsiteY6146" fmla="*/ 2157914 h 6479439"/>
              <a:gd name="connsiteX6147" fmla="*/ 9586368 w 9586368"/>
              <a:gd name="connsiteY6147" fmla="*/ 2167786 h 6479439"/>
              <a:gd name="connsiteX6148" fmla="*/ 9582349 w 9586368"/>
              <a:gd name="connsiteY6148" fmla="*/ 2171824 h 6479439"/>
              <a:gd name="connsiteX6149" fmla="*/ 9572438 w 9586368"/>
              <a:gd name="connsiteY6149" fmla="*/ 2171824 h 6479439"/>
              <a:gd name="connsiteX6150" fmla="*/ 9568419 w 9586368"/>
              <a:gd name="connsiteY6150" fmla="*/ 2167786 h 6479439"/>
              <a:gd name="connsiteX6151" fmla="*/ 9568419 w 9586368"/>
              <a:gd name="connsiteY6151" fmla="*/ 2157914 h 6479439"/>
              <a:gd name="connsiteX6152" fmla="*/ 1200582 w 9586368"/>
              <a:gd name="connsiteY6152" fmla="*/ 2153867 h 6479439"/>
              <a:gd name="connsiteX6153" fmla="*/ 1210491 w 9586368"/>
              <a:gd name="connsiteY6153" fmla="*/ 2153867 h 6479439"/>
              <a:gd name="connsiteX6154" fmla="*/ 1214510 w 9586368"/>
              <a:gd name="connsiteY6154" fmla="*/ 2157906 h 6479439"/>
              <a:gd name="connsiteX6155" fmla="*/ 1214510 w 9586368"/>
              <a:gd name="connsiteY6155" fmla="*/ 2167776 h 6479439"/>
              <a:gd name="connsiteX6156" fmla="*/ 1210491 w 9586368"/>
              <a:gd name="connsiteY6156" fmla="*/ 2171815 h 6479439"/>
              <a:gd name="connsiteX6157" fmla="*/ 1200582 w 9586368"/>
              <a:gd name="connsiteY6157" fmla="*/ 2171815 h 6479439"/>
              <a:gd name="connsiteX6158" fmla="*/ 1196562 w 9586368"/>
              <a:gd name="connsiteY6158" fmla="*/ 2167776 h 6479439"/>
              <a:gd name="connsiteX6159" fmla="*/ 1196562 w 9586368"/>
              <a:gd name="connsiteY6159" fmla="*/ 2157906 h 6479439"/>
              <a:gd name="connsiteX6160" fmla="*/ 961268 w 9586368"/>
              <a:gd name="connsiteY6160" fmla="*/ 2153867 h 6479439"/>
              <a:gd name="connsiteX6161" fmla="*/ 971179 w 9586368"/>
              <a:gd name="connsiteY6161" fmla="*/ 2153867 h 6479439"/>
              <a:gd name="connsiteX6162" fmla="*/ 975198 w 9586368"/>
              <a:gd name="connsiteY6162" fmla="*/ 2157906 h 6479439"/>
              <a:gd name="connsiteX6163" fmla="*/ 975198 w 9586368"/>
              <a:gd name="connsiteY6163" fmla="*/ 2167776 h 6479439"/>
              <a:gd name="connsiteX6164" fmla="*/ 971179 w 9586368"/>
              <a:gd name="connsiteY6164" fmla="*/ 2171815 h 6479439"/>
              <a:gd name="connsiteX6165" fmla="*/ 961268 w 9586368"/>
              <a:gd name="connsiteY6165" fmla="*/ 2171815 h 6479439"/>
              <a:gd name="connsiteX6166" fmla="*/ 957250 w 9586368"/>
              <a:gd name="connsiteY6166" fmla="*/ 2167776 h 6479439"/>
              <a:gd name="connsiteX6167" fmla="*/ 957250 w 9586368"/>
              <a:gd name="connsiteY6167" fmla="*/ 2157906 h 6479439"/>
              <a:gd name="connsiteX6168" fmla="*/ 1679214 w 9586368"/>
              <a:gd name="connsiteY6168" fmla="*/ 2153867 h 6479439"/>
              <a:gd name="connsiteX6169" fmla="*/ 1689123 w 9586368"/>
              <a:gd name="connsiteY6169" fmla="*/ 2153867 h 6479439"/>
              <a:gd name="connsiteX6170" fmla="*/ 1693144 w 9586368"/>
              <a:gd name="connsiteY6170" fmla="*/ 2157905 h 6479439"/>
              <a:gd name="connsiteX6171" fmla="*/ 1693144 w 9586368"/>
              <a:gd name="connsiteY6171" fmla="*/ 2167775 h 6479439"/>
              <a:gd name="connsiteX6172" fmla="*/ 1689123 w 9586368"/>
              <a:gd name="connsiteY6172" fmla="*/ 2171814 h 6479439"/>
              <a:gd name="connsiteX6173" fmla="*/ 1679214 w 9586368"/>
              <a:gd name="connsiteY6173" fmla="*/ 2171814 h 6479439"/>
              <a:gd name="connsiteX6174" fmla="*/ 1675195 w 9586368"/>
              <a:gd name="connsiteY6174" fmla="*/ 2167775 h 6479439"/>
              <a:gd name="connsiteX6175" fmla="*/ 1675195 w 9586368"/>
              <a:gd name="connsiteY6175" fmla="*/ 2157905 h 6479439"/>
              <a:gd name="connsiteX6176" fmla="*/ 1439897 w 9586368"/>
              <a:gd name="connsiteY6176" fmla="*/ 2153867 h 6479439"/>
              <a:gd name="connsiteX6177" fmla="*/ 1449807 w 9586368"/>
              <a:gd name="connsiteY6177" fmla="*/ 2153867 h 6479439"/>
              <a:gd name="connsiteX6178" fmla="*/ 1453826 w 9586368"/>
              <a:gd name="connsiteY6178" fmla="*/ 2157905 h 6479439"/>
              <a:gd name="connsiteX6179" fmla="*/ 1453826 w 9586368"/>
              <a:gd name="connsiteY6179" fmla="*/ 2167776 h 6479439"/>
              <a:gd name="connsiteX6180" fmla="*/ 1449807 w 9586368"/>
              <a:gd name="connsiteY6180" fmla="*/ 2171814 h 6479439"/>
              <a:gd name="connsiteX6181" fmla="*/ 1439897 w 9586368"/>
              <a:gd name="connsiteY6181" fmla="*/ 2171814 h 6479439"/>
              <a:gd name="connsiteX6182" fmla="*/ 1435878 w 9586368"/>
              <a:gd name="connsiteY6182" fmla="*/ 2167776 h 6479439"/>
              <a:gd name="connsiteX6183" fmla="*/ 1435878 w 9586368"/>
              <a:gd name="connsiteY6183" fmla="*/ 2157905 h 6479439"/>
              <a:gd name="connsiteX6184" fmla="*/ 1918513 w 9586368"/>
              <a:gd name="connsiteY6184" fmla="*/ 2153855 h 6479439"/>
              <a:gd name="connsiteX6185" fmla="*/ 1928422 w 9586368"/>
              <a:gd name="connsiteY6185" fmla="*/ 2153855 h 6479439"/>
              <a:gd name="connsiteX6186" fmla="*/ 1932443 w 9586368"/>
              <a:gd name="connsiteY6186" fmla="*/ 2157892 h 6479439"/>
              <a:gd name="connsiteX6187" fmla="*/ 1932443 w 9586368"/>
              <a:gd name="connsiteY6187" fmla="*/ 2167763 h 6479439"/>
              <a:gd name="connsiteX6188" fmla="*/ 1928422 w 9586368"/>
              <a:gd name="connsiteY6188" fmla="*/ 2171803 h 6479439"/>
              <a:gd name="connsiteX6189" fmla="*/ 1918513 w 9586368"/>
              <a:gd name="connsiteY6189" fmla="*/ 2171803 h 6479439"/>
              <a:gd name="connsiteX6190" fmla="*/ 1914494 w 9586368"/>
              <a:gd name="connsiteY6190" fmla="*/ 2167763 h 6479439"/>
              <a:gd name="connsiteX6191" fmla="*/ 1914494 w 9586368"/>
              <a:gd name="connsiteY6191" fmla="*/ 2157892 h 6479439"/>
              <a:gd name="connsiteX6192" fmla="*/ 2157821 w 9586368"/>
              <a:gd name="connsiteY6192" fmla="*/ 2153850 h 6479439"/>
              <a:gd name="connsiteX6193" fmla="*/ 2167732 w 9586368"/>
              <a:gd name="connsiteY6193" fmla="*/ 2153850 h 6479439"/>
              <a:gd name="connsiteX6194" fmla="*/ 2171750 w 9586368"/>
              <a:gd name="connsiteY6194" fmla="*/ 2157889 h 6479439"/>
              <a:gd name="connsiteX6195" fmla="*/ 2171750 w 9586368"/>
              <a:gd name="connsiteY6195" fmla="*/ 2167759 h 6479439"/>
              <a:gd name="connsiteX6196" fmla="*/ 2167732 w 9586368"/>
              <a:gd name="connsiteY6196" fmla="*/ 2171798 h 6479439"/>
              <a:gd name="connsiteX6197" fmla="*/ 2157821 w 9586368"/>
              <a:gd name="connsiteY6197" fmla="*/ 2171798 h 6479439"/>
              <a:gd name="connsiteX6198" fmla="*/ 2153803 w 9586368"/>
              <a:gd name="connsiteY6198" fmla="*/ 2167759 h 6479439"/>
              <a:gd name="connsiteX6199" fmla="*/ 2153803 w 9586368"/>
              <a:gd name="connsiteY6199" fmla="*/ 2157889 h 6479439"/>
              <a:gd name="connsiteX6200" fmla="*/ 4032 w 9586368"/>
              <a:gd name="connsiteY6200" fmla="*/ 2153832 h 6479439"/>
              <a:gd name="connsiteX6201" fmla="*/ 13942 w 9586368"/>
              <a:gd name="connsiteY6201" fmla="*/ 2153832 h 6479439"/>
              <a:gd name="connsiteX6202" fmla="*/ 17961 w 9586368"/>
              <a:gd name="connsiteY6202" fmla="*/ 2157870 h 6479439"/>
              <a:gd name="connsiteX6203" fmla="*/ 17961 w 9586368"/>
              <a:gd name="connsiteY6203" fmla="*/ 2167741 h 6479439"/>
              <a:gd name="connsiteX6204" fmla="*/ 13942 w 9586368"/>
              <a:gd name="connsiteY6204" fmla="*/ 2171780 h 6479439"/>
              <a:gd name="connsiteX6205" fmla="*/ 4032 w 9586368"/>
              <a:gd name="connsiteY6205" fmla="*/ 2171780 h 6479439"/>
              <a:gd name="connsiteX6206" fmla="*/ 13 w 9586368"/>
              <a:gd name="connsiteY6206" fmla="*/ 2167741 h 6479439"/>
              <a:gd name="connsiteX6207" fmla="*/ 13 w 9586368"/>
              <a:gd name="connsiteY6207" fmla="*/ 2157870 h 6479439"/>
              <a:gd name="connsiteX6208" fmla="*/ 721971 w 9586368"/>
              <a:gd name="connsiteY6208" fmla="*/ 2153832 h 6479439"/>
              <a:gd name="connsiteX6209" fmla="*/ 731881 w 9586368"/>
              <a:gd name="connsiteY6209" fmla="*/ 2153832 h 6479439"/>
              <a:gd name="connsiteX6210" fmla="*/ 735900 w 9586368"/>
              <a:gd name="connsiteY6210" fmla="*/ 2157870 h 6479439"/>
              <a:gd name="connsiteX6211" fmla="*/ 735900 w 9586368"/>
              <a:gd name="connsiteY6211" fmla="*/ 2167740 h 6479439"/>
              <a:gd name="connsiteX6212" fmla="*/ 731881 w 9586368"/>
              <a:gd name="connsiteY6212" fmla="*/ 2171780 h 6479439"/>
              <a:gd name="connsiteX6213" fmla="*/ 721971 w 9586368"/>
              <a:gd name="connsiteY6213" fmla="*/ 2171780 h 6479439"/>
              <a:gd name="connsiteX6214" fmla="*/ 717952 w 9586368"/>
              <a:gd name="connsiteY6214" fmla="*/ 2167740 h 6479439"/>
              <a:gd name="connsiteX6215" fmla="*/ 717952 w 9586368"/>
              <a:gd name="connsiteY6215" fmla="*/ 2157870 h 6479439"/>
              <a:gd name="connsiteX6216" fmla="*/ 482659 w 9586368"/>
              <a:gd name="connsiteY6216" fmla="*/ 2153832 h 6479439"/>
              <a:gd name="connsiteX6217" fmla="*/ 492569 w 9586368"/>
              <a:gd name="connsiteY6217" fmla="*/ 2153832 h 6479439"/>
              <a:gd name="connsiteX6218" fmla="*/ 496588 w 9586368"/>
              <a:gd name="connsiteY6218" fmla="*/ 2157870 h 6479439"/>
              <a:gd name="connsiteX6219" fmla="*/ 496588 w 9586368"/>
              <a:gd name="connsiteY6219" fmla="*/ 2167741 h 6479439"/>
              <a:gd name="connsiteX6220" fmla="*/ 492569 w 9586368"/>
              <a:gd name="connsiteY6220" fmla="*/ 2171780 h 6479439"/>
              <a:gd name="connsiteX6221" fmla="*/ 482659 w 9586368"/>
              <a:gd name="connsiteY6221" fmla="*/ 2171780 h 6479439"/>
              <a:gd name="connsiteX6222" fmla="*/ 478640 w 9586368"/>
              <a:gd name="connsiteY6222" fmla="*/ 2167741 h 6479439"/>
              <a:gd name="connsiteX6223" fmla="*/ 478640 w 9586368"/>
              <a:gd name="connsiteY6223" fmla="*/ 2157870 h 6479439"/>
              <a:gd name="connsiteX6224" fmla="*/ 243345 w 9586368"/>
              <a:gd name="connsiteY6224" fmla="*/ 2153832 h 6479439"/>
              <a:gd name="connsiteX6225" fmla="*/ 253255 w 9586368"/>
              <a:gd name="connsiteY6225" fmla="*/ 2153832 h 6479439"/>
              <a:gd name="connsiteX6226" fmla="*/ 257274 w 9586368"/>
              <a:gd name="connsiteY6226" fmla="*/ 2157870 h 6479439"/>
              <a:gd name="connsiteX6227" fmla="*/ 257274 w 9586368"/>
              <a:gd name="connsiteY6227" fmla="*/ 2167741 h 6479439"/>
              <a:gd name="connsiteX6228" fmla="*/ 253255 w 9586368"/>
              <a:gd name="connsiteY6228" fmla="*/ 2171780 h 6479439"/>
              <a:gd name="connsiteX6229" fmla="*/ 243345 w 9586368"/>
              <a:gd name="connsiteY6229" fmla="*/ 2171780 h 6479439"/>
              <a:gd name="connsiteX6230" fmla="*/ 239326 w 9586368"/>
              <a:gd name="connsiteY6230" fmla="*/ 2167741 h 6479439"/>
              <a:gd name="connsiteX6231" fmla="*/ 239326 w 9586368"/>
              <a:gd name="connsiteY6231" fmla="*/ 2157870 h 6479439"/>
              <a:gd name="connsiteX6232" fmla="*/ 2393104 w 9586368"/>
              <a:gd name="connsiteY6232" fmla="*/ 1914701 h 6479439"/>
              <a:gd name="connsiteX6233" fmla="*/ 2403015 w 9586368"/>
              <a:gd name="connsiteY6233" fmla="*/ 1914701 h 6479439"/>
              <a:gd name="connsiteX6234" fmla="*/ 2407034 w 9586368"/>
              <a:gd name="connsiteY6234" fmla="*/ 1918739 h 6479439"/>
              <a:gd name="connsiteX6235" fmla="*/ 2407034 w 9586368"/>
              <a:gd name="connsiteY6235" fmla="*/ 1928610 h 6479439"/>
              <a:gd name="connsiteX6236" fmla="*/ 2403015 w 9586368"/>
              <a:gd name="connsiteY6236" fmla="*/ 1932649 h 6479439"/>
              <a:gd name="connsiteX6237" fmla="*/ 2393104 w 9586368"/>
              <a:gd name="connsiteY6237" fmla="*/ 1932649 h 6479439"/>
              <a:gd name="connsiteX6238" fmla="*/ 2389087 w 9586368"/>
              <a:gd name="connsiteY6238" fmla="*/ 1928610 h 6479439"/>
              <a:gd name="connsiteX6239" fmla="*/ 2389087 w 9586368"/>
              <a:gd name="connsiteY6239" fmla="*/ 1918739 h 6479439"/>
              <a:gd name="connsiteX6240" fmla="*/ 3350359 w 9586368"/>
              <a:gd name="connsiteY6240" fmla="*/ 1914699 h 6479439"/>
              <a:gd name="connsiteX6241" fmla="*/ 3360268 w 9586368"/>
              <a:gd name="connsiteY6241" fmla="*/ 1914699 h 6479439"/>
              <a:gd name="connsiteX6242" fmla="*/ 3364287 w 9586368"/>
              <a:gd name="connsiteY6242" fmla="*/ 1918738 h 6479439"/>
              <a:gd name="connsiteX6243" fmla="*/ 3364287 w 9586368"/>
              <a:gd name="connsiteY6243" fmla="*/ 1928610 h 6479439"/>
              <a:gd name="connsiteX6244" fmla="*/ 3360268 w 9586368"/>
              <a:gd name="connsiteY6244" fmla="*/ 1932649 h 6479439"/>
              <a:gd name="connsiteX6245" fmla="*/ 3350359 w 9586368"/>
              <a:gd name="connsiteY6245" fmla="*/ 1932649 h 6479439"/>
              <a:gd name="connsiteX6246" fmla="*/ 3346340 w 9586368"/>
              <a:gd name="connsiteY6246" fmla="*/ 1928610 h 6479439"/>
              <a:gd name="connsiteX6247" fmla="*/ 3346340 w 9586368"/>
              <a:gd name="connsiteY6247" fmla="*/ 1918738 h 6479439"/>
              <a:gd name="connsiteX6248" fmla="*/ 3111048 w 9586368"/>
              <a:gd name="connsiteY6248" fmla="*/ 1914699 h 6479439"/>
              <a:gd name="connsiteX6249" fmla="*/ 3120959 w 9586368"/>
              <a:gd name="connsiteY6249" fmla="*/ 1914699 h 6479439"/>
              <a:gd name="connsiteX6250" fmla="*/ 3124977 w 9586368"/>
              <a:gd name="connsiteY6250" fmla="*/ 1918739 h 6479439"/>
              <a:gd name="connsiteX6251" fmla="*/ 3124977 w 9586368"/>
              <a:gd name="connsiteY6251" fmla="*/ 1928610 h 6479439"/>
              <a:gd name="connsiteX6252" fmla="*/ 3120959 w 9586368"/>
              <a:gd name="connsiteY6252" fmla="*/ 1932649 h 6479439"/>
              <a:gd name="connsiteX6253" fmla="*/ 3111048 w 9586368"/>
              <a:gd name="connsiteY6253" fmla="*/ 1932649 h 6479439"/>
              <a:gd name="connsiteX6254" fmla="*/ 3107029 w 9586368"/>
              <a:gd name="connsiteY6254" fmla="*/ 1928610 h 6479439"/>
              <a:gd name="connsiteX6255" fmla="*/ 3107029 w 9586368"/>
              <a:gd name="connsiteY6255" fmla="*/ 1918739 h 6479439"/>
              <a:gd name="connsiteX6256" fmla="*/ 2871737 w 9586368"/>
              <a:gd name="connsiteY6256" fmla="*/ 1914699 h 6479439"/>
              <a:gd name="connsiteX6257" fmla="*/ 2881646 w 9586368"/>
              <a:gd name="connsiteY6257" fmla="*/ 1914699 h 6479439"/>
              <a:gd name="connsiteX6258" fmla="*/ 2885666 w 9586368"/>
              <a:gd name="connsiteY6258" fmla="*/ 1918739 h 6479439"/>
              <a:gd name="connsiteX6259" fmla="*/ 2885666 w 9586368"/>
              <a:gd name="connsiteY6259" fmla="*/ 1928610 h 6479439"/>
              <a:gd name="connsiteX6260" fmla="*/ 2881646 w 9586368"/>
              <a:gd name="connsiteY6260" fmla="*/ 1932649 h 6479439"/>
              <a:gd name="connsiteX6261" fmla="*/ 2871737 w 9586368"/>
              <a:gd name="connsiteY6261" fmla="*/ 1932649 h 6479439"/>
              <a:gd name="connsiteX6262" fmla="*/ 2867717 w 9586368"/>
              <a:gd name="connsiteY6262" fmla="*/ 1928610 h 6479439"/>
              <a:gd name="connsiteX6263" fmla="*/ 2867717 w 9586368"/>
              <a:gd name="connsiteY6263" fmla="*/ 1918739 h 6479439"/>
              <a:gd name="connsiteX6264" fmla="*/ 2632423 w 9586368"/>
              <a:gd name="connsiteY6264" fmla="*/ 1914699 h 6479439"/>
              <a:gd name="connsiteX6265" fmla="*/ 2642334 w 9586368"/>
              <a:gd name="connsiteY6265" fmla="*/ 1914699 h 6479439"/>
              <a:gd name="connsiteX6266" fmla="*/ 2646352 w 9586368"/>
              <a:gd name="connsiteY6266" fmla="*/ 1918739 h 6479439"/>
              <a:gd name="connsiteX6267" fmla="*/ 2646352 w 9586368"/>
              <a:gd name="connsiteY6267" fmla="*/ 1928610 h 6479439"/>
              <a:gd name="connsiteX6268" fmla="*/ 2642334 w 9586368"/>
              <a:gd name="connsiteY6268" fmla="*/ 1932649 h 6479439"/>
              <a:gd name="connsiteX6269" fmla="*/ 2632423 w 9586368"/>
              <a:gd name="connsiteY6269" fmla="*/ 1932649 h 6479439"/>
              <a:gd name="connsiteX6270" fmla="*/ 2628404 w 9586368"/>
              <a:gd name="connsiteY6270" fmla="*/ 1928610 h 6479439"/>
              <a:gd name="connsiteX6271" fmla="*/ 2628404 w 9586368"/>
              <a:gd name="connsiteY6271" fmla="*/ 1918739 h 6479439"/>
              <a:gd name="connsiteX6272" fmla="*/ 3589676 w 9586368"/>
              <a:gd name="connsiteY6272" fmla="*/ 1914682 h 6479439"/>
              <a:gd name="connsiteX6273" fmla="*/ 3599585 w 9586368"/>
              <a:gd name="connsiteY6273" fmla="*/ 1914682 h 6479439"/>
              <a:gd name="connsiteX6274" fmla="*/ 3603604 w 9586368"/>
              <a:gd name="connsiteY6274" fmla="*/ 1918721 h 6479439"/>
              <a:gd name="connsiteX6275" fmla="*/ 3603604 w 9586368"/>
              <a:gd name="connsiteY6275" fmla="*/ 1928592 h 6479439"/>
              <a:gd name="connsiteX6276" fmla="*/ 3599585 w 9586368"/>
              <a:gd name="connsiteY6276" fmla="*/ 1932631 h 6479439"/>
              <a:gd name="connsiteX6277" fmla="*/ 3589676 w 9586368"/>
              <a:gd name="connsiteY6277" fmla="*/ 1932631 h 6479439"/>
              <a:gd name="connsiteX6278" fmla="*/ 3585657 w 9586368"/>
              <a:gd name="connsiteY6278" fmla="*/ 1928592 h 6479439"/>
              <a:gd name="connsiteX6279" fmla="*/ 3585657 w 9586368"/>
              <a:gd name="connsiteY6279" fmla="*/ 1918721 h 6479439"/>
              <a:gd name="connsiteX6280" fmla="*/ 4546929 w 9586368"/>
              <a:gd name="connsiteY6280" fmla="*/ 1914681 h 6479439"/>
              <a:gd name="connsiteX6281" fmla="*/ 4556840 w 9586368"/>
              <a:gd name="connsiteY6281" fmla="*/ 1914681 h 6479439"/>
              <a:gd name="connsiteX6282" fmla="*/ 4560859 w 9586368"/>
              <a:gd name="connsiteY6282" fmla="*/ 1918719 h 6479439"/>
              <a:gd name="connsiteX6283" fmla="*/ 4560859 w 9586368"/>
              <a:gd name="connsiteY6283" fmla="*/ 1928592 h 6479439"/>
              <a:gd name="connsiteX6284" fmla="*/ 4556840 w 9586368"/>
              <a:gd name="connsiteY6284" fmla="*/ 1932631 h 6479439"/>
              <a:gd name="connsiteX6285" fmla="*/ 4546929 w 9586368"/>
              <a:gd name="connsiteY6285" fmla="*/ 1932631 h 6479439"/>
              <a:gd name="connsiteX6286" fmla="*/ 4542910 w 9586368"/>
              <a:gd name="connsiteY6286" fmla="*/ 1928592 h 6479439"/>
              <a:gd name="connsiteX6287" fmla="*/ 4542910 w 9586368"/>
              <a:gd name="connsiteY6287" fmla="*/ 1918719 h 6479439"/>
              <a:gd name="connsiteX6288" fmla="*/ 4307612 w 9586368"/>
              <a:gd name="connsiteY6288" fmla="*/ 1914681 h 6479439"/>
              <a:gd name="connsiteX6289" fmla="*/ 4317523 w 9586368"/>
              <a:gd name="connsiteY6289" fmla="*/ 1914681 h 6479439"/>
              <a:gd name="connsiteX6290" fmla="*/ 4321543 w 9586368"/>
              <a:gd name="connsiteY6290" fmla="*/ 1918720 h 6479439"/>
              <a:gd name="connsiteX6291" fmla="*/ 4321543 w 9586368"/>
              <a:gd name="connsiteY6291" fmla="*/ 1928592 h 6479439"/>
              <a:gd name="connsiteX6292" fmla="*/ 4317523 w 9586368"/>
              <a:gd name="connsiteY6292" fmla="*/ 1932631 h 6479439"/>
              <a:gd name="connsiteX6293" fmla="*/ 4307612 w 9586368"/>
              <a:gd name="connsiteY6293" fmla="*/ 1932631 h 6479439"/>
              <a:gd name="connsiteX6294" fmla="*/ 4303595 w 9586368"/>
              <a:gd name="connsiteY6294" fmla="*/ 1928592 h 6479439"/>
              <a:gd name="connsiteX6295" fmla="*/ 4303595 w 9586368"/>
              <a:gd name="connsiteY6295" fmla="*/ 1918720 h 6479439"/>
              <a:gd name="connsiteX6296" fmla="*/ 4068297 w 9586368"/>
              <a:gd name="connsiteY6296" fmla="*/ 1914681 h 6479439"/>
              <a:gd name="connsiteX6297" fmla="*/ 4078210 w 9586368"/>
              <a:gd name="connsiteY6297" fmla="*/ 1914681 h 6479439"/>
              <a:gd name="connsiteX6298" fmla="*/ 4082229 w 9586368"/>
              <a:gd name="connsiteY6298" fmla="*/ 1918720 h 6479439"/>
              <a:gd name="connsiteX6299" fmla="*/ 4082229 w 9586368"/>
              <a:gd name="connsiteY6299" fmla="*/ 1928592 h 6479439"/>
              <a:gd name="connsiteX6300" fmla="*/ 4078210 w 9586368"/>
              <a:gd name="connsiteY6300" fmla="*/ 1932631 h 6479439"/>
              <a:gd name="connsiteX6301" fmla="*/ 4068297 w 9586368"/>
              <a:gd name="connsiteY6301" fmla="*/ 1932631 h 6479439"/>
              <a:gd name="connsiteX6302" fmla="*/ 4064278 w 9586368"/>
              <a:gd name="connsiteY6302" fmla="*/ 1928592 h 6479439"/>
              <a:gd name="connsiteX6303" fmla="*/ 4064278 w 9586368"/>
              <a:gd name="connsiteY6303" fmla="*/ 1918720 h 6479439"/>
              <a:gd name="connsiteX6304" fmla="*/ 3828990 w 9586368"/>
              <a:gd name="connsiteY6304" fmla="*/ 1914681 h 6479439"/>
              <a:gd name="connsiteX6305" fmla="*/ 3838899 w 9586368"/>
              <a:gd name="connsiteY6305" fmla="*/ 1914681 h 6479439"/>
              <a:gd name="connsiteX6306" fmla="*/ 3842917 w 9586368"/>
              <a:gd name="connsiteY6306" fmla="*/ 1918720 h 6479439"/>
              <a:gd name="connsiteX6307" fmla="*/ 3842917 w 9586368"/>
              <a:gd name="connsiteY6307" fmla="*/ 1928592 h 6479439"/>
              <a:gd name="connsiteX6308" fmla="*/ 3838899 w 9586368"/>
              <a:gd name="connsiteY6308" fmla="*/ 1932631 h 6479439"/>
              <a:gd name="connsiteX6309" fmla="*/ 3828990 w 9586368"/>
              <a:gd name="connsiteY6309" fmla="*/ 1932631 h 6479439"/>
              <a:gd name="connsiteX6310" fmla="*/ 3824971 w 9586368"/>
              <a:gd name="connsiteY6310" fmla="*/ 1928592 h 6479439"/>
              <a:gd name="connsiteX6311" fmla="*/ 3824971 w 9586368"/>
              <a:gd name="connsiteY6311" fmla="*/ 1918720 h 6479439"/>
              <a:gd name="connsiteX6312" fmla="*/ 4786241 w 9586368"/>
              <a:gd name="connsiteY6312" fmla="*/ 1914664 h 6479439"/>
              <a:gd name="connsiteX6313" fmla="*/ 4796152 w 9586368"/>
              <a:gd name="connsiteY6313" fmla="*/ 1914664 h 6479439"/>
              <a:gd name="connsiteX6314" fmla="*/ 4800171 w 9586368"/>
              <a:gd name="connsiteY6314" fmla="*/ 1918702 h 6479439"/>
              <a:gd name="connsiteX6315" fmla="*/ 4800171 w 9586368"/>
              <a:gd name="connsiteY6315" fmla="*/ 1928573 h 6479439"/>
              <a:gd name="connsiteX6316" fmla="*/ 4796152 w 9586368"/>
              <a:gd name="connsiteY6316" fmla="*/ 1932612 h 6479439"/>
              <a:gd name="connsiteX6317" fmla="*/ 4786241 w 9586368"/>
              <a:gd name="connsiteY6317" fmla="*/ 1932612 h 6479439"/>
              <a:gd name="connsiteX6318" fmla="*/ 4782224 w 9586368"/>
              <a:gd name="connsiteY6318" fmla="*/ 1928573 h 6479439"/>
              <a:gd name="connsiteX6319" fmla="*/ 4782224 w 9586368"/>
              <a:gd name="connsiteY6319" fmla="*/ 1918702 h 6479439"/>
              <a:gd name="connsiteX6320" fmla="*/ 5504099 w 9586368"/>
              <a:gd name="connsiteY6320" fmla="*/ 1914663 h 6479439"/>
              <a:gd name="connsiteX6321" fmla="*/ 5514010 w 9586368"/>
              <a:gd name="connsiteY6321" fmla="*/ 1914663 h 6479439"/>
              <a:gd name="connsiteX6322" fmla="*/ 5518029 w 9586368"/>
              <a:gd name="connsiteY6322" fmla="*/ 1918702 h 6479439"/>
              <a:gd name="connsiteX6323" fmla="*/ 5518029 w 9586368"/>
              <a:gd name="connsiteY6323" fmla="*/ 1928572 h 6479439"/>
              <a:gd name="connsiteX6324" fmla="*/ 5514010 w 9586368"/>
              <a:gd name="connsiteY6324" fmla="*/ 1932612 h 6479439"/>
              <a:gd name="connsiteX6325" fmla="*/ 5504099 w 9586368"/>
              <a:gd name="connsiteY6325" fmla="*/ 1932612 h 6479439"/>
              <a:gd name="connsiteX6326" fmla="*/ 5500080 w 9586368"/>
              <a:gd name="connsiteY6326" fmla="*/ 1928572 h 6479439"/>
              <a:gd name="connsiteX6327" fmla="*/ 5500080 w 9586368"/>
              <a:gd name="connsiteY6327" fmla="*/ 1918702 h 6479439"/>
              <a:gd name="connsiteX6328" fmla="*/ 5264784 w 9586368"/>
              <a:gd name="connsiteY6328" fmla="*/ 1914663 h 6479439"/>
              <a:gd name="connsiteX6329" fmla="*/ 5274694 w 9586368"/>
              <a:gd name="connsiteY6329" fmla="*/ 1914663 h 6479439"/>
              <a:gd name="connsiteX6330" fmla="*/ 5278713 w 9586368"/>
              <a:gd name="connsiteY6330" fmla="*/ 1918702 h 6479439"/>
              <a:gd name="connsiteX6331" fmla="*/ 5278713 w 9586368"/>
              <a:gd name="connsiteY6331" fmla="*/ 1928573 h 6479439"/>
              <a:gd name="connsiteX6332" fmla="*/ 5274694 w 9586368"/>
              <a:gd name="connsiteY6332" fmla="*/ 1932612 h 6479439"/>
              <a:gd name="connsiteX6333" fmla="*/ 5264784 w 9586368"/>
              <a:gd name="connsiteY6333" fmla="*/ 1932612 h 6479439"/>
              <a:gd name="connsiteX6334" fmla="*/ 5260765 w 9586368"/>
              <a:gd name="connsiteY6334" fmla="*/ 1928573 h 6479439"/>
              <a:gd name="connsiteX6335" fmla="*/ 5260765 w 9586368"/>
              <a:gd name="connsiteY6335" fmla="*/ 1918702 h 6479439"/>
              <a:gd name="connsiteX6336" fmla="*/ 5025470 w 9586368"/>
              <a:gd name="connsiteY6336" fmla="*/ 1914663 h 6479439"/>
              <a:gd name="connsiteX6337" fmla="*/ 5035381 w 9586368"/>
              <a:gd name="connsiteY6337" fmla="*/ 1914663 h 6479439"/>
              <a:gd name="connsiteX6338" fmla="*/ 5039400 w 9586368"/>
              <a:gd name="connsiteY6338" fmla="*/ 1918702 h 6479439"/>
              <a:gd name="connsiteX6339" fmla="*/ 5039400 w 9586368"/>
              <a:gd name="connsiteY6339" fmla="*/ 1928573 h 6479439"/>
              <a:gd name="connsiteX6340" fmla="*/ 5035381 w 9586368"/>
              <a:gd name="connsiteY6340" fmla="*/ 1932612 h 6479439"/>
              <a:gd name="connsiteX6341" fmla="*/ 5025470 w 9586368"/>
              <a:gd name="connsiteY6341" fmla="*/ 1932612 h 6479439"/>
              <a:gd name="connsiteX6342" fmla="*/ 5021451 w 9586368"/>
              <a:gd name="connsiteY6342" fmla="*/ 1928573 h 6479439"/>
              <a:gd name="connsiteX6343" fmla="*/ 5021451 w 9586368"/>
              <a:gd name="connsiteY6343" fmla="*/ 1918702 h 6479439"/>
              <a:gd name="connsiteX6344" fmla="*/ 5743412 w 9586368"/>
              <a:gd name="connsiteY6344" fmla="*/ 1914662 h 6479439"/>
              <a:gd name="connsiteX6345" fmla="*/ 5753323 w 9586368"/>
              <a:gd name="connsiteY6345" fmla="*/ 1914662 h 6479439"/>
              <a:gd name="connsiteX6346" fmla="*/ 5757342 w 9586368"/>
              <a:gd name="connsiteY6346" fmla="*/ 1918701 h 6479439"/>
              <a:gd name="connsiteX6347" fmla="*/ 5757342 w 9586368"/>
              <a:gd name="connsiteY6347" fmla="*/ 1928572 h 6479439"/>
              <a:gd name="connsiteX6348" fmla="*/ 5753323 w 9586368"/>
              <a:gd name="connsiteY6348" fmla="*/ 1932612 h 6479439"/>
              <a:gd name="connsiteX6349" fmla="*/ 5743412 w 9586368"/>
              <a:gd name="connsiteY6349" fmla="*/ 1932612 h 6479439"/>
              <a:gd name="connsiteX6350" fmla="*/ 5739393 w 9586368"/>
              <a:gd name="connsiteY6350" fmla="*/ 1928572 h 6479439"/>
              <a:gd name="connsiteX6351" fmla="*/ 5739393 w 9586368"/>
              <a:gd name="connsiteY6351" fmla="*/ 1918701 h 6479439"/>
              <a:gd name="connsiteX6352" fmla="*/ 5982729 w 9586368"/>
              <a:gd name="connsiteY6352" fmla="*/ 1914645 h 6479439"/>
              <a:gd name="connsiteX6353" fmla="*/ 5992639 w 9586368"/>
              <a:gd name="connsiteY6353" fmla="*/ 1914645 h 6479439"/>
              <a:gd name="connsiteX6354" fmla="*/ 5996658 w 9586368"/>
              <a:gd name="connsiteY6354" fmla="*/ 1918684 h 6479439"/>
              <a:gd name="connsiteX6355" fmla="*/ 5996658 w 9586368"/>
              <a:gd name="connsiteY6355" fmla="*/ 1928555 h 6479439"/>
              <a:gd name="connsiteX6356" fmla="*/ 5992639 w 9586368"/>
              <a:gd name="connsiteY6356" fmla="*/ 1932594 h 6479439"/>
              <a:gd name="connsiteX6357" fmla="*/ 5982729 w 9586368"/>
              <a:gd name="connsiteY6357" fmla="*/ 1932594 h 6479439"/>
              <a:gd name="connsiteX6358" fmla="*/ 5978710 w 9586368"/>
              <a:gd name="connsiteY6358" fmla="*/ 1928555 h 6479439"/>
              <a:gd name="connsiteX6359" fmla="*/ 5978710 w 9586368"/>
              <a:gd name="connsiteY6359" fmla="*/ 1918684 h 6479439"/>
              <a:gd name="connsiteX6360" fmla="*/ 6939983 w 9586368"/>
              <a:gd name="connsiteY6360" fmla="*/ 1914645 h 6479439"/>
              <a:gd name="connsiteX6361" fmla="*/ 6949894 w 9586368"/>
              <a:gd name="connsiteY6361" fmla="*/ 1914645 h 6479439"/>
              <a:gd name="connsiteX6362" fmla="*/ 6953913 w 9586368"/>
              <a:gd name="connsiteY6362" fmla="*/ 1918682 h 6479439"/>
              <a:gd name="connsiteX6363" fmla="*/ 6953913 w 9586368"/>
              <a:gd name="connsiteY6363" fmla="*/ 1928554 h 6479439"/>
              <a:gd name="connsiteX6364" fmla="*/ 6949894 w 9586368"/>
              <a:gd name="connsiteY6364" fmla="*/ 1932594 h 6479439"/>
              <a:gd name="connsiteX6365" fmla="*/ 6939983 w 9586368"/>
              <a:gd name="connsiteY6365" fmla="*/ 1932594 h 6479439"/>
              <a:gd name="connsiteX6366" fmla="*/ 6935964 w 9586368"/>
              <a:gd name="connsiteY6366" fmla="*/ 1928554 h 6479439"/>
              <a:gd name="connsiteX6367" fmla="*/ 6935964 w 9586368"/>
              <a:gd name="connsiteY6367" fmla="*/ 1918682 h 6479439"/>
              <a:gd name="connsiteX6368" fmla="*/ 6700670 w 9586368"/>
              <a:gd name="connsiteY6368" fmla="*/ 1914645 h 6479439"/>
              <a:gd name="connsiteX6369" fmla="*/ 6710581 w 9586368"/>
              <a:gd name="connsiteY6369" fmla="*/ 1914645 h 6479439"/>
              <a:gd name="connsiteX6370" fmla="*/ 6714600 w 9586368"/>
              <a:gd name="connsiteY6370" fmla="*/ 1918683 h 6479439"/>
              <a:gd name="connsiteX6371" fmla="*/ 6714600 w 9586368"/>
              <a:gd name="connsiteY6371" fmla="*/ 1928554 h 6479439"/>
              <a:gd name="connsiteX6372" fmla="*/ 6710581 w 9586368"/>
              <a:gd name="connsiteY6372" fmla="*/ 1932594 h 6479439"/>
              <a:gd name="connsiteX6373" fmla="*/ 6700670 w 9586368"/>
              <a:gd name="connsiteY6373" fmla="*/ 1932594 h 6479439"/>
              <a:gd name="connsiteX6374" fmla="*/ 6696651 w 9586368"/>
              <a:gd name="connsiteY6374" fmla="*/ 1928554 h 6479439"/>
              <a:gd name="connsiteX6375" fmla="*/ 6696651 w 9586368"/>
              <a:gd name="connsiteY6375" fmla="*/ 1918683 h 6479439"/>
              <a:gd name="connsiteX6376" fmla="*/ 6461356 w 9586368"/>
              <a:gd name="connsiteY6376" fmla="*/ 1914645 h 6479439"/>
              <a:gd name="connsiteX6377" fmla="*/ 6471266 w 9586368"/>
              <a:gd name="connsiteY6377" fmla="*/ 1914645 h 6479439"/>
              <a:gd name="connsiteX6378" fmla="*/ 6475285 w 9586368"/>
              <a:gd name="connsiteY6378" fmla="*/ 1918683 h 6479439"/>
              <a:gd name="connsiteX6379" fmla="*/ 6475285 w 9586368"/>
              <a:gd name="connsiteY6379" fmla="*/ 1928555 h 6479439"/>
              <a:gd name="connsiteX6380" fmla="*/ 6471266 w 9586368"/>
              <a:gd name="connsiteY6380" fmla="*/ 1932594 h 6479439"/>
              <a:gd name="connsiteX6381" fmla="*/ 6461356 w 9586368"/>
              <a:gd name="connsiteY6381" fmla="*/ 1932594 h 6479439"/>
              <a:gd name="connsiteX6382" fmla="*/ 6457337 w 9586368"/>
              <a:gd name="connsiteY6382" fmla="*/ 1928555 h 6479439"/>
              <a:gd name="connsiteX6383" fmla="*/ 6457337 w 9586368"/>
              <a:gd name="connsiteY6383" fmla="*/ 1918683 h 6479439"/>
              <a:gd name="connsiteX6384" fmla="*/ 6222042 w 9586368"/>
              <a:gd name="connsiteY6384" fmla="*/ 1914645 h 6479439"/>
              <a:gd name="connsiteX6385" fmla="*/ 6231952 w 9586368"/>
              <a:gd name="connsiteY6385" fmla="*/ 1914645 h 6479439"/>
              <a:gd name="connsiteX6386" fmla="*/ 6235971 w 9586368"/>
              <a:gd name="connsiteY6386" fmla="*/ 1918683 h 6479439"/>
              <a:gd name="connsiteX6387" fmla="*/ 6235971 w 9586368"/>
              <a:gd name="connsiteY6387" fmla="*/ 1928555 h 6479439"/>
              <a:gd name="connsiteX6388" fmla="*/ 6231952 w 9586368"/>
              <a:gd name="connsiteY6388" fmla="*/ 1932594 h 6479439"/>
              <a:gd name="connsiteX6389" fmla="*/ 6222042 w 9586368"/>
              <a:gd name="connsiteY6389" fmla="*/ 1932594 h 6479439"/>
              <a:gd name="connsiteX6390" fmla="*/ 6218023 w 9586368"/>
              <a:gd name="connsiteY6390" fmla="*/ 1928555 h 6479439"/>
              <a:gd name="connsiteX6391" fmla="*/ 6218023 w 9586368"/>
              <a:gd name="connsiteY6391" fmla="*/ 1918683 h 6479439"/>
              <a:gd name="connsiteX6392" fmla="*/ 7179298 w 9586368"/>
              <a:gd name="connsiteY6392" fmla="*/ 1914627 h 6479439"/>
              <a:gd name="connsiteX6393" fmla="*/ 7189209 w 9586368"/>
              <a:gd name="connsiteY6393" fmla="*/ 1914627 h 6479439"/>
              <a:gd name="connsiteX6394" fmla="*/ 7193228 w 9586368"/>
              <a:gd name="connsiteY6394" fmla="*/ 1918666 h 6479439"/>
              <a:gd name="connsiteX6395" fmla="*/ 7193228 w 9586368"/>
              <a:gd name="connsiteY6395" fmla="*/ 1928536 h 6479439"/>
              <a:gd name="connsiteX6396" fmla="*/ 7189209 w 9586368"/>
              <a:gd name="connsiteY6396" fmla="*/ 1932575 h 6479439"/>
              <a:gd name="connsiteX6397" fmla="*/ 7179298 w 9586368"/>
              <a:gd name="connsiteY6397" fmla="*/ 1932575 h 6479439"/>
              <a:gd name="connsiteX6398" fmla="*/ 7175279 w 9586368"/>
              <a:gd name="connsiteY6398" fmla="*/ 1928536 h 6479439"/>
              <a:gd name="connsiteX6399" fmla="*/ 7175279 w 9586368"/>
              <a:gd name="connsiteY6399" fmla="*/ 1918666 h 6479439"/>
              <a:gd name="connsiteX6400" fmla="*/ 7897241 w 9586368"/>
              <a:gd name="connsiteY6400" fmla="*/ 1914627 h 6479439"/>
              <a:gd name="connsiteX6401" fmla="*/ 7907151 w 9586368"/>
              <a:gd name="connsiteY6401" fmla="*/ 1914627 h 6479439"/>
              <a:gd name="connsiteX6402" fmla="*/ 7911170 w 9586368"/>
              <a:gd name="connsiteY6402" fmla="*/ 1918664 h 6479439"/>
              <a:gd name="connsiteX6403" fmla="*/ 7911170 w 9586368"/>
              <a:gd name="connsiteY6403" fmla="*/ 1928535 h 6479439"/>
              <a:gd name="connsiteX6404" fmla="*/ 7907151 w 9586368"/>
              <a:gd name="connsiteY6404" fmla="*/ 1932575 h 6479439"/>
              <a:gd name="connsiteX6405" fmla="*/ 7897241 w 9586368"/>
              <a:gd name="connsiteY6405" fmla="*/ 1932575 h 6479439"/>
              <a:gd name="connsiteX6406" fmla="*/ 7893222 w 9586368"/>
              <a:gd name="connsiteY6406" fmla="*/ 1928535 h 6479439"/>
              <a:gd name="connsiteX6407" fmla="*/ 7893222 w 9586368"/>
              <a:gd name="connsiteY6407" fmla="*/ 1918664 h 6479439"/>
              <a:gd name="connsiteX6408" fmla="*/ 7657926 w 9586368"/>
              <a:gd name="connsiteY6408" fmla="*/ 1914627 h 6479439"/>
              <a:gd name="connsiteX6409" fmla="*/ 7667836 w 9586368"/>
              <a:gd name="connsiteY6409" fmla="*/ 1914627 h 6479439"/>
              <a:gd name="connsiteX6410" fmla="*/ 7671855 w 9586368"/>
              <a:gd name="connsiteY6410" fmla="*/ 1918664 h 6479439"/>
              <a:gd name="connsiteX6411" fmla="*/ 7671855 w 9586368"/>
              <a:gd name="connsiteY6411" fmla="*/ 1928536 h 6479439"/>
              <a:gd name="connsiteX6412" fmla="*/ 7667836 w 9586368"/>
              <a:gd name="connsiteY6412" fmla="*/ 1932575 h 6479439"/>
              <a:gd name="connsiteX6413" fmla="*/ 7657926 w 9586368"/>
              <a:gd name="connsiteY6413" fmla="*/ 1932575 h 6479439"/>
              <a:gd name="connsiteX6414" fmla="*/ 7653906 w 9586368"/>
              <a:gd name="connsiteY6414" fmla="*/ 1928536 h 6479439"/>
              <a:gd name="connsiteX6415" fmla="*/ 7653906 w 9586368"/>
              <a:gd name="connsiteY6415" fmla="*/ 1918664 h 6479439"/>
              <a:gd name="connsiteX6416" fmla="*/ 7418611 w 9586368"/>
              <a:gd name="connsiteY6416" fmla="*/ 1914627 h 6479439"/>
              <a:gd name="connsiteX6417" fmla="*/ 7428521 w 9586368"/>
              <a:gd name="connsiteY6417" fmla="*/ 1914627 h 6479439"/>
              <a:gd name="connsiteX6418" fmla="*/ 7432540 w 9586368"/>
              <a:gd name="connsiteY6418" fmla="*/ 1918664 h 6479439"/>
              <a:gd name="connsiteX6419" fmla="*/ 7432540 w 9586368"/>
              <a:gd name="connsiteY6419" fmla="*/ 1928536 h 6479439"/>
              <a:gd name="connsiteX6420" fmla="*/ 7428521 w 9586368"/>
              <a:gd name="connsiteY6420" fmla="*/ 1932575 h 6479439"/>
              <a:gd name="connsiteX6421" fmla="*/ 7418611 w 9586368"/>
              <a:gd name="connsiteY6421" fmla="*/ 1932575 h 6479439"/>
              <a:gd name="connsiteX6422" fmla="*/ 7414592 w 9586368"/>
              <a:gd name="connsiteY6422" fmla="*/ 1928536 h 6479439"/>
              <a:gd name="connsiteX6423" fmla="*/ 7414592 w 9586368"/>
              <a:gd name="connsiteY6423" fmla="*/ 1918664 h 6479439"/>
              <a:gd name="connsiteX6424" fmla="*/ 8136553 w 9586368"/>
              <a:gd name="connsiteY6424" fmla="*/ 1914626 h 6479439"/>
              <a:gd name="connsiteX6425" fmla="*/ 8146464 w 9586368"/>
              <a:gd name="connsiteY6425" fmla="*/ 1914626 h 6479439"/>
              <a:gd name="connsiteX6426" fmla="*/ 8150483 w 9586368"/>
              <a:gd name="connsiteY6426" fmla="*/ 1918664 h 6479439"/>
              <a:gd name="connsiteX6427" fmla="*/ 8150483 w 9586368"/>
              <a:gd name="connsiteY6427" fmla="*/ 1928535 h 6479439"/>
              <a:gd name="connsiteX6428" fmla="*/ 8146464 w 9586368"/>
              <a:gd name="connsiteY6428" fmla="*/ 1932575 h 6479439"/>
              <a:gd name="connsiteX6429" fmla="*/ 8136553 w 9586368"/>
              <a:gd name="connsiteY6429" fmla="*/ 1932575 h 6479439"/>
              <a:gd name="connsiteX6430" fmla="*/ 8132534 w 9586368"/>
              <a:gd name="connsiteY6430" fmla="*/ 1928535 h 6479439"/>
              <a:gd name="connsiteX6431" fmla="*/ 8132534 w 9586368"/>
              <a:gd name="connsiteY6431" fmla="*/ 1918664 h 6479439"/>
              <a:gd name="connsiteX6432" fmla="*/ 8375869 w 9586368"/>
              <a:gd name="connsiteY6432" fmla="*/ 1914608 h 6479439"/>
              <a:gd name="connsiteX6433" fmla="*/ 8385779 w 9586368"/>
              <a:gd name="connsiteY6433" fmla="*/ 1914608 h 6479439"/>
              <a:gd name="connsiteX6434" fmla="*/ 8389799 w 9586368"/>
              <a:gd name="connsiteY6434" fmla="*/ 1918647 h 6479439"/>
              <a:gd name="connsiteX6435" fmla="*/ 8389799 w 9586368"/>
              <a:gd name="connsiteY6435" fmla="*/ 1928518 h 6479439"/>
              <a:gd name="connsiteX6436" fmla="*/ 8385779 w 9586368"/>
              <a:gd name="connsiteY6436" fmla="*/ 1932557 h 6479439"/>
              <a:gd name="connsiteX6437" fmla="*/ 8375869 w 9586368"/>
              <a:gd name="connsiteY6437" fmla="*/ 1932557 h 6479439"/>
              <a:gd name="connsiteX6438" fmla="*/ 8371850 w 9586368"/>
              <a:gd name="connsiteY6438" fmla="*/ 1928518 h 6479439"/>
              <a:gd name="connsiteX6439" fmla="*/ 8371850 w 9586368"/>
              <a:gd name="connsiteY6439" fmla="*/ 1918647 h 6479439"/>
              <a:gd name="connsiteX6440" fmla="*/ 9333125 w 9586368"/>
              <a:gd name="connsiteY6440" fmla="*/ 1914608 h 6479439"/>
              <a:gd name="connsiteX6441" fmla="*/ 9343036 w 9586368"/>
              <a:gd name="connsiteY6441" fmla="*/ 1914608 h 6479439"/>
              <a:gd name="connsiteX6442" fmla="*/ 9347055 w 9586368"/>
              <a:gd name="connsiteY6442" fmla="*/ 1918646 h 6479439"/>
              <a:gd name="connsiteX6443" fmla="*/ 9347055 w 9586368"/>
              <a:gd name="connsiteY6443" fmla="*/ 1928517 h 6479439"/>
              <a:gd name="connsiteX6444" fmla="*/ 9343036 w 9586368"/>
              <a:gd name="connsiteY6444" fmla="*/ 1932557 h 6479439"/>
              <a:gd name="connsiteX6445" fmla="*/ 9333125 w 9586368"/>
              <a:gd name="connsiteY6445" fmla="*/ 1932557 h 6479439"/>
              <a:gd name="connsiteX6446" fmla="*/ 9329106 w 9586368"/>
              <a:gd name="connsiteY6446" fmla="*/ 1928517 h 6479439"/>
              <a:gd name="connsiteX6447" fmla="*/ 9329106 w 9586368"/>
              <a:gd name="connsiteY6447" fmla="*/ 1918646 h 6479439"/>
              <a:gd name="connsiteX6448" fmla="*/ 9093811 w 9586368"/>
              <a:gd name="connsiteY6448" fmla="*/ 1914608 h 6479439"/>
              <a:gd name="connsiteX6449" fmla="*/ 9103722 w 9586368"/>
              <a:gd name="connsiteY6449" fmla="*/ 1914608 h 6479439"/>
              <a:gd name="connsiteX6450" fmla="*/ 9107741 w 9586368"/>
              <a:gd name="connsiteY6450" fmla="*/ 1918646 h 6479439"/>
              <a:gd name="connsiteX6451" fmla="*/ 9107741 w 9586368"/>
              <a:gd name="connsiteY6451" fmla="*/ 1928517 h 6479439"/>
              <a:gd name="connsiteX6452" fmla="*/ 9103722 w 9586368"/>
              <a:gd name="connsiteY6452" fmla="*/ 1932557 h 6479439"/>
              <a:gd name="connsiteX6453" fmla="*/ 9093811 w 9586368"/>
              <a:gd name="connsiteY6453" fmla="*/ 1932557 h 6479439"/>
              <a:gd name="connsiteX6454" fmla="*/ 9089792 w 9586368"/>
              <a:gd name="connsiteY6454" fmla="*/ 1928517 h 6479439"/>
              <a:gd name="connsiteX6455" fmla="*/ 9089792 w 9586368"/>
              <a:gd name="connsiteY6455" fmla="*/ 1918646 h 6479439"/>
              <a:gd name="connsiteX6456" fmla="*/ 8854496 w 9586368"/>
              <a:gd name="connsiteY6456" fmla="*/ 1914608 h 6479439"/>
              <a:gd name="connsiteX6457" fmla="*/ 8864407 w 9586368"/>
              <a:gd name="connsiteY6457" fmla="*/ 1914608 h 6479439"/>
              <a:gd name="connsiteX6458" fmla="*/ 8868426 w 9586368"/>
              <a:gd name="connsiteY6458" fmla="*/ 1918646 h 6479439"/>
              <a:gd name="connsiteX6459" fmla="*/ 8868426 w 9586368"/>
              <a:gd name="connsiteY6459" fmla="*/ 1928518 h 6479439"/>
              <a:gd name="connsiteX6460" fmla="*/ 8864407 w 9586368"/>
              <a:gd name="connsiteY6460" fmla="*/ 1932557 h 6479439"/>
              <a:gd name="connsiteX6461" fmla="*/ 8854496 w 9586368"/>
              <a:gd name="connsiteY6461" fmla="*/ 1932557 h 6479439"/>
              <a:gd name="connsiteX6462" fmla="*/ 8850477 w 9586368"/>
              <a:gd name="connsiteY6462" fmla="*/ 1928518 h 6479439"/>
              <a:gd name="connsiteX6463" fmla="*/ 8850477 w 9586368"/>
              <a:gd name="connsiteY6463" fmla="*/ 1918646 h 6479439"/>
              <a:gd name="connsiteX6464" fmla="*/ 8615184 w 9586368"/>
              <a:gd name="connsiteY6464" fmla="*/ 1914608 h 6479439"/>
              <a:gd name="connsiteX6465" fmla="*/ 8625095 w 9586368"/>
              <a:gd name="connsiteY6465" fmla="*/ 1914608 h 6479439"/>
              <a:gd name="connsiteX6466" fmla="*/ 8629114 w 9586368"/>
              <a:gd name="connsiteY6466" fmla="*/ 1918646 h 6479439"/>
              <a:gd name="connsiteX6467" fmla="*/ 8629114 w 9586368"/>
              <a:gd name="connsiteY6467" fmla="*/ 1928518 h 6479439"/>
              <a:gd name="connsiteX6468" fmla="*/ 8625095 w 9586368"/>
              <a:gd name="connsiteY6468" fmla="*/ 1932557 h 6479439"/>
              <a:gd name="connsiteX6469" fmla="*/ 8615184 w 9586368"/>
              <a:gd name="connsiteY6469" fmla="*/ 1932557 h 6479439"/>
              <a:gd name="connsiteX6470" fmla="*/ 8611165 w 9586368"/>
              <a:gd name="connsiteY6470" fmla="*/ 1928518 h 6479439"/>
              <a:gd name="connsiteX6471" fmla="*/ 8611165 w 9586368"/>
              <a:gd name="connsiteY6471" fmla="*/ 1918646 h 6479439"/>
              <a:gd name="connsiteX6472" fmla="*/ 9572438 w 9586368"/>
              <a:gd name="connsiteY6472" fmla="*/ 1914590 h 6479439"/>
              <a:gd name="connsiteX6473" fmla="*/ 9582349 w 9586368"/>
              <a:gd name="connsiteY6473" fmla="*/ 1914590 h 6479439"/>
              <a:gd name="connsiteX6474" fmla="*/ 9586368 w 9586368"/>
              <a:gd name="connsiteY6474" fmla="*/ 1918629 h 6479439"/>
              <a:gd name="connsiteX6475" fmla="*/ 9586368 w 9586368"/>
              <a:gd name="connsiteY6475" fmla="*/ 1928499 h 6479439"/>
              <a:gd name="connsiteX6476" fmla="*/ 9582349 w 9586368"/>
              <a:gd name="connsiteY6476" fmla="*/ 1932538 h 6479439"/>
              <a:gd name="connsiteX6477" fmla="*/ 9572438 w 9586368"/>
              <a:gd name="connsiteY6477" fmla="*/ 1932538 h 6479439"/>
              <a:gd name="connsiteX6478" fmla="*/ 9568419 w 9586368"/>
              <a:gd name="connsiteY6478" fmla="*/ 1928499 h 6479439"/>
              <a:gd name="connsiteX6479" fmla="*/ 9568419 w 9586368"/>
              <a:gd name="connsiteY6479" fmla="*/ 1918629 h 6479439"/>
              <a:gd name="connsiteX6480" fmla="*/ 243346 w 9586368"/>
              <a:gd name="connsiteY6480" fmla="*/ 1914550 h 6479439"/>
              <a:gd name="connsiteX6481" fmla="*/ 253256 w 9586368"/>
              <a:gd name="connsiteY6481" fmla="*/ 1914550 h 6479439"/>
              <a:gd name="connsiteX6482" fmla="*/ 257275 w 9586368"/>
              <a:gd name="connsiteY6482" fmla="*/ 1918589 h 6479439"/>
              <a:gd name="connsiteX6483" fmla="*/ 257275 w 9586368"/>
              <a:gd name="connsiteY6483" fmla="*/ 1928459 h 6479439"/>
              <a:gd name="connsiteX6484" fmla="*/ 253256 w 9586368"/>
              <a:gd name="connsiteY6484" fmla="*/ 1932498 h 6479439"/>
              <a:gd name="connsiteX6485" fmla="*/ 243346 w 9586368"/>
              <a:gd name="connsiteY6485" fmla="*/ 1932498 h 6479439"/>
              <a:gd name="connsiteX6486" fmla="*/ 239327 w 9586368"/>
              <a:gd name="connsiteY6486" fmla="*/ 1928459 h 6479439"/>
              <a:gd name="connsiteX6487" fmla="*/ 239327 w 9586368"/>
              <a:gd name="connsiteY6487" fmla="*/ 1918589 h 6479439"/>
              <a:gd name="connsiteX6488" fmla="*/ 4032 w 9586368"/>
              <a:gd name="connsiteY6488" fmla="*/ 1914550 h 6479439"/>
              <a:gd name="connsiteX6489" fmla="*/ 13943 w 9586368"/>
              <a:gd name="connsiteY6489" fmla="*/ 1914550 h 6479439"/>
              <a:gd name="connsiteX6490" fmla="*/ 17962 w 9586368"/>
              <a:gd name="connsiteY6490" fmla="*/ 1918589 h 6479439"/>
              <a:gd name="connsiteX6491" fmla="*/ 17962 w 9586368"/>
              <a:gd name="connsiteY6491" fmla="*/ 1928459 h 6479439"/>
              <a:gd name="connsiteX6492" fmla="*/ 13943 w 9586368"/>
              <a:gd name="connsiteY6492" fmla="*/ 1932498 h 6479439"/>
              <a:gd name="connsiteX6493" fmla="*/ 4032 w 9586368"/>
              <a:gd name="connsiteY6493" fmla="*/ 1932498 h 6479439"/>
              <a:gd name="connsiteX6494" fmla="*/ 13 w 9586368"/>
              <a:gd name="connsiteY6494" fmla="*/ 1928459 h 6479439"/>
              <a:gd name="connsiteX6495" fmla="*/ 13 w 9586368"/>
              <a:gd name="connsiteY6495" fmla="*/ 1918589 h 6479439"/>
              <a:gd name="connsiteX6496" fmla="*/ 721971 w 9586368"/>
              <a:gd name="connsiteY6496" fmla="*/ 1914550 h 6479439"/>
              <a:gd name="connsiteX6497" fmla="*/ 731882 w 9586368"/>
              <a:gd name="connsiteY6497" fmla="*/ 1914550 h 6479439"/>
              <a:gd name="connsiteX6498" fmla="*/ 735901 w 9586368"/>
              <a:gd name="connsiteY6498" fmla="*/ 1918588 h 6479439"/>
              <a:gd name="connsiteX6499" fmla="*/ 735901 w 9586368"/>
              <a:gd name="connsiteY6499" fmla="*/ 1928459 h 6479439"/>
              <a:gd name="connsiteX6500" fmla="*/ 731882 w 9586368"/>
              <a:gd name="connsiteY6500" fmla="*/ 1932497 h 6479439"/>
              <a:gd name="connsiteX6501" fmla="*/ 721971 w 9586368"/>
              <a:gd name="connsiteY6501" fmla="*/ 1932497 h 6479439"/>
              <a:gd name="connsiteX6502" fmla="*/ 717953 w 9586368"/>
              <a:gd name="connsiteY6502" fmla="*/ 1928459 h 6479439"/>
              <a:gd name="connsiteX6503" fmla="*/ 717953 w 9586368"/>
              <a:gd name="connsiteY6503" fmla="*/ 1918588 h 6479439"/>
              <a:gd name="connsiteX6504" fmla="*/ 482660 w 9586368"/>
              <a:gd name="connsiteY6504" fmla="*/ 1914550 h 6479439"/>
              <a:gd name="connsiteX6505" fmla="*/ 492570 w 9586368"/>
              <a:gd name="connsiteY6505" fmla="*/ 1914550 h 6479439"/>
              <a:gd name="connsiteX6506" fmla="*/ 496589 w 9586368"/>
              <a:gd name="connsiteY6506" fmla="*/ 1918588 h 6479439"/>
              <a:gd name="connsiteX6507" fmla="*/ 496589 w 9586368"/>
              <a:gd name="connsiteY6507" fmla="*/ 1928459 h 6479439"/>
              <a:gd name="connsiteX6508" fmla="*/ 492570 w 9586368"/>
              <a:gd name="connsiteY6508" fmla="*/ 1932497 h 6479439"/>
              <a:gd name="connsiteX6509" fmla="*/ 482660 w 9586368"/>
              <a:gd name="connsiteY6509" fmla="*/ 1932497 h 6479439"/>
              <a:gd name="connsiteX6510" fmla="*/ 478640 w 9586368"/>
              <a:gd name="connsiteY6510" fmla="*/ 1928459 h 6479439"/>
              <a:gd name="connsiteX6511" fmla="*/ 478640 w 9586368"/>
              <a:gd name="connsiteY6511" fmla="*/ 1918588 h 6479439"/>
              <a:gd name="connsiteX6512" fmla="*/ 1679215 w 9586368"/>
              <a:gd name="connsiteY6512" fmla="*/ 1914535 h 6479439"/>
              <a:gd name="connsiteX6513" fmla="*/ 1689125 w 9586368"/>
              <a:gd name="connsiteY6513" fmla="*/ 1914535 h 6479439"/>
              <a:gd name="connsiteX6514" fmla="*/ 1693144 w 9586368"/>
              <a:gd name="connsiteY6514" fmla="*/ 1918573 h 6479439"/>
              <a:gd name="connsiteX6515" fmla="*/ 1693144 w 9586368"/>
              <a:gd name="connsiteY6515" fmla="*/ 1928444 h 6479439"/>
              <a:gd name="connsiteX6516" fmla="*/ 1689125 w 9586368"/>
              <a:gd name="connsiteY6516" fmla="*/ 1932482 h 6479439"/>
              <a:gd name="connsiteX6517" fmla="*/ 1679215 w 9586368"/>
              <a:gd name="connsiteY6517" fmla="*/ 1932482 h 6479439"/>
              <a:gd name="connsiteX6518" fmla="*/ 1675195 w 9586368"/>
              <a:gd name="connsiteY6518" fmla="*/ 1928444 h 6479439"/>
              <a:gd name="connsiteX6519" fmla="*/ 1675195 w 9586368"/>
              <a:gd name="connsiteY6519" fmla="*/ 1918573 h 6479439"/>
              <a:gd name="connsiteX6520" fmla="*/ 1439897 w 9586368"/>
              <a:gd name="connsiteY6520" fmla="*/ 1914535 h 6479439"/>
              <a:gd name="connsiteX6521" fmla="*/ 1449808 w 9586368"/>
              <a:gd name="connsiteY6521" fmla="*/ 1914535 h 6479439"/>
              <a:gd name="connsiteX6522" fmla="*/ 1453827 w 9586368"/>
              <a:gd name="connsiteY6522" fmla="*/ 1918573 h 6479439"/>
              <a:gd name="connsiteX6523" fmla="*/ 1453827 w 9586368"/>
              <a:gd name="connsiteY6523" fmla="*/ 1928444 h 6479439"/>
              <a:gd name="connsiteX6524" fmla="*/ 1449808 w 9586368"/>
              <a:gd name="connsiteY6524" fmla="*/ 1932483 h 6479439"/>
              <a:gd name="connsiteX6525" fmla="*/ 1439897 w 9586368"/>
              <a:gd name="connsiteY6525" fmla="*/ 1932483 h 6479439"/>
              <a:gd name="connsiteX6526" fmla="*/ 1435879 w 9586368"/>
              <a:gd name="connsiteY6526" fmla="*/ 1928444 h 6479439"/>
              <a:gd name="connsiteX6527" fmla="*/ 1435879 w 9586368"/>
              <a:gd name="connsiteY6527" fmla="*/ 1918573 h 6479439"/>
              <a:gd name="connsiteX6528" fmla="*/ 1200582 w 9586368"/>
              <a:gd name="connsiteY6528" fmla="*/ 1914535 h 6479439"/>
              <a:gd name="connsiteX6529" fmla="*/ 1210492 w 9586368"/>
              <a:gd name="connsiteY6529" fmla="*/ 1914535 h 6479439"/>
              <a:gd name="connsiteX6530" fmla="*/ 1214511 w 9586368"/>
              <a:gd name="connsiteY6530" fmla="*/ 1918573 h 6479439"/>
              <a:gd name="connsiteX6531" fmla="*/ 1214511 w 9586368"/>
              <a:gd name="connsiteY6531" fmla="*/ 1928444 h 6479439"/>
              <a:gd name="connsiteX6532" fmla="*/ 1210492 w 9586368"/>
              <a:gd name="connsiteY6532" fmla="*/ 1932483 h 6479439"/>
              <a:gd name="connsiteX6533" fmla="*/ 1200582 w 9586368"/>
              <a:gd name="connsiteY6533" fmla="*/ 1932483 h 6479439"/>
              <a:gd name="connsiteX6534" fmla="*/ 1196563 w 9586368"/>
              <a:gd name="connsiteY6534" fmla="*/ 1928444 h 6479439"/>
              <a:gd name="connsiteX6535" fmla="*/ 1196563 w 9586368"/>
              <a:gd name="connsiteY6535" fmla="*/ 1918573 h 6479439"/>
              <a:gd name="connsiteX6536" fmla="*/ 961269 w 9586368"/>
              <a:gd name="connsiteY6536" fmla="*/ 1914535 h 6479439"/>
              <a:gd name="connsiteX6537" fmla="*/ 971179 w 9586368"/>
              <a:gd name="connsiteY6537" fmla="*/ 1914535 h 6479439"/>
              <a:gd name="connsiteX6538" fmla="*/ 975198 w 9586368"/>
              <a:gd name="connsiteY6538" fmla="*/ 1918573 h 6479439"/>
              <a:gd name="connsiteX6539" fmla="*/ 975198 w 9586368"/>
              <a:gd name="connsiteY6539" fmla="*/ 1928444 h 6479439"/>
              <a:gd name="connsiteX6540" fmla="*/ 971179 w 9586368"/>
              <a:gd name="connsiteY6540" fmla="*/ 1932483 h 6479439"/>
              <a:gd name="connsiteX6541" fmla="*/ 961269 w 9586368"/>
              <a:gd name="connsiteY6541" fmla="*/ 1932483 h 6479439"/>
              <a:gd name="connsiteX6542" fmla="*/ 957250 w 9586368"/>
              <a:gd name="connsiteY6542" fmla="*/ 1928444 h 6479439"/>
              <a:gd name="connsiteX6543" fmla="*/ 957250 w 9586368"/>
              <a:gd name="connsiteY6543" fmla="*/ 1918573 h 6479439"/>
              <a:gd name="connsiteX6544" fmla="*/ 1918513 w 9586368"/>
              <a:gd name="connsiteY6544" fmla="*/ 1914523 h 6479439"/>
              <a:gd name="connsiteX6545" fmla="*/ 1928424 w 9586368"/>
              <a:gd name="connsiteY6545" fmla="*/ 1914523 h 6479439"/>
              <a:gd name="connsiteX6546" fmla="*/ 1932443 w 9586368"/>
              <a:gd name="connsiteY6546" fmla="*/ 1918562 h 6479439"/>
              <a:gd name="connsiteX6547" fmla="*/ 1932443 w 9586368"/>
              <a:gd name="connsiteY6547" fmla="*/ 1928432 h 6479439"/>
              <a:gd name="connsiteX6548" fmla="*/ 1928424 w 9586368"/>
              <a:gd name="connsiteY6548" fmla="*/ 1932471 h 6479439"/>
              <a:gd name="connsiteX6549" fmla="*/ 1918513 w 9586368"/>
              <a:gd name="connsiteY6549" fmla="*/ 1932471 h 6479439"/>
              <a:gd name="connsiteX6550" fmla="*/ 1914494 w 9586368"/>
              <a:gd name="connsiteY6550" fmla="*/ 1928432 h 6479439"/>
              <a:gd name="connsiteX6551" fmla="*/ 1914494 w 9586368"/>
              <a:gd name="connsiteY6551" fmla="*/ 1918562 h 6479439"/>
              <a:gd name="connsiteX6552" fmla="*/ 2157821 w 9586368"/>
              <a:gd name="connsiteY6552" fmla="*/ 1914520 h 6479439"/>
              <a:gd name="connsiteX6553" fmla="*/ 2167732 w 9586368"/>
              <a:gd name="connsiteY6553" fmla="*/ 1914520 h 6479439"/>
              <a:gd name="connsiteX6554" fmla="*/ 2171751 w 9586368"/>
              <a:gd name="connsiteY6554" fmla="*/ 1918558 h 6479439"/>
              <a:gd name="connsiteX6555" fmla="*/ 2171751 w 9586368"/>
              <a:gd name="connsiteY6555" fmla="*/ 1928428 h 6479439"/>
              <a:gd name="connsiteX6556" fmla="*/ 2167732 w 9586368"/>
              <a:gd name="connsiteY6556" fmla="*/ 1932467 h 6479439"/>
              <a:gd name="connsiteX6557" fmla="*/ 2157821 w 9586368"/>
              <a:gd name="connsiteY6557" fmla="*/ 1932467 h 6479439"/>
              <a:gd name="connsiteX6558" fmla="*/ 2153803 w 9586368"/>
              <a:gd name="connsiteY6558" fmla="*/ 1928428 h 6479439"/>
              <a:gd name="connsiteX6559" fmla="*/ 2153803 w 9586368"/>
              <a:gd name="connsiteY6559" fmla="*/ 1918558 h 6479439"/>
              <a:gd name="connsiteX6560" fmla="*/ 2871737 w 9586368"/>
              <a:gd name="connsiteY6560" fmla="*/ 1675350 h 6479439"/>
              <a:gd name="connsiteX6561" fmla="*/ 2881646 w 9586368"/>
              <a:gd name="connsiteY6561" fmla="*/ 1675350 h 6479439"/>
              <a:gd name="connsiteX6562" fmla="*/ 2885666 w 9586368"/>
              <a:gd name="connsiteY6562" fmla="*/ 1679389 h 6479439"/>
              <a:gd name="connsiteX6563" fmla="*/ 2885666 w 9586368"/>
              <a:gd name="connsiteY6563" fmla="*/ 1689260 h 6479439"/>
              <a:gd name="connsiteX6564" fmla="*/ 2881646 w 9586368"/>
              <a:gd name="connsiteY6564" fmla="*/ 1693299 h 6479439"/>
              <a:gd name="connsiteX6565" fmla="*/ 2871737 w 9586368"/>
              <a:gd name="connsiteY6565" fmla="*/ 1693299 h 6479439"/>
              <a:gd name="connsiteX6566" fmla="*/ 2867717 w 9586368"/>
              <a:gd name="connsiteY6566" fmla="*/ 1689260 h 6479439"/>
              <a:gd name="connsiteX6567" fmla="*/ 2867717 w 9586368"/>
              <a:gd name="connsiteY6567" fmla="*/ 1679389 h 6479439"/>
              <a:gd name="connsiteX6568" fmla="*/ 2632423 w 9586368"/>
              <a:gd name="connsiteY6568" fmla="*/ 1675350 h 6479439"/>
              <a:gd name="connsiteX6569" fmla="*/ 2642334 w 9586368"/>
              <a:gd name="connsiteY6569" fmla="*/ 1675350 h 6479439"/>
              <a:gd name="connsiteX6570" fmla="*/ 2646352 w 9586368"/>
              <a:gd name="connsiteY6570" fmla="*/ 1679389 h 6479439"/>
              <a:gd name="connsiteX6571" fmla="*/ 2646352 w 9586368"/>
              <a:gd name="connsiteY6571" fmla="*/ 1689260 h 6479439"/>
              <a:gd name="connsiteX6572" fmla="*/ 2642334 w 9586368"/>
              <a:gd name="connsiteY6572" fmla="*/ 1693299 h 6479439"/>
              <a:gd name="connsiteX6573" fmla="*/ 2632423 w 9586368"/>
              <a:gd name="connsiteY6573" fmla="*/ 1693299 h 6479439"/>
              <a:gd name="connsiteX6574" fmla="*/ 2628404 w 9586368"/>
              <a:gd name="connsiteY6574" fmla="*/ 1689260 h 6479439"/>
              <a:gd name="connsiteX6575" fmla="*/ 2628404 w 9586368"/>
              <a:gd name="connsiteY6575" fmla="*/ 1679389 h 6479439"/>
              <a:gd name="connsiteX6576" fmla="*/ 2393104 w 9586368"/>
              <a:gd name="connsiteY6576" fmla="*/ 1675350 h 6479439"/>
              <a:gd name="connsiteX6577" fmla="*/ 2403015 w 9586368"/>
              <a:gd name="connsiteY6577" fmla="*/ 1675350 h 6479439"/>
              <a:gd name="connsiteX6578" fmla="*/ 2407034 w 9586368"/>
              <a:gd name="connsiteY6578" fmla="*/ 1679389 h 6479439"/>
              <a:gd name="connsiteX6579" fmla="*/ 2407034 w 9586368"/>
              <a:gd name="connsiteY6579" fmla="*/ 1689260 h 6479439"/>
              <a:gd name="connsiteX6580" fmla="*/ 2403015 w 9586368"/>
              <a:gd name="connsiteY6580" fmla="*/ 1693299 h 6479439"/>
              <a:gd name="connsiteX6581" fmla="*/ 2393104 w 9586368"/>
              <a:gd name="connsiteY6581" fmla="*/ 1693299 h 6479439"/>
              <a:gd name="connsiteX6582" fmla="*/ 2389087 w 9586368"/>
              <a:gd name="connsiteY6582" fmla="*/ 1689260 h 6479439"/>
              <a:gd name="connsiteX6583" fmla="*/ 2389087 w 9586368"/>
              <a:gd name="connsiteY6583" fmla="*/ 1679389 h 6479439"/>
              <a:gd name="connsiteX6584" fmla="*/ 3350359 w 9586368"/>
              <a:gd name="connsiteY6584" fmla="*/ 1675349 h 6479439"/>
              <a:gd name="connsiteX6585" fmla="*/ 3360268 w 9586368"/>
              <a:gd name="connsiteY6585" fmla="*/ 1675349 h 6479439"/>
              <a:gd name="connsiteX6586" fmla="*/ 3364287 w 9586368"/>
              <a:gd name="connsiteY6586" fmla="*/ 1679388 h 6479439"/>
              <a:gd name="connsiteX6587" fmla="*/ 3364287 w 9586368"/>
              <a:gd name="connsiteY6587" fmla="*/ 1689260 h 6479439"/>
              <a:gd name="connsiteX6588" fmla="*/ 3360268 w 9586368"/>
              <a:gd name="connsiteY6588" fmla="*/ 1693298 h 6479439"/>
              <a:gd name="connsiteX6589" fmla="*/ 3350359 w 9586368"/>
              <a:gd name="connsiteY6589" fmla="*/ 1693298 h 6479439"/>
              <a:gd name="connsiteX6590" fmla="*/ 3346340 w 9586368"/>
              <a:gd name="connsiteY6590" fmla="*/ 1689260 h 6479439"/>
              <a:gd name="connsiteX6591" fmla="*/ 3346340 w 9586368"/>
              <a:gd name="connsiteY6591" fmla="*/ 1679388 h 6479439"/>
              <a:gd name="connsiteX6592" fmla="*/ 3111048 w 9586368"/>
              <a:gd name="connsiteY6592" fmla="*/ 1675349 h 6479439"/>
              <a:gd name="connsiteX6593" fmla="*/ 3120959 w 9586368"/>
              <a:gd name="connsiteY6593" fmla="*/ 1675349 h 6479439"/>
              <a:gd name="connsiteX6594" fmla="*/ 3124977 w 9586368"/>
              <a:gd name="connsiteY6594" fmla="*/ 1679388 h 6479439"/>
              <a:gd name="connsiteX6595" fmla="*/ 3124977 w 9586368"/>
              <a:gd name="connsiteY6595" fmla="*/ 1689260 h 6479439"/>
              <a:gd name="connsiteX6596" fmla="*/ 3120959 w 9586368"/>
              <a:gd name="connsiteY6596" fmla="*/ 1693299 h 6479439"/>
              <a:gd name="connsiteX6597" fmla="*/ 3111048 w 9586368"/>
              <a:gd name="connsiteY6597" fmla="*/ 1693299 h 6479439"/>
              <a:gd name="connsiteX6598" fmla="*/ 3107029 w 9586368"/>
              <a:gd name="connsiteY6598" fmla="*/ 1689260 h 6479439"/>
              <a:gd name="connsiteX6599" fmla="*/ 3107029 w 9586368"/>
              <a:gd name="connsiteY6599" fmla="*/ 1679388 h 6479439"/>
              <a:gd name="connsiteX6600" fmla="*/ 4068297 w 9586368"/>
              <a:gd name="connsiteY6600" fmla="*/ 1675334 h 6479439"/>
              <a:gd name="connsiteX6601" fmla="*/ 4078210 w 9586368"/>
              <a:gd name="connsiteY6601" fmla="*/ 1675334 h 6479439"/>
              <a:gd name="connsiteX6602" fmla="*/ 4082229 w 9586368"/>
              <a:gd name="connsiteY6602" fmla="*/ 1679373 h 6479439"/>
              <a:gd name="connsiteX6603" fmla="*/ 4082229 w 9586368"/>
              <a:gd name="connsiteY6603" fmla="*/ 1689243 h 6479439"/>
              <a:gd name="connsiteX6604" fmla="*/ 4078210 w 9586368"/>
              <a:gd name="connsiteY6604" fmla="*/ 1693282 h 6479439"/>
              <a:gd name="connsiteX6605" fmla="*/ 4068297 w 9586368"/>
              <a:gd name="connsiteY6605" fmla="*/ 1693282 h 6479439"/>
              <a:gd name="connsiteX6606" fmla="*/ 4064278 w 9586368"/>
              <a:gd name="connsiteY6606" fmla="*/ 1689243 h 6479439"/>
              <a:gd name="connsiteX6607" fmla="*/ 4064278 w 9586368"/>
              <a:gd name="connsiteY6607" fmla="*/ 1679373 h 6479439"/>
              <a:gd name="connsiteX6608" fmla="*/ 3828990 w 9586368"/>
              <a:gd name="connsiteY6608" fmla="*/ 1675334 h 6479439"/>
              <a:gd name="connsiteX6609" fmla="*/ 3838899 w 9586368"/>
              <a:gd name="connsiteY6609" fmla="*/ 1675334 h 6479439"/>
              <a:gd name="connsiteX6610" fmla="*/ 3842917 w 9586368"/>
              <a:gd name="connsiteY6610" fmla="*/ 1679373 h 6479439"/>
              <a:gd name="connsiteX6611" fmla="*/ 3842917 w 9586368"/>
              <a:gd name="connsiteY6611" fmla="*/ 1689243 h 6479439"/>
              <a:gd name="connsiteX6612" fmla="*/ 3838899 w 9586368"/>
              <a:gd name="connsiteY6612" fmla="*/ 1693282 h 6479439"/>
              <a:gd name="connsiteX6613" fmla="*/ 3828990 w 9586368"/>
              <a:gd name="connsiteY6613" fmla="*/ 1693282 h 6479439"/>
              <a:gd name="connsiteX6614" fmla="*/ 3824971 w 9586368"/>
              <a:gd name="connsiteY6614" fmla="*/ 1689243 h 6479439"/>
              <a:gd name="connsiteX6615" fmla="*/ 3824971 w 9586368"/>
              <a:gd name="connsiteY6615" fmla="*/ 1679373 h 6479439"/>
              <a:gd name="connsiteX6616" fmla="*/ 3589676 w 9586368"/>
              <a:gd name="connsiteY6616" fmla="*/ 1675334 h 6479439"/>
              <a:gd name="connsiteX6617" fmla="*/ 3599585 w 9586368"/>
              <a:gd name="connsiteY6617" fmla="*/ 1675334 h 6479439"/>
              <a:gd name="connsiteX6618" fmla="*/ 3603604 w 9586368"/>
              <a:gd name="connsiteY6618" fmla="*/ 1679373 h 6479439"/>
              <a:gd name="connsiteX6619" fmla="*/ 3603604 w 9586368"/>
              <a:gd name="connsiteY6619" fmla="*/ 1689243 h 6479439"/>
              <a:gd name="connsiteX6620" fmla="*/ 3599585 w 9586368"/>
              <a:gd name="connsiteY6620" fmla="*/ 1693282 h 6479439"/>
              <a:gd name="connsiteX6621" fmla="*/ 3589676 w 9586368"/>
              <a:gd name="connsiteY6621" fmla="*/ 1693282 h 6479439"/>
              <a:gd name="connsiteX6622" fmla="*/ 3585657 w 9586368"/>
              <a:gd name="connsiteY6622" fmla="*/ 1689243 h 6479439"/>
              <a:gd name="connsiteX6623" fmla="*/ 3585657 w 9586368"/>
              <a:gd name="connsiteY6623" fmla="*/ 1679373 h 6479439"/>
              <a:gd name="connsiteX6624" fmla="*/ 4546929 w 9586368"/>
              <a:gd name="connsiteY6624" fmla="*/ 1675333 h 6479439"/>
              <a:gd name="connsiteX6625" fmla="*/ 4556840 w 9586368"/>
              <a:gd name="connsiteY6625" fmla="*/ 1675333 h 6479439"/>
              <a:gd name="connsiteX6626" fmla="*/ 4560859 w 9586368"/>
              <a:gd name="connsiteY6626" fmla="*/ 1679372 h 6479439"/>
              <a:gd name="connsiteX6627" fmla="*/ 4560859 w 9586368"/>
              <a:gd name="connsiteY6627" fmla="*/ 1689243 h 6479439"/>
              <a:gd name="connsiteX6628" fmla="*/ 4556840 w 9586368"/>
              <a:gd name="connsiteY6628" fmla="*/ 1693281 h 6479439"/>
              <a:gd name="connsiteX6629" fmla="*/ 4546929 w 9586368"/>
              <a:gd name="connsiteY6629" fmla="*/ 1693281 h 6479439"/>
              <a:gd name="connsiteX6630" fmla="*/ 4542910 w 9586368"/>
              <a:gd name="connsiteY6630" fmla="*/ 1689243 h 6479439"/>
              <a:gd name="connsiteX6631" fmla="*/ 4542910 w 9586368"/>
              <a:gd name="connsiteY6631" fmla="*/ 1679372 h 6479439"/>
              <a:gd name="connsiteX6632" fmla="*/ 4307612 w 9586368"/>
              <a:gd name="connsiteY6632" fmla="*/ 1675333 h 6479439"/>
              <a:gd name="connsiteX6633" fmla="*/ 4317523 w 9586368"/>
              <a:gd name="connsiteY6633" fmla="*/ 1675333 h 6479439"/>
              <a:gd name="connsiteX6634" fmla="*/ 4321543 w 9586368"/>
              <a:gd name="connsiteY6634" fmla="*/ 1679372 h 6479439"/>
              <a:gd name="connsiteX6635" fmla="*/ 4321543 w 9586368"/>
              <a:gd name="connsiteY6635" fmla="*/ 1689243 h 6479439"/>
              <a:gd name="connsiteX6636" fmla="*/ 4317523 w 9586368"/>
              <a:gd name="connsiteY6636" fmla="*/ 1693282 h 6479439"/>
              <a:gd name="connsiteX6637" fmla="*/ 4307612 w 9586368"/>
              <a:gd name="connsiteY6637" fmla="*/ 1693282 h 6479439"/>
              <a:gd name="connsiteX6638" fmla="*/ 4303595 w 9586368"/>
              <a:gd name="connsiteY6638" fmla="*/ 1689243 h 6479439"/>
              <a:gd name="connsiteX6639" fmla="*/ 4303595 w 9586368"/>
              <a:gd name="connsiteY6639" fmla="*/ 1679372 h 6479439"/>
              <a:gd name="connsiteX6640" fmla="*/ 5264784 w 9586368"/>
              <a:gd name="connsiteY6640" fmla="*/ 1675318 h 6479439"/>
              <a:gd name="connsiteX6641" fmla="*/ 5274694 w 9586368"/>
              <a:gd name="connsiteY6641" fmla="*/ 1675318 h 6479439"/>
              <a:gd name="connsiteX6642" fmla="*/ 5278713 w 9586368"/>
              <a:gd name="connsiteY6642" fmla="*/ 1679357 h 6479439"/>
              <a:gd name="connsiteX6643" fmla="*/ 5278713 w 9586368"/>
              <a:gd name="connsiteY6643" fmla="*/ 1689227 h 6479439"/>
              <a:gd name="connsiteX6644" fmla="*/ 5274694 w 9586368"/>
              <a:gd name="connsiteY6644" fmla="*/ 1693266 h 6479439"/>
              <a:gd name="connsiteX6645" fmla="*/ 5264784 w 9586368"/>
              <a:gd name="connsiteY6645" fmla="*/ 1693266 h 6479439"/>
              <a:gd name="connsiteX6646" fmla="*/ 5260765 w 9586368"/>
              <a:gd name="connsiteY6646" fmla="*/ 1689227 h 6479439"/>
              <a:gd name="connsiteX6647" fmla="*/ 5260765 w 9586368"/>
              <a:gd name="connsiteY6647" fmla="*/ 1679357 h 6479439"/>
              <a:gd name="connsiteX6648" fmla="*/ 5025470 w 9586368"/>
              <a:gd name="connsiteY6648" fmla="*/ 1675318 h 6479439"/>
              <a:gd name="connsiteX6649" fmla="*/ 5035381 w 9586368"/>
              <a:gd name="connsiteY6649" fmla="*/ 1675318 h 6479439"/>
              <a:gd name="connsiteX6650" fmla="*/ 5039400 w 9586368"/>
              <a:gd name="connsiteY6650" fmla="*/ 1679357 h 6479439"/>
              <a:gd name="connsiteX6651" fmla="*/ 5039400 w 9586368"/>
              <a:gd name="connsiteY6651" fmla="*/ 1689227 h 6479439"/>
              <a:gd name="connsiteX6652" fmla="*/ 5035381 w 9586368"/>
              <a:gd name="connsiteY6652" fmla="*/ 1693266 h 6479439"/>
              <a:gd name="connsiteX6653" fmla="*/ 5025470 w 9586368"/>
              <a:gd name="connsiteY6653" fmla="*/ 1693266 h 6479439"/>
              <a:gd name="connsiteX6654" fmla="*/ 5021451 w 9586368"/>
              <a:gd name="connsiteY6654" fmla="*/ 1689227 h 6479439"/>
              <a:gd name="connsiteX6655" fmla="*/ 5021451 w 9586368"/>
              <a:gd name="connsiteY6655" fmla="*/ 1679357 h 6479439"/>
              <a:gd name="connsiteX6656" fmla="*/ 4786241 w 9586368"/>
              <a:gd name="connsiteY6656" fmla="*/ 1675318 h 6479439"/>
              <a:gd name="connsiteX6657" fmla="*/ 4796152 w 9586368"/>
              <a:gd name="connsiteY6657" fmla="*/ 1675318 h 6479439"/>
              <a:gd name="connsiteX6658" fmla="*/ 4800171 w 9586368"/>
              <a:gd name="connsiteY6658" fmla="*/ 1679357 h 6479439"/>
              <a:gd name="connsiteX6659" fmla="*/ 4800171 w 9586368"/>
              <a:gd name="connsiteY6659" fmla="*/ 1689227 h 6479439"/>
              <a:gd name="connsiteX6660" fmla="*/ 4796152 w 9586368"/>
              <a:gd name="connsiteY6660" fmla="*/ 1693266 h 6479439"/>
              <a:gd name="connsiteX6661" fmla="*/ 4786241 w 9586368"/>
              <a:gd name="connsiteY6661" fmla="*/ 1693266 h 6479439"/>
              <a:gd name="connsiteX6662" fmla="*/ 4782224 w 9586368"/>
              <a:gd name="connsiteY6662" fmla="*/ 1689227 h 6479439"/>
              <a:gd name="connsiteX6663" fmla="*/ 4782224 w 9586368"/>
              <a:gd name="connsiteY6663" fmla="*/ 1679357 h 6479439"/>
              <a:gd name="connsiteX6664" fmla="*/ 5743412 w 9586368"/>
              <a:gd name="connsiteY6664" fmla="*/ 1675316 h 6479439"/>
              <a:gd name="connsiteX6665" fmla="*/ 5753323 w 9586368"/>
              <a:gd name="connsiteY6665" fmla="*/ 1675316 h 6479439"/>
              <a:gd name="connsiteX6666" fmla="*/ 5757342 w 9586368"/>
              <a:gd name="connsiteY6666" fmla="*/ 1679356 h 6479439"/>
              <a:gd name="connsiteX6667" fmla="*/ 5757342 w 9586368"/>
              <a:gd name="connsiteY6667" fmla="*/ 1689227 h 6479439"/>
              <a:gd name="connsiteX6668" fmla="*/ 5753323 w 9586368"/>
              <a:gd name="connsiteY6668" fmla="*/ 1693266 h 6479439"/>
              <a:gd name="connsiteX6669" fmla="*/ 5743412 w 9586368"/>
              <a:gd name="connsiteY6669" fmla="*/ 1693266 h 6479439"/>
              <a:gd name="connsiteX6670" fmla="*/ 5739393 w 9586368"/>
              <a:gd name="connsiteY6670" fmla="*/ 1689227 h 6479439"/>
              <a:gd name="connsiteX6671" fmla="*/ 5739393 w 9586368"/>
              <a:gd name="connsiteY6671" fmla="*/ 1679356 h 6479439"/>
              <a:gd name="connsiteX6672" fmla="*/ 5504099 w 9586368"/>
              <a:gd name="connsiteY6672" fmla="*/ 1675316 h 6479439"/>
              <a:gd name="connsiteX6673" fmla="*/ 5514010 w 9586368"/>
              <a:gd name="connsiteY6673" fmla="*/ 1675316 h 6479439"/>
              <a:gd name="connsiteX6674" fmla="*/ 5518029 w 9586368"/>
              <a:gd name="connsiteY6674" fmla="*/ 1679356 h 6479439"/>
              <a:gd name="connsiteX6675" fmla="*/ 5518029 w 9586368"/>
              <a:gd name="connsiteY6675" fmla="*/ 1689227 h 6479439"/>
              <a:gd name="connsiteX6676" fmla="*/ 5514010 w 9586368"/>
              <a:gd name="connsiteY6676" fmla="*/ 1693266 h 6479439"/>
              <a:gd name="connsiteX6677" fmla="*/ 5504099 w 9586368"/>
              <a:gd name="connsiteY6677" fmla="*/ 1693266 h 6479439"/>
              <a:gd name="connsiteX6678" fmla="*/ 5500080 w 9586368"/>
              <a:gd name="connsiteY6678" fmla="*/ 1689227 h 6479439"/>
              <a:gd name="connsiteX6679" fmla="*/ 5500080 w 9586368"/>
              <a:gd name="connsiteY6679" fmla="*/ 1679356 h 6479439"/>
              <a:gd name="connsiteX6680" fmla="*/ 6461356 w 9586368"/>
              <a:gd name="connsiteY6680" fmla="*/ 1675301 h 6479439"/>
              <a:gd name="connsiteX6681" fmla="*/ 6471266 w 9586368"/>
              <a:gd name="connsiteY6681" fmla="*/ 1675301 h 6479439"/>
              <a:gd name="connsiteX6682" fmla="*/ 6475285 w 9586368"/>
              <a:gd name="connsiteY6682" fmla="*/ 1679339 h 6479439"/>
              <a:gd name="connsiteX6683" fmla="*/ 6475285 w 9586368"/>
              <a:gd name="connsiteY6683" fmla="*/ 1689210 h 6479439"/>
              <a:gd name="connsiteX6684" fmla="*/ 6471266 w 9586368"/>
              <a:gd name="connsiteY6684" fmla="*/ 1693249 h 6479439"/>
              <a:gd name="connsiteX6685" fmla="*/ 6461356 w 9586368"/>
              <a:gd name="connsiteY6685" fmla="*/ 1693249 h 6479439"/>
              <a:gd name="connsiteX6686" fmla="*/ 6457337 w 9586368"/>
              <a:gd name="connsiteY6686" fmla="*/ 1689210 h 6479439"/>
              <a:gd name="connsiteX6687" fmla="*/ 6457337 w 9586368"/>
              <a:gd name="connsiteY6687" fmla="*/ 1679339 h 6479439"/>
              <a:gd name="connsiteX6688" fmla="*/ 6222042 w 9586368"/>
              <a:gd name="connsiteY6688" fmla="*/ 1675301 h 6479439"/>
              <a:gd name="connsiteX6689" fmla="*/ 6231952 w 9586368"/>
              <a:gd name="connsiteY6689" fmla="*/ 1675301 h 6479439"/>
              <a:gd name="connsiteX6690" fmla="*/ 6235971 w 9586368"/>
              <a:gd name="connsiteY6690" fmla="*/ 1679339 h 6479439"/>
              <a:gd name="connsiteX6691" fmla="*/ 6235971 w 9586368"/>
              <a:gd name="connsiteY6691" fmla="*/ 1689211 h 6479439"/>
              <a:gd name="connsiteX6692" fmla="*/ 6231952 w 9586368"/>
              <a:gd name="connsiteY6692" fmla="*/ 1693249 h 6479439"/>
              <a:gd name="connsiteX6693" fmla="*/ 6222042 w 9586368"/>
              <a:gd name="connsiteY6693" fmla="*/ 1693249 h 6479439"/>
              <a:gd name="connsiteX6694" fmla="*/ 6218023 w 9586368"/>
              <a:gd name="connsiteY6694" fmla="*/ 1689211 h 6479439"/>
              <a:gd name="connsiteX6695" fmla="*/ 6218023 w 9586368"/>
              <a:gd name="connsiteY6695" fmla="*/ 1679339 h 6479439"/>
              <a:gd name="connsiteX6696" fmla="*/ 5982729 w 9586368"/>
              <a:gd name="connsiteY6696" fmla="*/ 1675301 h 6479439"/>
              <a:gd name="connsiteX6697" fmla="*/ 5992639 w 9586368"/>
              <a:gd name="connsiteY6697" fmla="*/ 1675301 h 6479439"/>
              <a:gd name="connsiteX6698" fmla="*/ 5996658 w 9586368"/>
              <a:gd name="connsiteY6698" fmla="*/ 1679339 h 6479439"/>
              <a:gd name="connsiteX6699" fmla="*/ 5996658 w 9586368"/>
              <a:gd name="connsiteY6699" fmla="*/ 1689211 h 6479439"/>
              <a:gd name="connsiteX6700" fmla="*/ 5992639 w 9586368"/>
              <a:gd name="connsiteY6700" fmla="*/ 1693251 h 6479439"/>
              <a:gd name="connsiteX6701" fmla="*/ 5982729 w 9586368"/>
              <a:gd name="connsiteY6701" fmla="*/ 1693251 h 6479439"/>
              <a:gd name="connsiteX6702" fmla="*/ 5978710 w 9586368"/>
              <a:gd name="connsiteY6702" fmla="*/ 1689211 h 6479439"/>
              <a:gd name="connsiteX6703" fmla="*/ 5978710 w 9586368"/>
              <a:gd name="connsiteY6703" fmla="*/ 1679339 h 6479439"/>
              <a:gd name="connsiteX6704" fmla="*/ 6939983 w 9586368"/>
              <a:gd name="connsiteY6704" fmla="*/ 1675300 h 6479439"/>
              <a:gd name="connsiteX6705" fmla="*/ 6949894 w 9586368"/>
              <a:gd name="connsiteY6705" fmla="*/ 1675300 h 6479439"/>
              <a:gd name="connsiteX6706" fmla="*/ 6953913 w 9586368"/>
              <a:gd name="connsiteY6706" fmla="*/ 1679339 h 6479439"/>
              <a:gd name="connsiteX6707" fmla="*/ 6953913 w 9586368"/>
              <a:gd name="connsiteY6707" fmla="*/ 1689210 h 6479439"/>
              <a:gd name="connsiteX6708" fmla="*/ 6949894 w 9586368"/>
              <a:gd name="connsiteY6708" fmla="*/ 1693249 h 6479439"/>
              <a:gd name="connsiteX6709" fmla="*/ 6939983 w 9586368"/>
              <a:gd name="connsiteY6709" fmla="*/ 1693249 h 6479439"/>
              <a:gd name="connsiteX6710" fmla="*/ 6935964 w 9586368"/>
              <a:gd name="connsiteY6710" fmla="*/ 1689210 h 6479439"/>
              <a:gd name="connsiteX6711" fmla="*/ 6935964 w 9586368"/>
              <a:gd name="connsiteY6711" fmla="*/ 1679339 h 6479439"/>
              <a:gd name="connsiteX6712" fmla="*/ 6700670 w 9586368"/>
              <a:gd name="connsiteY6712" fmla="*/ 1675300 h 6479439"/>
              <a:gd name="connsiteX6713" fmla="*/ 6710581 w 9586368"/>
              <a:gd name="connsiteY6713" fmla="*/ 1675300 h 6479439"/>
              <a:gd name="connsiteX6714" fmla="*/ 6714600 w 9586368"/>
              <a:gd name="connsiteY6714" fmla="*/ 1679339 h 6479439"/>
              <a:gd name="connsiteX6715" fmla="*/ 6714600 w 9586368"/>
              <a:gd name="connsiteY6715" fmla="*/ 1689210 h 6479439"/>
              <a:gd name="connsiteX6716" fmla="*/ 6710581 w 9586368"/>
              <a:gd name="connsiteY6716" fmla="*/ 1693249 h 6479439"/>
              <a:gd name="connsiteX6717" fmla="*/ 6700670 w 9586368"/>
              <a:gd name="connsiteY6717" fmla="*/ 1693249 h 6479439"/>
              <a:gd name="connsiteX6718" fmla="*/ 6696651 w 9586368"/>
              <a:gd name="connsiteY6718" fmla="*/ 1689210 h 6479439"/>
              <a:gd name="connsiteX6719" fmla="*/ 6696651 w 9586368"/>
              <a:gd name="connsiteY6719" fmla="*/ 1679339 h 6479439"/>
              <a:gd name="connsiteX6720" fmla="*/ 8136553 w 9586368"/>
              <a:gd name="connsiteY6720" fmla="*/ 1675285 h 6479439"/>
              <a:gd name="connsiteX6721" fmla="*/ 8146464 w 9586368"/>
              <a:gd name="connsiteY6721" fmla="*/ 1675285 h 6479439"/>
              <a:gd name="connsiteX6722" fmla="*/ 8150483 w 9586368"/>
              <a:gd name="connsiteY6722" fmla="*/ 1679323 h 6479439"/>
              <a:gd name="connsiteX6723" fmla="*/ 8150483 w 9586368"/>
              <a:gd name="connsiteY6723" fmla="*/ 1689193 h 6479439"/>
              <a:gd name="connsiteX6724" fmla="*/ 8146464 w 9586368"/>
              <a:gd name="connsiteY6724" fmla="*/ 1693232 h 6479439"/>
              <a:gd name="connsiteX6725" fmla="*/ 8136553 w 9586368"/>
              <a:gd name="connsiteY6725" fmla="*/ 1693232 h 6479439"/>
              <a:gd name="connsiteX6726" fmla="*/ 8132534 w 9586368"/>
              <a:gd name="connsiteY6726" fmla="*/ 1689193 h 6479439"/>
              <a:gd name="connsiteX6727" fmla="*/ 8132534 w 9586368"/>
              <a:gd name="connsiteY6727" fmla="*/ 1679323 h 6479439"/>
              <a:gd name="connsiteX6728" fmla="*/ 7897241 w 9586368"/>
              <a:gd name="connsiteY6728" fmla="*/ 1675285 h 6479439"/>
              <a:gd name="connsiteX6729" fmla="*/ 7907151 w 9586368"/>
              <a:gd name="connsiteY6729" fmla="*/ 1675285 h 6479439"/>
              <a:gd name="connsiteX6730" fmla="*/ 7911170 w 9586368"/>
              <a:gd name="connsiteY6730" fmla="*/ 1679323 h 6479439"/>
              <a:gd name="connsiteX6731" fmla="*/ 7911170 w 9586368"/>
              <a:gd name="connsiteY6731" fmla="*/ 1689193 h 6479439"/>
              <a:gd name="connsiteX6732" fmla="*/ 7907151 w 9586368"/>
              <a:gd name="connsiteY6732" fmla="*/ 1693232 h 6479439"/>
              <a:gd name="connsiteX6733" fmla="*/ 7897241 w 9586368"/>
              <a:gd name="connsiteY6733" fmla="*/ 1693232 h 6479439"/>
              <a:gd name="connsiteX6734" fmla="*/ 7893222 w 9586368"/>
              <a:gd name="connsiteY6734" fmla="*/ 1689193 h 6479439"/>
              <a:gd name="connsiteX6735" fmla="*/ 7893222 w 9586368"/>
              <a:gd name="connsiteY6735" fmla="*/ 1679323 h 6479439"/>
              <a:gd name="connsiteX6736" fmla="*/ 7657926 w 9586368"/>
              <a:gd name="connsiteY6736" fmla="*/ 1675285 h 6479439"/>
              <a:gd name="connsiteX6737" fmla="*/ 7667836 w 9586368"/>
              <a:gd name="connsiteY6737" fmla="*/ 1675285 h 6479439"/>
              <a:gd name="connsiteX6738" fmla="*/ 7671855 w 9586368"/>
              <a:gd name="connsiteY6738" fmla="*/ 1679323 h 6479439"/>
              <a:gd name="connsiteX6739" fmla="*/ 7671855 w 9586368"/>
              <a:gd name="connsiteY6739" fmla="*/ 1689193 h 6479439"/>
              <a:gd name="connsiteX6740" fmla="*/ 7667836 w 9586368"/>
              <a:gd name="connsiteY6740" fmla="*/ 1693232 h 6479439"/>
              <a:gd name="connsiteX6741" fmla="*/ 7657926 w 9586368"/>
              <a:gd name="connsiteY6741" fmla="*/ 1693232 h 6479439"/>
              <a:gd name="connsiteX6742" fmla="*/ 7653906 w 9586368"/>
              <a:gd name="connsiteY6742" fmla="*/ 1689193 h 6479439"/>
              <a:gd name="connsiteX6743" fmla="*/ 7653906 w 9586368"/>
              <a:gd name="connsiteY6743" fmla="*/ 1679323 h 6479439"/>
              <a:gd name="connsiteX6744" fmla="*/ 7418611 w 9586368"/>
              <a:gd name="connsiteY6744" fmla="*/ 1675285 h 6479439"/>
              <a:gd name="connsiteX6745" fmla="*/ 7428521 w 9586368"/>
              <a:gd name="connsiteY6745" fmla="*/ 1675285 h 6479439"/>
              <a:gd name="connsiteX6746" fmla="*/ 7432540 w 9586368"/>
              <a:gd name="connsiteY6746" fmla="*/ 1679323 h 6479439"/>
              <a:gd name="connsiteX6747" fmla="*/ 7432540 w 9586368"/>
              <a:gd name="connsiteY6747" fmla="*/ 1689195 h 6479439"/>
              <a:gd name="connsiteX6748" fmla="*/ 7428521 w 9586368"/>
              <a:gd name="connsiteY6748" fmla="*/ 1693232 h 6479439"/>
              <a:gd name="connsiteX6749" fmla="*/ 7418611 w 9586368"/>
              <a:gd name="connsiteY6749" fmla="*/ 1693232 h 6479439"/>
              <a:gd name="connsiteX6750" fmla="*/ 7414592 w 9586368"/>
              <a:gd name="connsiteY6750" fmla="*/ 1689195 h 6479439"/>
              <a:gd name="connsiteX6751" fmla="*/ 7414592 w 9586368"/>
              <a:gd name="connsiteY6751" fmla="*/ 1679323 h 6479439"/>
              <a:gd name="connsiteX6752" fmla="*/ 7179298 w 9586368"/>
              <a:gd name="connsiteY6752" fmla="*/ 1675285 h 6479439"/>
              <a:gd name="connsiteX6753" fmla="*/ 7189209 w 9586368"/>
              <a:gd name="connsiteY6753" fmla="*/ 1675285 h 6479439"/>
              <a:gd name="connsiteX6754" fmla="*/ 7193228 w 9586368"/>
              <a:gd name="connsiteY6754" fmla="*/ 1679323 h 6479439"/>
              <a:gd name="connsiteX6755" fmla="*/ 7193228 w 9586368"/>
              <a:gd name="connsiteY6755" fmla="*/ 1689195 h 6479439"/>
              <a:gd name="connsiteX6756" fmla="*/ 7189209 w 9586368"/>
              <a:gd name="connsiteY6756" fmla="*/ 1693234 h 6479439"/>
              <a:gd name="connsiteX6757" fmla="*/ 7179298 w 9586368"/>
              <a:gd name="connsiteY6757" fmla="*/ 1693234 h 6479439"/>
              <a:gd name="connsiteX6758" fmla="*/ 7175279 w 9586368"/>
              <a:gd name="connsiteY6758" fmla="*/ 1689195 h 6479439"/>
              <a:gd name="connsiteX6759" fmla="*/ 7175279 w 9586368"/>
              <a:gd name="connsiteY6759" fmla="*/ 1679323 h 6479439"/>
              <a:gd name="connsiteX6760" fmla="*/ 9333125 w 9586368"/>
              <a:gd name="connsiteY6760" fmla="*/ 1675268 h 6479439"/>
              <a:gd name="connsiteX6761" fmla="*/ 9343036 w 9586368"/>
              <a:gd name="connsiteY6761" fmla="*/ 1675268 h 6479439"/>
              <a:gd name="connsiteX6762" fmla="*/ 9347055 w 9586368"/>
              <a:gd name="connsiteY6762" fmla="*/ 1679306 h 6479439"/>
              <a:gd name="connsiteX6763" fmla="*/ 9347055 w 9586368"/>
              <a:gd name="connsiteY6763" fmla="*/ 1689177 h 6479439"/>
              <a:gd name="connsiteX6764" fmla="*/ 9343036 w 9586368"/>
              <a:gd name="connsiteY6764" fmla="*/ 1693216 h 6479439"/>
              <a:gd name="connsiteX6765" fmla="*/ 9333125 w 9586368"/>
              <a:gd name="connsiteY6765" fmla="*/ 1693216 h 6479439"/>
              <a:gd name="connsiteX6766" fmla="*/ 9329106 w 9586368"/>
              <a:gd name="connsiteY6766" fmla="*/ 1689177 h 6479439"/>
              <a:gd name="connsiteX6767" fmla="*/ 9329106 w 9586368"/>
              <a:gd name="connsiteY6767" fmla="*/ 1679306 h 6479439"/>
              <a:gd name="connsiteX6768" fmla="*/ 9093811 w 9586368"/>
              <a:gd name="connsiteY6768" fmla="*/ 1675268 h 6479439"/>
              <a:gd name="connsiteX6769" fmla="*/ 9103722 w 9586368"/>
              <a:gd name="connsiteY6769" fmla="*/ 1675268 h 6479439"/>
              <a:gd name="connsiteX6770" fmla="*/ 9107741 w 9586368"/>
              <a:gd name="connsiteY6770" fmla="*/ 1679306 h 6479439"/>
              <a:gd name="connsiteX6771" fmla="*/ 9107741 w 9586368"/>
              <a:gd name="connsiteY6771" fmla="*/ 1689177 h 6479439"/>
              <a:gd name="connsiteX6772" fmla="*/ 9103722 w 9586368"/>
              <a:gd name="connsiteY6772" fmla="*/ 1693217 h 6479439"/>
              <a:gd name="connsiteX6773" fmla="*/ 9093811 w 9586368"/>
              <a:gd name="connsiteY6773" fmla="*/ 1693217 h 6479439"/>
              <a:gd name="connsiteX6774" fmla="*/ 9089792 w 9586368"/>
              <a:gd name="connsiteY6774" fmla="*/ 1689177 h 6479439"/>
              <a:gd name="connsiteX6775" fmla="*/ 9089792 w 9586368"/>
              <a:gd name="connsiteY6775" fmla="*/ 1679306 h 6479439"/>
              <a:gd name="connsiteX6776" fmla="*/ 8854496 w 9586368"/>
              <a:gd name="connsiteY6776" fmla="*/ 1675268 h 6479439"/>
              <a:gd name="connsiteX6777" fmla="*/ 8864407 w 9586368"/>
              <a:gd name="connsiteY6777" fmla="*/ 1675268 h 6479439"/>
              <a:gd name="connsiteX6778" fmla="*/ 8868426 w 9586368"/>
              <a:gd name="connsiteY6778" fmla="*/ 1679307 h 6479439"/>
              <a:gd name="connsiteX6779" fmla="*/ 8868426 w 9586368"/>
              <a:gd name="connsiteY6779" fmla="*/ 1689177 h 6479439"/>
              <a:gd name="connsiteX6780" fmla="*/ 8864407 w 9586368"/>
              <a:gd name="connsiteY6780" fmla="*/ 1693217 h 6479439"/>
              <a:gd name="connsiteX6781" fmla="*/ 8854496 w 9586368"/>
              <a:gd name="connsiteY6781" fmla="*/ 1693217 h 6479439"/>
              <a:gd name="connsiteX6782" fmla="*/ 8850477 w 9586368"/>
              <a:gd name="connsiteY6782" fmla="*/ 1689177 h 6479439"/>
              <a:gd name="connsiteX6783" fmla="*/ 8850477 w 9586368"/>
              <a:gd name="connsiteY6783" fmla="*/ 1679307 h 6479439"/>
              <a:gd name="connsiteX6784" fmla="*/ 8615184 w 9586368"/>
              <a:gd name="connsiteY6784" fmla="*/ 1675268 h 6479439"/>
              <a:gd name="connsiteX6785" fmla="*/ 8625095 w 9586368"/>
              <a:gd name="connsiteY6785" fmla="*/ 1675268 h 6479439"/>
              <a:gd name="connsiteX6786" fmla="*/ 8629114 w 9586368"/>
              <a:gd name="connsiteY6786" fmla="*/ 1679307 h 6479439"/>
              <a:gd name="connsiteX6787" fmla="*/ 8629114 w 9586368"/>
              <a:gd name="connsiteY6787" fmla="*/ 1689178 h 6479439"/>
              <a:gd name="connsiteX6788" fmla="*/ 8625095 w 9586368"/>
              <a:gd name="connsiteY6788" fmla="*/ 1693217 h 6479439"/>
              <a:gd name="connsiteX6789" fmla="*/ 8615184 w 9586368"/>
              <a:gd name="connsiteY6789" fmla="*/ 1693217 h 6479439"/>
              <a:gd name="connsiteX6790" fmla="*/ 8611165 w 9586368"/>
              <a:gd name="connsiteY6790" fmla="*/ 1689178 h 6479439"/>
              <a:gd name="connsiteX6791" fmla="*/ 8611165 w 9586368"/>
              <a:gd name="connsiteY6791" fmla="*/ 1679307 h 6479439"/>
              <a:gd name="connsiteX6792" fmla="*/ 8375869 w 9586368"/>
              <a:gd name="connsiteY6792" fmla="*/ 1675268 h 6479439"/>
              <a:gd name="connsiteX6793" fmla="*/ 8385779 w 9586368"/>
              <a:gd name="connsiteY6793" fmla="*/ 1675268 h 6479439"/>
              <a:gd name="connsiteX6794" fmla="*/ 8389799 w 9586368"/>
              <a:gd name="connsiteY6794" fmla="*/ 1679307 h 6479439"/>
              <a:gd name="connsiteX6795" fmla="*/ 8389799 w 9586368"/>
              <a:gd name="connsiteY6795" fmla="*/ 1689178 h 6479439"/>
              <a:gd name="connsiteX6796" fmla="*/ 8385779 w 9586368"/>
              <a:gd name="connsiteY6796" fmla="*/ 1693217 h 6479439"/>
              <a:gd name="connsiteX6797" fmla="*/ 8375869 w 9586368"/>
              <a:gd name="connsiteY6797" fmla="*/ 1693217 h 6479439"/>
              <a:gd name="connsiteX6798" fmla="*/ 8371850 w 9586368"/>
              <a:gd name="connsiteY6798" fmla="*/ 1689178 h 6479439"/>
              <a:gd name="connsiteX6799" fmla="*/ 8371850 w 9586368"/>
              <a:gd name="connsiteY6799" fmla="*/ 1679307 h 6479439"/>
              <a:gd name="connsiteX6800" fmla="*/ 961270 w 9586368"/>
              <a:gd name="connsiteY6800" fmla="*/ 1675255 h 6479439"/>
              <a:gd name="connsiteX6801" fmla="*/ 971180 w 9586368"/>
              <a:gd name="connsiteY6801" fmla="*/ 1675255 h 6479439"/>
              <a:gd name="connsiteX6802" fmla="*/ 975199 w 9586368"/>
              <a:gd name="connsiteY6802" fmla="*/ 1679292 h 6479439"/>
              <a:gd name="connsiteX6803" fmla="*/ 975199 w 9586368"/>
              <a:gd name="connsiteY6803" fmla="*/ 1689163 h 6479439"/>
              <a:gd name="connsiteX6804" fmla="*/ 971180 w 9586368"/>
              <a:gd name="connsiteY6804" fmla="*/ 1693202 h 6479439"/>
              <a:gd name="connsiteX6805" fmla="*/ 961270 w 9586368"/>
              <a:gd name="connsiteY6805" fmla="*/ 1693202 h 6479439"/>
              <a:gd name="connsiteX6806" fmla="*/ 957251 w 9586368"/>
              <a:gd name="connsiteY6806" fmla="*/ 1689163 h 6479439"/>
              <a:gd name="connsiteX6807" fmla="*/ 957251 w 9586368"/>
              <a:gd name="connsiteY6807" fmla="*/ 1679292 h 6479439"/>
              <a:gd name="connsiteX6808" fmla="*/ 1679215 w 9586368"/>
              <a:gd name="connsiteY6808" fmla="*/ 1675254 h 6479439"/>
              <a:gd name="connsiteX6809" fmla="*/ 1689126 w 9586368"/>
              <a:gd name="connsiteY6809" fmla="*/ 1675254 h 6479439"/>
              <a:gd name="connsiteX6810" fmla="*/ 1693145 w 9586368"/>
              <a:gd name="connsiteY6810" fmla="*/ 1679292 h 6479439"/>
              <a:gd name="connsiteX6811" fmla="*/ 1693145 w 9586368"/>
              <a:gd name="connsiteY6811" fmla="*/ 1689163 h 6479439"/>
              <a:gd name="connsiteX6812" fmla="*/ 1689126 w 9586368"/>
              <a:gd name="connsiteY6812" fmla="*/ 1693202 h 6479439"/>
              <a:gd name="connsiteX6813" fmla="*/ 1679215 w 9586368"/>
              <a:gd name="connsiteY6813" fmla="*/ 1693202 h 6479439"/>
              <a:gd name="connsiteX6814" fmla="*/ 1675196 w 9586368"/>
              <a:gd name="connsiteY6814" fmla="*/ 1689163 h 6479439"/>
              <a:gd name="connsiteX6815" fmla="*/ 1675196 w 9586368"/>
              <a:gd name="connsiteY6815" fmla="*/ 1679292 h 6479439"/>
              <a:gd name="connsiteX6816" fmla="*/ 1439898 w 9586368"/>
              <a:gd name="connsiteY6816" fmla="*/ 1675254 h 6479439"/>
              <a:gd name="connsiteX6817" fmla="*/ 1449808 w 9586368"/>
              <a:gd name="connsiteY6817" fmla="*/ 1675254 h 6479439"/>
              <a:gd name="connsiteX6818" fmla="*/ 1453828 w 9586368"/>
              <a:gd name="connsiteY6818" fmla="*/ 1679292 h 6479439"/>
              <a:gd name="connsiteX6819" fmla="*/ 1453828 w 9586368"/>
              <a:gd name="connsiteY6819" fmla="*/ 1689163 h 6479439"/>
              <a:gd name="connsiteX6820" fmla="*/ 1449808 w 9586368"/>
              <a:gd name="connsiteY6820" fmla="*/ 1693202 h 6479439"/>
              <a:gd name="connsiteX6821" fmla="*/ 1439898 w 9586368"/>
              <a:gd name="connsiteY6821" fmla="*/ 1693202 h 6479439"/>
              <a:gd name="connsiteX6822" fmla="*/ 1435880 w 9586368"/>
              <a:gd name="connsiteY6822" fmla="*/ 1689163 h 6479439"/>
              <a:gd name="connsiteX6823" fmla="*/ 1435880 w 9586368"/>
              <a:gd name="connsiteY6823" fmla="*/ 1679292 h 6479439"/>
              <a:gd name="connsiteX6824" fmla="*/ 1200583 w 9586368"/>
              <a:gd name="connsiteY6824" fmla="*/ 1675254 h 6479439"/>
              <a:gd name="connsiteX6825" fmla="*/ 1210493 w 9586368"/>
              <a:gd name="connsiteY6825" fmla="*/ 1675254 h 6479439"/>
              <a:gd name="connsiteX6826" fmla="*/ 1214511 w 9586368"/>
              <a:gd name="connsiteY6826" fmla="*/ 1679292 h 6479439"/>
              <a:gd name="connsiteX6827" fmla="*/ 1214511 w 9586368"/>
              <a:gd name="connsiteY6827" fmla="*/ 1689163 h 6479439"/>
              <a:gd name="connsiteX6828" fmla="*/ 1210493 w 9586368"/>
              <a:gd name="connsiteY6828" fmla="*/ 1693202 h 6479439"/>
              <a:gd name="connsiteX6829" fmla="*/ 1200583 w 9586368"/>
              <a:gd name="connsiteY6829" fmla="*/ 1693202 h 6479439"/>
              <a:gd name="connsiteX6830" fmla="*/ 1196564 w 9586368"/>
              <a:gd name="connsiteY6830" fmla="*/ 1689163 h 6479439"/>
              <a:gd name="connsiteX6831" fmla="*/ 1196564 w 9586368"/>
              <a:gd name="connsiteY6831" fmla="*/ 1679292 h 6479439"/>
              <a:gd name="connsiteX6832" fmla="*/ 9572438 w 9586368"/>
              <a:gd name="connsiteY6832" fmla="*/ 1675251 h 6479439"/>
              <a:gd name="connsiteX6833" fmla="*/ 9582349 w 9586368"/>
              <a:gd name="connsiteY6833" fmla="*/ 1675251 h 6479439"/>
              <a:gd name="connsiteX6834" fmla="*/ 9586368 w 9586368"/>
              <a:gd name="connsiteY6834" fmla="*/ 1679290 h 6479439"/>
              <a:gd name="connsiteX6835" fmla="*/ 9586368 w 9586368"/>
              <a:gd name="connsiteY6835" fmla="*/ 1689161 h 6479439"/>
              <a:gd name="connsiteX6836" fmla="*/ 9582349 w 9586368"/>
              <a:gd name="connsiteY6836" fmla="*/ 1693201 h 6479439"/>
              <a:gd name="connsiteX6837" fmla="*/ 9572438 w 9586368"/>
              <a:gd name="connsiteY6837" fmla="*/ 1693201 h 6479439"/>
              <a:gd name="connsiteX6838" fmla="*/ 9568419 w 9586368"/>
              <a:gd name="connsiteY6838" fmla="*/ 1689161 h 6479439"/>
              <a:gd name="connsiteX6839" fmla="*/ 9568419 w 9586368"/>
              <a:gd name="connsiteY6839" fmla="*/ 1679290 h 6479439"/>
              <a:gd name="connsiteX6840" fmla="*/ 1918514 w 9586368"/>
              <a:gd name="connsiteY6840" fmla="*/ 1675243 h 6479439"/>
              <a:gd name="connsiteX6841" fmla="*/ 1928424 w 9586368"/>
              <a:gd name="connsiteY6841" fmla="*/ 1675243 h 6479439"/>
              <a:gd name="connsiteX6842" fmla="*/ 1932443 w 9586368"/>
              <a:gd name="connsiteY6842" fmla="*/ 1679282 h 6479439"/>
              <a:gd name="connsiteX6843" fmla="*/ 1932443 w 9586368"/>
              <a:gd name="connsiteY6843" fmla="*/ 1689153 h 6479439"/>
              <a:gd name="connsiteX6844" fmla="*/ 1928424 w 9586368"/>
              <a:gd name="connsiteY6844" fmla="*/ 1693191 h 6479439"/>
              <a:gd name="connsiteX6845" fmla="*/ 1918514 w 9586368"/>
              <a:gd name="connsiteY6845" fmla="*/ 1693191 h 6479439"/>
              <a:gd name="connsiteX6846" fmla="*/ 1914494 w 9586368"/>
              <a:gd name="connsiteY6846" fmla="*/ 1689153 h 6479439"/>
              <a:gd name="connsiteX6847" fmla="*/ 1914494 w 9586368"/>
              <a:gd name="connsiteY6847" fmla="*/ 1679282 h 6479439"/>
              <a:gd name="connsiteX6848" fmla="*/ 2157821 w 9586368"/>
              <a:gd name="connsiteY6848" fmla="*/ 1675240 h 6479439"/>
              <a:gd name="connsiteX6849" fmla="*/ 2167732 w 9586368"/>
              <a:gd name="connsiteY6849" fmla="*/ 1675240 h 6479439"/>
              <a:gd name="connsiteX6850" fmla="*/ 2171751 w 9586368"/>
              <a:gd name="connsiteY6850" fmla="*/ 1679279 h 6479439"/>
              <a:gd name="connsiteX6851" fmla="*/ 2171751 w 9586368"/>
              <a:gd name="connsiteY6851" fmla="*/ 1689149 h 6479439"/>
              <a:gd name="connsiteX6852" fmla="*/ 2167732 w 9586368"/>
              <a:gd name="connsiteY6852" fmla="*/ 1693188 h 6479439"/>
              <a:gd name="connsiteX6853" fmla="*/ 2157821 w 9586368"/>
              <a:gd name="connsiteY6853" fmla="*/ 1693188 h 6479439"/>
              <a:gd name="connsiteX6854" fmla="*/ 2153803 w 9586368"/>
              <a:gd name="connsiteY6854" fmla="*/ 1689149 h 6479439"/>
              <a:gd name="connsiteX6855" fmla="*/ 2153803 w 9586368"/>
              <a:gd name="connsiteY6855" fmla="*/ 1679279 h 6479439"/>
              <a:gd name="connsiteX6856" fmla="*/ 243346 w 9586368"/>
              <a:gd name="connsiteY6856" fmla="*/ 1675216 h 6479439"/>
              <a:gd name="connsiteX6857" fmla="*/ 253257 w 9586368"/>
              <a:gd name="connsiteY6857" fmla="*/ 1675216 h 6479439"/>
              <a:gd name="connsiteX6858" fmla="*/ 257276 w 9586368"/>
              <a:gd name="connsiteY6858" fmla="*/ 1679254 h 6479439"/>
              <a:gd name="connsiteX6859" fmla="*/ 257276 w 9586368"/>
              <a:gd name="connsiteY6859" fmla="*/ 1689125 h 6479439"/>
              <a:gd name="connsiteX6860" fmla="*/ 253257 w 9586368"/>
              <a:gd name="connsiteY6860" fmla="*/ 1693164 h 6479439"/>
              <a:gd name="connsiteX6861" fmla="*/ 243346 w 9586368"/>
              <a:gd name="connsiteY6861" fmla="*/ 1693164 h 6479439"/>
              <a:gd name="connsiteX6862" fmla="*/ 239327 w 9586368"/>
              <a:gd name="connsiteY6862" fmla="*/ 1689125 h 6479439"/>
              <a:gd name="connsiteX6863" fmla="*/ 239327 w 9586368"/>
              <a:gd name="connsiteY6863" fmla="*/ 1679254 h 6479439"/>
              <a:gd name="connsiteX6864" fmla="*/ 4034 w 9586368"/>
              <a:gd name="connsiteY6864" fmla="*/ 1675216 h 6479439"/>
              <a:gd name="connsiteX6865" fmla="*/ 13943 w 9586368"/>
              <a:gd name="connsiteY6865" fmla="*/ 1675216 h 6479439"/>
              <a:gd name="connsiteX6866" fmla="*/ 17962 w 9586368"/>
              <a:gd name="connsiteY6866" fmla="*/ 1679254 h 6479439"/>
              <a:gd name="connsiteX6867" fmla="*/ 17962 w 9586368"/>
              <a:gd name="connsiteY6867" fmla="*/ 1689125 h 6479439"/>
              <a:gd name="connsiteX6868" fmla="*/ 13943 w 9586368"/>
              <a:gd name="connsiteY6868" fmla="*/ 1693164 h 6479439"/>
              <a:gd name="connsiteX6869" fmla="*/ 4034 w 9586368"/>
              <a:gd name="connsiteY6869" fmla="*/ 1693164 h 6479439"/>
              <a:gd name="connsiteX6870" fmla="*/ 14 w 9586368"/>
              <a:gd name="connsiteY6870" fmla="*/ 1689125 h 6479439"/>
              <a:gd name="connsiteX6871" fmla="*/ 14 w 9586368"/>
              <a:gd name="connsiteY6871" fmla="*/ 1679254 h 6479439"/>
              <a:gd name="connsiteX6872" fmla="*/ 721972 w 9586368"/>
              <a:gd name="connsiteY6872" fmla="*/ 1675216 h 6479439"/>
              <a:gd name="connsiteX6873" fmla="*/ 731882 w 9586368"/>
              <a:gd name="connsiteY6873" fmla="*/ 1675216 h 6479439"/>
              <a:gd name="connsiteX6874" fmla="*/ 735902 w 9586368"/>
              <a:gd name="connsiteY6874" fmla="*/ 1679254 h 6479439"/>
              <a:gd name="connsiteX6875" fmla="*/ 735902 w 9586368"/>
              <a:gd name="connsiteY6875" fmla="*/ 1689125 h 6479439"/>
              <a:gd name="connsiteX6876" fmla="*/ 731882 w 9586368"/>
              <a:gd name="connsiteY6876" fmla="*/ 1693164 h 6479439"/>
              <a:gd name="connsiteX6877" fmla="*/ 721972 w 9586368"/>
              <a:gd name="connsiteY6877" fmla="*/ 1693164 h 6479439"/>
              <a:gd name="connsiteX6878" fmla="*/ 717954 w 9586368"/>
              <a:gd name="connsiteY6878" fmla="*/ 1689125 h 6479439"/>
              <a:gd name="connsiteX6879" fmla="*/ 717954 w 9586368"/>
              <a:gd name="connsiteY6879" fmla="*/ 1679254 h 6479439"/>
              <a:gd name="connsiteX6880" fmla="*/ 482660 w 9586368"/>
              <a:gd name="connsiteY6880" fmla="*/ 1675216 h 6479439"/>
              <a:gd name="connsiteX6881" fmla="*/ 492571 w 9586368"/>
              <a:gd name="connsiteY6881" fmla="*/ 1675216 h 6479439"/>
              <a:gd name="connsiteX6882" fmla="*/ 496589 w 9586368"/>
              <a:gd name="connsiteY6882" fmla="*/ 1679254 h 6479439"/>
              <a:gd name="connsiteX6883" fmla="*/ 496589 w 9586368"/>
              <a:gd name="connsiteY6883" fmla="*/ 1689125 h 6479439"/>
              <a:gd name="connsiteX6884" fmla="*/ 492571 w 9586368"/>
              <a:gd name="connsiteY6884" fmla="*/ 1693164 h 6479439"/>
              <a:gd name="connsiteX6885" fmla="*/ 482660 w 9586368"/>
              <a:gd name="connsiteY6885" fmla="*/ 1693164 h 6479439"/>
              <a:gd name="connsiteX6886" fmla="*/ 478641 w 9586368"/>
              <a:gd name="connsiteY6886" fmla="*/ 1689125 h 6479439"/>
              <a:gd name="connsiteX6887" fmla="*/ 478641 w 9586368"/>
              <a:gd name="connsiteY6887" fmla="*/ 1679254 h 6479439"/>
              <a:gd name="connsiteX6888" fmla="*/ 2393104 w 9586368"/>
              <a:gd name="connsiteY6888" fmla="*/ 1436001 h 6479439"/>
              <a:gd name="connsiteX6889" fmla="*/ 2403015 w 9586368"/>
              <a:gd name="connsiteY6889" fmla="*/ 1436001 h 6479439"/>
              <a:gd name="connsiteX6890" fmla="*/ 2407034 w 9586368"/>
              <a:gd name="connsiteY6890" fmla="*/ 1440038 h 6479439"/>
              <a:gd name="connsiteX6891" fmla="*/ 2407034 w 9586368"/>
              <a:gd name="connsiteY6891" fmla="*/ 1449910 h 6479439"/>
              <a:gd name="connsiteX6892" fmla="*/ 2403015 w 9586368"/>
              <a:gd name="connsiteY6892" fmla="*/ 1453949 h 6479439"/>
              <a:gd name="connsiteX6893" fmla="*/ 2393104 w 9586368"/>
              <a:gd name="connsiteY6893" fmla="*/ 1453949 h 6479439"/>
              <a:gd name="connsiteX6894" fmla="*/ 2389087 w 9586368"/>
              <a:gd name="connsiteY6894" fmla="*/ 1449910 h 6479439"/>
              <a:gd name="connsiteX6895" fmla="*/ 2389087 w 9586368"/>
              <a:gd name="connsiteY6895" fmla="*/ 1440038 h 6479439"/>
              <a:gd name="connsiteX6896" fmla="*/ 3350359 w 9586368"/>
              <a:gd name="connsiteY6896" fmla="*/ 1436000 h 6479439"/>
              <a:gd name="connsiteX6897" fmla="*/ 3360268 w 9586368"/>
              <a:gd name="connsiteY6897" fmla="*/ 1436000 h 6479439"/>
              <a:gd name="connsiteX6898" fmla="*/ 3364287 w 9586368"/>
              <a:gd name="connsiteY6898" fmla="*/ 1440038 h 6479439"/>
              <a:gd name="connsiteX6899" fmla="*/ 3364287 w 9586368"/>
              <a:gd name="connsiteY6899" fmla="*/ 1449909 h 6479439"/>
              <a:gd name="connsiteX6900" fmla="*/ 3360268 w 9586368"/>
              <a:gd name="connsiteY6900" fmla="*/ 1453949 h 6479439"/>
              <a:gd name="connsiteX6901" fmla="*/ 3350359 w 9586368"/>
              <a:gd name="connsiteY6901" fmla="*/ 1453949 h 6479439"/>
              <a:gd name="connsiteX6902" fmla="*/ 3346340 w 9586368"/>
              <a:gd name="connsiteY6902" fmla="*/ 1449909 h 6479439"/>
              <a:gd name="connsiteX6903" fmla="*/ 3346340 w 9586368"/>
              <a:gd name="connsiteY6903" fmla="*/ 1440038 h 6479439"/>
              <a:gd name="connsiteX6904" fmla="*/ 3111048 w 9586368"/>
              <a:gd name="connsiteY6904" fmla="*/ 1436000 h 6479439"/>
              <a:gd name="connsiteX6905" fmla="*/ 3120959 w 9586368"/>
              <a:gd name="connsiteY6905" fmla="*/ 1436000 h 6479439"/>
              <a:gd name="connsiteX6906" fmla="*/ 3124977 w 9586368"/>
              <a:gd name="connsiteY6906" fmla="*/ 1440038 h 6479439"/>
              <a:gd name="connsiteX6907" fmla="*/ 3124977 w 9586368"/>
              <a:gd name="connsiteY6907" fmla="*/ 1449910 h 6479439"/>
              <a:gd name="connsiteX6908" fmla="*/ 3120959 w 9586368"/>
              <a:gd name="connsiteY6908" fmla="*/ 1453949 h 6479439"/>
              <a:gd name="connsiteX6909" fmla="*/ 3111048 w 9586368"/>
              <a:gd name="connsiteY6909" fmla="*/ 1453949 h 6479439"/>
              <a:gd name="connsiteX6910" fmla="*/ 3107029 w 9586368"/>
              <a:gd name="connsiteY6910" fmla="*/ 1449910 h 6479439"/>
              <a:gd name="connsiteX6911" fmla="*/ 3107029 w 9586368"/>
              <a:gd name="connsiteY6911" fmla="*/ 1440038 h 6479439"/>
              <a:gd name="connsiteX6912" fmla="*/ 2871737 w 9586368"/>
              <a:gd name="connsiteY6912" fmla="*/ 1436000 h 6479439"/>
              <a:gd name="connsiteX6913" fmla="*/ 2881646 w 9586368"/>
              <a:gd name="connsiteY6913" fmla="*/ 1436000 h 6479439"/>
              <a:gd name="connsiteX6914" fmla="*/ 2885666 w 9586368"/>
              <a:gd name="connsiteY6914" fmla="*/ 1440038 h 6479439"/>
              <a:gd name="connsiteX6915" fmla="*/ 2885666 w 9586368"/>
              <a:gd name="connsiteY6915" fmla="*/ 1449910 h 6479439"/>
              <a:gd name="connsiteX6916" fmla="*/ 2881646 w 9586368"/>
              <a:gd name="connsiteY6916" fmla="*/ 1453949 h 6479439"/>
              <a:gd name="connsiteX6917" fmla="*/ 2871737 w 9586368"/>
              <a:gd name="connsiteY6917" fmla="*/ 1453949 h 6479439"/>
              <a:gd name="connsiteX6918" fmla="*/ 2867717 w 9586368"/>
              <a:gd name="connsiteY6918" fmla="*/ 1449910 h 6479439"/>
              <a:gd name="connsiteX6919" fmla="*/ 2867717 w 9586368"/>
              <a:gd name="connsiteY6919" fmla="*/ 1440038 h 6479439"/>
              <a:gd name="connsiteX6920" fmla="*/ 2632423 w 9586368"/>
              <a:gd name="connsiteY6920" fmla="*/ 1436000 h 6479439"/>
              <a:gd name="connsiteX6921" fmla="*/ 2642334 w 9586368"/>
              <a:gd name="connsiteY6921" fmla="*/ 1436000 h 6479439"/>
              <a:gd name="connsiteX6922" fmla="*/ 2646352 w 9586368"/>
              <a:gd name="connsiteY6922" fmla="*/ 1440038 h 6479439"/>
              <a:gd name="connsiteX6923" fmla="*/ 2646352 w 9586368"/>
              <a:gd name="connsiteY6923" fmla="*/ 1449910 h 6479439"/>
              <a:gd name="connsiteX6924" fmla="*/ 2642334 w 9586368"/>
              <a:gd name="connsiteY6924" fmla="*/ 1453949 h 6479439"/>
              <a:gd name="connsiteX6925" fmla="*/ 2632423 w 9586368"/>
              <a:gd name="connsiteY6925" fmla="*/ 1453949 h 6479439"/>
              <a:gd name="connsiteX6926" fmla="*/ 2628404 w 9586368"/>
              <a:gd name="connsiteY6926" fmla="*/ 1449910 h 6479439"/>
              <a:gd name="connsiteX6927" fmla="*/ 2628404 w 9586368"/>
              <a:gd name="connsiteY6927" fmla="*/ 1440038 h 6479439"/>
              <a:gd name="connsiteX6928" fmla="*/ 3589676 w 9586368"/>
              <a:gd name="connsiteY6928" fmla="*/ 1435986 h 6479439"/>
              <a:gd name="connsiteX6929" fmla="*/ 3599585 w 9586368"/>
              <a:gd name="connsiteY6929" fmla="*/ 1435986 h 6479439"/>
              <a:gd name="connsiteX6930" fmla="*/ 3603604 w 9586368"/>
              <a:gd name="connsiteY6930" fmla="*/ 1440024 h 6479439"/>
              <a:gd name="connsiteX6931" fmla="*/ 3603604 w 9586368"/>
              <a:gd name="connsiteY6931" fmla="*/ 1449895 h 6479439"/>
              <a:gd name="connsiteX6932" fmla="*/ 3599585 w 9586368"/>
              <a:gd name="connsiteY6932" fmla="*/ 1453934 h 6479439"/>
              <a:gd name="connsiteX6933" fmla="*/ 3589676 w 9586368"/>
              <a:gd name="connsiteY6933" fmla="*/ 1453934 h 6479439"/>
              <a:gd name="connsiteX6934" fmla="*/ 3585657 w 9586368"/>
              <a:gd name="connsiteY6934" fmla="*/ 1449895 h 6479439"/>
              <a:gd name="connsiteX6935" fmla="*/ 3585657 w 9586368"/>
              <a:gd name="connsiteY6935" fmla="*/ 1440024 h 6479439"/>
              <a:gd name="connsiteX6936" fmla="*/ 4546929 w 9586368"/>
              <a:gd name="connsiteY6936" fmla="*/ 1435986 h 6479439"/>
              <a:gd name="connsiteX6937" fmla="*/ 4556840 w 9586368"/>
              <a:gd name="connsiteY6937" fmla="*/ 1435986 h 6479439"/>
              <a:gd name="connsiteX6938" fmla="*/ 4560859 w 9586368"/>
              <a:gd name="connsiteY6938" fmla="*/ 1440024 h 6479439"/>
              <a:gd name="connsiteX6939" fmla="*/ 4560859 w 9586368"/>
              <a:gd name="connsiteY6939" fmla="*/ 1449895 h 6479439"/>
              <a:gd name="connsiteX6940" fmla="*/ 4556840 w 9586368"/>
              <a:gd name="connsiteY6940" fmla="*/ 1453934 h 6479439"/>
              <a:gd name="connsiteX6941" fmla="*/ 4546929 w 9586368"/>
              <a:gd name="connsiteY6941" fmla="*/ 1453934 h 6479439"/>
              <a:gd name="connsiteX6942" fmla="*/ 4542910 w 9586368"/>
              <a:gd name="connsiteY6942" fmla="*/ 1449895 h 6479439"/>
              <a:gd name="connsiteX6943" fmla="*/ 4542910 w 9586368"/>
              <a:gd name="connsiteY6943" fmla="*/ 1440024 h 6479439"/>
              <a:gd name="connsiteX6944" fmla="*/ 4307612 w 9586368"/>
              <a:gd name="connsiteY6944" fmla="*/ 1435986 h 6479439"/>
              <a:gd name="connsiteX6945" fmla="*/ 4317523 w 9586368"/>
              <a:gd name="connsiteY6945" fmla="*/ 1435986 h 6479439"/>
              <a:gd name="connsiteX6946" fmla="*/ 4321543 w 9586368"/>
              <a:gd name="connsiteY6946" fmla="*/ 1440024 h 6479439"/>
              <a:gd name="connsiteX6947" fmla="*/ 4321543 w 9586368"/>
              <a:gd name="connsiteY6947" fmla="*/ 1449895 h 6479439"/>
              <a:gd name="connsiteX6948" fmla="*/ 4317523 w 9586368"/>
              <a:gd name="connsiteY6948" fmla="*/ 1453934 h 6479439"/>
              <a:gd name="connsiteX6949" fmla="*/ 4307612 w 9586368"/>
              <a:gd name="connsiteY6949" fmla="*/ 1453934 h 6479439"/>
              <a:gd name="connsiteX6950" fmla="*/ 4303595 w 9586368"/>
              <a:gd name="connsiteY6950" fmla="*/ 1449895 h 6479439"/>
              <a:gd name="connsiteX6951" fmla="*/ 4303595 w 9586368"/>
              <a:gd name="connsiteY6951" fmla="*/ 1440024 h 6479439"/>
              <a:gd name="connsiteX6952" fmla="*/ 4068297 w 9586368"/>
              <a:gd name="connsiteY6952" fmla="*/ 1435986 h 6479439"/>
              <a:gd name="connsiteX6953" fmla="*/ 4078210 w 9586368"/>
              <a:gd name="connsiteY6953" fmla="*/ 1435986 h 6479439"/>
              <a:gd name="connsiteX6954" fmla="*/ 4082229 w 9586368"/>
              <a:gd name="connsiteY6954" fmla="*/ 1440024 h 6479439"/>
              <a:gd name="connsiteX6955" fmla="*/ 4082229 w 9586368"/>
              <a:gd name="connsiteY6955" fmla="*/ 1449895 h 6479439"/>
              <a:gd name="connsiteX6956" fmla="*/ 4078210 w 9586368"/>
              <a:gd name="connsiteY6956" fmla="*/ 1453934 h 6479439"/>
              <a:gd name="connsiteX6957" fmla="*/ 4068297 w 9586368"/>
              <a:gd name="connsiteY6957" fmla="*/ 1453934 h 6479439"/>
              <a:gd name="connsiteX6958" fmla="*/ 4064278 w 9586368"/>
              <a:gd name="connsiteY6958" fmla="*/ 1449895 h 6479439"/>
              <a:gd name="connsiteX6959" fmla="*/ 4064278 w 9586368"/>
              <a:gd name="connsiteY6959" fmla="*/ 1440024 h 6479439"/>
              <a:gd name="connsiteX6960" fmla="*/ 3828990 w 9586368"/>
              <a:gd name="connsiteY6960" fmla="*/ 1435986 h 6479439"/>
              <a:gd name="connsiteX6961" fmla="*/ 3838899 w 9586368"/>
              <a:gd name="connsiteY6961" fmla="*/ 1435986 h 6479439"/>
              <a:gd name="connsiteX6962" fmla="*/ 3842917 w 9586368"/>
              <a:gd name="connsiteY6962" fmla="*/ 1440024 h 6479439"/>
              <a:gd name="connsiteX6963" fmla="*/ 3842917 w 9586368"/>
              <a:gd name="connsiteY6963" fmla="*/ 1449895 h 6479439"/>
              <a:gd name="connsiteX6964" fmla="*/ 3838899 w 9586368"/>
              <a:gd name="connsiteY6964" fmla="*/ 1453934 h 6479439"/>
              <a:gd name="connsiteX6965" fmla="*/ 3828990 w 9586368"/>
              <a:gd name="connsiteY6965" fmla="*/ 1453934 h 6479439"/>
              <a:gd name="connsiteX6966" fmla="*/ 3824971 w 9586368"/>
              <a:gd name="connsiteY6966" fmla="*/ 1449895 h 6479439"/>
              <a:gd name="connsiteX6967" fmla="*/ 3824971 w 9586368"/>
              <a:gd name="connsiteY6967" fmla="*/ 1440024 h 6479439"/>
              <a:gd name="connsiteX6968" fmla="*/ 4786241 w 9586368"/>
              <a:gd name="connsiteY6968" fmla="*/ 1435972 h 6479439"/>
              <a:gd name="connsiteX6969" fmla="*/ 4796152 w 9586368"/>
              <a:gd name="connsiteY6969" fmla="*/ 1435972 h 6479439"/>
              <a:gd name="connsiteX6970" fmla="*/ 4800171 w 9586368"/>
              <a:gd name="connsiteY6970" fmla="*/ 1440010 h 6479439"/>
              <a:gd name="connsiteX6971" fmla="*/ 4800171 w 9586368"/>
              <a:gd name="connsiteY6971" fmla="*/ 1449881 h 6479439"/>
              <a:gd name="connsiteX6972" fmla="*/ 4796152 w 9586368"/>
              <a:gd name="connsiteY6972" fmla="*/ 1453920 h 6479439"/>
              <a:gd name="connsiteX6973" fmla="*/ 4786241 w 9586368"/>
              <a:gd name="connsiteY6973" fmla="*/ 1453920 h 6479439"/>
              <a:gd name="connsiteX6974" fmla="*/ 4782224 w 9586368"/>
              <a:gd name="connsiteY6974" fmla="*/ 1449881 h 6479439"/>
              <a:gd name="connsiteX6975" fmla="*/ 4782224 w 9586368"/>
              <a:gd name="connsiteY6975" fmla="*/ 1440010 h 6479439"/>
              <a:gd name="connsiteX6976" fmla="*/ 5743412 w 9586368"/>
              <a:gd name="connsiteY6976" fmla="*/ 1435971 h 6479439"/>
              <a:gd name="connsiteX6977" fmla="*/ 5753323 w 9586368"/>
              <a:gd name="connsiteY6977" fmla="*/ 1435971 h 6479439"/>
              <a:gd name="connsiteX6978" fmla="*/ 5757342 w 9586368"/>
              <a:gd name="connsiteY6978" fmla="*/ 1440010 h 6479439"/>
              <a:gd name="connsiteX6979" fmla="*/ 5757342 w 9586368"/>
              <a:gd name="connsiteY6979" fmla="*/ 1449880 h 6479439"/>
              <a:gd name="connsiteX6980" fmla="*/ 5753323 w 9586368"/>
              <a:gd name="connsiteY6980" fmla="*/ 1453919 h 6479439"/>
              <a:gd name="connsiteX6981" fmla="*/ 5743412 w 9586368"/>
              <a:gd name="connsiteY6981" fmla="*/ 1453919 h 6479439"/>
              <a:gd name="connsiteX6982" fmla="*/ 5739393 w 9586368"/>
              <a:gd name="connsiteY6982" fmla="*/ 1449880 h 6479439"/>
              <a:gd name="connsiteX6983" fmla="*/ 5739393 w 9586368"/>
              <a:gd name="connsiteY6983" fmla="*/ 1440010 h 6479439"/>
              <a:gd name="connsiteX6984" fmla="*/ 5504099 w 9586368"/>
              <a:gd name="connsiteY6984" fmla="*/ 1435971 h 6479439"/>
              <a:gd name="connsiteX6985" fmla="*/ 5514010 w 9586368"/>
              <a:gd name="connsiteY6985" fmla="*/ 1435971 h 6479439"/>
              <a:gd name="connsiteX6986" fmla="*/ 5518029 w 9586368"/>
              <a:gd name="connsiteY6986" fmla="*/ 1440010 h 6479439"/>
              <a:gd name="connsiteX6987" fmla="*/ 5518029 w 9586368"/>
              <a:gd name="connsiteY6987" fmla="*/ 1449881 h 6479439"/>
              <a:gd name="connsiteX6988" fmla="*/ 5514010 w 9586368"/>
              <a:gd name="connsiteY6988" fmla="*/ 1453919 h 6479439"/>
              <a:gd name="connsiteX6989" fmla="*/ 5504099 w 9586368"/>
              <a:gd name="connsiteY6989" fmla="*/ 1453919 h 6479439"/>
              <a:gd name="connsiteX6990" fmla="*/ 5500080 w 9586368"/>
              <a:gd name="connsiteY6990" fmla="*/ 1449881 h 6479439"/>
              <a:gd name="connsiteX6991" fmla="*/ 5500080 w 9586368"/>
              <a:gd name="connsiteY6991" fmla="*/ 1440010 h 6479439"/>
              <a:gd name="connsiteX6992" fmla="*/ 5264784 w 9586368"/>
              <a:gd name="connsiteY6992" fmla="*/ 1435971 h 6479439"/>
              <a:gd name="connsiteX6993" fmla="*/ 5274694 w 9586368"/>
              <a:gd name="connsiteY6993" fmla="*/ 1435971 h 6479439"/>
              <a:gd name="connsiteX6994" fmla="*/ 5278713 w 9586368"/>
              <a:gd name="connsiteY6994" fmla="*/ 1440010 h 6479439"/>
              <a:gd name="connsiteX6995" fmla="*/ 5278713 w 9586368"/>
              <a:gd name="connsiteY6995" fmla="*/ 1449881 h 6479439"/>
              <a:gd name="connsiteX6996" fmla="*/ 5274694 w 9586368"/>
              <a:gd name="connsiteY6996" fmla="*/ 1453920 h 6479439"/>
              <a:gd name="connsiteX6997" fmla="*/ 5264784 w 9586368"/>
              <a:gd name="connsiteY6997" fmla="*/ 1453920 h 6479439"/>
              <a:gd name="connsiteX6998" fmla="*/ 5260765 w 9586368"/>
              <a:gd name="connsiteY6998" fmla="*/ 1449881 h 6479439"/>
              <a:gd name="connsiteX6999" fmla="*/ 5260765 w 9586368"/>
              <a:gd name="connsiteY6999" fmla="*/ 1440010 h 6479439"/>
              <a:gd name="connsiteX7000" fmla="*/ 5025470 w 9586368"/>
              <a:gd name="connsiteY7000" fmla="*/ 1435971 h 6479439"/>
              <a:gd name="connsiteX7001" fmla="*/ 5035381 w 9586368"/>
              <a:gd name="connsiteY7001" fmla="*/ 1435971 h 6479439"/>
              <a:gd name="connsiteX7002" fmla="*/ 5039400 w 9586368"/>
              <a:gd name="connsiteY7002" fmla="*/ 1440010 h 6479439"/>
              <a:gd name="connsiteX7003" fmla="*/ 5039400 w 9586368"/>
              <a:gd name="connsiteY7003" fmla="*/ 1449881 h 6479439"/>
              <a:gd name="connsiteX7004" fmla="*/ 5035381 w 9586368"/>
              <a:gd name="connsiteY7004" fmla="*/ 1453920 h 6479439"/>
              <a:gd name="connsiteX7005" fmla="*/ 5025470 w 9586368"/>
              <a:gd name="connsiteY7005" fmla="*/ 1453920 h 6479439"/>
              <a:gd name="connsiteX7006" fmla="*/ 5021451 w 9586368"/>
              <a:gd name="connsiteY7006" fmla="*/ 1449881 h 6479439"/>
              <a:gd name="connsiteX7007" fmla="*/ 5021451 w 9586368"/>
              <a:gd name="connsiteY7007" fmla="*/ 1440010 h 6479439"/>
              <a:gd name="connsiteX7008" fmla="*/ 5982729 w 9586368"/>
              <a:gd name="connsiteY7008" fmla="*/ 1435958 h 6479439"/>
              <a:gd name="connsiteX7009" fmla="*/ 5992639 w 9586368"/>
              <a:gd name="connsiteY7009" fmla="*/ 1435958 h 6479439"/>
              <a:gd name="connsiteX7010" fmla="*/ 5996658 w 9586368"/>
              <a:gd name="connsiteY7010" fmla="*/ 1439995 h 6479439"/>
              <a:gd name="connsiteX7011" fmla="*/ 5996658 w 9586368"/>
              <a:gd name="connsiteY7011" fmla="*/ 1449866 h 6479439"/>
              <a:gd name="connsiteX7012" fmla="*/ 5992639 w 9586368"/>
              <a:gd name="connsiteY7012" fmla="*/ 1453905 h 6479439"/>
              <a:gd name="connsiteX7013" fmla="*/ 5982729 w 9586368"/>
              <a:gd name="connsiteY7013" fmla="*/ 1453905 h 6479439"/>
              <a:gd name="connsiteX7014" fmla="*/ 5978710 w 9586368"/>
              <a:gd name="connsiteY7014" fmla="*/ 1449866 h 6479439"/>
              <a:gd name="connsiteX7015" fmla="*/ 5978710 w 9586368"/>
              <a:gd name="connsiteY7015" fmla="*/ 1439995 h 6479439"/>
              <a:gd name="connsiteX7016" fmla="*/ 6939983 w 9586368"/>
              <a:gd name="connsiteY7016" fmla="*/ 1435956 h 6479439"/>
              <a:gd name="connsiteX7017" fmla="*/ 6949894 w 9586368"/>
              <a:gd name="connsiteY7017" fmla="*/ 1435956 h 6479439"/>
              <a:gd name="connsiteX7018" fmla="*/ 6953913 w 9586368"/>
              <a:gd name="connsiteY7018" fmla="*/ 1439995 h 6479439"/>
              <a:gd name="connsiteX7019" fmla="*/ 6953913 w 9586368"/>
              <a:gd name="connsiteY7019" fmla="*/ 1449865 h 6479439"/>
              <a:gd name="connsiteX7020" fmla="*/ 6949894 w 9586368"/>
              <a:gd name="connsiteY7020" fmla="*/ 1453905 h 6479439"/>
              <a:gd name="connsiteX7021" fmla="*/ 6939983 w 9586368"/>
              <a:gd name="connsiteY7021" fmla="*/ 1453905 h 6479439"/>
              <a:gd name="connsiteX7022" fmla="*/ 6935964 w 9586368"/>
              <a:gd name="connsiteY7022" fmla="*/ 1449865 h 6479439"/>
              <a:gd name="connsiteX7023" fmla="*/ 6935964 w 9586368"/>
              <a:gd name="connsiteY7023" fmla="*/ 1439995 h 6479439"/>
              <a:gd name="connsiteX7024" fmla="*/ 6700670 w 9586368"/>
              <a:gd name="connsiteY7024" fmla="*/ 1435956 h 6479439"/>
              <a:gd name="connsiteX7025" fmla="*/ 6710581 w 9586368"/>
              <a:gd name="connsiteY7025" fmla="*/ 1435956 h 6479439"/>
              <a:gd name="connsiteX7026" fmla="*/ 6714600 w 9586368"/>
              <a:gd name="connsiteY7026" fmla="*/ 1439995 h 6479439"/>
              <a:gd name="connsiteX7027" fmla="*/ 6714600 w 9586368"/>
              <a:gd name="connsiteY7027" fmla="*/ 1449866 h 6479439"/>
              <a:gd name="connsiteX7028" fmla="*/ 6710581 w 9586368"/>
              <a:gd name="connsiteY7028" fmla="*/ 1453905 h 6479439"/>
              <a:gd name="connsiteX7029" fmla="*/ 6700670 w 9586368"/>
              <a:gd name="connsiteY7029" fmla="*/ 1453905 h 6479439"/>
              <a:gd name="connsiteX7030" fmla="*/ 6696651 w 9586368"/>
              <a:gd name="connsiteY7030" fmla="*/ 1449866 h 6479439"/>
              <a:gd name="connsiteX7031" fmla="*/ 6696651 w 9586368"/>
              <a:gd name="connsiteY7031" fmla="*/ 1439995 h 6479439"/>
              <a:gd name="connsiteX7032" fmla="*/ 6461356 w 9586368"/>
              <a:gd name="connsiteY7032" fmla="*/ 1435956 h 6479439"/>
              <a:gd name="connsiteX7033" fmla="*/ 6471266 w 9586368"/>
              <a:gd name="connsiteY7033" fmla="*/ 1435956 h 6479439"/>
              <a:gd name="connsiteX7034" fmla="*/ 6475285 w 9586368"/>
              <a:gd name="connsiteY7034" fmla="*/ 1439995 h 6479439"/>
              <a:gd name="connsiteX7035" fmla="*/ 6475285 w 9586368"/>
              <a:gd name="connsiteY7035" fmla="*/ 1449866 h 6479439"/>
              <a:gd name="connsiteX7036" fmla="*/ 6471266 w 9586368"/>
              <a:gd name="connsiteY7036" fmla="*/ 1453905 h 6479439"/>
              <a:gd name="connsiteX7037" fmla="*/ 6461356 w 9586368"/>
              <a:gd name="connsiteY7037" fmla="*/ 1453905 h 6479439"/>
              <a:gd name="connsiteX7038" fmla="*/ 6457337 w 9586368"/>
              <a:gd name="connsiteY7038" fmla="*/ 1449866 h 6479439"/>
              <a:gd name="connsiteX7039" fmla="*/ 6457337 w 9586368"/>
              <a:gd name="connsiteY7039" fmla="*/ 1439995 h 6479439"/>
              <a:gd name="connsiteX7040" fmla="*/ 6222042 w 9586368"/>
              <a:gd name="connsiteY7040" fmla="*/ 1435956 h 6479439"/>
              <a:gd name="connsiteX7041" fmla="*/ 6231952 w 9586368"/>
              <a:gd name="connsiteY7041" fmla="*/ 1435956 h 6479439"/>
              <a:gd name="connsiteX7042" fmla="*/ 6235971 w 9586368"/>
              <a:gd name="connsiteY7042" fmla="*/ 1439995 h 6479439"/>
              <a:gd name="connsiteX7043" fmla="*/ 6235971 w 9586368"/>
              <a:gd name="connsiteY7043" fmla="*/ 1449866 h 6479439"/>
              <a:gd name="connsiteX7044" fmla="*/ 6231952 w 9586368"/>
              <a:gd name="connsiteY7044" fmla="*/ 1453905 h 6479439"/>
              <a:gd name="connsiteX7045" fmla="*/ 6222042 w 9586368"/>
              <a:gd name="connsiteY7045" fmla="*/ 1453905 h 6479439"/>
              <a:gd name="connsiteX7046" fmla="*/ 6218023 w 9586368"/>
              <a:gd name="connsiteY7046" fmla="*/ 1449866 h 6479439"/>
              <a:gd name="connsiteX7047" fmla="*/ 6218023 w 9586368"/>
              <a:gd name="connsiteY7047" fmla="*/ 1439995 h 6479439"/>
              <a:gd name="connsiteX7048" fmla="*/ 7179298 w 9586368"/>
              <a:gd name="connsiteY7048" fmla="*/ 1435943 h 6479439"/>
              <a:gd name="connsiteX7049" fmla="*/ 7189209 w 9586368"/>
              <a:gd name="connsiteY7049" fmla="*/ 1435943 h 6479439"/>
              <a:gd name="connsiteX7050" fmla="*/ 7193228 w 9586368"/>
              <a:gd name="connsiteY7050" fmla="*/ 1439981 h 6479439"/>
              <a:gd name="connsiteX7051" fmla="*/ 7193228 w 9586368"/>
              <a:gd name="connsiteY7051" fmla="*/ 1449852 h 6479439"/>
              <a:gd name="connsiteX7052" fmla="*/ 7189209 w 9586368"/>
              <a:gd name="connsiteY7052" fmla="*/ 1453891 h 6479439"/>
              <a:gd name="connsiteX7053" fmla="*/ 7179298 w 9586368"/>
              <a:gd name="connsiteY7053" fmla="*/ 1453891 h 6479439"/>
              <a:gd name="connsiteX7054" fmla="*/ 7175279 w 9586368"/>
              <a:gd name="connsiteY7054" fmla="*/ 1449852 h 6479439"/>
              <a:gd name="connsiteX7055" fmla="*/ 7175279 w 9586368"/>
              <a:gd name="connsiteY7055" fmla="*/ 1439981 h 6479439"/>
              <a:gd name="connsiteX7056" fmla="*/ 8136553 w 9586368"/>
              <a:gd name="connsiteY7056" fmla="*/ 1435943 h 6479439"/>
              <a:gd name="connsiteX7057" fmla="*/ 8146464 w 9586368"/>
              <a:gd name="connsiteY7057" fmla="*/ 1435943 h 6479439"/>
              <a:gd name="connsiteX7058" fmla="*/ 8150483 w 9586368"/>
              <a:gd name="connsiteY7058" fmla="*/ 1439980 h 6479439"/>
              <a:gd name="connsiteX7059" fmla="*/ 8150483 w 9586368"/>
              <a:gd name="connsiteY7059" fmla="*/ 1449851 h 6479439"/>
              <a:gd name="connsiteX7060" fmla="*/ 8146464 w 9586368"/>
              <a:gd name="connsiteY7060" fmla="*/ 1453890 h 6479439"/>
              <a:gd name="connsiteX7061" fmla="*/ 8136553 w 9586368"/>
              <a:gd name="connsiteY7061" fmla="*/ 1453890 h 6479439"/>
              <a:gd name="connsiteX7062" fmla="*/ 8132534 w 9586368"/>
              <a:gd name="connsiteY7062" fmla="*/ 1449851 h 6479439"/>
              <a:gd name="connsiteX7063" fmla="*/ 8132534 w 9586368"/>
              <a:gd name="connsiteY7063" fmla="*/ 1439980 h 6479439"/>
              <a:gd name="connsiteX7064" fmla="*/ 7897241 w 9586368"/>
              <a:gd name="connsiteY7064" fmla="*/ 1435943 h 6479439"/>
              <a:gd name="connsiteX7065" fmla="*/ 7907151 w 9586368"/>
              <a:gd name="connsiteY7065" fmla="*/ 1435943 h 6479439"/>
              <a:gd name="connsiteX7066" fmla="*/ 7911170 w 9586368"/>
              <a:gd name="connsiteY7066" fmla="*/ 1439980 h 6479439"/>
              <a:gd name="connsiteX7067" fmla="*/ 7911170 w 9586368"/>
              <a:gd name="connsiteY7067" fmla="*/ 1449852 h 6479439"/>
              <a:gd name="connsiteX7068" fmla="*/ 7907151 w 9586368"/>
              <a:gd name="connsiteY7068" fmla="*/ 1453890 h 6479439"/>
              <a:gd name="connsiteX7069" fmla="*/ 7897241 w 9586368"/>
              <a:gd name="connsiteY7069" fmla="*/ 1453890 h 6479439"/>
              <a:gd name="connsiteX7070" fmla="*/ 7893222 w 9586368"/>
              <a:gd name="connsiteY7070" fmla="*/ 1449852 h 6479439"/>
              <a:gd name="connsiteX7071" fmla="*/ 7893222 w 9586368"/>
              <a:gd name="connsiteY7071" fmla="*/ 1439980 h 6479439"/>
              <a:gd name="connsiteX7072" fmla="*/ 7657926 w 9586368"/>
              <a:gd name="connsiteY7072" fmla="*/ 1435943 h 6479439"/>
              <a:gd name="connsiteX7073" fmla="*/ 7667836 w 9586368"/>
              <a:gd name="connsiteY7073" fmla="*/ 1435943 h 6479439"/>
              <a:gd name="connsiteX7074" fmla="*/ 7671855 w 9586368"/>
              <a:gd name="connsiteY7074" fmla="*/ 1439980 h 6479439"/>
              <a:gd name="connsiteX7075" fmla="*/ 7671855 w 9586368"/>
              <a:gd name="connsiteY7075" fmla="*/ 1449852 h 6479439"/>
              <a:gd name="connsiteX7076" fmla="*/ 7667836 w 9586368"/>
              <a:gd name="connsiteY7076" fmla="*/ 1453891 h 6479439"/>
              <a:gd name="connsiteX7077" fmla="*/ 7657926 w 9586368"/>
              <a:gd name="connsiteY7077" fmla="*/ 1453891 h 6479439"/>
              <a:gd name="connsiteX7078" fmla="*/ 7653906 w 9586368"/>
              <a:gd name="connsiteY7078" fmla="*/ 1449852 h 6479439"/>
              <a:gd name="connsiteX7079" fmla="*/ 7653906 w 9586368"/>
              <a:gd name="connsiteY7079" fmla="*/ 1439980 h 6479439"/>
              <a:gd name="connsiteX7080" fmla="*/ 7418611 w 9586368"/>
              <a:gd name="connsiteY7080" fmla="*/ 1435943 h 6479439"/>
              <a:gd name="connsiteX7081" fmla="*/ 7428521 w 9586368"/>
              <a:gd name="connsiteY7081" fmla="*/ 1435943 h 6479439"/>
              <a:gd name="connsiteX7082" fmla="*/ 7432540 w 9586368"/>
              <a:gd name="connsiteY7082" fmla="*/ 1439980 h 6479439"/>
              <a:gd name="connsiteX7083" fmla="*/ 7432540 w 9586368"/>
              <a:gd name="connsiteY7083" fmla="*/ 1449852 h 6479439"/>
              <a:gd name="connsiteX7084" fmla="*/ 7428521 w 9586368"/>
              <a:gd name="connsiteY7084" fmla="*/ 1453891 h 6479439"/>
              <a:gd name="connsiteX7085" fmla="*/ 7418611 w 9586368"/>
              <a:gd name="connsiteY7085" fmla="*/ 1453891 h 6479439"/>
              <a:gd name="connsiteX7086" fmla="*/ 7414592 w 9586368"/>
              <a:gd name="connsiteY7086" fmla="*/ 1449852 h 6479439"/>
              <a:gd name="connsiteX7087" fmla="*/ 7414592 w 9586368"/>
              <a:gd name="connsiteY7087" fmla="*/ 1439980 h 6479439"/>
              <a:gd name="connsiteX7088" fmla="*/ 8375869 w 9586368"/>
              <a:gd name="connsiteY7088" fmla="*/ 1435928 h 6479439"/>
              <a:gd name="connsiteX7089" fmla="*/ 8385779 w 9586368"/>
              <a:gd name="connsiteY7089" fmla="*/ 1435928 h 6479439"/>
              <a:gd name="connsiteX7090" fmla="*/ 8389799 w 9586368"/>
              <a:gd name="connsiteY7090" fmla="*/ 1439967 h 6479439"/>
              <a:gd name="connsiteX7091" fmla="*/ 8389799 w 9586368"/>
              <a:gd name="connsiteY7091" fmla="*/ 1449837 h 6479439"/>
              <a:gd name="connsiteX7092" fmla="*/ 8385779 w 9586368"/>
              <a:gd name="connsiteY7092" fmla="*/ 1453877 h 6479439"/>
              <a:gd name="connsiteX7093" fmla="*/ 8375869 w 9586368"/>
              <a:gd name="connsiteY7093" fmla="*/ 1453877 h 6479439"/>
              <a:gd name="connsiteX7094" fmla="*/ 8371850 w 9586368"/>
              <a:gd name="connsiteY7094" fmla="*/ 1449837 h 6479439"/>
              <a:gd name="connsiteX7095" fmla="*/ 8371850 w 9586368"/>
              <a:gd name="connsiteY7095" fmla="*/ 1439967 h 6479439"/>
              <a:gd name="connsiteX7096" fmla="*/ 9333125 w 9586368"/>
              <a:gd name="connsiteY7096" fmla="*/ 1435928 h 6479439"/>
              <a:gd name="connsiteX7097" fmla="*/ 9343036 w 9586368"/>
              <a:gd name="connsiteY7097" fmla="*/ 1435928 h 6479439"/>
              <a:gd name="connsiteX7098" fmla="*/ 9347055 w 9586368"/>
              <a:gd name="connsiteY7098" fmla="*/ 1439967 h 6479439"/>
              <a:gd name="connsiteX7099" fmla="*/ 9347055 w 9586368"/>
              <a:gd name="connsiteY7099" fmla="*/ 1449836 h 6479439"/>
              <a:gd name="connsiteX7100" fmla="*/ 9343036 w 9586368"/>
              <a:gd name="connsiteY7100" fmla="*/ 1453876 h 6479439"/>
              <a:gd name="connsiteX7101" fmla="*/ 9333125 w 9586368"/>
              <a:gd name="connsiteY7101" fmla="*/ 1453876 h 6479439"/>
              <a:gd name="connsiteX7102" fmla="*/ 9329106 w 9586368"/>
              <a:gd name="connsiteY7102" fmla="*/ 1449836 h 6479439"/>
              <a:gd name="connsiteX7103" fmla="*/ 9329106 w 9586368"/>
              <a:gd name="connsiteY7103" fmla="*/ 1439967 h 6479439"/>
              <a:gd name="connsiteX7104" fmla="*/ 9093811 w 9586368"/>
              <a:gd name="connsiteY7104" fmla="*/ 1435928 h 6479439"/>
              <a:gd name="connsiteX7105" fmla="*/ 9103722 w 9586368"/>
              <a:gd name="connsiteY7105" fmla="*/ 1435928 h 6479439"/>
              <a:gd name="connsiteX7106" fmla="*/ 9107741 w 9586368"/>
              <a:gd name="connsiteY7106" fmla="*/ 1439967 h 6479439"/>
              <a:gd name="connsiteX7107" fmla="*/ 9107741 w 9586368"/>
              <a:gd name="connsiteY7107" fmla="*/ 1449837 h 6479439"/>
              <a:gd name="connsiteX7108" fmla="*/ 9103722 w 9586368"/>
              <a:gd name="connsiteY7108" fmla="*/ 1453876 h 6479439"/>
              <a:gd name="connsiteX7109" fmla="*/ 9093811 w 9586368"/>
              <a:gd name="connsiteY7109" fmla="*/ 1453876 h 6479439"/>
              <a:gd name="connsiteX7110" fmla="*/ 9089792 w 9586368"/>
              <a:gd name="connsiteY7110" fmla="*/ 1449837 h 6479439"/>
              <a:gd name="connsiteX7111" fmla="*/ 9089792 w 9586368"/>
              <a:gd name="connsiteY7111" fmla="*/ 1439967 h 6479439"/>
              <a:gd name="connsiteX7112" fmla="*/ 8854496 w 9586368"/>
              <a:gd name="connsiteY7112" fmla="*/ 1435928 h 6479439"/>
              <a:gd name="connsiteX7113" fmla="*/ 8864407 w 9586368"/>
              <a:gd name="connsiteY7113" fmla="*/ 1435928 h 6479439"/>
              <a:gd name="connsiteX7114" fmla="*/ 8868426 w 9586368"/>
              <a:gd name="connsiteY7114" fmla="*/ 1439967 h 6479439"/>
              <a:gd name="connsiteX7115" fmla="*/ 8868426 w 9586368"/>
              <a:gd name="connsiteY7115" fmla="*/ 1449837 h 6479439"/>
              <a:gd name="connsiteX7116" fmla="*/ 8864407 w 9586368"/>
              <a:gd name="connsiteY7116" fmla="*/ 1453877 h 6479439"/>
              <a:gd name="connsiteX7117" fmla="*/ 8854496 w 9586368"/>
              <a:gd name="connsiteY7117" fmla="*/ 1453877 h 6479439"/>
              <a:gd name="connsiteX7118" fmla="*/ 8850477 w 9586368"/>
              <a:gd name="connsiteY7118" fmla="*/ 1449837 h 6479439"/>
              <a:gd name="connsiteX7119" fmla="*/ 8850477 w 9586368"/>
              <a:gd name="connsiteY7119" fmla="*/ 1439967 h 6479439"/>
              <a:gd name="connsiteX7120" fmla="*/ 8615184 w 9586368"/>
              <a:gd name="connsiteY7120" fmla="*/ 1435928 h 6479439"/>
              <a:gd name="connsiteX7121" fmla="*/ 8625095 w 9586368"/>
              <a:gd name="connsiteY7121" fmla="*/ 1435928 h 6479439"/>
              <a:gd name="connsiteX7122" fmla="*/ 8629114 w 9586368"/>
              <a:gd name="connsiteY7122" fmla="*/ 1439967 h 6479439"/>
              <a:gd name="connsiteX7123" fmla="*/ 8629114 w 9586368"/>
              <a:gd name="connsiteY7123" fmla="*/ 1449837 h 6479439"/>
              <a:gd name="connsiteX7124" fmla="*/ 8625095 w 9586368"/>
              <a:gd name="connsiteY7124" fmla="*/ 1453877 h 6479439"/>
              <a:gd name="connsiteX7125" fmla="*/ 8615184 w 9586368"/>
              <a:gd name="connsiteY7125" fmla="*/ 1453877 h 6479439"/>
              <a:gd name="connsiteX7126" fmla="*/ 8611165 w 9586368"/>
              <a:gd name="connsiteY7126" fmla="*/ 1449837 h 6479439"/>
              <a:gd name="connsiteX7127" fmla="*/ 8611165 w 9586368"/>
              <a:gd name="connsiteY7127" fmla="*/ 1439967 h 6479439"/>
              <a:gd name="connsiteX7128" fmla="*/ 1679216 w 9586368"/>
              <a:gd name="connsiteY7128" fmla="*/ 1435922 h 6479439"/>
              <a:gd name="connsiteX7129" fmla="*/ 1689126 w 9586368"/>
              <a:gd name="connsiteY7129" fmla="*/ 1435922 h 6479439"/>
              <a:gd name="connsiteX7130" fmla="*/ 1693146 w 9586368"/>
              <a:gd name="connsiteY7130" fmla="*/ 1439960 h 6479439"/>
              <a:gd name="connsiteX7131" fmla="*/ 1693146 w 9586368"/>
              <a:gd name="connsiteY7131" fmla="*/ 1449831 h 6479439"/>
              <a:gd name="connsiteX7132" fmla="*/ 1689126 w 9586368"/>
              <a:gd name="connsiteY7132" fmla="*/ 1453870 h 6479439"/>
              <a:gd name="connsiteX7133" fmla="*/ 1679216 w 9586368"/>
              <a:gd name="connsiteY7133" fmla="*/ 1453870 h 6479439"/>
              <a:gd name="connsiteX7134" fmla="*/ 1675198 w 9586368"/>
              <a:gd name="connsiteY7134" fmla="*/ 1449831 h 6479439"/>
              <a:gd name="connsiteX7135" fmla="*/ 1675198 w 9586368"/>
              <a:gd name="connsiteY7135" fmla="*/ 1439960 h 6479439"/>
              <a:gd name="connsiteX7136" fmla="*/ 1439900 w 9586368"/>
              <a:gd name="connsiteY7136" fmla="*/ 1435922 h 6479439"/>
              <a:gd name="connsiteX7137" fmla="*/ 1449810 w 9586368"/>
              <a:gd name="connsiteY7137" fmla="*/ 1435922 h 6479439"/>
              <a:gd name="connsiteX7138" fmla="*/ 1453828 w 9586368"/>
              <a:gd name="connsiteY7138" fmla="*/ 1439960 h 6479439"/>
              <a:gd name="connsiteX7139" fmla="*/ 1453828 w 9586368"/>
              <a:gd name="connsiteY7139" fmla="*/ 1449831 h 6479439"/>
              <a:gd name="connsiteX7140" fmla="*/ 1449810 w 9586368"/>
              <a:gd name="connsiteY7140" fmla="*/ 1453870 h 6479439"/>
              <a:gd name="connsiteX7141" fmla="*/ 1439900 w 9586368"/>
              <a:gd name="connsiteY7141" fmla="*/ 1453870 h 6479439"/>
              <a:gd name="connsiteX7142" fmla="*/ 1435880 w 9586368"/>
              <a:gd name="connsiteY7142" fmla="*/ 1449831 h 6479439"/>
              <a:gd name="connsiteX7143" fmla="*/ 1435880 w 9586368"/>
              <a:gd name="connsiteY7143" fmla="*/ 1439960 h 6479439"/>
              <a:gd name="connsiteX7144" fmla="*/ 1200583 w 9586368"/>
              <a:gd name="connsiteY7144" fmla="*/ 1435922 h 6479439"/>
              <a:gd name="connsiteX7145" fmla="*/ 1210493 w 9586368"/>
              <a:gd name="connsiteY7145" fmla="*/ 1435922 h 6479439"/>
              <a:gd name="connsiteX7146" fmla="*/ 1214512 w 9586368"/>
              <a:gd name="connsiteY7146" fmla="*/ 1439960 h 6479439"/>
              <a:gd name="connsiteX7147" fmla="*/ 1214512 w 9586368"/>
              <a:gd name="connsiteY7147" fmla="*/ 1449831 h 6479439"/>
              <a:gd name="connsiteX7148" fmla="*/ 1210493 w 9586368"/>
              <a:gd name="connsiteY7148" fmla="*/ 1453870 h 6479439"/>
              <a:gd name="connsiteX7149" fmla="*/ 1200583 w 9586368"/>
              <a:gd name="connsiteY7149" fmla="*/ 1453870 h 6479439"/>
              <a:gd name="connsiteX7150" fmla="*/ 1196564 w 9586368"/>
              <a:gd name="connsiteY7150" fmla="*/ 1449831 h 6479439"/>
              <a:gd name="connsiteX7151" fmla="*/ 1196564 w 9586368"/>
              <a:gd name="connsiteY7151" fmla="*/ 1439960 h 6479439"/>
              <a:gd name="connsiteX7152" fmla="*/ 961270 w 9586368"/>
              <a:gd name="connsiteY7152" fmla="*/ 1435922 h 6479439"/>
              <a:gd name="connsiteX7153" fmla="*/ 971181 w 9586368"/>
              <a:gd name="connsiteY7153" fmla="*/ 1435922 h 6479439"/>
              <a:gd name="connsiteX7154" fmla="*/ 975200 w 9586368"/>
              <a:gd name="connsiteY7154" fmla="*/ 1439960 h 6479439"/>
              <a:gd name="connsiteX7155" fmla="*/ 975200 w 9586368"/>
              <a:gd name="connsiteY7155" fmla="*/ 1449831 h 6479439"/>
              <a:gd name="connsiteX7156" fmla="*/ 971181 w 9586368"/>
              <a:gd name="connsiteY7156" fmla="*/ 1453870 h 6479439"/>
              <a:gd name="connsiteX7157" fmla="*/ 961270 w 9586368"/>
              <a:gd name="connsiteY7157" fmla="*/ 1453870 h 6479439"/>
              <a:gd name="connsiteX7158" fmla="*/ 957252 w 9586368"/>
              <a:gd name="connsiteY7158" fmla="*/ 1449831 h 6479439"/>
              <a:gd name="connsiteX7159" fmla="*/ 957252 w 9586368"/>
              <a:gd name="connsiteY7159" fmla="*/ 1439960 h 6479439"/>
              <a:gd name="connsiteX7160" fmla="*/ 9572438 w 9586368"/>
              <a:gd name="connsiteY7160" fmla="*/ 1435914 h 6479439"/>
              <a:gd name="connsiteX7161" fmla="*/ 9582349 w 9586368"/>
              <a:gd name="connsiteY7161" fmla="*/ 1435914 h 6479439"/>
              <a:gd name="connsiteX7162" fmla="*/ 9586368 w 9586368"/>
              <a:gd name="connsiteY7162" fmla="*/ 1439952 h 6479439"/>
              <a:gd name="connsiteX7163" fmla="*/ 9586368 w 9586368"/>
              <a:gd name="connsiteY7163" fmla="*/ 1449823 h 6479439"/>
              <a:gd name="connsiteX7164" fmla="*/ 9582349 w 9586368"/>
              <a:gd name="connsiteY7164" fmla="*/ 1453862 h 6479439"/>
              <a:gd name="connsiteX7165" fmla="*/ 9572438 w 9586368"/>
              <a:gd name="connsiteY7165" fmla="*/ 1453862 h 6479439"/>
              <a:gd name="connsiteX7166" fmla="*/ 9568419 w 9586368"/>
              <a:gd name="connsiteY7166" fmla="*/ 1449823 h 6479439"/>
              <a:gd name="connsiteX7167" fmla="*/ 9568419 w 9586368"/>
              <a:gd name="connsiteY7167" fmla="*/ 1439952 h 6479439"/>
              <a:gd name="connsiteX7168" fmla="*/ 1918514 w 9586368"/>
              <a:gd name="connsiteY7168" fmla="*/ 1435912 h 6479439"/>
              <a:gd name="connsiteX7169" fmla="*/ 1928424 w 9586368"/>
              <a:gd name="connsiteY7169" fmla="*/ 1435912 h 6479439"/>
              <a:gd name="connsiteX7170" fmla="*/ 1932443 w 9586368"/>
              <a:gd name="connsiteY7170" fmla="*/ 1439950 h 6479439"/>
              <a:gd name="connsiteX7171" fmla="*/ 1932443 w 9586368"/>
              <a:gd name="connsiteY7171" fmla="*/ 1449821 h 6479439"/>
              <a:gd name="connsiteX7172" fmla="*/ 1928424 w 9586368"/>
              <a:gd name="connsiteY7172" fmla="*/ 1453860 h 6479439"/>
              <a:gd name="connsiteX7173" fmla="*/ 1918514 w 9586368"/>
              <a:gd name="connsiteY7173" fmla="*/ 1453860 h 6479439"/>
              <a:gd name="connsiteX7174" fmla="*/ 1914494 w 9586368"/>
              <a:gd name="connsiteY7174" fmla="*/ 1449821 h 6479439"/>
              <a:gd name="connsiteX7175" fmla="*/ 1914494 w 9586368"/>
              <a:gd name="connsiteY7175" fmla="*/ 1439950 h 6479439"/>
              <a:gd name="connsiteX7176" fmla="*/ 2157823 w 9586368"/>
              <a:gd name="connsiteY7176" fmla="*/ 1435909 h 6479439"/>
              <a:gd name="connsiteX7177" fmla="*/ 2167733 w 9586368"/>
              <a:gd name="connsiteY7177" fmla="*/ 1435909 h 6479439"/>
              <a:gd name="connsiteX7178" fmla="*/ 2171751 w 9586368"/>
              <a:gd name="connsiteY7178" fmla="*/ 1439947 h 6479439"/>
              <a:gd name="connsiteX7179" fmla="*/ 2171751 w 9586368"/>
              <a:gd name="connsiteY7179" fmla="*/ 1449818 h 6479439"/>
              <a:gd name="connsiteX7180" fmla="*/ 2167733 w 9586368"/>
              <a:gd name="connsiteY7180" fmla="*/ 1453857 h 6479439"/>
              <a:gd name="connsiteX7181" fmla="*/ 2157823 w 9586368"/>
              <a:gd name="connsiteY7181" fmla="*/ 1453857 h 6479439"/>
              <a:gd name="connsiteX7182" fmla="*/ 2153803 w 9586368"/>
              <a:gd name="connsiteY7182" fmla="*/ 1449818 h 6479439"/>
              <a:gd name="connsiteX7183" fmla="*/ 2153803 w 9586368"/>
              <a:gd name="connsiteY7183" fmla="*/ 1439947 h 6479439"/>
              <a:gd name="connsiteX7184" fmla="*/ 243347 w 9586368"/>
              <a:gd name="connsiteY7184" fmla="*/ 1435883 h 6479439"/>
              <a:gd name="connsiteX7185" fmla="*/ 253257 w 9586368"/>
              <a:gd name="connsiteY7185" fmla="*/ 1435883 h 6479439"/>
              <a:gd name="connsiteX7186" fmla="*/ 257276 w 9586368"/>
              <a:gd name="connsiteY7186" fmla="*/ 1439920 h 6479439"/>
              <a:gd name="connsiteX7187" fmla="*/ 257276 w 9586368"/>
              <a:gd name="connsiteY7187" fmla="*/ 1449791 h 6479439"/>
              <a:gd name="connsiteX7188" fmla="*/ 253257 w 9586368"/>
              <a:gd name="connsiteY7188" fmla="*/ 1453830 h 6479439"/>
              <a:gd name="connsiteX7189" fmla="*/ 243347 w 9586368"/>
              <a:gd name="connsiteY7189" fmla="*/ 1453830 h 6479439"/>
              <a:gd name="connsiteX7190" fmla="*/ 239328 w 9586368"/>
              <a:gd name="connsiteY7190" fmla="*/ 1449791 h 6479439"/>
              <a:gd name="connsiteX7191" fmla="*/ 239328 w 9586368"/>
              <a:gd name="connsiteY7191" fmla="*/ 1439920 h 6479439"/>
              <a:gd name="connsiteX7192" fmla="*/ 4034 w 9586368"/>
              <a:gd name="connsiteY7192" fmla="*/ 1435883 h 6479439"/>
              <a:gd name="connsiteX7193" fmla="*/ 13944 w 9586368"/>
              <a:gd name="connsiteY7193" fmla="*/ 1435883 h 6479439"/>
              <a:gd name="connsiteX7194" fmla="*/ 17964 w 9586368"/>
              <a:gd name="connsiteY7194" fmla="*/ 1439920 h 6479439"/>
              <a:gd name="connsiteX7195" fmla="*/ 17964 w 9586368"/>
              <a:gd name="connsiteY7195" fmla="*/ 1449791 h 6479439"/>
              <a:gd name="connsiteX7196" fmla="*/ 13944 w 9586368"/>
              <a:gd name="connsiteY7196" fmla="*/ 1453830 h 6479439"/>
              <a:gd name="connsiteX7197" fmla="*/ 4034 w 9586368"/>
              <a:gd name="connsiteY7197" fmla="*/ 1453830 h 6479439"/>
              <a:gd name="connsiteX7198" fmla="*/ 15 w 9586368"/>
              <a:gd name="connsiteY7198" fmla="*/ 1449791 h 6479439"/>
              <a:gd name="connsiteX7199" fmla="*/ 15 w 9586368"/>
              <a:gd name="connsiteY7199" fmla="*/ 1439920 h 6479439"/>
              <a:gd name="connsiteX7200" fmla="*/ 721973 w 9586368"/>
              <a:gd name="connsiteY7200" fmla="*/ 1435882 h 6479439"/>
              <a:gd name="connsiteX7201" fmla="*/ 731883 w 9586368"/>
              <a:gd name="connsiteY7201" fmla="*/ 1435882 h 6479439"/>
              <a:gd name="connsiteX7202" fmla="*/ 735902 w 9586368"/>
              <a:gd name="connsiteY7202" fmla="*/ 1439920 h 6479439"/>
              <a:gd name="connsiteX7203" fmla="*/ 735902 w 9586368"/>
              <a:gd name="connsiteY7203" fmla="*/ 1449791 h 6479439"/>
              <a:gd name="connsiteX7204" fmla="*/ 731883 w 9586368"/>
              <a:gd name="connsiteY7204" fmla="*/ 1453830 h 6479439"/>
              <a:gd name="connsiteX7205" fmla="*/ 721973 w 9586368"/>
              <a:gd name="connsiteY7205" fmla="*/ 1453830 h 6479439"/>
              <a:gd name="connsiteX7206" fmla="*/ 717954 w 9586368"/>
              <a:gd name="connsiteY7206" fmla="*/ 1449791 h 6479439"/>
              <a:gd name="connsiteX7207" fmla="*/ 717954 w 9586368"/>
              <a:gd name="connsiteY7207" fmla="*/ 1439920 h 6479439"/>
              <a:gd name="connsiteX7208" fmla="*/ 482661 w 9586368"/>
              <a:gd name="connsiteY7208" fmla="*/ 1435882 h 6479439"/>
              <a:gd name="connsiteX7209" fmla="*/ 492571 w 9586368"/>
              <a:gd name="connsiteY7209" fmla="*/ 1435882 h 6479439"/>
              <a:gd name="connsiteX7210" fmla="*/ 496590 w 9586368"/>
              <a:gd name="connsiteY7210" fmla="*/ 1439920 h 6479439"/>
              <a:gd name="connsiteX7211" fmla="*/ 496590 w 9586368"/>
              <a:gd name="connsiteY7211" fmla="*/ 1449791 h 6479439"/>
              <a:gd name="connsiteX7212" fmla="*/ 492571 w 9586368"/>
              <a:gd name="connsiteY7212" fmla="*/ 1453830 h 6479439"/>
              <a:gd name="connsiteX7213" fmla="*/ 482661 w 9586368"/>
              <a:gd name="connsiteY7213" fmla="*/ 1453830 h 6479439"/>
              <a:gd name="connsiteX7214" fmla="*/ 478642 w 9586368"/>
              <a:gd name="connsiteY7214" fmla="*/ 1449791 h 6479439"/>
              <a:gd name="connsiteX7215" fmla="*/ 478642 w 9586368"/>
              <a:gd name="connsiteY7215" fmla="*/ 1439920 h 6479439"/>
              <a:gd name="connsiteX7216" fmla="*/ 3350359 w 9586368"/>
              <a:gd name="connsiteY7216" fmla="*/ 1196701 h 6479439"/>
              <a:gd name="connsiteX7217" fmla="*/ 3360268 w 9586368"/>
              <a:gd name="connsiteY7217" fmla="*/ 1196701 h 6479439"/>
              <a:gd name="connsiteX7218" fmla="*/ 3364287 w 9586368"/>
              <a:gd name="connsiteY7218" fmla="*/ 1200738 h 6479439"/>
              <a:gd name="connsiteX7219" fmla="*/ 3364287 w 9586368"/>
              <a:gd name="connsiteY7219" fmla="*/ 1210610 h 6479439"/>
              <a:gd name="connsiteX7220" fmla="*/ 3360268 w 9586368"/>
              <a:gd name="connsiteY7220" fmla="*/ 1214650 h 6479439"/>
              <a:gd name="connsiteX7221" fmla="*/ 3350359 w 9586368"/>
              <a:gd name="connsiteY7221" fmla="*/ 1214650 h 6479439"/>
              <a:gd name="connsiteX7222" fmla="*/ 3346340 w 9586368"/>
              <a:gd name="connsiteY7222" fmla="*/ 1210610 h 6479439"/>
              <a:gd name="connsiteX7223" fmla="*/ 3346340 w 9586368"/>
              <a:gd name="connsiteY7223" fmla="*/ 1200738 h 6479439"/>
              <a:gd name="connsiteX7224" fmla="*/ 3111048 w 9586368"/>
              <a:gd name="connsiteY7224" fmla="*/ 1196701 h 6479439"/>
              <a:gd name="connsiteX7225" fmla="*/ 3120959 w 9586368"/>
              <a:gd name="connsiteY7225" fmla="*/ 1196701 h 6479439"/>
              <a:gd name="connsiteX7226" fmla="*/ 3124977 w 9586368"/>
              <a:gd name="connsiteY7226" fmla="*/ 1200738 h 6479439"/>
              <a:gd name="connsiteX7227" fmla="*/ 3124977 w 9586368"/>
              <a:gd name="connsiteY7227" fmla="*/ 1210610 h 6479439"/>
              <a:gd name="connsiteX7228" fmla="*/ 3120959 w 9586368"/>
              <a:gd name="connsiteY7228" fmla="*/ 1214650 h 6479439"/>
              <a:gd name="connsiteX7229" fmla="*/ 3111048 w 9586368"/>
              <a:gd name="connsiteY7229" fmla="*/ 1214650 h 6479439"/>
              <a:gd name="connsiteX7230" fmla="*/ 3107029 w 9586368"/>
              <a:gd name="connsiteY7230" fmla="*/ 1210610 h 6479439"/>
              <a:gd name="connsiteX7231" fmla="*/ 3107029 w 9586368"/>
              <a:gd name="connsiteY7231" fmla="*/ 1200738 h 6479439"/>
              <a:gd name="connsiteX7232" fmla="*/ 2871737 w 9586368"/>
              <a:gd name="connsiteY7232" fmla="*/ 1196701 h 6479439"/>
              <a:gd name="connsiteX7233" fmla="*/ 2881646 w 9586368"/>
              <a:gd name="connsiteY7233" fmla="*/ 1196701 h 6479439"/>
              <a:gd name="connsiteX7234" fmla="*/ 2885666 w 9586368"/>
              <a:gd name="connsiteY7234" fmla="*/ 1200738 h 6479439"/>
              <a:gd name="connsiteX7235" fmla="*/ 2885666 w 9586368"/>
              <a:gd name="connsiteY7235" fmla="*/ 1210610 h 6479439"/>
              <a:gd name="connsiteX7236" fmla="*/ 2881646 w 9586368"/>
              <a:gd name="connsiteY7236" fmla="*/ 1214650 h 6479439"/>
              <a:gd name="connsiteX7237" fmla="*/ 2871737 w 9586368"/>
              <a:gd name="connsiteY7237" fmla="*/ 1214650 h 6479439"/>
              <a:gd name="connsiteX7238" fmla="*/ 2867717 w 9586368"/>
              <a:gd name="connsiteY7238" fmla="*/ 1210610 h 6479439"/>
              <a:gd name="connsiteX7239" fmla="*/ 2867717 w 9586368"/>
              <a:gd name="connsiteY7239" fmla="*/ 1200738 h 6479439"/>
              <a:gd name="connsiteX7240" fmla="*/ 2632423 w 9586368"/>
              <a:gd name="connsiteY7240" fmla="*/ 1196701 h 6479439"/>
              <a:gd name="connsiteX7241" fmla="*/ 2642334 w 9586368"/>
              <a:gd name="connsiteY7241" fmla="*/ 1196701 h 6479439"/>
              <a:gd name="connsiteX7242" fmla="*/ 2646352 w 9586368"/>
              <a:gd name="connsiteY7242" fmla="*/ 1200740 h 6479439"/>
              <a:gd name="connsiteX7243" fmla="*/ 2646352 w 9586368"/>
              <a:gd name="connsiteY7243" fmla="*/ 1210610 h 6479439"/>
              <a:gd name="connsiteX7244" fmla="*/ 2642334 w 9586368"/>
              <a:gd name="connsiteY7244" fmla="*/ 1214650 h 6479439"/>
              <a:gd name="connsiteX7245" fmla="*/ 2632423 w 9586368"/>
              <a:gd name="connsiteY7245" fmla="*/ 1214650 h 6479439"/>
              <a:gd name="connsiteX7246" fmla="*/ 2628404 w 9586368"/>
              <a:gd name="connsiteY7246" fmla="*/ 1210610 h 6479439"/>
              <a:gd name="connsiteX7247" fmla="*/ 2628404 w 9586368"/>
              <a:gd name="connsiteY7247" fmla="*/ 1200740 h 6479439"/>
              <a:gd name="connsiteX7248" fmla="*/ 2393104 w 9586368"/>
              <a:gd name="connsiteY7248" fmla="*/ 1196701 h 6479439"/>
              <a:gd name="connsiteX7249" fmla="*/ 2403015 w 9586368"/>
              <a:gd name="connsiteY7249" fmla="*/ 1196701 h 6479439"/>
              <a:gd name="connsiteX7250" fmla="*/ 2407034 w 9586368"/>
              <a:gd name="connsiteY7250" fmla="*/ 1200740 h 6479439"/>
              <a:gd name="connsiteX7251" fmla="*/ 2407034 w 9586368"/>
              <a:gd name="connsiteY7251" fmla="*/ 1210610 h 6479439"/>
              <a:gd name="connsiteX7252" fmla="*/ 2403015 w 9586368"/>
              <a:gd name="connsiteY7252" fmla="*/ 1214650 h 6479439"/>
              <a:gd name="connsiteX7253" fmla="*/ 2393104 w 9586368"/>
              <a:gd name="connsiteY7253" fmla="*/ 1214650 h 6479439"/>
              <a:gd name="connsiteX7254" fmla="*/ 2389087 w 9586368"/>
              <a:gd name="connsiteY7254" fmla="*/ 1210610 h 6479439"/>
              <a:gd name="connsiteX7255" fmla="*/ 2389087 w 9586368"/>
              <a:gd name="connsiteY7255" fmla="*/ 1200740 h 6479439"/>
              <a:gd name="connsiteX7256" fmla="*/ 4546929 w 9586368"/>
              <a:gd name="connsiteY7256" fmla="*/ 1196689 h 6479439"/>
              <a:gd name="connsiteX7257" fmla="*/ 4556840 w 9586368"/>
              <a:gd name="connsiteY7257" fmla="*/ 1196689 h 6479439"/>
              <a:gd name="connsiteX7258" fmla="*/ 4560859 w 9586368"/>
              <a:gd name="connsiteY7258" fmla="*/ 1200726 h 6479439"/>
              <a:gd name="connsiteX7259" fmla="*/ 4560859 w 9586368"/>
              <a:gd name="connsiteY7259" fmla="*/ 1210598 h 6479439"/>
              <a:gd name="connsiteX7260" fmla="*/ 4556840 w 9586368"/>
              <a:gd name="connsiteY7260" fmla="*/ 1214637 h 6479439"/>
              <a:gd name="connsiteX7261" fmla="*/ 4546929 w 9586368"/>
              <a:gd name="connsiteY7261" fmla="*/ 1214637 h 6479439"/>
              <a:gd name="connsiteX7262" fmla="*/ 4542910 w 9586368"/>
              <a:gd name="connsiteY7262" fmla="*/ 1210598 h 6479439"/>
              <a:gd name="connsiteX7263" fmla="*/ 4542910 w 9586368"/>
              <a:gd name="connsiteY7263" fmla="*/ 1200726 h 6479439"/>
              <a:gd name="connsiteX7264" fmla="*/ 4307612 w 9586368"/>
              <a:gd name="connsiteY7264" fmla="*/ 1196689 h 6479439"/>
              <a:gd name="connsiteX7265" fmla="*/ 4317523 w 9586368"/>
              <a:gd name="connsiteY7265" fmla="*/ 1196689 h 6479439"/>
              <a:gd name="connsiteX7266" fmla="*/ 4321543 w 9586368"/>
              <a:gd name="connsiteY7266" fmla="*/ 1200726 h 6479439"/>
              <a:gd name="connsiteX7267" fmla="*/ 4321543 w 9586368"/>
              <a:gd name="connsiteY7267" fmla="*/ 1210598 h 6479439"/>
              <a:gd name="connsiteX7268" fmla="*/ 4317523 w 9586368"/>
              <a:gd name="connsiteY7268" fmla="*/ 1214637 h 6479439"/>
              <a:gd name="connsiteX7269" fmla="*/ 4307612 w 9586368"/>
              <a:gd name="connsiteY7269" fmla="*/ 1214637 h 6479439"/>
              <a:gd name="connsiteX7270" fmla="*/ 4303595 w 9586368"/>
              <a:gd name="connsiteY7270" fmla="*/ 1210598 h 6479439"/>
              <a:gd name="connsiteX7271" fmla="*/ 4303595 w 9586368"/>
              <a:gd name="connsiteY7271" fmla="*/ 1200726 h 6479439"/>
              <a:gd name="connsiteX7272" fmla="*/ 4068297 w 9586368"/>
              <a:gd name="connsiteY7272" fmla="*/ 1196689 h 6479439"/>
              <a:gd name="connsiteX7273" fmla="*/ 4078210 w 9586368"/>
              <a:gd name="connsiteY7273" fmla="*/ 1196689 h 6479439"/>
              <a:gd name="connsiteX7274" fmla="*/ 4082229 w 9586368"/>
              <a:gd name="connsiteY7274" fmla="*/ 1200726 h 6479439"/>
              <a:gd name="connsiteX7275" fmla="*/ 4082229 w 9586368"/>
              <a:gd name="connsiteY7275" fmla="*/ 1210598 h 6479439"/>
              <a:gd name="connsiteX7276" fmla="*/ 4078210 w 9586368"/>
              <a:gd name="connsiteY7276" fmla="*/ 1214637 h 6479439"/>
              <a:gd name="connsiteX7277" fmla="*/ 4068297 w 9586368"/>
              <a:gd name="connsiteY7277" fmla="*/ 1214637 h 6479439"/>
              <a:gd name="connsiteX7278" fmla="*/ 4064278 w 9586368"/>
              <a:gd name="connsiteY7278" fmla="*/ 1210598 h 6479439"/>
              <a:gd name="connsiteX7279" fmla="*/ 4064278 w 9586368"/>
              <a:gd name="connsiteY7279" fmla="*/ 1200726 h 6479439"/>
              <a:gd name="connsiteX7280" fmla="*/ 3828990 w 9586368"/>
              <a:gd name="connsiteY7280" fmla="*/ 1196689 h 6479439"/>
              <a:gd name="connsiteX7281" fmla="*/ 3838899 w 9586368"/>
              <a:gd name="connsiteY7281" fmla="*/ 1196689 h 6479439"/>
              <a:gd name="connsiteX7282" fmla="*/ 3842917 w 9586368"/>
              <a:gd name="connsiteY7282" fmla="*/ 1200728 h 6479439"/>
              <a:gd name="connsiteX7283" fmla="*/ 3842917 w 9586368"/>
              <a:gd name="connsiteY7283" fmla="*/ 1210598 h 6479439"/>
              <a:gd name="connsiteX7284" fmla="*/ 3838899 w 9586368"/>
              <a:gd name="connsiteY7284" fmla="*/ 1214637 h 6479439"/>
              <a:gd name="connsiteX7285" fmla="*/ 3828990 w 9586368"/>
              <a:gd name="connsiteY7285" fmla="*/ 1214637 h 6479439"/>
              <a:gd name="connsiteX7286" fmla="*/ 3824971 w 9586368"/>
              <a:gd name="connsiteY7286" fmla="*/ 1210598 h 6479439"/>
              <a:gd name="connsiteX7287" fmla="*/ 3824971 w 9586368"/>
              <a:gd name="connsiteY7287" fmla="*/ 1200728 h 6479439"/>
              <a:gd name="connsiteX7288" fmla="*/ 3589676 w 9586368"/>
              <a:gd name="connsiteY7288" fmla="*/ 1196689 h 6479439"/>
              <a:gd name="connsiteX7289" fmla="*/ 3599585 w 9586368"/>
              <a:gd name="connsiteY7289" fmla="*/ 1196689 h 6479439"/>
              <a:gd name="connsiteX7290" fmla="*/ 3603604 w 9586368"/>
              <a:gd name="connsiteY7290" fmla="*/ 1200728 h 6479439"/>
              <a:gd name="connsiteX7291" fmla="*/ 3603604 w 9586368"/>
              <a:gd name="connsiteY7291" fmla="*/ 1210598 h 6479439"/>
              <a:gd name="connsiteX7292" fmla="*/ 3599585 w 9586368"/>
              <a:gd name="connsiteY7292" fmla="*/ 1214637 h 6479439"/>
              <a:gd name="connsiteX7293" fmla="*/ 3589676 w 9586368"/>
              <a:gd name="connsiteY7293" fmla="*/ 1214637 h 6479439"/>
              <a:gd name="connsiteX7294" fmla="*/ 3585657 w 9586368"/>
              <a:gd name="connsiteY7294" fmla="*/ 1210598 h 6479439"/>
              <a:gd name="connsiteX7295" fmla="*/ 3585657 w 9586368"/>
              <a:gd name="connsiteY7295" fmla="*/ 1200728 h 6479439"/>
              <a:gd name="connsiteX7296" fmla="*/ 5743412 w 9586368"/>
              <a:gd name="connsiteY7296" fmla="*/ 1196676 h 6479439"/>
              <a:gd name="connsiteX7297" fmla="*/ 5753323 w 9586368"/>
              <a:gd name="connsiteY7297" fmla="*/ 1196676 h 6479439"/>
              <a:gd name="connsiteX7298" fmla="*/ 5757342 w 9586368"/>
              <a:gd name="connsiteY7298" fmla="*/ 1200714 h 6479439"/>
              <a:gd name="connsiteX7299" fmla="*/ 5757342 w 9586368"/>
              <a:gd name="connsiteY7299" fmla="*/ 1210586 h 6479439"/>
              <a:gd name="connsiteX7300" fmla="*/ 5753323 w 9586368"/>
              <a:gd name="connsiteY7300" fmla="*/ 1214625 h 6479439"/>
              <a:gd name="connsiteX7301" fmla="*/ 5743412 w 9586368"/>
              <a:gd name="connsiteY7301" fmla="*/ 1214625 h 6479439"/>
              <a:gd name="connsiteX7302" fmla="*/ 5739393 w 9586368"/>
              <a:gd name="connsiteY7302" fmla="*/ 1210586 h 6479439"/>
              <a:gd name="connsiteX7303" fmla="*/ 5739393 w 9586368"/>
              <a:gd name="connsiteY7303" fmla="*/ 1200714 h 6479439"/>
              <a:gd name="connsiteX7304" fmla="*/ 5504099 w 9586368"/>
              <a:gd name="connsiteY7304" fmla="*/ 1196676 h 6479439"/>
              <a:gd name="connsiteX7305" fmla="*/ 5514010 w 9586368"/>
              <a:gd name="connsiteY7305" fmla="*/ 1196676 h 6479439"/>
              <a:gd name="connsiteX7306" fmla="*/ 5518029 w 9586368"/>
              <a:gd name="connsiteY7306" fmla="*/ 1200714 h 6479439"/>
              <a:gd name="connsiteX7307" fmla="*/ 5518029 w 9586368"/>
              <a:gd name="connsiteY7307" fmla="*/ 1210586 h 6479439"/>
              <a:gd name="connsiteX7308" fmla="*/ 5514010 w 9586368"/>
              <a:gd name="connsiteY7308" fmla="*/ 1214625 h 6479439"/>
              <a:gd name="connsiteX7309" fmla="*/ 5504099 w 9586368"/>
              <a:gd name="connsiteY7309" fmla="*/ 1214625 h 6479439"/>
              <a:gd name="connsiteX7310" fmla="*/ 5500080 w 9586368"/>
              <a:gd name="connsiteY7310" fmla="*/ 1210586 h 6479439"/>
              <a:gd name="connsiteX7311" fmla="*/ 5500080 w 9586368"/>
              <a:gd name="connsiteY7311" fmla="*/ 1200714 h 6479439"/>
              <a:gd name="connsiteX7312" fmla="*/ 5264784 w 9586368"/>
              <a:gd name="connsiteY7312" fmla="*/ 1196676 h 6479439"/>
              <a:gd name="connsiteX7313" fmla="*/ 5274694 w 9586368"/>
              <a:gd name="connsiteY7313" fmla="*/ 1196676 h 6479439"/>
              <a:gd name="connsiteX7314" fmla="*/ 5278713 w 9586368"/>
              <a:gd name="connsiteY7314" fmla="*/ 1200714 h 6479439"/>
              <a:gd name="connsiteX7315" fmla="*/ 5278713 w 9586368"/>
              <a:gd name="connsiteY7315" fmla="*/ 1210586 h 6479439"/>
              <a:gd name="connsiteX7316" fmla="*/ 5274694 w 9586368"/>
              <a:gd name="connsiteY7316" fmla="*/ 1214625 h 6479439"/>
              <a:gd name="connsiteX7317" fmla="*/ 5264784 w 9586368"/>
              <a:gd name="connsiteY7317" fmla="*/ 1214625 h 6479439"/>
              <a:gd name="connsiteX7318" fmla="*/ 5260765 w 9586368"/>
              <a:gd name="connsiteY7318" fmla="*/ 1210586 h 6479439"/>
              <a:gd name="connsiteX7319" fmla="*/ 5260765 w 9586368"/>
              <a:gd name="connsiteY7319" fmla="*/ 1200714 h 6479439"/>
              <a:gd name="connsiteX7320" fmla="*/ 5025470 w 9586368"/>
              <a:gd name="connsiteY7320" fmla="*/ 1196676 h 6479439"/>
              <a:gd name="connsiteX7321" fmla="*/ 5035381 w 9586368"/>
              <a:gd name="connsiteY7321" fmla="*/ 1196676 h 6479439"/>
              <a:gd name="connsiteX7322" fmla="*/ 5039400 w 9586368"/>
              <a:gd name="connsiteY7322" fmla="*/ 1200715 h 6479439"/>
              <a:gd name="connsiteX7323" fmla="*/ 5039400 w 9586368"/>
              <a:gd name="connsiteY7323" fmla="*/ 1210586 h 6479439"/>
              <a:gd name="connsiteX7324" fmla="*/ 5035381 w 9586368"/>
              <a:gd name="connsiteY7324" fmla="*/ 1214625 h 6479439"/>
              <a:gd name="connsiteX7325" fmla="*/ 5025470 w 9586368"/>
              <a:gd name="connsiteY7325" fmla="*/ 1214625 h 6479439"/>
              <a:gd name="connsiteX7326" fmla="*/ 5021451 w 9586368"/>
              <a:gd name="connsiteY7326" fmla="*/ 1210586 h 6479439"/>
              <a:gd name="connsiteX7327" fmla="*/ 5021451 w 9586368"/>
              <a:gd name="connsiteY7327" fmla="*/ 1200715 h 6479439"/>
              <a:gd name="connsiteX7328" fmla="*/ 4786241 w 9586368"/>
              <a:gd name="connsiteY7328" fmla="*/ 1196676 h 6479439"/>
              <a:gd name="connsiteX7329" fmla="*/ 4796152 w 9586368"/>
              <a:gd name="connsiteY7329" fmla="*/ 1196676 h 6479439"/>
              <a:gd name="connsiteX7330" fmla="*/ 4800171 w 9586368"/>
              <a:gd name="connsiteY7330" fmla="*/ 1200715 h 6479439"/>
              <a:gd name="connsiteX7331" fmla="*/ 4800171 w 9586368"/>
              <a:gd name="connsiteY7331" fmla="*/ 1210586 h 6479439"/>
              <a:gd name="connsiteX7332" fmla="*/ 4796152 w 9586368"/>
              <a:gd name="connsiteY7332" fmla="*/ 1214625 h 6479439"/>
              <a:gd name="connsiteX7333" fmla="*/ 4786241 w 9586368"/>
              <a:gd name="connsiteY7333" fmla="*/ 1214625 h 6479439"/>
              <a:gd name="connsiteX7334" fmla="*/ 4782224 w 9586368"/>
              <a:gd name="connsiteY7334" fmla="*/ 1210586 h 6479439"/>
              <a:gd name="connsiteX7335" fmla="*/ 4782224 w 9586368"/>
              <a:gd name="connsiteY7335" fmla="*/ 1200715 h 6479439"/>
              <a:gd name="connsiteX7336" fmla="*/ 6222042 w 9586368"/>
              <a:gd name="connsiteY7336" fmla="*/ 1196664 h 6479439"/>
              <a:gd name="connsiteX7337" fmla="*/ 6231952 w 9586368"/>
              <a:gd name="connsiteY7337" fmla="*/ 1196664 h 6479439"/>
              <a:gd name="connsiteX7338" fmla="*/ 6235971 w 9586368"/>
              <a:gd name="connsiteY7338" fmla="*/ 1200703 h 6479439"/>
              <a:gd name="connsiteX7339" fmla="*/ 6235971 w 9586368"/>
              <a:gd name="connsiteY7339" fmla="*/ 1210573 h 6479439"/>
              <a:gd name="connsiteX7340" fmla="*/ 6231952 w 9586368"/>
              <a:gd name="connsiteY7340" fmla="*/ 1214612 h 6479439"/>
              <a:gd name="connsiteX7341" fmla="*/ 6222042 w 9586368"/>
              <a:gd name="connsiteY7341" fmla="*/ 1214612 h 6479439"/>
              <a:gd name="connsiteX7342" fmla="*/ 6218023 w 9586368"/>
              <a:gd name="connsiteY7342" fmla="*/ 1210573 h 6479439"/>
              <a:gd name="connsiteX7343" fmla="*/ 6218023 w 9586368"/>
              <a:gd name="connsiteY7343" fmla="*/ 1200703 h 6479439"/>
              <a:gd name="connsiteX7344" fmla="*/ 5982729 w 9586368"/>
              <a:gd name="connsiteY7344" fmla="*/ 1196664 h 6479439"/>
              <a:gd name="connsiteX7345" fmla="*/ 5992639 w 9586368"/>
              <a:gd name="connsiteY7345" fmla="*/ 1196664 h 6479439"/>
              <a:gd name="connsiteX7346" fmla="*/ 5996658 w 9586368"/>
              <a:gd name="connsiteY7346" fmla="*/ 1200703 h 6479439"/>
              <a:gd name="connsiteX7347" fmla="*/ 5996658 w 9586368"/>
              <a:gd name="connsiteY7347" fmla="*/ 1210573 h 6479439"/>
              <a:gd name="connsiteX7348" fmla="*/ 5992639 w 9586368"/>
              <a:gd name="connsiteY7348" fmla="*/ 1214612 h 6479439"/>
              <a:gd name="connsiteX7349" fmla="*/ 5982729 w 9586368"/>
              <a:gd name="connsiteY7349" fmla="*/ 1214612 h 6479439"/>
              <a:gd name="connsiteX7350" fmla="*/ 5978710 w 9586368"/>
              <a:gd name="connsiteY7350" fmla="*/ 1210573 h 6479439"/>
              <a:gd name="connsiteX7351" fmla="*/ 5978710 w 9586368"/>
              <a:gd name="connsiteY7351" fmla="*/ 1200703 h 6479439"/>
              <a:gd name="connsiteX7352" fmla="*/ 6939983 w 9586368"/>
              <a:gd name="connsiteY7352" fmla="*/ 1196664 h 6479439"/>
              <a:gd name="connsiteX7353" fmla="*/ 6949894 w 9586368"/>
              <a:gd name="connsiteY7353" fmla="*/ 1196664 h 6479439"/>
              <a:gd name="connsiteX7354" fmla="*/ 6953913 w 9586368"/>
              <a:gd name="connsiteY7354" fmla="*/ 1200702 h 6479439"/>
              <a:gd name="connsiteX7355" fmla="*/ 6953913 w 9586368"/>
              <a:gd name="connsiteY7355" fmla="*/ 1210573 h 6479439"/>
              <a:gd name="connsiteX7356" fmla="*/ 6949894 w 9586368"/>
              <a:gd name="connsiteY7356" fmla="*/ 1214612 h 6479439"/>
              <a:gd name="connsiteX7357" fmla="*/ 6939983 w 9586368"/>
              <a:gd name="connsiteY7357" fmla="*/ 1214612 h 6479439"/>
              <a:gd name="connsiteX7358" fmla="*/ 6935964 w 9586368"/>
              <a:gd name="connsiteY7358" fmla="*/ 1210573 h 6479439"/>
              <a:gd name="connsiteX7359" fmla="*/ 6935964 w 9586368"/>
              <a:gd name="connsiteY7359" fmla="*/ 1200702 h 6479439"/>
              <a:gd name="connsiteX7360" fmla="*/ 6700670 w 9586368"/>
              <a:gd name="connsiteY7360" fmla="*/ 1196664 h 6479439"/>
              <a:gd name="connsiteX7361" fmla="*/ 6710581 w 9586368"/>
              <a:gd name="connsiteY7361" fmla="*/ 1196664 h 6479439"/>
              <a:gd name="connsiteX7362" fmla="*/ 6714600 w 9586368"/>
              <a:gd name="connsiteY7362" fmla="*/ 1200702 h 6479439"/>
              <a:gd name="connsiteX7363" fmla="*/ 6714600 w 9586368"/>
              <a:gd name="connsiteY7363" fmla="*/ 1210573 h 6479439"/>
              <a:gd name="connsiteX7364" fmla="*/ 6710581 w 9586368"/>
              <a:gd name="connsiteY7364" fmla="*/ 1214612 h 6479439"/>
              <a:gd name="connsiteX7365" fmla="*/ 6700670 w 9586368"/>
              <a:gd name="connsiteY7365" fmla="*/ 1214612 h 6479439"/>
              <a:gd name="connsiteX7366" fmla="*/ 6696651 w 9586368"/>
              <a:gd name="connsiteY7366" fmla="*/ 1210573 h 6479439"/>
              <a:gd name="connsiteX7367" fmla="*/ 6696651 w 9586368"/>
              <a:gd name="connsiteY7367" fmla="*/ 1200702 h 6479439"/>
              <a:gd name="connsiteX7368" fmla="*/ 6461356 w 9586368"/>
              <a:gd name="connsiteY7368" fmla="*/ 1196664 h 6479439"/>
              <a:gd name="connsiteX7369" fmla="*/ 6471266 w 9586368"/>
              <a:gd name="connsiteY7369" fmla="*/ 1196664 h 6479439"/>
              <a:gd name="connsiteX7370" fmla="*/ 6475285 w 9586368"/>
              <a:gd name="connsiteY7370" fmla="*/ 1200702 h 6479439"/>
              <a:gd name="connsiteX7371" fmla="*/ 6475285 w 9586368"/>
              <a:gd name="connsiteY7371" fmla="*/ 1210573 h 6479439"/>
              <a:gd name="connsiteX7372" fmla="*/ 6471266 w 9586368"/>
              <a:gd name="connsiteY7372" fmla="*/ 1214612 h 6479439"/>
              <a:gd name="connsiteX7373" fmla="*/ 6461356 w 9586368"/>
              <a:gd name="connsiteY7373" fmla="*/ 1214612 h 6479439"/>
              <a:gd name="connsiteX7374" fmla="*/ 6457337 w 9586368"/>
              <a:gd name="connsiteY7374" fmla="*/ 1210573 h 6479439"/>
              <a:gd name="connsiteX7375" fmla="*/ 6457337 w 9586368"/>
              <a:gd name="connsiteY7375" fmla="*/ 1200702 h 6479439"/>
              <a:gd name="connsiteX7376" fmla="*/ 7418611 w 9586368"/>
              <a:gd name="connsiteY7376" fmla="*/ 1196652 h 6479439"/>
              <a:gd name="connsiteX7377" fmla="*/ 7428521 w 9586368"/>
              <a:gd name="connsiteY7377" fmla="*/ 1196652 h 6479439"/>
              <a:gd name="connsiteX7378" fmla="*/ 7432540 w 9586368"/>
              <a:gd name="connsiteY7378" fmla="*/ 1200690 h 6479439"/>
              <a:gd name="connsiteX7379" fmla="*/ 7432540 w 9586368"/>
              <a:gd name="connsiteY7379" fmla="*/ 1210561 h 6479439"/>
              <a:gd name="connsiteX7380" fmla="*/ 7428521 w 9586368"/>
              <a:gd name="connsiteY7380" fmla="*/ 1214600 h 6479439"/>
              <a:gd name="connsiteX7381" fmla="*/ 7418611 w 9586368"/>
              <a:gd name="connsiteY7381" fmla="*/ 1214600 h 6479439"/>
              <a:gd name="connsiteX7382" fmla="*/ 7414592 w 9586368"/>
              <a:gd name="connsiteY7382" fmla="*/ 1210561 h 6479439"/>
              <a:gd name="connsiteX7383" fmla="*/ 7414592 w 9586368"/>
              <a:gd name="connsiteY7383" fmla="*/ 1200690 h 6479439"/>
              <a:gd name="connsiteX7384" fmla="*/ 7179298 w 9586368"/>
              <a:gd name="connsiteY7384" fmla="*/ 1196652 h 6479439"/>
              <a:gd name="connsiteX7385" fmla="*/ 7189209 w 9586368"/>
              <a:gd name="connsiteY7385" fmla="*/ 1196652 h 6479439"/>
              <a:gd name="connsiteX7386" fmla="*/ 7193228 w 9586368"/>
              <a:gd name="connsiteY7386" fmla="*/ 1200690 h 6479439"/>
              <a:gd name="connsiteX7387" fmla="*/ 7193228 w 9586368"/>
              <a:gd name="connsiteY7387" fmla="*/ 1210561 h 6479439"/>
              <a:gd name="connsiteX7388" fmla="*/ 7189209 w 9586368"/>
              <a:gd name="connsiteY7388" fmla="*/ 1214600 h 6479439"/>
              <a:gd name="connsiteX7389" fmla="*/ 7179298 w 9586368"/>
              <a:gd name="connsiteY7389" fmla="*/ 1214600 h 6479439"/>
              <a:gd name="connsiteX7390" fmla="*/ 7175279 w 9586368"/>
              <a:gd name="connsiteY7390" fmla="*/ 1210561 h 6479439"/>
              <a:gd name="connsiteX7391" fmla="*/ 7175279 w 9586368"/>
              <a:gd name="connsiteY7391" fmla="*/ 1200690 h 6479439"/>
              <a:gd name="connsiteX7392" fmla="*/ 8136553 w 9586368"/>
              <a:gd name="connsiteY7392" fmla="*/ 1196651 h 6479439"/>
              <a:gd name="connsiteX7393" fmla="*/ 8146464 w 9586368"/>
              <a:gd name="connsiteY7393" fmla="*/ 1196651 h 6479439"/>
              <a:gd name="connsiteX7394" fmla="*/ 8150483 w 9586368"/>
              <a:gd name="connsiteY7394" fmla="*/ 1200689 h 6479439"/>
              <a:gd name="connsiteX7395" fmla="*/ 8150483 w 9586368"/>
              <a:gd name="connsiteY7395" fmla="*/ 1210561 h 6479439"/>
              <a:gd name="connsiteX7396" fmla="*/ 8146464 w 9586368"/>
              <a:gd name="connsiteY7396" fmla="*/ 1214600 h 6479439"/>
              <a:gd name="connsiteX7397" fmla="*/ 8136553 w 9586368"/>
              <a:gd name="connsiteY7397" fmla="*/ 1214600 h 6479439"/>
              <a:gd name="connsiteX7398" fmla="*/ 8132534 w 9586368"/>
              <a:gd name="connsiteY7398" fmla="*/ 1210561 h 6479439"/>
              <a:gd name="connsiteX7399" fmla="*/ 8132534 w 9586368"/>
              <a:gd name="connsiteY7399" fmla="*/ 1200689 h 6479439"/>
              <a:gd name="connsiteX7400" fmla="*/ 7897241 w 9586368"/>
              <a:gd name="connsiteY7400" fmla="*/ 1196651 h 6479439"/>
              <a:gd name="connsiteX7401" fmla="*/ 7907151 w 9586368"/>
              <a:gd name="connsiteY7401" fmla="*/ 1196651 h 6479439"/>
              <a:gd name="connsiteX7402" fmla="*/ 7911170 w 9586368"/>
              <a:gd name="connsiteY7402" fmla="*/ 1200689 h 6479439"/>
              <a:gd name="connsiteX7403" fmla="*/ 7911170 w 9586368"/>
              <a:gd name="connsiteY7403" fmla="*/ 1210561 h 6479439"/>
              <a:gd name="connsiteX7404" fmla="*/ 7907151 w 9586368"/>
              <a:gd name="connsiteY7404" fmla="*/ 1214600 h 6479439"/>
              <a:gd name="connsiteX7405" fmla="*/ 7897241 w 9586368"/>
              <a:gd name="connsiteY7405" fmla="*/ 1214600 h 6479439"/>
              <a:gd name="connsiteX7406" fmla="*/ 7893222 w 9586368"/>
              <a:gd name="connsiteY7406" fmla="*/ 1210561 h 6479439"/>
              <a:gd name="connsiteX7407" fmla="*/ 7893222 w 9586368"/>
              <a:gd name="connsiteY7407" fmla="*/ 1200689 h 6479439"/>
              <a:gd name="connsiteX7408" fmla="*/ 7657926 w 9586368"/>
              <a:gd name="connsiteY7408" fmla="*/ 1196651 h 6479439"/>
              <a:gd name="connsiteX7409" fmla="*/ 7667836 w 9586368"/>
              <a:gd name="connsiteY7409" fmla="*/ 1196651 h 6479439"/>
              <a:gd name="connsiteX7410" fmla="*/ 7671855 w 9586368"/>
              <a:gd name="connsiteY7410" fmla="*/ 1200689 h 6479439"/>
              <a:gd name="connsiteX7411" fmla="*/ 7671855 w 9586368"/>
              <a:gd name="connsiteY7411" fmla="*/ 1210561 h 6479439"/>
              <a:gd name="connsiteX7412" fmla="*/ 7667836 w 9586368"/>
              <a:gd name="connsiteY7412" fmla="*/ 1214600 h 6479439"/>
              <a:gd name="connsiteX7413" fmla="*/ 7657926 w 9586368"/>
              <a:gd name="connsiteY7413" fmla="*/ 1214600 h 6479439"/>
              <a:gd name="connsiteX7414" fmla="*/ 7653906 w 9586368"/>
              <a:gd name="connsiteY7414" fmla="*/ 1210561 h 6479439"/>
              <a:gd name="connsiteX7415" fmla="*/ 7653906 w 9586368"/>
              <a:gd name="connsiteY7415" fmla="*/ 1200689 h 6479439"/>
              <a:gd name="connsiteX7416" fmla="*/ 8615184 w 9586368"/>
              <a:gd name="connsiteY7416" fmla="*/ 1196639 h 6479439"/>
              <a:gd name="connsiteX7417" fmla="*/ 8625095 w 9586368"/>
              <a:gd name="connsiteY7417" fmla="*/ 1196639 h 6479439"/>
              <a:gd name="connsiteX7418" fmla="*/ 8629114 w 9586368"/>
              <a:gd name="connsiteY7418" fmla="*/ 1200678 h 6479439"/>
              <a:gd name="connsiteX7419" fmla="*/ 8629114 w 9586368"/>
              <a:gd name="connsiteY7419" fmla="*/ 1210548 h 6479439"/>
              <a:gd name="connsiteX7420" fmla="*/ 8625095 w 9586368"/>
              <a:gd name="connsiteY7420" fmla="*/ 1214587 h 6479439"/>
              <a:gd name="connsiteX7421" fmla="*/ 8615184 w 9586368"/>
              <a:gd name="connsiteY7421" fmla="*/ 1214587 h 6479439"/>
              <a:gd name="connsiteX7422" fmla="*/ 8611165 w 9586368"/>
              <a:gd name="connsiteY7422" fmla="*/ 1210548 h 6479439"/>
              <a:gd name="connsiteX7423" fmla="*/ 8611165 w 9586368"/>
              <a:gd name="connsiteY7423" fmla="*/ 1200678 h 6479439"/>
              <a:gd name="connsiteX7424" fmla="*/ 8375869 w 9586368"/>
              <a:gd name="connsiteY7424" fmla="*/ 1196639 h 6479439"/>
              <a:gd name="connsiteX7425" fmla="*/ 8385779 w 9586368"/>
              <a:gd name="connsiteY7425" fmla="*/ 1196639 h 6479439"/>
              <a:gd name="connsiteX7426" fmla="*/ 8389799 w 9586368"/>
              <a:gd name="connsiteY7426" fmla="*/ 1200678 h 6479439"/>
              <a:gd name="connsiteX7427" fmla="*/ 8389799 w 9586368"/>
              <a:gd name="connsiteY7427" fmla="*/ 1210549 h 6479439"/>
              <a:gd name="connsiteX7428" fmla="*/ 8385779 w 9586368"/>
              <a:gd name="connsiteY7428" fmla="*/ 1214587 h 6479439"/>
              <a:gd name="connsiteX7429" fmla="*/ 8375869 w 9586368"/>
              <a:gd name="connsiteY7429" fmla="*/ 1214587 h 6479439"/>
              <a:gd name="connsiteX7430" fmla="*/ 8371850 w 9586368"/>
              <a:gd name="connsiteY7430" fmla="*/ 1210549 h 6479439"/>
              <a:gd name="connsiteX7431" fmla="*/ 8371850 w 9586368"/>
              <a:gd name="connsiteY7431" fmla="*/ 1200678 h 6479439"/>
              <a:gd name="connsiteX7432" fmla="*/ 9333125 w 9586368"/>
              <a:gd name="connsiteY7432" fmla="*/ 1196639 h 6479439"/>
              <a:gd name="connsiteX7433" fmla="*/ 9343036 w 9586368"/>
              <a:gd name="connsiteY7433" fmla="*/ 1196639 h 6479439"/>
              <a:gd name="connsiteX7434" fmla="*/ 9347055 w 9586368"/>
              <a:gd name="connsiteY7434" fmla="*/ 1200677 h 6479439"/>
              <a:gd name="connsiteX7435" fmla="*/ 9347055 w 9586368"/>
              <a:gd name="connsiteY7435" fmla="*/ 1210548 h 6479439"/>
              <a:gd name="connsiteX7436" fmla="*/ 9343036 w 9586368"/>
              <a:gd name="connsiteY7436" fmla="*/ 1214587 h 6479439"/>
              <a:gd name="connsiteX7437" fmla="*/ 9333125 w 9586368"/>
              <a:gd name="connsiteY7437" fmla="*/ 1214587 h 6479439"/>
              <a:gd name="connsiteX7438" fmla="*/ 9329106 w 9586368"/>
              <a:gd name="connsiteY7438" fmla="*/ 1210548 h 6479439"/>
              <a:gd name="connsiteX7439" fmla="*/ 9329106 w 9586368"/>
              <a:gd name="connsiteY7439" fmla="*/ 1200677 h 6479439"/>
              <a:gd name="connsiteX7440" fmla="*/ 9093811 w 9586368"/>
              <a:gd name="connsiteY7440" fmla="*/ 1196639 h 6479439"/>
              <a:gd name="connsiteX7441" fmla="*/ 9103722 w 9586368"/>
              <a:gd name="connsiteY7441" fmla="*/ 1196639 h 6479439"/>
              <a:gd name="connsiteX7442" fmla="*/ 9107741 w 9586368"/>
              <a:gd name="connsiteY7442" fmla="*/ 1200677 h 6479439"/>
              <a:gd name="connsiteX7443" fmla="*/ 9107741 w 9586368"/>
              <a:gd name="connsiteY7443" fmla="*/ 1210548 h 6479439"/>
              <a:gd name="connsiteX7444" fmla="*/ 9103722 w 9586368"/>
              <a:gd name="connsiteY7444" fmla="*/ 1214587 h 6479439"/>
              <a:gd name="connsiteX7445" fmla="*/ 9093811 w 9586368"/>
              <a:gd name="connsiteY7445" fmla="*/ 1214587 h 6479439"/>
              <a:gd name="connsiteX7446" fmla="*/ 9089792 w 9586368"/>
              <a:gd name="connsiteY7446" fmla="*/ 1210548 h 6479439"/>
              <a:gd name="connsiteX7447" fmla="*/ 9089792 w 9586368"/>
              <a:gd name="connsiteY7447" fmla="*/ 1200677 h 6479439"/>
              <a:gd name="connsiteX7448" fmla="*/ 8854496 w 9586368"/>
              <a:gd name="connsiteY7448" fmla="*/ 1196639 h 6479439"/>
              <a:gd name="connsiteX7449" fmla="*/ 8864407 w 9586368"/>
              <a:gd name="connsiteY7449" fmla="*/ 1196639 h 6479439"/>
              <a:gd name="connsiteX7450" fmla="*/ 8868426 w 9586368"/>
              <a:gd name="connsiteY7450" fmla="*/ 1200677 h 6479439"/>
              <a:gd name="connsiteX7451" fmla="*/ 8868426 w 9586368"/>
              <a:gd name="connsiteY7451" fmla="*/ 1210548 h 6479439"/>
              <a:gd name="connsiteX7452" fmla="*/ 8864407 w 9586368"/>
              <a:gd name="connsiteY7452" fmla="*/ 1214587 h 6479439"/>
              <a:gd name="connsiteX7453" fmla="*/ 8854496 w 9586368"/>
              <a:gd name="connsiteY7453" fmla="*/ 1214587 h 6479439"/>
              <a:gd name="connsiteX7454" fmla="*/ 8850477 w 9586368"/>
              <a:gd name="connsiteY7454" fmla="*/ 1210548 h 6479439"/>
              <a:gd name="connsiteX7455" fmla="*/ 8850477 w 9586368"/>
              <a:gd name="connsiteY7455" fmla="*/ 1200677 h 6479439"/>
              <a:gd name="connsiteX7456" fmla="*/ 9572438 w 9586368"/>
              <a:gd name="connsiteY7456" fmla="*/ 1196627 h 6479439"/>
              <a:gd name="connsiteX7457" fmla="*/ 9582349 w 9586368"/>
              <a:gd name="connsiteY7457" fmla="*/ 1196627 h 6479439"/>
              <a:gd name="connsiteX7458" fmla="*/ 9586368 w 9586368"/>
              <a:gd name="connsiteY7458" fmla="*/ 1200665 h 6479439"/>
              <a:gd name="connsiteX7459" fmla="*/ 9586368 w 9586368"/>
              <a:gd name="connsiteY7459" fmla="*/ 1210536 h 6479439"/>
              <a:gd name="connsiteX7460" fmla="*/ 9582349 w 9586368"/>
              <a:gd name="connsiteY7460" fmla="*/ 1214575 h 6479439"/>
              <a:gd name="connsiteX7461" fmla="*/ 9572438 w 9586368"/>
              <a:gd name="connsiteY7461" fmla="*/ 1214575 h 6479439"/>
              <a:gd name="connsiteX7462" fmla="*/ 9568419 w 9586368"/>
              <a:gd name="connsiteY7462" fmla="*/ 1210536 h 6479439"/>
              <a:gd name="connsiteX7463" fmla="*/ 9568419 w 9586368"/>
              <a:gd name="connsiteY7463" fmla="*/ 1200665 h 6479439"/>
              <a:gd name="connsiteX7464" fmla="*/ 4035 w 9586368"/>
              <a:gd name="connsiteY7464" fmla="*/ 1196600 h 6479439"/>
              <a:gd name="connsiteX7465" fmla="*/ 13945 w 9586368"/>
              <a:gd name="connsiteY7465" fmla="*/ 1196600 h 6479439"/>
              <a:gd name="connsiteX7466" fmla="*/ 17964 w 9586368"/>
              <a:gd name="connsiteY7466" fmla="*/ 1200638 h 6479439"/>
              <a:gd name="connsiteX7467" fmla="*/ 17964 w 9586368"/>
              <a:gd name="connsiteY7467" fmla="*/ 1210509 h 6479439"/>
              <a:gd name="connsiteX7468" fmla="*/ 13945 w 9586368"/>
              <a:gd name="connsiteY7468" fmla="*/ 1214548 h 6479439"/>
              <a:gd name="connsiteX7469" fmla="*/ 4035 w 9586368"/>
              <a:gd name="connsiteY7469" fmla="*/ 1214548 h 6479439"/>
              <a:gd name="connsiteX7470" fmla="*/ 16 w 9586368"/>
              <a:gd name="connsiteY7470" fmla="*/ 1210509 h 6479439"/>
              <a:gd name="connsiteX7471" fmla="*/ 16 w 9586368"/>
              <a:gd name="connsiteY7471" fmla="*/ 1200638 h 6479439"/>
              <a:gd name="connsiteX7472" fmla="*/ 721974 w 9586368"/>
              <a:gd name="connsiteY7472" fmla="*/ 1196599 h 6479439"/>
              <a:gd name="connsiteX7473" fmla="*/ 731884 w 9586368"/>
              <a:gd name="connsiteY7473" fmla="*/ 1196599 h 6479439"/>
              <a:gd name="connsiteX7474" fmla="*/ 735903 w 9586368"/>
              <a:gd name="connsiteY7474" fmla="*/ 1200638 h 6479439"/>
              <a:gd name="connsiteX7475" fmla="*/ 735903 w 9586368"/>
              <a:gd name="connsiteY7475" fmla="*/ 1210509 h 6479439"/>
              <a:gd name="connsiteX7476" fmla="*/ 731884 w 9586368"/>
              <a:gd name="connsiteY7476" fmla="*/ 1214547 h 6479439"/>
              <a:gd name="connsiteX7477" fmla="*/ 721974 w 9586368"/>
              <a:gd name="connsiteY7477" fmla="*/ 1214547 h 6479439"/>
              <a:gd name="connsiteX7478" fmla="*/ 717955 w 9586368"/>
              <a:gd name="connsiteY7478" fmla="*/ 1210509 h 6479439"/>
              <a:gd name="connsiteX7479" fmla="*/ 717955 w 9586368"/>
              <a:gd name="connsiteY7479" fmla="*/ 1200638 h 6479439"/>
              <a:gd name="connsiteX7480" fmla="*/ 482661 w 9586368"/>
              <a:gd name="connsiteY7480" fmla="*/ 1196599 h 6479439"/>
              <a:gd name="connsiteX7481" fmla="*/ 492572 w 9586368"/>
              <a:gd name="connsiteY7481" fmla="*/ 1196599 h 6479439"/>
              <a:gd name="connsiteX7482" fmla="*/ 496591 w 9586368"/>
              <a:gd name="connsiteY7482" fmla="*/ 1200638 h 6479439"/>
              <a:gd name="connsiteX7483" fmla="*/ 496591 w 9586368"/>
              <a:gd name="connsiteY7483" fmla="*/ 1210509 h 6479439"/>
              <a:gd name="connsiteX7484" fmla="*/ 492572 w 9586368"/>
              <a:gd name="connsiteY7484" fmla="*/ 1214548 h 6479439"/>
              <a:gd name="connsiteX7485" fmla="*/ 482661 w 9586368"/>
              <a:gd name="connsiteY7485" fmla="*/ 1214548 h 6479439"/>
              <a:gd name="connsiteX7486" fmla="*/ 478642 w 9586368"/>
              <a:gd name="connsiteY7486" fmla="*/ 1210509 h 6479439"/>
              <a:gd name="connsiteX7487" fmla="*/ 478642 w 9586368"/>
              <a:gd name="connsiteY7487" fmla="*/ 1200638 h 6479439"/>
              <a:gd name="connsiteX7488" fmla="*/ 243348 w 9586368"/>
              <a:gd name="connsiteY7488" fmla="*/ 1196599 h 6479439"/>
              <a:gd name="connsiteX7489" fmla="*/ 253258 w 9586368"/>
              <a:gd name="connsiteY7489" fmla="*/ 1196599 h 6479439"/>
              <a:gd name="connsiteX7490" fmla="*/ 257278 w 9586368"/>
              <a:gd name="connsiteY7490" fmla="*/ 1200638 h 6479439"/>
              <a:gd name="connsiteX7491" fmla="*/ 257278 w 9586368"/>
              <a:gd name="connsiteY7491" fmla="*/ 1210509 h 6479439"/>
              <a:gd name="connsiteX7492" fmla="*/ 253258 w 9586368"/>
              <a:gd name="connsiteY7492" fmla="*/ 1214548 h 6479439"/>
              <a:gd name="connsiteX7493" fmla="*/ 243348 w 9586368"/>
              <a:gd name="connsiteY7493" fmla="*/ 1214548 h 6479439"/>
              <a:gd name="connsiteX7494" fmla="*/ 239329 w 9586368"/>
              <a:gd name="connsiteY7494" fmla="*/ 1210509 h 6479439"/>
              <a:gd name="connsiteX7495" fmla="*/ 239329 w 9586368"/>
              <a:gd name="connsiteY7495" fmla="*/ 1200638 h 6479439"/>
              <a:gd name="connsiteX7496" fmla="*/ 1439900 w 9586368"/>
              <a:gd name="connsiteY7496" fmla="*/ 1196589 h 6479439"/>
              <a:gd name="connsiteX7497" fmla="*/ 1449810 w 9586368"/>
              <a:gd name="connsiteY7497" fmla="*/ 1196589 h 6479439"/>
              <a:gd name="connsiteX7498" fmla="*/ 1453829 w 9586368"/>
              <a:gd name="connsiteY7498" fmla="*/ 1200628 h 6479439"/>
              <a:gd name="connsiteX7499" fmla="*/ 1453829 w 9586368"/>
              <a:gd name="connsiteY7499" fmla="*/ 1210498 h 6479439"/>
              <a:gd name="connsiteX7500" fmla="*/ 1449810 w 9586368"/>
              <a:gd name="connsiteY7500" fmla="*/ 1214537 h 6479439"/>
              <a:gd name="connsiteX7501" fmla="*/ 1439900 w 9586368"/>
              <a:gd name="connsiteY7501" fmla="*/ 1214537 h 6479439"/>
              <a:gd name="connsiteX7502" fmla="*/ 1435881 w 9586368"/>
              <a:gd name="connsiteY7502" fmla="*/ 1210498 h 6479439"/>
              <a:gd name="connsiteX7503" fmla="*/ 1435881 w 9586368"/>
              <a:gd name="connsiteY7503" fmla="*/ 1200628 h 6479439"/>
              <a:gd name="connsiteX7504" fmla="*/ 1200584 w 9586368"/>
              <a:gd name="connsiteY7504" fmla="*/ 1196589 h 6479439"/>
              <a:gd name="connsiteX7505" fmla="*/ 1210494 w 9586368"/>
              <a:gd name="connsiteY7505" fmla="*/ 1196589 h 6479439"/>
              <a:gd name="connsiteX7506" fmla="*/ 1214512 w 9586368"/>
              <a:gd name="connsiteY7506" fmla="*/ 1200628 h 6479439"/>
              <a:gd name="connsiteX7507" fmla="*/ 1214512 w 9586368"/>
              <a:gd name="connsiteY7507" fmla="*/ 1210498 h 6479439"/>
              <a:gd name="connsiteX7508" fmla="*/ 1210494 w 9586368"/>
              <a:gd name="connsiteY7508" fmla="*/ 1214537 h 6479439"/>
              <a:gd name="connsiteX7509" fmla="*/ 1200584 w 9586368"/>
              <a:gd name="connsiteY7509" fmla="*/ 1214537 h 6479439"/>
              <a:gd name="connsiteX7510" fmla="*/ 1196565 w 9586368"/>
              <a:gd name="connsiteY7510" fmla="*/ 1210498 h 6479439"/>
              <a:gd name="connsiteX7511" fmla="*/ 1196565 w 9586368"/>
              <a:gd name="connsiteY7511" fmla="*/ 1200628 h 6479439"/>
              <a:gd name="connsiteX7512" fmla="*/ 961271 w 9586368"/>
              <a:gd name="connsiteY7512" fmla="*/ 1196589 h 6479439"/>
              <a:gd name="connsiteX7513" fmla="*/ 971181 w 9586368"/>
              <a:gd name="connsiteY7513" fmla="*/ 1196589 h 6479439"/>
              <a:gd name="connsiteX7514" fmla="*/ 975200 w 9586368"/>
              <a:gd name="connsiteY7514" fmla="*/ 1200628 h 6479439"/>
              <a:gd name="connsiteX7515" fmla="*/ 975200 w 9586368"/>
              <a:gd name="connsiteY7515" fmla="*/ 1210499 h 6479439"/>
              <a:gd name="connsiteX7516" fmla="*/ 971181 w 9586368"/>
              <a:gd name="connsiteY7516" fmla="*/ 1214537 h 6479439"/>
              <a:gd name="connsiteX7517" fmla="*/ 961271 w 9586368"/>
              <a:gd name="connsiteY7517" fmla="*/ 1214537 h 6479439"/>
              <a:gd name="connsiteX7518" fmla="*/ 957253 w 9586368"/>
              <a:gd name="connsiteY7518" fmla="*/ 1210499 h 6479439"/>
              <a:gd name="connsiteX7519" fmla="*/ 957253 w 9586368"/>
              <a:gd name="connsiteY7519" fmla="*/ 1200628 h 6479439"/>
              <a:gd name="connsiteX7520" fmla="*/ 1679217 w 9586368"/>
              <a:gd name="connsiteY7520" fmla="*/ 1196589 h 6479439"/>
              <a:gd name="connsiteX7521" fmla="*/ 1689127 w 9586368"/>
              <a:gd name="connsiteY7521" fmla="*/ 1196589 h 6479439"/>
              <a:gd name="connsiteX7522" fmla="*/ 1693146 w 9586368"/>
              <a:gd name="connsiteY7522" fmla="*/ 1200627 h 6479439"/>
              <a:gd name="connsiteX7523" fmla="*/ 1693146 w 9586368"/>
              <a:gd name="connsiteY7523" fmla="*/ 1210498 h 6479439"/>
              <a:gd name="connsiteX7524" fmla="*/ 1689127 w 9586368"/>
              <a:gd name="connsiteY7524" fmla="*/ 1214537 h 6479439"/>
              <a:gd name="connsiteX7525" fmla="*/ 1679217 w 9586368"/>
              <a:gd name="connsiteY7525" fmla="*/ 1214537 h 6479439"/>
              <a:gd name="connsiteX7526" fmla="*/ 1675198 w 9586368"/>
              <a:gd name="connsiteY7526" fmla="*/ 1210498 h 6479439"/>
              <a:gd name="connsiteX7527" fmla="*/ 1675198 w 9586368"/>
              <a:gd name="connsiteY7527" fmla="*/ 1200627 h 6479439"/>
              <a:gd name="connsiteX7528" fmla="*/ 1918514 w 9586368"/>
              <a:gd name="connsiteY7528" fmla="*/ 1196581 h 6479439"/>
              <a:gd name="connsiteX7529" fmla="*/ 1928424 w 9586368"/>
              <a:gd name="connsiteY7529" fmla="*/ 1196581 h 6479439"/>
              <a:gd name="connsiteX7530" fmla="*/ 1932443 w 9586368"/>
              <a:gd name="connsiteY7530" fmla="*/ 1200619 h 6479439"/>
              <a:gd name="connsiteX7531" fmla="*/ 1932443 w 9586368"/>
              <a:gd name="connsiteY7531" fmla="*/ 1210489 h 6479439"/>
              <a:gd name="connsiteX7532" fmla="*/ 1928424 w 9586368"/>
              <a:gd name="connsiteY7532" fmla="*/ 1214528 h 6479439"/>
              <a:gd name="connsiteX7533" fmla="*/ 1918514 w 9586368"/>
              <a:gd name="connsiteY7533" fmla="*/ 1214528 h 6479439"/>
              <a:gd name="connsiteX7534" fmla="*/ 1914495 w 9586368"/>
              <a:gd name="connsiteY7534" fmla="*/ 1210489 h 6479439"/>
              <a:gd name="connsiteX7535" fmla="*/ 1914495 w 9586368"/>
              <a:gd name="connsiteY7535" fmla="*/ 1200619 h 6479439"/>
              <a:gd name="connsiteX7536" fmla="*/ 2157823 w 9586368"/>
              <a:gd name="connsiteY7536" fmla="*/ 1196578 h 6479439"/>
              <a:gd name="connsiteX7537" fmla="*/ 2167733 w 9586368"/>
              <a:gd name="connsiteY7537" fmla="*/ 1196578 h 6479439"/>
              <a:gd name="connsiteX7538" fmla="*/ 2171751 w 9586368"/>
              <a:gd name="connsiteY7538" fmla="*/ 1200617 h 6479439"/>
              <a:gd name="connsiteX7539" fmla="*/ 2171751 w 9586368"/>
              <a:gd name="connsiteY7539" fmla="*/ 1210488 h 6479439"/>
              <a:gd name="connsiteX7540" fmla="*/ 2167733 w 9586368"/>
              <a:gd name="connsiteY7540" fmla="*/ 1214526 h 6479439"/>
              <a:gd name="connsiteX7541" fmla="*/ 2157823 w 9586368"/>
              <a:gd name="connsiteY7541" fmla="*/ 1214526 h 6479439"/>
              <a:gd name="connsiteX7542" fmla="*/ 2153803 w 9586368"/>
              <a:gd name="connsiteY7542" fmla="*/ 1210488 h 6479439"/>
              <a:gd name="connsiteX7543" fmla="*/ 2153803 w 9586368"/>
              <a:gd name="connsiteY7543" fmla="*/ 1200617 h 6479439"/>
              <a:gd name="connsiteX7544" fmla="*/ 3350359 w 9586368"/>
              <a:gd name="connsiteY7544" fmla="*/ 957358 h 6479439"/>
              <a:gd name="connsiteX7545" fmla="*/ 3360268 w 9586368"/>
              <a:gd name="connsiteY7545" fmla="*/ 957358 h 6479439"/>
              <a:gd name="connsiteX7546" fmla="*/ 3364287 w 9586368"/>
              <a:gd name="connsiteY7546" fmla="*/ 961396 h 6479439"/>
              <a:gd name="connsiteX7547" fmla="*/ 3364287 w 9586368"/>
              <a:gd name="connsiteY7547" fmla="*/ 971266 h 6479439"/>
              <a:gd name="connsiteX7548" fmla="*/ 3360268 w 9586368"/>
              <a:gd name="connsiteY7548" fmla="*/ 975304 h 6479439"/>
              <a:gd name="connsiteX7549" fmla="*/ 3350359 w 9586368"/>
              <a:gd name="connsiteY7549" fmla="*/ 975304 h 6479439"/>
              <a:gd name="connsiteX7550" fmla="*/ 3346340 w 9586368"/>
              <a:gd name="connsiteY7550" fmla="*/ 971266 h 6479439"/>
              <a:gd name="connsiteX7551" fmla="*/ 3346340 w 9586368"/>
              <a:gd name="connsiteY7551" fmla="*/ 961396 h 6479439"/>
              <a:gd name="connsiteX7552" fmla="*/ 3111048 w 9586368"/>
              <a:gd name="connsiteY7552" fmla="*/ 957358 h 6479439"/>
              <a:gd name="connsiteX7553" fmla="*/ 3120959 w 9586368"/>
              <a:gd name="connsiteY7553" fmla="*/ 957358 h 6479439"/>
              <a:gd name="connsiteX7554" fmla="*/ 3124977 w 9586368"/>
              <a:gd name="connsiteY7554" fmla="*/ 961396 h 6479439"/>
              <a:gd name="connsiteX7555" fmla="*/ 3124977 w 9586368"/>
              <a:gd name="connsiteY7555" fmla="*/ 971266 h 6479439"/>
              <a:gd name="connsiteX7556" fmla="*/ 3120959 w 9586368"/>
              <a:gd name="connsiteY7556" fmla="*/ 975304 h 6479439"/>
              <a:gd name="connsiteX7557" fmla="*/ 3111048 w 9586368"/>
              <a:gd name="connsiteY7557" fmla="*/ 975304 h 6479439"/>
              <a:gd name="connsiteX7558" fmla="*/ 3107029 w 9586368"/>
              <a:gd name="connsiteY7558" fmla="*/ 971266 h 6479439"/>
              <a:gd name="connsiteX7559" fmla="*/ 3107029 w 9586368"/>
              <a:gd name="connsiteY7559" fmla="*/ 961396 h 6479439"/>
              <a:gd name="connsiteX7560" fmla="*/ 2871737 w 9586368"/>
              <a:gd name="connsiteY7560" fmla="*/ 957358 h 6479439"/>
              <a:gd name="connsiteX7561" fmla="*/ 2881646 w 9586368"/>
              <a:gd name="connsiteY7561" fmla="*/ 957358 h 6479439"/>
              <a:gd name="connsiteX7562" fmla="*/ 2885666 w 9586368"/>
              <a:gd name="connsiteY7562" fmla="*/ 961396 h 6479439"/>
              <a:gd name="connsiteX7563" fmla="*/ 2885666 w 9586368"/>
              <a:gd name="connsiteY7563" fmla="*/ 971266 h 6479439"/>
              <a:gd name="connsiteX7564" fmla="*/ 2881646 w 9586368"/>
              <a:gd name="connsiteY7564" fmla="*/ 975304 h 6479439"/>
              <a:gd name="connsiteX7565" fmla="*/ 2871737 w 9586368"/>
              <a:gd name="connsiteY7565" fmla="*/ 975304 h 6479439"/>
              <a:gd name="connsiteX7566" fmla="*/ 2867717 w 9586368"/>
              <a:gd name="connsiteY7566" fmla="*/ 971266 h 6479439"/>
              <a:gd name="connsiteX7567" fmla="*/ 2867717 w 9586368"/>
              <a:gd name="connsiteY7567" fmla="*/ 961396 h 6479439"/>
              <a:gd name="connsiteX7568" fmla="*/ 2632423 w 9586368"/>
              <a:gd name="connsiteY7568" fmla="*/ 957358 h 6479439"/>
              <a:gd name="connsiteX7569" fmla="*/ 2642334 w 9586368"/>
              <a:gd name="connsiteY7569" fmla="*/ 957358 h 6479439"/>
              <a:gd name="connsiteX7570" fmla="*/ 2646352 w 9586368"/>
              <a:gd name="connsiteY7570" fmla="*/ 961396 h 6479439"/>
              <a:gd name="connsiteX7571" fmla="*/ 2646352 w 9586368"/>
              <a:gd name="connsiteY7571" fmla="*/ 971266 h 6479439"/>
              <a:gd name="connsiteX7572" fmla="*/ 2642334 w 9586368"/>
              <a:gd name="connsiteY7572" fmla="*/ 975305 h 6479439"/>
              <a:gd name="connsiteX7573" fmla="*/ 2632423 w 9586368"/>
              <a:gd name="connsiteY7573" fmla="*/ 975305 h 6479439"/>
              <a:gd name="connsiteX7574" fmla="*/ 2628404 w 9586368"/>
              <a:gd name="connsiteY7574" fmla="*/ 971266 h 6479439"/>
              <a:gd name="connsiteX7575" fmla="*/ 2628404 w 9586368"/>
              <a:gd name="connsiteY7575" fmla="*/ 961396 h 6479439"/>
              <a:gd name="connsiteX7576" fmla="*/ 2393104 w 9586368"/>
              <a:gd name="connsiteY7576" fmla="*/ 957358 h 6479439"/>
              <a:gd name="connsiteX7577" fmla="*/ 2403015 w 9586368"/>
              <a:gd name="connsiteY7577" fmla="*/ 957358 h 6479439"/>
              <a:gd name="connsiteX7578" fmla="*/ 2407034 w 9586368"/>
              <a:gd name="connsiteY7578" fmla="*/ 961396 h 6479439"/>
              <a:gd name="connsiteX7579" fmla="*/ 2407034 w 9586368"/>
              <a:gd name="connsiteY7579" fmla="*/ 971266 h 6479439"/>
              <a:gd name="connsiteX7580" fmla="*/ 2403015 w 9586368"/>
              <a:gd name="connsiteY7580" fmla="*/ 975305 h 6479439"/>
              <a:gd name="connsiteX7581" fmla="*/ 2393104 w 9586368"/>
              <a:gd name="connsiteY7581" fmla="*/ 975305 h 6479439"/>
              <a:gd name="connsiteX7582" fmla="*/ 2389087 w 9586368"/>
              <a:gd name="connsiteY7582" fmla="*/ 971266 h 6479439"/>
              <a:gd name="connsiteX7583" fmla="*/ 2389087 w 9586368"/>
              <a:gd name="connsiteY7583" fmla="*/ 961396 h 6479439"/>
              <a:gd name="connsiteX7584" fmla="*/ 4546929 w 9586368"/>
              <a:gd name="connsiteY7584" fmla="*/ 957347 h 6479439"/>
              <a:gd name="connsiteX7585" fmla="*/ 4556840 w 9586368"/>
              <a:gd name="connsiteY7585" fmla="*/ 957347 h 6479439"/>
              <a:gd name="connsiteX7586" fmla="*/ 4560859 w 9586368"/>
              <a:gd name="connsiteY7586" fmla="*/ 961385 h 6479439"/>
              <a:gd name="connsiteX7587" fmla="*/ 4560859 w 9586368"/>
              <a:gd name="connsiteY7587" fmla="*/ 971255 h 6479439"/>
              <a:gd name="connsiteX7588" fmla="*/ 4556840 w 9586368"/>
              <a:gd name="connsiteY7588" fmla="*/ 975293 h 6479439"/>
              <a:gd name="connsiteX7589" fmla="*/ 4546929 w 9586368"/>
              <a:gd name="connsiteY7589" fmla="*/ 975293 h 6479439"/>
              <a:gd name="connsiteX7590" fmla="*/ 4542910 w 9586368"/>
              <a:gd name="connsiteY7590" fmla="*/ 971255 h 6479439"/>
              <a:gd name="connsiteX7591" fmla="*/ 4542910 w 9586368"/>
              <a:gd name="connsiteY7591" fmla="*/ 961385 h 6479439"/>
              <a:gd name="connsiteX7592" fmla="*/ 4307612 w 9586368"/>
              <a:gd name="connsiteY7592" fmla="*/ 957347 h 6479439"/>
              <a:gd name="connsiteX7593" fmla="*/ 4317523 w 9586368"/>
              <a:gd name="connsiteY7593" fmla="*/ 957347 h 6479439"/>
              <a:gd name="connsiteX7594" fmla="*/ 4321543 w 9586368"/>
              <a:gd name="connsiteY7594" fmla="*/ 961385 h 6479439"/>
              <a:gd name="connsiteX7595" fmla="*/ 4321543 w 9586368"/>
              <a:gd name="connsiteY7595" fmla="*/ 971255 h 6479439"/>
              <a:gd name="connsiteX7596" fmla="*/ 4317523 w 9586368"/>
              <a:gd name="connsiteY7596" fmla="*/ 975293 h 6479439"/>
              <a:gd name="connsiteX7597" fmla="*/ 4307612 w 9586368"/>
              <a:gd name="connsiteY7597" fmla="*/ 975293 h 6479439"/>
              <a:gd name="connsiteX7598" fmla="*/ 4303595 w 9586368"/>
              <a:gd name="connsiteY7598" fmla="*/ 971255 h 6479439"/>
              <a:gd name="connsiteX7599" fmla="*/ 4303595 w 9586368"/>
              <a:gd name="connsiteY7599" fmla="*/ 961385 h 6479439"/>
              <a:gd name="connsiteX7600" fmla="*/ 4068297 w 9586368"/>
              <a:gd name="connsiteY7600" fmla="*/ 957347 h 6479439"/>
              <a:gd name="connsiteX7601" fmla="*/ 4078210 w 9586368"/>
              <a:gd name="connsiteY7601" fmla="*/ 957347 h 6479439"/>
              <a:gd name="connsiteX7602" fmla="*/ 4082229 w 9586368"/>
              <a:gd name="connsiteY7602" fmla="*/ 961385 h 6479439"/>
              <a:gd name="connsiteX7603" fmla="*/ 4082229 w 9586368"/>
              <a:gd name="connsiteY7603" fmla="*/ 971255 h 6479439"/>
              <a:gd name="connsiteX7604" fmla="*/ 4078210 w 9586368"/>
              <a:gd name="connsiteY7604" fmla="*/ 975293 h 6479439"/>
              <a:gd name="connsiteX7605" fmla="*/ 4068297 w 9586368"/>
              <a:gd name="connsiteY7605" fmla="*/ 975293 h 6479439"/>
              <a:gd name="connsiteX7606" fmla="*/ 4064278 w 9586368"/>
              <a:gd name="connsiteY7606" fmla="*/ 971255 h 6479439"/>
              <a:gd name="connsiteX7607" fmla="*/ 4064278 w 9586368"/>
              <a:gd name="connsiteY7607" fmla="*/ 961385 h 6479439"/>
              <a:gd name="connsiteX7608" fmla="*/ 3828990 w 9586368"/>
              <a:gd name="connsiteY7608" fmla="*/ 957347 h 6479439"/>
              <a:gd name="connsiteX7609" fmla="*/ 3838899 w 9586368"/>
              <a:gd name="connsiteY7609" fmla="*/ 957347 h 6479439"/>
              <a:gd name="connsiteX7610" fmla="*/ 3842917 w 9586368"/>
              <a:gd name="connsiteY7610" fmla="*/ 961385 h 6479439"/>
              <a:gd name="connsiteX7611" fmla="*/ 3842917 w 9586368"/>
              <a:gd name="connsiteY7611" fmla="*/ 971255 h 6479439"/>
              <a:gd name="connsiteX7612" fmla="*/ 3838899 w 9586368"/>
              <a:gd name="connsiteY7612" fmla="*/ 975293 h 6479439"/>
              <a:gd name="connsiteX7613" fmla="*/ 3828990 w 9586368"/>
              <a:gd name="connsiteY7613" fmla="*/ 975293 h 6479439"/>
              <a:gd name="connsiteX7614" fmla="*/ 3824971 w 9586368"/>
              <a:gd name="connsiteY7614" fmla="*/ 971255 h 6479439"/>
              <a:gd name="connsiteX7615" fmla="*/ 3824971 w 9586368"/>
              <a:gd name="connsiteY7615" fmla="*/ 961385 h 6479439"/>
              <a:gd name="connsiteX7616" fmla="*/ 3589676 w 9586368"/>
              <a:gd name="connsiteY7616" fmla="*/ 957347 h 6479439"/>
              <a:gd name="connsiteX7617" fmla="*/ 3599585 w 9586368"/>
              <a:gd name="connsiteY7617" fmla="*/ 957347 h 6479439"/>
              <a:gd name="connsiteX7618" fmla="*/ 3603604 w 9586368"/>
              <a:gd name="connsiteY7618" fmla="*/ 961385 h 6479439"/>
              <a:gd name="connsiteX7619" fmla="*/ 3603604 w 9586368"/>
              <a:gd name="connsiteY7619" fmla="*/ 971255 h 6479439"/>
              <a:gd name="connsiteX7620" fmla="*/ 3599585 w 9586368"/>
              <a:gd name="connsiteY7620" fmla="*/ 975293 h 6479439"/>
              <a:gd name="connsiteX7621" fmla="*/ 3589676 w 9586368"/>
              <a:gd name="connsiteY7621" fmla="*/ 975293 h 6479439"/>
              <a:gd name="connsiteX7622" fmla="*/ 3585657 w 9586368"/>
              <a:gd name="connsiteY7622" fmla="*/ 971255 h 6479439"/>
              <a:gd name="connsiteX7623" fmla="*/ 3585657 w 9586368"/>
              <a:gd name="connsiteY7623" fmla="*/ 961385 h 6479439"/>
              <a:gd name="connsiteX7624" fmla="*/ 5743412 w 9586368"/>
              <a:gd name="connsiteY7624" fmla="*/ 957335 h 6479439"/>
              <a:gd name="connsiteX7625" fmla="*/ 5753323 w 9586368"/>
              <a:gd name="connsiteY7625" fmla="*/ 957335 h 6479439"/>
              <a:gd name="connsiteX7626" fmla="*/ 5757342 w 9586368"/>
              <a:gd name="connsiteY7626" fmla="*/ 961373 h 6479439"/>
              <a:gd name="connsiteX7627" fmla="*/ 5757342 w 9586368"/>
              <a:gd name="connsiteY7627" fmla="*/ 971244 h 6479439"/>
              <a:gd name="connsiteX7628" fmla="*/ 5753323 w 9586368"/>
              <a:gd name="connsiteY7628" fmla="*/ 975282 h 6479439"/>
              <a:gd name="connsiteX7629" fmla="*/ 5743412 w 9586368"/>
              <a:gd name="connsiteY7629" fmla="*/ 975282 h 6479439"/>
              <a:gd name="connsiteX7630" fmla="*/ 5739393 w 9586368"/>
              <a:gd name="connsiteY7630" fmla="*/ 971244 h 6479439"/>
              <a:gd name="connsiteX7631" fmla="*/ 5739393 w 9586368"/>
              <a:gd name="connsiteY7631" fmla="*/ 961373 h 6479439"/>
              <a:gd name="connsiteX7632" fmla="*/ 5504099 w 9586368"/>
              <a:gd name="connsiteY7632" fmla="*/ 957335 h 6479439"/>
              <a:gd name="connsiteX7633" fmla="*/ 5514010 w 9586368"/>
              <a:gd name="connsiteY7633" fmla="*/ 957335 h 6479439"/>
              <a:gd name="connsiteX7634" fmla="*/ 5518029 w 9586368"/>
              <a:gd name="connsiteY7634" fmla="*/ 961373 h 6479439"/>
              <a:gd name="connsiteX7635" fmla="*/ 5518029 w 9586368"/>
              <a:gd name="connsiteY7635" fmla="*/ 971244 h 6479439"/>
              <a:gd name="connsiteX7636" fmla="*/ 5514010 w 9586368"/>
              <a:gd name="connsiteY7636" fmla="*/ 975282 h 6479439"/>
              <a:gd name="connsiteX7637" fmla="*/ 5504099 w 9586368"/>
              <a:gd name="connsiteY7637" fmla="*/ 975282 h 6479439"/>
              <a:gd name="connsiteX7638" fmla="*/ 5500080 w 9586368"/>
              <a:gd name="connsiteY7638" fmla="*/ 971244 h 6479439"/>
              <a:gd name="connsiteX7639" fmla="*/ 5500080 w 9586368"/>
              <a:gd name="connsiteY7639" fmla="*/ 961373 h 6479439"/>
              <a:gd name="connsiteX7640" fmla="*/ 5264784 w 9586368"/>
              <a:gd name="connsiteY7640" fmla="*/ 957335 h 6479439"/>
              <a:gd name="connsiteX7641" fmla="*/ 5274694 w 9586368"/>
              <a:gd name="connsiteY7641" fmla="*/ 957335 h 6479439"/>
              <a:gd name="connsiteX7642" fmla="*/ 5278713 w 9586368"/>
              <a:gd name="connsiteY7642" fmla="*/ 961373 h 6479439"/>
              <a:gd name="connsiteX7643" fmla="*/ 5278713 w 9586368"/>
              <a:gd name="connsiteY7643" fmla="*/ 971244 h 6479439"/>
              <a:gd name="connsiteX7644" fmla="*/ 5274694 w 9586368"/>
              <a:gd name="connsiteY7644" fmla="*/ 975282 h 6479439"/>
              <a:gd name="connsiteX7645" fmla="*/ 5264784 w 9586368"/>
              <a:gd name="connsiteY7645" fmla="*/ 975282 h 6479439"/>
              <a:gd name="connsiteX7646" fmla="*/ 5260765 w 9586368"/>
              <a:gd name="connsiteY7646" fmla="*/ 971244 h 6479439"/>
              <a:gd name="connsiteX7647" fmla="*/ 5260765 w 9586368"/>
              <a:gd name="connsiteY7647" fmla="*/ 961373 h 6479439"/>
              <a:gd name="connsiteX7648" fmla="*/ 5025470 w 9586368"/>
              <a:gd name="connsiteY7648" fmla="*/ 957335 h 6479439"/>
              <a:gd name="connsiteX7649" fmla="*/ 5035381 w 9586368"/>
              <a:gd name="connsiteY7649" fmla="*/ 957335 h 6479439"/>
              <a:gd name="connsiteX7650" fmla="*/ 5039400 w 9586368"/>
              <a:gd name="connsiteY7650" fmla="*/ 961373 h 6479439"/>
              <a:gd name="connsiteX7651" fmla="*/ 5039400 w 9586368"/>
              <a:gd name="connsiteY7651" fmla="*/ 971244 h 6479439"/>
              <a:gd name="connsiteX7652" fmla="*/ 5035381 w 9586368"/>
              <a:gd name="connsiteY7652" fmla="*/ 975283 h 6479439"/>
              <a:gd name="connsiteX7653" fmla="*/ 5025470 w 9586368"/>
              <a:gd name="connsiteY7653" fmla="*/ 975283 h 6479439"/>
              <a:gd name="connsiteX7654" fmla="*/ 5021451 w 9586368"/>
              <a:gd name="connsiteY7654" fmla="*/ 971244 h 6479439"/>
              <a:gd name="connsiteX7655" fmla="*/ 5021451 w 9586368"/>
              <a:gd name="connsiteY7655" fmla="*/ 961373 h 6479439"/>
              <a:gd name="connsiteX7656" fmla="*/ 4786241 w 9586368"/>
              <a:gd name="connsiteY7656" fmla="*/ 957335 h 6479439"/>
              <a:gd name="connsiteX7657" fmla="*/ 4796152 w 9586368"/>
              <a:gd name="connsiteY7657" fmla="*/ 957335 h 6479439"/>
              <a:gd name="connsiteX7658" fmla="*/ 4800171 w 9586368"/>
              <a:gd name="connsiteY7658" fmla="*/ 961374 h 6479439"/>
              <a:gd name="connsiteX7659" fmla="*/ 4800171 w 9586368"/>
              <a:gd name="connsiteY7659" fmla="*/ 971244 h 6479439"/>
              <a:gd name="connsiteX7660" fmla="*/ 4796152 w 9586368"/>
              <a:gd name="connsiteY7660" fmla="*/ 975283 h 6479439"/>
              <a:gd name="connsiteX7661" fmla="*/ 4786241 w 9586368"/>
              <a:gd name="connsiteY7661" fmla="*/ 975283 h 6479439"/>
              <a:gd name="connsiteX7662" fmla="*/ 4782224 w 9586368"/>
              <a:gd name="connsiteY7662" fmla="*/ 971244 h 6479439"/>
              <a:gd name="connsiteX7663" fmla="*/ 4782224 w 9586368"/>
              <a:gd name="connsiteY7663" fmla="*/ 961374 h 6479439"/>
              <a:gd name="connsiteX7664" fmla="*/ 6939983 w 9586368"/>
              <a:gd name="connsiteY7664" fmla="*/ 957324 h 6479439"/>
              <a:gd name="connsiteX7665" fmla="*/ 6949894 w 9586368"/>
              <a:gd name="connsiteY7665" fmla="*/ 957324 h 6479439"/>
              <a:gd name="connsiteX7666" fmla="*/ 6953913 w 9586368"/>
              <a:gd name="connsiteY7666" fmla="*/ 961363 h 6479439"/>
              <a:gd name="connsiteX7667" fmla="*/ 6953913 w 9586368"/>
              <a:gd name="connsiteY7667" fmla="*/ 971232 h 6479439"/>
              <a:gd name="connsiteX7668" fmla="*/ 6949894 w 9586368"/>
              <a:gd name="connsiteY7668" fmla="*/ 975271 h 6479439"/>
              <a:gd name="connsiteX7669" fmla="*/ 6939983 w 9586368"/>
              <a:gd name="connsiteY7669" fmla="*/ 975271 h 6479439"/>
              <a:gd name="connsiteX7670" fmla="*/ 6935964 w 9586368"/>
              <a:gd name="connsiteY7670" fmla="*/ 971232 h 6479439"/>
              <a:gd name="connsiteX7671" fmla="*/ 6935964 w 9586368"/>
              <a:gd name="connsiteY7671" fmla="*/ 961363 h 6479439"/>
              <a:gd name="connsiteX7672" fmla="*/ 6700670 w 9586368"/>
              <a:gd name="connsiteY7672" fmla="*/ 957324 h 6479439"/>
              <a:gd name="connsiteX7673" fmla="*/ 6710581 w 9586368"/>
              <a:gd name="connsiteY7673" fmla="*/ 957324 h 6479439"/>
              <a:gd name="connsiteX7674" fmla="*/ 6714600 w 9586368"/>
              <a:gd name="connsiteY7674" fmla="*/ 961363 h 6479439"/>
              <a:gd name="connsiteX7675" fmla="*/ 6714600 w 9586368"/>
              <a:gd name="connsiteY7675" fmla="*/ 971232 h 6479439"/>
              <a:gd name="connsiteX7676" fmla="*/ 6710581 w 9586368"/>
              <a:gd name="connsiteY7676" fmla="*/ 975271 h 6479439"/>
              <a:gd name="connsiteX7677" fmla="*/ 6700670 w 9586368"/>
              <a:gd name="connsiteY7677" fmla="*/ 975271 h 6479439"/>
              <a:gd name="connsiteX7678" fmla="*/ 6696651 w 9586368"/>
              <a:gd name="connsiteY7678" fmla="*/ 971232 h 6479439"/>
              <a:gd name="connsiteX7679" fmla="*/ 6696651 w 9586368"/>
              <a:gd name="connsiteY7679" fmla="*/ 961363 h 6479439"/>
              <a:gd name="connsiteX7680" fmla="*/ 6461356 w 9586368"/>
              <a:gd name="connsiteY7680" fmla="*/ 957324 h 6479439"/>
              <a:gd name="connsiteX7681" fmla="*/ 6471266 w 9586368"/>
              <a:gd name="connsiteY7681" fmla="*/ 957324 h 6479439"/>
              <a:gd name="connsiteX7682" fmla="*/ 6475285 w 9586368"/>
              <a:gd name="connsiteY7682" fmla="*/ 961363 h 6479439"/>
              <a:gd name="connsiteX7683" fmla="*/ 6475285 w 9586368"/>
              <a:gd name="connsiteY7683" fmla="*/ 971232 h 6479439"/>
              <a:gd name="connsiteX7684" fmla="*/ 6471266 w 9586368"/>
              <a:gd name="connsiteY7684" fmla="*/ 975271 h 6479439"/>
              <a:gd name="connsiteX7685" fmla="*/ 6461356 w 9586368"/>
              <a:gd name="connsiteY7685" fmla="*/ 975271 h 6479439"/>
              <a:gd name="connsiteX7686" fmla="*/ 6457337 w 9586368"/>
              <a:gd name="connsiteY7686" fmla="*/ 971232 h 6479439"/>
              <a:gd name="connsiteX7687" fmla="*/ 6457337 w 9586368"/>
              <a:gd name="connsiteY7687" fmla="*/ 961363 h 6479439"/>
              <a:gd name="connsiteX7688" fmla="*/ 6222042 w 9586368"/>
              <a:gd name="connsiteY7688" fmla="*/ 957324 h 6479439"/>
              <a:gd name="connsiteX7689" fmla="*/ 6231952 w 9586368"/>
              <a:gd name="connsiteY7689" fmla="*/ 957324 h 6479439"/>
              <a:gd name="connsiteX7690" fmla="*/ 6235971 w 9586368"/>
              <a:gd name="connsiteY7690" fmla="*/ 961363 h 6479439"/>
              <a:gd name="connsiteX7691" fmla="*/ 6235971 w 9586368"/>
              <a:gd name="connsiteY7691" fmla="*/ 971232 h 6479439"/>
              <a:gd name="connsiteX7692" fmla="*/ 6231952 w 9586368"/>
              <a:gd name="connsiteY7692" fmla="*/ 975271 h 6479439"/>
              <a:gd name="connsiteX7693" fmla="*/ 6222042 w 9586368"/>
              <a:gd name="connsiteY7693" fmla="*/ 975271 h 6479439"/>
              <a:gd name="connsiteX7694" fmla="*/ 6218023 w 9586368"/>
              <a:gd name="connsiteY7694" fmla="*/ 971232 h 6479439"/>
              <a:gd name="connsiteX7695" fmla="*/ 6218023 w 9586368"/>
              <a:gd name="connsiteY7695" fmla="*/ 961363 h 6479439"/>
              <a:gd name="connsiteX7696" fmla="*/ 5982729 w 9586368"/>
              <a:gd name="connsiteY7696" fmla="*/ 957324 h 6479439"/>
              <a:gd name="connsiteX7697" fmla="*/ 5992639 w 9586368"/>
              <a:gd name="connsiteY7697" fmla="*/ 957324 h 6479439"/>
              <a:gd name="connsiteX7698" fmla="*/ 5996658 w 9586368"/>
              <a:gd name="connsiteY7698" fmla="*/ 961363 h 6479439"/>
              <a:gd name="connsiteX7699" fmla="*/ 5996658 w 9586368"/>
              <a:gd name="connsiteY7699" fmla="*/ 971232 h 6479439"/>
              <a:gd name="connsiteX7700" fmla="*/ 5992639 w 9586368"/>
              <a:gd name="connsiteY7700" fmla="*/ 975271 h 6479439"/>
              <a:gd name="connsiteX7701" fmla="*/ 5982729 w 9586368"/>
              <a:gd name="connsiteY7701" fmla="*/ 975271 h 6479439"/>
              <a:gd name="connsiteX7702" fmla="*/ 5978710 w 9586368"/>
              <a:gd name="connsiteY7702" fmla="*/ 971232 h 6479439"/>
              <a:gd name="connsiteX7703" fmla="*/ 5978710 w 9586368"/>
              <a:gd name="connsiteY7703" fmla="*/ 961363 h 6479439"/>
              <a:gd name="connsiteX7704" fmla="*/ 8136553 w 9586368"/>
              <a:gd name="connsiteY7704" fmla="*/ 957313 h 6479439"/>
              <a:gd name="connsiteX7705" fmla="*/ 8146464 w 9586368"/>
              <a:gd name="connsiteY7705" fmla="*/ 957313 h 6479439"/>
              <a:gd name="connsiteX7706" fmla="*/ 8150483 w 9586368"/>
              <a:gd name="connsiteY7706" fmla="*/ 961351 h 6479439"/>
              <a:gd name="connsiteX7707" fmla="*/ 8150483 w 9586368"/>
              <a:gd name="connsiteY7707" fmla="*/ 971222 h 6479439"/>
              <a:gd name="connsiteX7708" fmla="*/ 8146464 w 9586368"/>
              <a:gd name="connsiteY7708" fmla="*/ 975260 h 6479439"/>
              <a:gd name="connsiteX7709" fmla="*/ 8136553 w 9586368"/>
              <a:gd name="connsiteY7709" fmla="*/ 975260 h 6479439"/>
              <a:gd name="connsiteX7710" fmla="*/ 8132534 w 9586368"/>
              <a:gd name="connsiteY7710" fmla="*/ 971222 h 6479439"/>
              <a:gd name="connsiteX7711" fmla="*/ 8132534 w 9586368"/>
              <a:gd name="connsiteY7711" fmla="*/ 961351 h 6479439"/>
              <a:gd name="connsiteX7712" fmla="*/ 7897241 w 9586368"/>
              <a:gd name="connsiteY7712" fmla="*/ 957313 h 6479439"/>
              <a:gd name="connsiteX7713" fmla="*/ 7907151 w 9586368"/>
              <a:gd name="connsiteY7713" fmla="*/ 957313 h 6479439"/>
              <a:gd name="connsiteX7714" fmla="*/ 7911170 w 9586368"/>
              <a:gd name="connsiteY7714" fmla="*/ 961351 h 6479439"/>
              <a:gd name="connsiteX7715" fmla="*/ 7911170 w 9586368"/>
              <a:gd name="connsiteY7715" fmla="*/ 971222 h 6479439"/>
              <a:gd name="connsiteX7716" fmla="*/ 7907151 w 9586368"/>
              <a:gd name="connsiteY7716" fmla="*/ 975260 h 6479439"/>
              <a:gd name="connsiteX7717" fmla="*/ 7897241 w 9586368"/>
              <a:gd name="connsiteY7717" fmla="*/ 975260 h 6479439"/>
              <a:gd name="connsiteX7718" fmla="*/ 7893222 w 9586368"/>
              <a:gd name="connsiteY7718" fmla="*/ 971222 h 6479439"/>
              <a:gd name="connsiteX7719" fmla="*/ 7893222 w 9586368"/>
              <a:gd name="connsiteY7719" fmla="*/ 961351 h 6479439"/>
              <a:gd name="connsiteX7720" fmla="*/ 7657926 w 9586368"/>
              <a:gd name="connsiteY7720" fmla="*/ 957313 h 6479439"/>
              <a:gd name="connsiteX7721" fmla="*/ 7667836 w 9586368"/>
              <a:gd name="connsiteY7721" fmla="*/ 957313 h 6479439"/>
              <a:gd name="connsiteX7722" fmla="*/ 7671855 w 9586368"/>
              <a:gd name="connsiteY7722" fmla="*/ 961351 h 6479439"/>
              <a:gd name="connsiteX7723" fmla="*/ 7671855 w 9586368"/>
              <a:gd name="connsiteY7723" fmla="*/ 971222 h 6479439"/>
              <a:gd name="connsiteX7724" fmla="*/ 7667836 w 9586368"/>
              <a:gd name="connsiteY7724" fmla="*/ 975260 h 6479439"/>
              <a:gd name="connsiteX7725" fmla="*/ 7657926 w 9586368"/>
              <a:gd name="connsiteY7725" fmla="*/ 975260 h 6479439"/>
              <a:gd name="connsiteX7726" fmla="*/ 7653906 w 9586368"/>
              <a:gd name="connsiteY7726" fmla="*/ 971222 h 6479439"/>
              <a:gd name="connsiteX7727" fmla="*/ 7653906 w 9586368"/>
              <a:gd name="connsiteY7727" fmla="*/ 961351 h 6479439"/>
              <a:gd name="connsiteX7728" fmla="*/ 7418611 w 9586368"/>
              <a:gd name="connsiteY7728" fmla="*/ 957313 h 6479439"/>
              <a:gd name="connsiteX7729" fmla="*/ 7428521 w 9586368"/>
              <a:gd name="connsiteY7729" fmla="*/ 957313 h 6479439"/>
              <a:gd name="connsiteX7730" fmla="*/ 7432540 w 9586368"/>
              <a:gd name="connsiteY7730" fmla="*/ 961351 h 6479439"/>
              <a:gd name="connsiteX7731" fmla="*/ 7432540 w 9586368"/>
              <a:gd name="connsiteY7731" fmla="*/ 971222 h 6479439"/>
              <a:gd name="connsiteX7732" fmla="*/ 7428521 w 9586368"/>
              <a:gd name="connsiteY7732" fmla="*/ 975260 h 6479439"/>
              <a:gd name="connsiteX7733" fmla="*/ 7418611 w 9586368"/>
              <a:gd name="connsiteY7733" fmla="*/ 975260 h 6479439"/>
              <a:gd name="connsiteX7734" fmla="*/ 7414592 w 9586368"/>
              <a:gd name="connsiteY7734" fmla="*/ 971222 h 6479439"/>
              <a:gd name="connsiteX7735" fmla="*/ 7414592 w 9586368"/>
              <a:gd name="connsiteY7735" fmla="*/ 961351 h 6479439"/>
              <a:gd name="connsiteX7736" fmla="*/ 7179298 w 9586368"/>
              <a:gd name="connsiteY7736" fmla="*/ 957313 h 6479439"/>
              <a:gd name="connsiteX7737" fmla="*/ 7189209 w 9586368"/>
              <a:gd name="connsiteY7737" fmla="*/ 957313 h 6479439"/>
              <a:gd name="connsiteX7738" fmla="*/ 7193228 w 9586368"/>
              <a:gd name="connsiteY7738" fmla="*/ 961351 h 6479439"/>
              <a:gd name="connsiteX7739" fmla="*/ 7193228 w 9586368"/>
              <a:gd name="connsiteY7739" fmla="*/ 971222 h 6479439"/>
              <a:gd name="connsiteX7740" fmla="*/ 7189209 w 9586368"/>
              <a:gd name="connsiteY7740" fmla="*/ 975260 h 6479439"/>
              <a:gd name="connsiteX7741" fmla="*/ 7179298 w 9586368"/>
              <a:gd name="connsiteY7741" fmla="*/ 975260 h 6479439"/>
              <a:gd name="connsiteX7742" fmla="*/ 7175279 w 9586368"/>
              <a:gd name="connsiteY7742" fmla="*/ 971222 h 6479439"/>
              <a:gd name="connsiteX7743" fmla="*/ 7175279 w 9586368"/>
              <a:gd name="connsiteY7743" fmla="*/ 961351 h 6479439"/>
              <a:gd name="connsiteX7744" fmla="*/ 1679217 w 9586368"/>
              <a:gd name="connsiteY7744" fmla="*/ 957309 h 6479439"/>
              <a:gd name="connsiteX7745" fmla="*/ 1689128 w 9586368"/>
              <a:gd name="connsiteY7745" fmla="*/ 957309 h 6479439"/>
              <a:gd name="connsiteX7746" fmla="*/ 1693147 w 9586368"/>
              <a:gd name="connsiteY7746" fmla="*/ 961347 h 6479439"/>
              <a:gd name="connsiteX7747" fmla="*/ 1693147 w 9586368"/>
              <a:gd name="connsiteY7747" fmla="*/ 971217 h 6479439"/>
              <a:gd name="connsiteX7748" fmla="*/ 1689128 w 9586368"/>
              <a:gd name="connsiteY7748" fmla="*/ 975256 h 6479439"/>
              <a:gd name="connsiteX7749" fmla="*/ 1679217 w 9586368"/>
              <a:gd name="connsiteY7749" fmla="*/ 975256 h 6479439"/>
              <a:gd name="connsiteX7750" fmla="*/ 1675199 w 9586368"/>
              <a:gd name="connsiteY7750" fmla="*/ 971217 h 6479439"/>
              <a:gd name="connsiteX7751" fmla="*/ 1675199 w 9586368"/>
              <a:gd name="connsiteY7751" fmla="*/ 961347 h 6479439"/>
              <a:gd name="connsiteX7752" fmla="*/ 1439901 w 9586368"/>
              <a:gd name="connsiteY7752" fmla="*/ 957309 h 6479439"/>
              <a:gd name="connsiteX7753" fmla="*/ 1449811 w 9586368"/>
              <a:gd name="connsiteY7753" fmla="*/ 957309 h 6479439"/>
              <a:gd name="connsiteX7754" fmla="*/ 1453829 w 9586368"/>
              <a:gd name="connsiteY7754" fmla="*/ 961347 h 6479439"/>
              <a:gd name="connsiteX7755" fmla="*/ 1453829 w 9586368"/>
              <a:gd name="connsiteY7755" fmla="*/ 971217 h 6479439"/>
              <a:gd name="connsiteX7756" fmla="*/ 1449811 w 9586368"/>
              <a:gd name="connsiteY7756" fmla="*/ 975256 h 6479439"/>
              <a:gd name="connsiteX7757" fmla="*/ 1439901 w 9586368"/>
              <a:gd name="connsiteY7757" fmla="*/ 975256 h 6479439"/>
              <a:gd name="connsiteX7758" fmla="*/ 1435881 w 9586368"/>
              <a:gd name="connsiteY7758" fmla="*/ 971217 h 6479439"/>
              <a:gd name="connsiteX7759" fmla="*/ 1435881 w 9586368"/>
              <a:gd name="connsiteY7759" fmla="*/ 961347 h 6479439"/>
              <a:gd name="connsiteX7760" fmla="*/ 1200584 w 9586368"/>
              <a:gd name="connsiteY7760" fmla="*/ 957309 h 6479439"/>
              <a:gd name="connsiteX7761" fmla="*/ 1210495 w 9586368"/>
              <a:gd name="connsiteY7761" fmla="*/ 957309 h 6479439"/>
              <a:gd name="connsiteX7762" fmla="*/ 1214513 w 9586368"/>
              <a:gd name="connsiteY7762" fmla="*/ 961347 h 6479439"/>
              <a:gd name="connsiteX7763" fmla="*/ 1214513 w 9586368"/>
              <a:gd name="connsiteY7763" fmla="*/ 971217 h 6479439"/>
              <a:gd name="connsiteX7764" fmla="*/ 1210495 w 9586368"/>
              <a:gd name="connsiteY7764" fmla="*/ 975256 h 6479439"/>
              <a:gd name="connsiteX7765" fmla="*/ 1200584 w 9586368"/>
              <a:gd name="connsiteY7765" fmla="*/ 975256 h 6479439"/>
              <a:gd name="connsiteX7766" fmla="*/ 1196566 w 9586368"/>
              <a:gd name="connsiteY7766" fmla="*/ 971217 h 6479439"/>
              <a:gd name="connsiteX7767" fmla="*/ 1196566 w 9586368"/>
              <a:gd name="connsiteY7767" fmla="*/ 961347 h 6479439"/>
              <a:gd name="connsiteX7768" fmla="*/ 961271 w 9586368"/>
              <a:gd name="connsiteY7768" fmla="*/ 957309 h 6479439"/>
              <a:gd name="connsiteX7769" fmla="*/ 971182 w 9586368"/>
              <a:gd name="connsiteY7769" fmla="*/ 957309 h 6479439"/>
              <a:gd name="connsiteX7770" fmla="*/ 975201 w 9586368"/>
              <a:gd name="connsiteY7770" fmla="*/ 961347 h 6479439"/>
              <a:gd name="connsiteX7771" fmla="*/ 975201 w 9586368"/>
              <a:gd name="connsiteY7771" fmla="*/ 971218 h 6479439"/>
              <a:gd name="connsiteX7772" fmla="*/ 971182 w 9586368"/>
              <a:gd name="connsiteY7772" fmla="*/ 975256 h 6479439"/>
              <a:gd name="connsiteX7773" fmla="*/ 961271 w 9586368"/>
              <a:gd name="connsiteY7773" fmla="*/ 975256 h 6479439"/>
              <a:gd name="connsiteX7774" fmla="*/ 957253 w 9586368"/>
              <a:gd name="connsiteY7774" fmla="*/ 971218 h 6479439"/>
              <a:gd name="connsiteX7775" fmla="*/ 957253 w 9586368"/>
              <a:gd name="connsiteY7775" fmla="*/ 961347 h 6479439"/>
              <a:gd name="connsiteX7776" fmla="*/ 9333125 w 9586368"/>
              <a:gd name="connsiteY7776" fmla="*/ 957302 h 6479439"/>
              <a:gd name="connsiteX7777" fmla="*/ 9343036 w 9586368"/>
              <a:gd name="connsiteY7777" fmla="*/ 957302 h 6479439"/>
              <a:gd name="connsiteX7778" fmla="*/ 9347055 w 9586368"/>
              <a:gd name="connsiteY7778" fmla="*/ 961340 h 6479439"/>
              <a:gd name="connsiteX7779" fmla="*/ 9347055 w 9586368"/>
              <a:gd name="connsiteY7779" fmla="*/ 971210 h 6479439"/>
              <a:gd name="connsiteX7780" fmla="*/ 9343036 w 9586368"/>
              <a:gd name="connsiteY7780" fmla="*/ 975249 h 6479439"/>
              <a:gd name="connsiteX7781" fmla="*/ 9333125 w 9586368"/>
              <a:gd name="connsiteY7781" fmla="*/ 975249 h 6479439"/>
              <a:gd name="connsiteX7782" fmla="*/ 9329106 w 9586368"/>
              <a:gd name="connsiteY7782" fmla="*/ 971210 h 6479439"/>
              <a:gd name="connsiteX7783" fmla="*/ 9329106 w 9586368"/>
              <a:gd name="connsiteY7783" fmla="*/ 961340 h 6479439"/>
              <a:gd name="connsiteX7784" fmla="*/ 9093811 w 9586368"/>
              <a:gd name="connsiteY7784" fmla="*/ 957302 h 6479439"/>
              <a:gd name="connsiteX7785" fmla="*/ 9103722 w 9586368"/>
              <a:gd name="connsiteY7785" fmla="*/ 957302 h 6479439"/>
              <a:gd name="connsiteX7786" fmla="*/ 9107741 w 9586368"/>
              <a:gd name="connsiteY7786" fmla="*/ 961340 h 6479439"/>
              <a:gd name="connsiteX7787" fmla="*/ 9107741 w 9586368"/>
              <a:gd name="connsiteY7787" fmla="*/ 971210 h 6479439"/>
              <a:gd name="connsiteX7788" fmla="*/ 9103722 w 9586368"/>
              <a:gd name="connsiteY7788" fmla="*/ 975249 h 6479439"/>
              <a:gd name="connsiteX7789" fmla="*/ 9093811 w 9586368"/>
              <a:gd name="connsiteY7789" fmla="*/ 975249 h 6479439"/>
              <a:gd name="connsiteX7790" fmla="*/ 9089792 w 9586368"/>
              <a:gd name="connsiteY7790" fmla="*/ 971210 h 6479439"/>
              <a:gd name="connsiteX7791" fmla="*/ 9089792 w 9586368"/>
              <a:gd name="connsiteY7791" fmla="*/ 961340 h 6479439"/>
              <a:gd name="connsiteX7792" fmla="*/ 8854496 w 9586368"/>
              <a:gd name="connsiteY7792" fmla="*/ 957302 h 6479439"/>
              <a:gd name="connsiteX7793" fmla="*/ 8864407 w 9586368"/>
              <a:gd name="connsiteY7793" fmla="*/ 957302 h 6479439"/>
              <a:gd name="connsiteX7794" fmla="*/ 8868426 w 9586368"/>
              <a:gd name="connsiteY7794" fmla="*/ 961340 h 6479439"/>
              <a:gd name="connsiteX7795" fmla="*/ 8868426 w 9586368"/>
              <a:gd name="connsiteY7795" fmla="*/ 971210 h 6479439"/>
              <a:gd name="connsiteX7796" fmla="*/ 8864407 w 9586368"/>
              <a:gd name="connsiteY7796" fmla="*/ 975249 h 6479439"/>
              <a:gd name="connsiteX7797" fmla="*/ 8854496 w 9586368"/>
              <a:gd name="connsiteY7797" fmla="*/ 975249 h 6479439"/>
              <a:gd name="connsiteX7798" fmla="*/ 8850477 w 9586368"/>
              <a:gd name="connsiteY7798" fmla="*/ 971210 h 6479439"/>
              <a:gd name="connsiteX7799" fmla="*/ 8850477 w 9586368"/>
              <a:gd name="connsiteY7799" fmla="*/ 961340 h 6479439"/>
              <a:gd name="connsiteX7800" fmla="*/ 8615184 w 9586368"/>
              <a:gd name="connsiteY7800" fmla="*/ 957302 h 6479439"/>
              <a:gd name="connsiteX7801" fmla="*/ 8625095 w 9586368"/>
              <a:gd name="connsiteY7801" fmla="*/ 957302 h 6479439"/>
              <a:gd name="connsiteX7802" fmla="*/ 8629114 w 9586368"/>
              <a:gd name="connsiteY7802" fmla="*/ 961340 h 6479439"/>
              <a:gd name="connsiteX7803" fmla="*/ 8629114 w 9586368"/>
              <a:gd name="connsiteY7803" fmla="*/ 971210 h 6479439"/>
              <a:gd name="connsiteX7804" fmla="*/ 8625095 w 9586368"/>
              <a:gd name="connsiteY7804" fmla="*/ 975249 h 6479439"/>
              <a:gd name="connsiteX7805" fmla="*/ 8615184 w 9586368"/>
              <a:gd name="connsiteY7805" fmla="*/ 975249 h 6479439"/>
              <a:gd name="connsiteX7806" fmla="*/ 8611165 w 9586368"/>
              <a:gd name="connsiteY7806" fmla="*/ 971210 h 6479439"/>
              <a:gd name="connsiteX7807" fmla="*/ 8611165 w 9586368"/>
              <a:gd name="connsiteY7807" fmla="*/ 961340 h 6479439"/>
              <a:gd name="connsiteX7808" fmla="*/ 8375869 w 9586368"/>
              <a:gd name="connsiteY7808" fmla="*/ 957302 h 6479439"/>
              <a:gd name="connsiteX7809" fmla="*/ 8385779 w 9586368"/>
              <a:gd name="connsiteY7809" fmla="*/ 957302 h 6479439"/>
              <a:gd name="connsiteX7810" fmla="*/ 8389799 w 9586368"/>
              <a:gd name="connsiteY7810" fmla="*/ 961340 h 6479439"/>
              <a:gd name="connsiteX7811" fmla="*/ 8389799 w 9586368"/>
              <a:gd name="connsiteY7811" fmla="*/ 971210 h 6479439"/>
              <a:gd name="connsiteX7812" fmla="*/ 8385779 w 9586368"/>
              <a:gd name="connsiteY7812" fmla="*/ 975249 h 6479439"/>
              <a:gd name="connsiteX7813" fmla="*/ 8375869 w 9586368"/>
              <a:gd name="connsiteY7813" fmla="*/ 975249 h 6479439"/>
              <a:gd name="connsiteX7814" fmla="*/ 8371850 w 9586368"/>
              <a:gd name="connsiteY7814" fmla="*/ 971210 h 6479439"/>
              <a:gd name="connsiteX7815" fmla="*/ 8371850 w 9586368"/>
              <a:gd name="connsiteY7815" fmla="*/ 961340 h 6479439"/>
              <a:gd name="connsiteX7816" fmla="*/ 1918514 w 9586368"/>
              <a:gd name="connsiteY7816" fmla="*/ 957301 h 6479439"/>
              <a:gd name="connsiteX7817" fmla="*/ 1928424 w 9586368"/>
              <a:gd name="connsiteY7817" fmla="*/ 957301 h 6479439"/>
              <a:gd name="connsiteX7818" fmla="*/ 1932444 w 9586368"/>
              <a:gd name="connsiteY7818" fmla="*/ 961339 h 6479439"/>
              <a:gd name="connsiteX7819" fmla="*/ 1932444 w 9586368"/>
              <a:gd name="connsiteY7819" fmla="*/ 971210 h 6479439"/>
              <a:gd name="connsiteX7820" fmla="*/ 1928424 w 9586368"/>
              <a:gd name="connsiteY7820" fmla="*/ 975249 h 6479439"/>
              <a:gd name="connsiteX7821" fmla="*/ 1918514 w 9586368"/>
              <a:gd name="connsiteY7821" fmla="*/ 975249 h 6479439"/>
              <a:gd name="connsiteX7822" fmla="*/ 1914495 w 9586368"/>
              <a:gd name="connsiteY7822" fmla="*/ 971210 h 6479439"/>
              <a:gd name="connsiteX7823" fmla="*/ 1914495 w 9586368"/>
              <a:gd name="connsiteY7823" fmla="*/ 961339 h 6479439"/>
              <a:gd name="connsiteX7824" fmla="*/ 2157823 w 9586368"/>
              <a:gd name="connsiteY7824" fmla="*/ 957299 h 6479439"/>
              <a:gd name="connsiteX7825" fmla="*/ 2167733 w 9586368"/>
              <a:gd name="connsiteY7825" fmla="*/ 957299 h 6479439"/>
              <a:gd name="connsiteX7826" fmla="*/ 2171751 w 9586368"/>
              <a:gd name="connsiteY7826" fmla="*/ 961337 h 6479439"/>
              <a:gd name="connsiteX7827" fmla="*/ 2171751 w 9586368"/>
              <a:gd name="connsiteY7827" fmla="*/ 971207 h 6479439"/>
              <a:gd name="connsiteX7828" fmla="*/ 2167733 w 9586368"/>
              <a:gd name="connsiteY7828" fmla="*/ 975246 h 6479439"/>
              <a:gd name="connsiteX7829" fmla="*/ 2157823 w 9586368"/>
              <a:gd name="connsiteY7829" fmla="*/ 975246 h 6479439"/>
              <a:gd name="connsiteX7830" fmla="*/ 2153804 w 9586368"/>
              <a:gd name="connsiteY7830" fmla="*/ 971207 h 6479439"/>
              <a:gd name="connsiteX7831" fmla="*/ 2153804 w 9586368"/>
              <a:gd name="connsiteY7831" fmla="*/ 961337 h 6479439"/>
              <a:gd name="connsiteX7832" fmla="*/ 9572438 w 9586368"/>
              <a:gd name="connsiteY7832" fmla="*/ 957291 h 6479439"/>
              <a:gd name="connsiteX7833" fmla="*/ 9582349 w 9586368"/>
              <a:gd name="connsiteY7833" fmla="*/ 957291 h 6479439"/>
              <a:gd name="connsiteX7834" fmla="*/ 9586368 w 9586368"/>
              <a:gd name="connsiteY7834" fmla="*/ 961329 h 6479439"/>
              <a:gd name="connsiteX7835" fmla="*/ 9586368 w 9586368"/>
              <a:gd name="connsiteY7835" fmla="*/ 971199 h 6479439"/>
              <a:gd name="connsiteX7836" fmla="*/ 9582349 w 9586368"/>
              <a:gd name="connsiteY7836" fmla="*/ 975238 h 6479439"/>
              <a:gd name="connsiteX7837" fmla="*/ 9572438 w 9586368"/>
              <a:gd name="connsiteY7837" fmla="*/ 975238 h 6479439"/>
              <a:gd name="connsiteX7838" fmla="*/ 9568419 w 9586368"/>
              <a:gd name="connsiteY7838" fmla="*/ 971199 h 6479439"/>
              <a:gd name="connsiteX7839" fmla="*/ 9568419 w 9586368"/>
              <a:gd name="connsiteY7839" fmla="*/ 961329 h 6479439"/>
              <a:gd name="connsiteX7840" fmla="*/ 721974 w 9586368"/>
              <a:gd name="connsiteY7840" fmla="*/ 957266 h 6479439"/>
              <a:gd name="connsiteX7841" fmla="*/ 731884 w 9586368"/>
              <a:gd name="connsiteY7841" fmla="*/ 957266 h 6479439"/>
              <a:gd name="connsiteX7842" fmla="*/ 735903 w 9586368"/>
              <a:gd name="connsiteY7842" fmla="*/ 961305 h 6479439"/>
              <a:gd name="connsiteX7843" fmla="*/ 735903 w 9586368"/>
              <a:gd name="connsiteY7843" fmla="*/ 971175 h 6479439"/>
              <a:gd name="connsiteX7844" fmla="*/ 731884 w 9586368"/>
              <a:gd name="connsiteY7844" fmla="*/ 975214 h 6479439"/>
              <a:gd name="connsiteX7845" fmla="*/ 721974 w 9586368"/>
              <a:gd name="connsiteY7845" fmla="*/ 975214 h 6479439"/>
              <a:gd name="connsiteX7846" fmla="*/ 717956 w 9586368"/>
              <a:gd name="connsiteY7846" fmla="*/ 971175 h 6479439"/>
              <a:gd name="connsiteX7847" fmla="*/ 717956 w 9586368"/>
              <a:gd name="connsiteY7847" fmla="*/ 961305 h 6479439"/>
              <a:gd name="connsiteX7848" fmla="*/ 482662 w 9586368"/>
              <a:gd name="connsiteY7848" fmla="*/ 957266 h 6479439"/>
              <a:gd name="connsiteX7849" fmla="*/ 492572 w 9586368"/>
              <a:gd name="connsiteY7849" fmla="*/ 957266 h 6479439"/>
              <a:gd name="connsiteX7850" fmla="*/ 496591 w 9586368"/>
              <a:gd name="connsiteY7850" fmla="*/ 961305 h 6479439"/>
              <a:gd name="connsiteX7851" fmla="*/ 496591 w 9586368"/>
              <a:gd name="connsiteY7851" fmla="*/ 971175 h 6479439"/>
              <a:gd name="connsiteX7852" fmla="*/ 492572 w 9586368"/>
              <a:gd name="connsiteY7852" fmla="*/ 975214 h 6479439"/>
              <a:gd name="connsiteX7853" fmla="*/ 482662 w 9586368"/>
              <a:gd name="connsiteY7853" fmla="*/ 975214 h 6479439"/>
              <a:gd name="connsiteX7854" fmla="*/ 478643 w 9586368"/>
              <a:gd name="connsiteY7854" fmla="*/ 971175 h 6479439"/>
              <a:gd name="connsiteX7855" fmla="*/ 478643 w 9586368"/>
              <a:gd name="connsiteY7855" fmla="*/ 961305 h 6479439"/>
              <a:gd name="connsiteX7856" fmla="*/ 243349 w 9586368"/>
              <a:gd name="connsiteY7856" fmla="*/ 957266 h 6479439"/>
              <a:gd name="connsiteX7857" fmla="*/ 253259 w 9586368"/>
              <a:gd name="connsiteY7857" fmla="*/ 957266 h 6479439"/>
              <a:gd name="connsiteX7858" fmla="*/ 257278 w 9586368"/>
              <a:gd name="connsiteY7858" fmla="*/ 961305 h 6479439"/>
              <a:gd name="connsiteX7859" fmla="*/ 257278 w 9586368"/>
              <a:gd name="connsiteY7859" fmla="*/ 971175 h 6479439"/>
              <a:gd name="connsiteX7860" fmla="*/ 253259 w 9586368"/>
              <a:gd name="connsiteY7860" fmla="*/ 975214 h 6479439"/>
              <a:gd name="connsiteX7861" fmla="*/ 243349 w 9586368"/>
              <a:gd name="connsiteY7861" fmla="*/ 975214 h 6479439"/>
              <a:gd name="connsiteX7862" fmla="*/ 239330 w 9586368"/>
              <a:gd name="connsiteY7862" fmla="*/ 971175 h 6479439"/>
              <a:gd name="connsiteX7863" fmla="*/ 239330 w 9586368"/>
              <a:gd name="connsiteY7863" fmla="*/ 961305 h 6479439"/>
              <a:gd name="connsiteX7864" fmla="*/ 4036 w 9586368"/>
              <a:gd name="connsiteY7864" fmla="*/ 957266 h 6479439"/>
              <a:gd name="connsiteX7865" fmla="*/ 13946 w 9586368"/>
              <a:gd name="connsiteY7865" fmla="*/ 957266 h 6479439"/>
              <a:gd name="connsiteX7866" fmla="*/ 17965 w 9586368"/>
              <a:gd name="connsiteY7866" fmla="*/ 961305 h 6479439"/>
              <a:gd name="connsiteX7867" fmla="*/ 17965 w 9586368"/>
              <a:gd name="connsiteY7867" fmla="*/ 971176 h 6479439"/>
              <a:gd name="connsiteX7868" fmla="*/ 13946 w 9586368"/>
              <a:gd name="connsiteY7868" fmla="*/ 975214 h 6479439"/>
              <a:gd name="connsiteX7869" fmla="*/ 4036 w 9586368"/>
              <a:gd name="connsiteY7869" fmla="*/ 975214 h 6479439"/>
              <a:gd name="connsiteX7870" fmla="*/ 16 w 9586368"/>
              <a:gd name="connsiteY7870" fmla="*/ 971176 h 6479439"/>
              <a:gd name="connsiteX7871" fmla="*/ 16 w 9586368"/>
              <a:gd name="connsiteY7871" fmla="*/ 961305 h 6479439"/>
              <a:gd name="connsiteX7872" fmla="*/ 3350359 w 9586368"/>
              <a:gd name="connsiteY7872" fmla="*/ 718040 h 6479439"/>
              <a:gd name="connsiteX7873" fmla="*/ 3360268 w 9586368"/>
              <a:gd name="connsiteY7873" fmla="*/ 718040 h 6479439"/>
              <a:gd name="connsiteX7874" fmla="*/ 3364287 w 9586368"/>
              <a:gd name="connsiteY7874" fmla="*/ 722078 h 6479439"/>
              <a:gd name="connsiteX7875" fmla="*/ 3364287 w 9586368"/>
              <a:gd name="connsiteY7875" fmla="*/ 731948 h 6479439"/>
              <a:gd name="connsiteX7876" fmla="*/ 3360268 w 9586368"/>
              <a:gd name="connsiteY7876" fmla="*/ 735987 h 6479439"/>
              <a:gd name="connsiteX7877" fmla="*/ 3350359 w 9586368"/>
              <a:gd name="connsiteY7877" fmla="*/ 735987 h 6479439"/>
              <a:gd name="connsiteX7878" fmla="*/ 3346340 w 9586368"/>
              <a:gd name="connsiteY7878" fmla="*/ 731948 h 6479439"/>
              <a:gd name="connsiteX7879" fmla="*/ 3346340 w 9586368"/>
              <a:gd name="connsiteY7879" fmla="*/ 722078 h 6479439"/>
              <a:gd name="connsiteX7880" fmla="*/ 3111048 w 9586368"/>
              <a:gd name="connsiteY7880" fmla="*/ 718040 h 6479439"/>
              <a:gd name="connsiteX7881" fmla="*/ 3120959 w 9586368"/>
              <a:gd name="connsiteY7881" fmla="*/ 718040 h 6479439"/>
              <a:gd name="connsiteX7882" fmla="*/ 3124977 w 9586368"/>
              <a:gd name="connsiteY7882" fmla="*/ 722078 h 6479439"/>
              <a:gd name="connsiteX7883" fmla="*/ 3124977 w 9586368"/>
              <a:gd name="connsiteY7883" fmla="*/ 731949 h 6479439"/>
              <a:gd name="connsiteX7884" fmla="*/ 3120959 w 9586368"/>
              <a:gd name="connsiteY7884" fmla="*/ 735987 h 6479439"/>
              <a:gd name="connsiteX7885" fmla="*/ 3111048 w 9586368"/>
              <a:gd name="connsiteY7885" fmla="*/ 735987 h 6479439"/>
              <a:gd name="connsiteX7886" fmla="*/ 3107029 w 9586368"/>
              <a:gd name="connsiteY7886" fmla="*/ 731949 h 6479439"/>
              <a:gd name="connsiteX7887" fmla="*/ 3107029 w 9586368"/>
              <a:gd name="connsiteY7887" fmla="*/ 722078 h 6479439"/>
              <a:gd name="connsiteX7888" fmla="*/ 2871737 w 9586368"/>
              <a:gd name="connsiteY7888" fmla="*/ 718040 h 6479439"/>
              <a:gd name="connsiteX7889" fmla="*/ 2881646 w 9586368"/>
              <a:gd name="connsiteY7889" fmla="*/ 718040 h 6479439"/>
              <a:gd name="connsiteX7890" fmla="*/ 2885666 w 9586368"/>
              <a:gd name="connsiteY7890" fmla="*/ 722078 h 6479439"/>
              <a:gd name="connsiteX7891" fmla="*/ 2885666 w 9586368"/>
              <a:gd name="connsiteY7891" fmla="*/ 731949 h 6479439"/>
              <a:gd name="connsiteX7892" fmla="*/ 2881646 w 9586368"/>
              <a:gd name="connsiteY7892" fmla="*/ 735987 h 6479439"/>
              <a:gd name="connsiteX7893" fmla="*/ 2871737 w 9586368"/>
              <a:gd name="connsiteY7893" fmla="*/ 735987 h 6479439"/>
              <a:gd name="connsiteX7894" fmla="*/ 2867717 w 9586368"/>
              <a:gd name="connsiteY7894" fmla="*/ 731949 h 6479439"/>
              <a:gd name="connsiteX7895" fmla="*/ 2867717 w 9586368"/>
              <a:gd name="connsiteY7895" fmla="*/ 722078 h 6479439"/>
              <a:gd name="connsiteX7896" fmla="*/ 2632423 w 9586368"/>
              <a:gd name="connsiteY7896" fmla="*/ 718040 h 6479439"/>
              <a:gd name="connsiteX7897" fmla="*/ 2642334 w 9586368"/>
              <a:gd name="connsiteY7897" fmla="*/ 718040 h 6479439"/>
              <a:gd name="connsiteX7898" fmla="*/ 2646352 w 9586368"/>
              <a:gd name="connsiteY7898" fmla="*/ 722078 h 6479439"/>
              <a:gd name="connsiteX7899" fmla="*/ 2646352 w 9586368"/>
              <a:gd name="connsiteY7899" fmla="*/ 731949 h 6479439"/>
              <a:gd name="connsiteX7900" fmla="*/ 2642334 w 9586368"/>
              <a:gd name="connsiteY7900" fmla="*/ 735988 h 6479439"/>
              <a:gd name="connsiteX7901" fmla="*/ 2632423 w 9586368"/>
              <a:gd name="connsiteY7901" fmla="*/ 735988 h 6479439"/>
              <a:gd name="connsiteX7902" fmla="*/ 2628404 w 9586368"/>
              <a:gd name="connsiteY7902" fmla="*/ 731949 h 6479439"/>
              <a:gd name="connsiteX7903" fmla="*/ 2628404 w 9586368"/>
              <a:gd name="connsiteY7903" fmla="*/ 722078 h 6479439"/>
              <a:gd name="connsiteX7904" fmla="*/ 2393104 w 9586368"/>
              <a:gd name="connsiteY7904" fmla="*/ 718040 h 6479439"/>
              <a:gd name="connsiteX7905" fmla="*/ 2403015 w 9586368"/>
              <a:gd name="connsiteY7905" fmla="*/ 718040 h 6479439"/>
              <a:gd name="connsiteX7906" fmla="*/ 2407034 w 9586368"/>
              <a:gd name="connsiteY7906" fmla="*/ 722078 h 6479439"/>
              <a:gd name="connsiteX7907" fmla="*/ 2407034 w 9586368"/>
              <a:gd name="connsiteY7907" fmla="*/ 731949 h 6479439"/>
              <a:gd name="connsiteX7908" fmla="*/ 2403015 w 9586368"/>
              <a:gd name="connsiteY7908" fmla="*/ 735988 h 6479439"/>
              <a:gd name="connsiteX7909" fmla="*/ 2393104 w 9586368"/>
              <a:gd name="connsiteY7909" fmla="*/ 735988 h 6479439"/>
              <a:gd name="connsiteX7910" fmla="*/ 2389087 w 9586368"/>
              <a:gd name="connsiteY7910" fmla="*/ 731949 h 6479439"/>
              <a:gd name="connsiteX7911" fmla="*/ 2389087 w 9586368"/>
              <a:gd name="connsiteY7911" fmla="*/ 722078 h 6479439"/>
              <a:gd name="connsiteX7912" fmla="*/ 4546929 w 9586368"/>
              <a:gd name="connsiteY7912" fmla="*/ 718028 h 6479439"/>
              <a:gd name="connsiteX7913" fmla="*/ 4556840 w 9586368"/>
              <a:gd name="connsiteY7913" fmla="*/ 718028 h 6479439"/>
              <a:gd name="connsiteX7914" fmla="*/ 4560859 w 9586368"/>
              <a:gd name="connsiteY7914" fmla="*/ 722066 h 6479439"/>
              <a:gd name="connsiteX7915" fmla="*/ 4560859 w 9586368"/>
              <a:gd name="connsiteY7915" fmla="*/ 731935 h 6479439"/>
              <a:gd name="connsiteX7916" fmla="*/ 4556840 w 9586368"/>
              <a:gd name="connsiteY7916" fmla="*/ 735975 h 6479439"/>
              <a:gd name="connsiteX7917" fmla="*/ 4546929 w 9586368"/>
              <a:gd name="connsiteY7917" fmla="*/ 735975 h 6479439"/>
              <a:gd name="connsiteX7918" fmla="*/ 4542910 w 9586368"/>
              <a:gd name="connsiteY7918" fmla="*/ 731935 h 6479439"/>
              <a:gd name="connsiteX7919" fmla="*/ 4542910 w 9586368"/>
              <a:gd name="connsiteY7919" fmla="*/ 722066 h 6479439"/>
              <a:gd name="connsiteX7920" fmla="*/ 4307612 w 9586368"/>
              <a:gd name="connsiteY7920" fmla="*/ 718028 h 6479439"/>
              <a:gd name="connsiteX7921" fmla="*/ 4317523 w 9586368"/>
              <a:gd name="connsiteY7921" fmla="*/ 718028 h 6479439"/>
              <a:gd name="connsiteX7922" fmla="*/ 4321543 w 9586368"/>
              <a:gd name="connsiteY7922" fmla="*/ 722066 h 6479439"/>
              <a:gd name="connsiteX7923" fmla="*/ 4321543 w 9586368"/>
              <a:gd name="connsiteY7923" fmla="*/ 731936 h 6479439"/>
              <a:gd name="connsiteX7924" fmla="*/ 4317523 w 9586368"/>
              <a:gd name="connsiteY7924" fmla="*/ 735975 h 6479439"/>
              <a:gd name="connsiteX7925" fmla="*/ 4307612 w 9586368"/>
              <a:gd name="connsiteY7925" fmla="*/ 735975 h 6479439"/>
              <a:gd name="connsiteX7926" fmla="*/ 4303595 w 9586368"/>
              <a:gd name="connsiteY7926" fmla="*/ 731936 h 6479439"/>
              <a:gd name="connsiteX7927" fmla="*/ 4303595 w 9586368"/>
              <a:gd name="connsiteY7927" fmla="*/ 722066 h 6479439"/>
              <a:gd name="connsiteX7928" fmla="*/ 4068297 w 9586368"/>
              <a:gd name="connsiteY7928" fmla="*/ 718028 h 6479439"/>
              <a:gd name="connsiteX7929" fmla="*/ 4078210 w 9586368"/>
              <a:gd name="connsiteY7929" fmla="*/ 718028 h 6479439"/>
              <a:gd name="connsiteX7930" fmla="*/ 4082229 w 9586368"/>
              <a:gd name="connsiteY7930" fmla="*/ 722066 h 6479439"/>
              <a:gd name="connsiteX7931" fmla="*/ 4082229 w 9586368"/>
              <a:gd name="connsiteY7931" fmla="*/ 731936 h 6479439"/>
              <a:gd name="connsiteX7932" fmla="*/ 4078210 w 9586368"/>
              <a:gd name="connsiteY7932" fmla="*/ 735975 h 6479439"/>
              <a:gd name="connsiteX7933" fmla="*/ 4068297 w 9586368"/>
              <a:gd name="connsiteY7933" fmla="*/ 735975 h 6479439"/>
              <a:gd name="connsiteX7934" fmla="*/ 4064278 w 9586368"/>
              <a:gd name="connsiteY7934" fmla="*/ 731936 h 6479439"/>
              <a:gd name="connsiteX7935" fmla="*/ 4064278 w 9586368"/>
              <a:gd name="connsiteY7935" fmla="*/ 722066 h 6479439"/>
              <a:gd name="connsiteX7936" fmla="*/ 3828990 w 9586368"/>
              <a:gd name="connsiteY7936" fmla="*/ 718028 h 6479439"/>
              <a:gd name="connsiteX7937" fmla="*/ 3838899 w 9586368"/>
              <a:gd name="connsiteY7937" fmla="*/ 718028 h 6479439"/>
              <a:gd name="connsiteX7938" fmla="*/ 3842917 w 9586368"/>
              <a:gd name="connsiteY7938" fmla="*/ 722066 h 6479439"/>
              <a:gd name="connsiteX7939" fmla="*/ 3842917 w 9586368"/>
              <a:gd name="connsiteY7939" fmla="*/ 731936 h 6479439"/>
              <a:gd name="connsiteX7940" fmla="*/ 3838899 w 9586368"/>
              <a:gd name="connsiteY7940" fmla="*/ 735975 h 6479439"/>
              <a:gd name="connsiteX7941" fmla="*/ 3828990 w 9586368"/>
              <a:gd name="connsiteY7941" fmla="*/ 735975 h 6479439"/>
              <a:gd name="connsiteX7942" fmla="*/ 3824971 w 9586368"/>
              <a:gd name="connsiteY7942" fmla="*/ 731936 h 6479439"/>
              <a:gd name="connsiteX7943" fmla="*/ 3824971 w 9586368"/>
              <a:gd name="connsiteY7943" fmla="*/ 722066 h 6479439"/>
              <a:gd name="connsiteX7944" fmla="*/ 3589676 w 9586368"/>
              <a:gd name="connsiteY7944" fmla="*/ 718028 h 6479439"/>
              <a:gd name="connsiteX7945" fmla="*/ 3599585 w 9586368"/>
              <a:gd name="connsiteY7945" fmla="*/ 718028 h 6479439"/>
              <a:gd name="connsiteX7946" fmla="*/ 3603604 w 9586368"/>
              <a:gd name="connsiteY7946" fmla="*/ 722066 h 6479439"/>
              <a:gd name="connsiteX7947" fmla="*/ 3603604 w 9586368"/>
              <a:gd name="connsiteY7947" fmla="*/ 731936 h 6479439"/>
              <a:gd name="connsiteX7948" fmla="*/ 3599585 w 9586368"/>
              <a:gd name="connsiteY7948" fmla="*/ 735975 h 6479439"/>
              <a:gd name="connsiteX7949" fmla="*/ 3589676 w 9586368"/>
              <a:gd name="connsiteY7949" fmla="*/ 735975 h 6479439"/>
              <a:gd name="connsiteX7950" fmla="*/ 3585657 w 9586368"/>
              <a:gd name="connsiteY7950" fmla="*/ 731936 h 6479439"/>
              <a:gd name="connsiteX7951" fmla="*/ 3585657 w 9586368"/>
              <a:gd name="connsiteY7951" fmla="*/ 722066 h 6479439"/>
              <a:gd name="connsiteX7952" fmla="*/ 5743412 w 9586368"/>
              <a:gd name="connsiteY7952" fmla="*/ 718015 h 6479439"/>
              <a:gd name="connsiteX7953" fmla="*/ 5753323 w 9586368"/>
              <a:gd name="connsiteY7953" fmla="*/ 718015 h 6479439"/>
              <a:gd name="connsiteX7954" fmla="*/ 5757342 w 9586368"/>
              <a:gd name="connsiteY7954" fmla="*/ 722053 h 6479439"/>
              <a:gd name="connsiteX7955" fmla="*/ 5757342 w 9586368"/>
              <a:gd name="connsiteY7955" fmla="*/ 731924 h 6479439"/>
              <a:gd name="connsiteX7956" fmla="*/ 5753323 w 9586368"/>
              <a:gd name="connsiteY7956" fmla="*/ 735963 h 6479439"/>
              <a:gd name="connsiteX7957" fmla="*/ 5743412 w 9586368"/>
              <a:gd name="connsiteY7957" fmla="*/ 735963 h 6479439"/>
              <a:gd name="connsiteX7958" fmla="*/ 5739393 w 9586368"/>
              <a:gd name="connsiteY7958" fmla="*/ 731924 h 6479439"/>
              <a:gd name="connsiteX7959" fmla="*/ 5739393 w 9586368"/>
              <a:gd name="connsiteY7959" fmla="*/ 722053 h 6479439"/>
              <a:gd name="connsiteX7960" fmla="*/ 5504099 w 9586368"/>
              <a:gd name="connsiteY7960" fmla="*/ 718015 h 6479439"/>
              <a:gd name="connsiteX7961" fmla="*/ 5514010 w 9586368"/>
              <a:gd name="connsiteY7961" fmla="*/ 718015 h 6479439"/>
              <a:gd name="connsiteX7962" fmla="*/ 5518029 w 9586368"/>
              <a:gd name="connsiteY7962" fmla="*/ 722053 h 6479439"/>
              <a:gd name="connsiteX7963" fmla="*/ 5518029 w 9586368"/>
              <a:gd name="connsiteY7963" fmla="*/ 731924 h 6479439"/>
              <a:gd name="connsiteX7964" fmla="*/ 5514010 w 9586368"/>
              <a:gd name="connsiteY7964" fmla="*/ 735963 h 6479439"/>
              <a:gd name="connsiteX7965" fmla="*/ 5504099 w 9586368"/>
              <a:gd name="connsiteY7965" fmla="*/ 735963 h 6479439"/>
              <a:gd name="connsiteX7966" fmla="*/ 5500080 w 9586368"/>
              <a:gd name="connsiteY7966" fmla="*/ 731924 h 6479439"/>
              <a:gd name="connsiteX7967" fmla="*/ 5500080 w 9586368"/>
              <a:gd name="connsiteY7967" fmla="*/ 722053 h 6479439"/>
              <a:gd name="connsiteX7968" fmla="*/ 5264784 w 9586368"/>
              <a:gd name="connsiteY7968" fmla="*/ 718015 h 6479439"/>
              <a:gd name="connsiteX7969" fmla="*/ 5274694 w 9586368"/>
              <a:gd name="connsiteY7969" fmla="*/ 718015 h 6479439"/>
              <a:gd name="connsiteX7970" fmla="*/ 5278713 w 9586368"/>
              <a:gd name="connsiteY7970" fmla="*/ 722053 h 6479439"/>
              <a:gd name="connsiteX7971" fmla="*/ 5278713 w 9586368"/>
              <a:gd name="connsiteY7971" fmla="*/ 731924 h 6479439"/>
              <a:gd name="connsiteX7972" fmla="*/ 5274694 w 9586368"/>
              <a:gd name="connsiteY7972" fmla="*/ 735963 h 6479439"/>
              <a:gd name="connsiteX7973" fmla="*/ 5264784 w 9586368"/>
              <a:gd name="connsiteY7973" fmla="*/ 735963 h 6479439"/>
              <a:gd name="connsiteX7974" fmla="*/ 5260765 w 9586368"/>
              <a:gd name="connsiteY7974" fmla="*/ 731924 h 6479439"/>
              <a:gd name="connsiteX7975" fmla="*/ 5260765 w 9586368"/>
              <a:gd name="connsiteY7975" fmla="*/ 722053 h 6479439"/>
              <a:gd name="connsiteX7976" fmla="*/ 5025470 w 9586368"/>
              <a:gd name="connsiteY7976" fmla="*/ 718015 h 6479439"/>
              <a:gd name="connsiteX7977" fmla="*/ 5035381 w 9586368"/>
              <a:gd name="connsiteY7977" fmla="*/ 718015 h 6479439"/>
              <a:gd name="connsiteX7978" fmla="*/ 5039400 w 9586368"/>
              <a:gd name="connsiteY7978" fmla="*/ 722053 h 6479439"/>
              <a:gd name="connsiteX7979" fmla="*/ 5039400 w 9586368"/>
              <a:gd name="connsiteY7979" fmla="*/ 731924 h 6479439"/>
              <a:gd name="connsiteX7980" fmla="*/ 5035381 w 9586368"/>
              <a:gd name="connsiteY7980" fmla="*/ 735963 h 6479439"/>
              <a:gd name="connsiteX7981" fmla="*/ 5025470 w 9586368"/>
              <a:gd name="connsiteY7981" fmla="*/ 735963 h 6479439"/>
              <a:gd name="connsiteX7982" fmla="*/ 5021451 w 9586368"/>
              <a:gd name="connsiteY7982" fmla="*/ 731924 h 6479439"/>
              <a:gd name="connsiteX7983" fmla="*/ 5021451 w 9586368"/>
              <a:gd name="connsiteY7983" fmla="*/ 722053 h 6479439"/>
              <a:gd name="connsiteX7984" fmla="*/ 4786241 w 9586368"/>
              <a:gd name="connsiteY7984" fmla="*/ 718015 h 6479439"/>
              <a:gd name="connsiteX7985" fmla="*/ 4796152 w 9586368"/>
              <a:gd name="connsiteY7985" fmla="*/ 718015 h 6479439"/>
              <a:gd name="connsiteX7986" fmla="*/ 4800171 w 9586368"/>
              <a:gd name="connsiteY7986" fmla="*/ 722053 h 6479439"/>
              <a:gd name="connsiteX7987" fmla="*/ 4800171 w 9586368"/>
              <a:gd name="connsiteY7987" fmla="*/ 731924 h 6479439"/>
              <a:gd name="connsiteX7988" fmla="*/ 4796152 w 9586368"/>
              <a:gd name="connsiteY7988" fmla="*/ 735963 h 6479439"/>
              <a:gd name="connsiteX7989" fmla="*/ 4786241 w 9586368"/>
              <a:gd name="connsiteY7989" fmla="*/ 735963 h 6479439"/>
              <a:gd name="connsiteX7990" fmla="*/ 4782224 w 9586368"/>
              <a:gd name="connsiteY7990" fmla="*/ 731924 h 6479439"/>
              <a:gd name="connsiteX7991" fmla="*/ 4782224 w 9586368"/>
              <a:gd name="connsiteY7991" fmla="*/ 722053 h 6479439"/>
              <a:gd name="connsiteX7992" fmla="*/ 6939983 w 9586368"/>
              <a:gd name="connsiteY7992" fmla="*/ 718003 h 6479439"/>
              <a:gd name="connsiteX7993" fmla="*/ 6949894 w 9586368"/>
              <a:gd name="connsiteY7993" fmla="*/ 718003 h 6479439"/>
              <a:gd name="connsiteX7994" fmla="*/ 6953913 w 9586368"/>
              <a:gd name="connsiteY7994" fmla="*/ 722041 h 6479439"/>
              <a:gd name="connsiteX7995" fmla="*/ 6953913 w 9586368"/>
              <a:gd name="connsiteY7995" fmla="*/ 731911 h 6479439"/>
              <a:gd name="connsiteX7996" fmla="*/ 6949894 w 9586368"/>
              <a:gd name="connsiteY7996" fmla="*/ 735950 h 6479439"/>
              <a:gd name="connsiteX7997" fmla="*/ 6939983 w 9586368"/>
              <a:gd name="connsiteY7997" fmla="*/ 735950 h 6479439"/>
              <a:gd name="connsiteX7998" fmla="*/ 6935964 w 9586368"/>
              <a:gd name="connsiteY7998" fmla="*/ 731911 h 6479439"/>
              <a:gd name="connsiteX7999" fmla="*/ 6935964 w 9586368"/>
              <a:gd name="connsiteY7999" fmla="*/ 722041 h 6479439"/>
              <a:gd name="connsiteX8000" fmla="*/ 6700670 w 9586368"/>
              <a:gd name="connsiteY8000" fmla="*/ 718003 h 6479439"/>
              <a:gd name="connsiteX8001" fmla="*/ 6710581 w 9586368"/>
              <a:gd name="connsiteY8001" fmla="*/ 718003 h 6479439"/>
              <a:gd name="connsiteX8002" fmla="*/ 6714600 w 9586368"/>
              <a:gd name="connsiteY8002" fmla="*/ 722041 h 6479439"/>
              <a:gd name="connsiteX8003" fmla="*/ 6714600 w 9586368"/>
              <a:gd name="connsiteY8003" fmla="*/ 731912 h 6479439"/>
              <a:gd name="connsiteX8004" fmla="*/ 6710581 w 9586368"/>
              <a:gd name="connsiteY8004" fmla="*/ 735950 h 6479439"/>
              <a:gd name="connsiteX8005" fmla="*/ 6700670 w 9586368"/>
              <a:gd name="connsiteY8005" fmla="*/ 735950 h 6479439"/>
              <a:gd name="connsiteX8006" fmla="*/ 6696651 w 9586368"/>
              <a:gd name="connsiteY8006" fmla="*/ 731912 h 6479439"/>
              <a:gd name="connsiteX8007" fmla="*/ 6696651 w 9586368"/>
              <a:gd name="connsiteY8007" fmla="*/ 722041 h 6479439"/>
              <a:gd name="connsiteX8008" fmla="*/ 6461356 w 9586368"/>
              <a:gd name="connsiteY8008" fmla="*/ 718003 h 6479439"/>
              <a:gd name="connsiteX8009" fmla="*/ 6471266 w 9586368"/>
              <a:gd name="connsiteY8009" fmla="*/ 718003 h 6479439"/>
              <a:gd name="connsiteX8010" fmla="*/ 6475285 w 9586368"/>
              <a:gd name="connsiteY8010" fmla="*/ 722041 h 6479439"/>
              <a:gd name="connsiteX8011" fmla="*/ 6475285 w 9586368"/>
              <a:gd name="connsiteY8011" fmla="*/ 731912 h 6479439"/>
              <a:gd name="connsiteX8012" fmla="*/ 6471266 w 9586368"/>
              <a:gd name="connsiteY8012" fmla="*/ 735950 h 6479439"/>
              <a:gd name="connsiteX8013" fmla="*/ 6461356 w 9586368"/>
              <a:gd name="connsiteY8013" fmla="*/ 735950 h 6479439"/>
              <a:gd name="connsiteX8014" fmla="*/ 6457337 w 9586368"/>
              <a:gd name="connsiteY8014" fmla="*/ 731912 h 6479439"/>
              <a:gd name="connsiteX8015" fmla="*/ 6457337 w 9586368"/>
              <a:gd name="connsiteY8015" fmla="*/ 722041 h 6479439"/>
              <a:gd name="connsiteX8016" fmla="*/ 6222042 w 9586368"/>
              <a:gd name="connsiteY8016" fmla="*/ 718003 h 6479439"/>
              <a:gd name="connsiteX8017" fmla="*/ 6231952 w 9586368"/>
              <a:gd name="connsiteY8017" fmla="*/ 718003 h 6479439"/>
              <a:gd name="connsiteX8018" fmla="*/ 6235971 w 9586368"/>
              <a:gd name="connsiteY8018" fmla="*/ 722041 h 6479439"/>
              <a:gd name="connsiteX8019" fmla="*/ 6235971 w 9586368"/>
              <a:gd name="connsiteY8019" fmla="*/ 731912 h 6479439"/>
              <a:gd name="connsiteX8020" fmla="*/ 6231952 w 9586368"/>
              <a:gd name="connsiteY8020" fmla="*/ 735951 h 6479439"/>
              <a:gd name="connsiteX8021" fmla="*/ 6222042 w 9586368"/>
              <a:gd name="connsiteY8021" fmla="*/ 735951 h 6479439"/>
              <a:gd name="connsiteX8022" fmla="*/ 6218023 w 9586368"/>
              <a:gd name="connsiteY8022" fmla="*/ 731912 h 6479439"/>
              <a:gd name="connsiteX8023" fmla="*/ 6218023 w 9586368"/>
              <a:gd name="connsiteY8023" fmla="*/ 722041 h 6479439"/>
              <a:gd name="connsiteX8024" fmla="*/ 5982729 w 9586368"/>
              <a:gd name="connsiteY8024" fmla="*/ 718003 h 6479439"/>
              <a:gd name="connsiteX8025" fmla="*/ 5992639 w 9586368"/>
              <a:gd name="connsiteY8025" fmla="*/ 718003 h 6479439"/>
              <a:gd name="connsiteX8026" fmla="*/ 5996658 w 9586368"/>
              <a:gd name="connsiteY8026" fmla="*/ 722041 h 6479439"/>
              <a:gd name="connsiteX8027" fmla="*/ 5996658 w 9586368"/>
              <a:gd name="connsiteY8027" fmla="*/ 731912 h 6479439"/>
              <a:gd name="connsiteX8028" fmla="*/ 5992639 w 9586368"/>
              <a:gd name="connsiteY8028" fmla="*/ 735951 h 6479439"/>
              <a:gd name="connsiteX8029" fmla="*/ 5982729 w 9586368"/>
              <a:gd name="connsiteY8029" fmla="*/ 735951 h 6479439"/>
              <a:gd name="connsiteX8030" fmla="*/ 5978710 w 9586368"/>
              <a:gd name="connsiteY8030" fmla="*/ 731912 h 6479439"/>
              <a:gd name="connsiteX8031" fmla="*/ 5978710 w 9586368"/>
              <a:gd name="connsiteY8031" fmla="*/ 722041 h 6479439"/>
              <a:gd name="connsiteX8032" fmla="*/ 8136553 w 9586368"/>
              <a:gd name="connsiteY8032" fmla="*/ 717990 h 6479439"/>
              <a:gd name="connsiteX8033" fmla="*/ 8146464 w 9586368"/>
              <a:gd name="connsiteY8033" fmla="*/ 717990 h 6479439"/>
              <a:gd name="connsiteX8034" fmla="*/ 8150483 w 9586368"/>
              <a:gd name="connsiteY8034" fmla="*/ 722028 h 6479439"/>
              <a:gd name="connsiteX8035" fmla="*/ 8150483 w 9586368"/>
              <a:gd name="connsiteY8035" fmla="*/ 731899 h 6479439"/>
              <a:gd name="connsiteX8036" fmla="*/ 8146464 w 9586368"/>
              <a:gd name="connsiteY8036" fmla="*/ 735938 h 6479439"/>
              <a:gd name="connsiteX8037" fmla="*/ 8136553 w 9586368"/>
              <a:gd name="connsiteY8037" fmla="*/ 735938 h 6479439"/>
              <a:gd name="connsiteX8038" fmla="*/ 8132534 w 9586368"/>
              <a:gd name="connsiteY8038" fmla="*/ 731899 h 6479439"/>
              <a:gd name="connsiteX8039" fmla="*/ 8132534 w 9586368"/>
              <a:gd name="connsiteY8039" fmla="*/ 722028 h 6479439"/>
              <a:gd name="connsiteX8040" fmla="*/ 7897241 w 9586368"/>
              <a:gd name="connsiteY8040" fmla="*/ 717990 h 6479439"/>
              <a:gd name="connsiteX8041" fmla="*/ 7907151 w 9586368"/>
              <a:gd name="connsiteY8041" fmla="*/ 717990 h 6479439"/>
              <a:gd name="connsiteX8042" fmla="*/ 7911170 w 9586368"/>
              <a:gd name="connsiteY8042" fmla="*/ 722029 h 6479439"/>
              <a:gd name="connsiteX8043" fmla="*/ 7911170 w 9586368"/>
              <a:gd name="connsiteY8043" fmla="*/ 731899 h 6479439"/>
              <a:gd name="connsiteX8044" fmla="*/ 7907151 w 9586368"/>
              <a:gd name="connsiteY8044" fmla="*/ 735938 h 6479439"/>
              <a:gd name="connsiteX8045" fmla="*/ 7897241 w 9586368"/>
              <a:gd name="connsiteY8045" fmla="*/ 735938 h 6479439"/>
              <a:gd name="connsiteX8046" fmla="*/ 7893222 w 9586368"/>
              <a:gd name="connsiteY8046" fmla="*/ 731899 h 6479439"/>
              <a:gd name="connsiteX8047" fmla="*/ 7893222 w 9586368"/>
              <a:gd name="connsiteY8047" fmla="*/ 722029 h 6479439"/>
              <a:gd name="connsiteX8048" fmla="*/ 7657926 w 9586368"/>
              <a:gd name="connsiteY8048" fmla="*/ 717990 h 6479439"/>
              <a:gd name="connsiteX8049" fmla="*/ 7667836 w 9586368"/>
              <a:gd name="connsiteY8049" fmla="*/ 717990 h 6479439"/>
              <a:gd name="connsiteX8050" fmla="*/ 7671855 w 9586368"/>
              <a:gd name="connsiteY8050" fmla="*/ 722029 h 6479439"/>
              <a:gd name="connsiteX8051" fmla="*/ 7671855 w 9586368"/>
              <a:gd name="connsiteY8051" fmla="*/ 731899 h 6479439"/>
              <a:gd name="connsiteX8052" fmla="*/ 7667836 w 9586368"/>
              <a:gd name="connsiteY8052" fmla="*/ 735938 h 6479439"/>
              <a:gd name="connsiteX8053" fmla="*/ 7657926 w 9586368"/>
              <a:gd name="connsiteY8053" fmla="*/ 735938 h 6479439"/>
              <a:gd name="connsiteX8054" fmla="*/ 7653906 w 9586368"/>
              <a:gd name="connsiteY8054" fmla="*/ 731899 h 6479439"/>
              <a:gd name="connsiteX8055" fmla="*/ 7653906 w 9586368"/>
              <a:gd name="connsiteY8055" fmla="*/ 722029 h 6479439"/>
              <a:gd name="connsiteX8056" fmla="*/ 7418611 w 9586368"/>
              <a:gd name="connsiteY8056" fmla="*/ 717990 h 6479439"/>
              <a:gd name="connsiteX8057" fmla="*/ 7428521 w 9586368"/>
              <a:gd name="connsiteY8057" fmla="*/ 717990 h 6479439"/>
              <a:gd name="connsiteX8058" fmla="*/ 7432540 w 9586368"/>
              <a:gd name="connsiteY8058" fmla="*/ 722029 h 6479439"/>
              <a:gd name="connsiteX8059" fmla="*/ 7432540 w 9586368"/>
              <a:gd name="connsiteY8059" fmla="*/ 731899 h 6479439"/>
              <a:gd name="connsiteX8060" fmla="*/ 7428521 w 9586368"/>
              <a:gd name="connsiteY8060" fmla="*/ 735938 h 6479439"/>
              <a:gd name="connsiteX8061" fmla="*/ 7418611 w 9586368"/>
              <a:gd name="connsiteY8061" fmla="*/ 735938 h 6479439"/>
              <a:gd name="connsiteX8062" fmla="*/ 7414592 w 9586368"/>
              <a:gd name="connsiteY8062" fmla="*/ 731899 h 6479439"/>
              <a:gd name="connsiteX8063" fmla="*/ 7414592 w 9586368"/>
              <a:gd name="connsiteY8063" fmla="*/ 722029 h 6479439"/>
              <a:gd name="connsiteX8064" fmla="*/ 7179298 w 9586368"/>
              <a:gd name="connsiteY8064" fmla="*/ 717990 h 6479439"/>
              <a:gd name="connsiteX8065" fmla="*/ 7189209 w 9586368"/>
              <a:gd name="connsiteY8065" fmla="*/ 717990 h 6479439"/>
              <a:gd name="connsiteX8066" fmla="*/ 7193228 w 9586368"/>
              <a:gd name="connsiteY8066" fmla="*/ 722029 h 6479439"/>
              <a:gd name="connsiteX8067" fmla="*/ 7193228 w 9586368"/>
              <a:gd name="connsiteY8067" fmla="*/ 731899 h 6479439"/>
              <a:gd name="connsiteX8068" fmla="*/ 7189209 w 9586368"/>
              <a:gd name="connsiteY8068" fmla="*/ 735938 h 6479439"/>
              <a:gd name="connsiteX8069" fmla="*/ 7179298 w 9586368"/>
              <a:gd name="connsiteY8069" fmla="*/ 735938 h 6479439"/>
              <a:gd name="connsiteX8070" fmla="*/ 7175279 w 9586368"/>
              <a:gd name="connsiteY8070" fmla="*/ 731899 h 6479439"/>
              <a:gd name="connsiteX8071" fmla="*/ 7175279 w 9586368"/>
              <a:gd name="connsiteY8071" fmla="*/ 722029 h 6479439"/>
              <a:gd name="connsiteX8072" fmla="*/ 961272 w 9586368"/>
              <a:gd name="connsiteY8072" fmla="*/ 717980 h 6479439"/>
              <a:gd name="connsiteX8073" fmla="*/ 971182 w 9586368"/>
              <a:gd name="connsiteY8073" fmla="*/ 717980 h 6479439"/>
              <a:gd name="connsiteX8074" fmla="*/ 975202 w 9586368"/>
              <a:gd name="connsiteY8074" fmla="*/ 722018 h 6479439"/>
              <a:gd name="connsiteX8075" fmla="*/ 975202 w 9586368"/>
              <a:gd name="connsiteY8075" fmla="*/ 731889 h 6479439"/>
              <a:gd name="connsiteX8076" fmla="*/ 971182 w 9586368"/>
              <a:gd name="connsiteY8076" fmla="*/ 735928 h 6479439"/>
              <a:gd name="connsiteX8077" fmla="*/ 961272 w 9586368"/>
              <a:gd name="connsiteY8077" fmla="*/ 735928 h 6479439"/>
              <a:gd name="connsiteX8078" fmla="*/ 957254 w 9586368"/>
              <a:gd name="connsiteY8078" fmla="*/ 731889 h 6479439"/>
              <a:gd name="connsiteX8079" fmla="*/ 957254 w 9586368"/>
              <a:gd name="connsiteY8079" fmla="*/ 722018 h 6479439"/>
              <a:gd name="connsiteX8080" fmla="*/ 1679219 w 9586368"/>
              <a:gd name="connsiteY8080" fmla="*/ 717979 h 6479439"/>
              <a:gd name="connsiteX8081" fmla="*/ 1689128 w 9586368"/>
              <a:gd name="connsiteY8081" fmla="*/ 717979 h 6479439"/>
              <a:gd name="connsiteX8082" fmla="*/ 1693149 w 9586368"/>
              <a:gd name="connsiteY8082" fmla="*/ 722018 h 6479439"/>
              <a:gd name="connsiteX8083" fmla="*/ 1693149 w 9586368"/>
              <a:gd name="connsiteY8083" fmla="*/ 731889 h 6479439"/>
              <a:gd name="connsiteX8084" fmla="*/ 1689128 w 9586368"/>
              <a:gd name="connsiteY8084" fmla="*/ 735927 h 6479439"/>
              <a:gd name="connsiteX8085" fmla="*/ 1679219 w 9586368"/>
              <a:gd name="connsiteY8085" fmla="*/ 735927 h 6479439"/>
              <a:gd name="connsiteX8086" fmla="*/ 1675200 w 9586368"/>
              <a:gd name="connsiteY8086" fmla="*/ 731889 h 6479439"/>
              <a:gd name="connsiteX8087" fmla="*/ 1675200 w 9586368"/>
              <a:gd name="connsiteY8087" fmla="*/ 722018 h 6479439"/>
              <a:gd name="connsiteX8088" fmla="*/ 1439901 w 9586368"/>
              <a:gd name="connsiteY8088" fmla="*/ 717979 h 6479439"/>
              <a:gd name="connsiteX8089" fmla="*/ 1449811 w 9586368"/>
              <a:gd name="connsiteY8089" fmla="*/ 717979 h 6479439"/>
              <a:gd name="connsiteX8090" fmla="*/ 1453831 w 9586368"/>
              <a:gd name="connsiteY8090" fmla="*/ 722018 h 6479439"/>
              <a:gd name="connsiteX8091" fmla="*/ 1453831 w 9586368"/>
              <a:gd name="connsiteY8091" fmla="*/ 731889 h 6479439"/>
              <a:gd name="connsiteX8092" fmla="*/ 1449811 w 9586368"/>
              <a:gd name="connsiteY8092" fmla="*/ 735927 h 6479439"/>
              <a:gd name="connsiteX8093" fmla="*/ 1439901 w 9586368"/>
              <a:gd name="connsiteY8093" fmla="*/ 735927 h 6479439"/>
              <a:gd name="connsiteX8094" fmla="*/ 1435883 w 9586368"/>
              <a:gd name="connsiteY8094" fmla="*/ 731889 h 6479439"/>
              <a:gd name="connsiteX8095" fmla="*/ 1435883 w 9586368"/>
              <a:gd name="connsiteY8095" fmla="*/ 722018 h 6479439"/>
              <a:gd name="connsiteX8096" fmla="*/ 1200585 w 9586368"/>
              <a:gd name="connsiteY8096" fmla="*/ 717979 h 6479439"/>
              <a:gd name="connsiteX8097" fmla="*/ 1210495 w 9586368"/>
              <a:gd name="connsiteY8097" fmla="*/ 717979 h 6479439"/>
              <a:gd name="connsiteX8098" fmla="*/ 1214513 w 9586368"/>
              <a:gd name="connsiteY8098" fmla="*/ 722018 h 6479439"/>
              <a:gd name="connsiteX8099" fmla="*/ 1214513 w 9586368"/>
              <a:gd name="connsiteY8099" fmla="*/ 731889 h 6479439"/>
              <a:gd name="connsiteX8100" fmla="*/ 1210495 w 9586368"/>
              <a:gd name="connsiteY8100" fmla="*/ 735927 h 6479439"/>
              <a:gd name="connsiteX8101" fmla="*/ 1200585 w 9586368"/>
              <a:gd name="connsiteY8101" fmla="*/ 735927 h 6479439"/>
              <a:gd name="connsiteX8102" fmla="*/ 1196566 w 9586368"/>
              <a:gd name="connsiteY8102" fmla="*/ 731889 h 6479439"/>
              <a:gd name="connsiteX8103" fmla="*/ 1196566 w 9586368"/>
              <a:gd name="connsiteY8103" fmla="*/ 722018 h 6479439"/>
              <a:gd name="connsiteX8104" fmla="*/ 9333125 w 9586368"/>
              <a:gd name="connsiteY8104" fmla="*/ 717978 h 6479439"/>
              <a:gd name="connsiteX8105" fmla="*/ 9343036 w 9586368"/>
              <a:gd name="connsiteY8105" fmla="*/ 717978 h 6479439"/>
              <a:gd name="connsiteX8106" fmla="*/ 9347055 w 9586368"/>
              <a:gd name="connsiteY8106" fmla="*/ 722016 h 6479439"/>
              <a:gd name="connsiteX8107" fmla="*/ 9347055 w 9586368"/>
              <a:gd name="connsiteY8107" fmla="*/ 731887 h 6479439"/>
              <a:gd name="connsiteX8108" fmla="*/ 9343036 w 9586368"/>
              <a:gd name="connsiteY8108" fmla="*/ 735926 h 6479439"/>
              <a:gd name="connsiteX8109" fmla="*/ 9333125 w 9586368"/>
              <a:gd name="connsiteY8109" fmla="*/ 735926 h 6479439"/>
              <a:gd name="connsiteX8110" fmla="*/ 9329106 w 9586368"/>
              <a:gd name="connsiteY8110" fmla="*/ 731887 h 6479439"/>
              <a:gd name="connsiteX8111" fmla="*/ 9329106 w 9586368"/>
              <a:gd name="connsiteY8111" fmla="*/ 722016 h 6479439"/>
              <a:gd name="connsiteX8112" fmla="*/ 9093811 w 9586368"/>
              <a:gd name="connsiteY8112" fmla="*/ 717978 h 6479439"/>
              <a:gd name="connsiteX8113" fmla="*/ 9103722 w 9586368"/>
              <a:gd name="connsiteY8113" fmla="*/ 717978 h 6479439"/>
              <a:gd name="connsiteX8114" fmla="*/ 9107741 w 9586368"/>
              <a:gd name="connsiteY8114" fmla="*/ 722016 h 6479439"/>
              <a:gd name="connsiteX8115" fmla="*/ 9107741 w 9586368"/>
              <a:gd name="connsiteY8115" fmla="*/ 731887 h 6479439"/>
              <a:gd name="connsiteX8116" fmla="*/ 9103722 w 9586368"/>
              <a:gd name="connsiteY8116" fmla="*/ 735926 h 6479439"/>
              <a:gd name="connsiteX8117" fmla="*/ 9093811 w 9586368"/>
              <a:gd name="connsiteY8117" fmla="*/ 735926 h 6479439"/>
              <a:gd name="connsiteX8118" fmla="*/ 9089792 w 9586368"/>
              <a:gd name="connsiteY8118" fmla="*/ 731887 h 6479439"/>
              <a:gd name="connsiteX8119" fmla="*/ 9089792 w 9586368"/>
              <a:gd name="connsiteY8119" fmla="*/ 722016 h 6479439"/>
              <a:gd name="connsiteX8120" fmla="*/ 8854496 w 9586368"/>
              <a:gd name="connsiteY8120" fmla="*/ 717978 h 6479439"/>
              <a:gd name="connsiteX8121" fmla="*/ 8864407 w 9586368"/>
              <a:gd name="connsiteY8121" fmla="*/ 717978 h 6479439"/>
              <a:gd name="connsiteX8122" fmla="*/ 8868426 w 9586368"/>
              <a:gd name="connsiteY8122" fmla="*/ 722016 h 6479439"/>
              <a:gd name="connsiteX8123" fmla="*/ 8868426 w 9586368"/>
              <a:gd name="connsiteY8123" fmla="*/ 731887 h 6479439"/>
              <a:gd name="connsiteX8124" fmla="*/ 8864407 w 9586368"/>
              <a:gd name="connsiteY8124" fmla="*/ 735926 h 6479439"/>
              <a:gd name="connsiteX8125" fmla="*/ 8854496 w 9586368"/>
              <a:gd name="connsiteY8125" fmla="*/ 735926 h 6479439"/>
              <a:gd name="connsiteX8126" fmla="*/ 8850477 w 9586368"/>
              <a:gd name="connsiteY8126" fmla="*/ 731887 h 6479439"/>
              <a:gd name="connsiteX8127" fmla="*/ 8850477 w 9586368"/>
              <a:gd name="connsiteY8127" fmla="*/ 722016 h 6479439"/>
              <a:gd name="connsiteX8128" fmla="*/ 8615184 w 9586368"/>
              <a:gd name="connsiteY8128" fmla="*/ 717978 h 6479439"/>
              <a:gd name="connsiteX8129" fmla="*/ 8625095 w 9586368"/>
              <a:gd name="connsiteY8129" fmla="*/ 717978 h 6479439"/>
              <a:gd name="connsiteX8130" fmla="*/ 8629114 w 9586368"/>
              <a:gd name="connsiteY8130" fmla="*/ 722016 h 6479439"/>
              <a:gd name="connsiteX8131" fmla="*/ 8629114 w 9586368"/>
              <a:gd name="connsiteY8131" fmla="*/ 731887 h 6479439"/>
              <a:gd name="connsiteX8132" fmla="*/ 8625095 w 9586368"/>
              <a:gd name="connsiteY8132" fmla="*/ 735926 h 6479439"/>
              <a:gd name="connsiteX8133" fmla="*/ 8615184 w 9586368"/>
              <a:gd name="connsiteY8133" fmla="*/ 735926 h 6479439"/>
              <a:gd name="connsiteX8134" fmla="*/ 8611165 w 9586368"/>
              <a:gd name="connsiteY8134" fmla="*/ 731887 h 6479439"/>
              <a:gd name="connsiteX8135" fmla="*/ 8611165 w 9586368"/>
              <a:gd name="connsiteY8135" fmla="*/ 722016 h 6479439"/>
              <a:gd name="connsiteX8136" fmla="*/ 8375869 w 9586368"/>
              <a:gd name="connsiteY8136" fmla="*/ 717978 h 6479439"/>
              <a:gd name="connsiteX8137" fmla="*/ 8385779 w 9586368"/>
              <a:gd name="connsiteY8137" fmla="*/ 717978 h 6479439"/>
              <a:gd name="connsiteX8138" fmla="*/ 8389799 w 9586368"/>
              <a:gd name="connsiteY8138" fmla="*/ 722016 h 6479439"/>
              <a:gd name="connsiteX8139" fmla="*/ 8389799 w 9586368"/>
              <a:gd name="connsiteY8139" fmla="*/ 731887 h 6479439"/>
              <a:gd name="connsiteX8140" fmla="*/ 8385779 w 9586368"/>
              <a:gd name="connsiteY8140" fmla="*/ 735926 h 6479439"/>
              <a:gd name="connsiteX8141" fmla="*/ 8375869 w 9586368"/>
              <a:gd name="connsiteY8141" fmla="*/ 735926 h 6479439"/>
              <a:gd name="connsiteX8142" fmla="*/ 8371850 w 9586368"/>
              <a:gd name="connsiteY8142" fmla="*/ 731887 h 6479439"/>
              <a:gd name="connsiteX8143" fmla="*/ 8371850 w 9586368"/>
              <a:gd name="connsiteY8143" fmla="*/ 722016 h 6479439"/>
              <a:gd name="connsiteX8144" fmla="*/ 1918514 w 9586368"/>
              <a:gd name="connsiteY8144" fmla="*/ 717970 h 6479439"/>
              <a:gd name="connsiteX8145" fmla="*/ 1928424 w 9586368"/>
              <a:gd name="connsiteY8145" fmla="*/ 717970 h 6479439"/>
              <a:gd name="connsiteX8146" fmla="*/ 1932444 w 9586368"/>
              <a:gd name="connsiteY8146" fmla="*/ 722009 h 6479439"/>
              <a:gd name="connsiteX8147" fmla="*/ 1932444 w 9586368"/>
              <a:gd name="connsiteY8147" fmla="*/ 731879 h 6479439"/>
              <a:gd name="connsiteX8148" fmla="*/ 1928424 w 9586368"/>
              <a:gd name="connsiteY8148" fmla="*/ 735918 h 6479439"/>
              <a:gd name="connsiteX8149" fmla="*/ 1918514 w 9586368"/>
              <a:gd name="connsiteY8149" fmla="*/ 735918 h 6479439"/>
              <a:gd name="connsiteX8150" fmla="*/ 1914495 w 9586368"/>
              <a:gd name="connsiteY8150" fmla="*/ 731879 h 6479439"/>
              <a:gd name="connsiteX8151" fmla="*/ 1914495 w 9586368"/>
              <a:gd name="connsiteY8151" fmla="*/ 722009 h 6479439"/>
              <a:gd name="connsiteX8152" fmla="*/ 2157823 w 9586368"/>
              <a:gd name="connsiteY8152" fmla="*/ 717968 h 6479439"/>
              <a:gd name="connsiteX8153" fmla="*/ 2167733 w 9586368"/>
              <a:gd name="connsiteY8153" fmla="*/ 717968 h 6479439"/>
              <a:gd name="connsiteX8154" fmla="*/ 2171753 w 9586368"/>
              <a:gd name="connsiteY8154" fmla="*/ 722006 h 6479439"/>
              <a:gd name="connsiteX8155" fmla="*/ 2171753 w 9586368"/>
              <a:gd name="connsiteY8155" fmla="*/ 731877 h 6479439"/>
              <a:gd name="connsiteX8156" fmla="*/ 2167733 w 9586368"/>
              <a:gd name="connsiteY8156" fmla="*/ 735916 h 6479439"/>
              <a:gd name="connsiteX8157" fmla="*/ 2157823 w 9586368"/>
              <a:gd name="connsiteY8157" fmla="*/ 735916 h 6479439"/>
              <a:gd name="connsiteX8158" fmla="*/ 2153804 w 9586368"/>
              <a:gd name="connsiteY8158" fmla="*/ 731877 h 6479439"/>
              <a:gd name="connsiteX8159" fmla="*/ 2153804 w 9586368"/>
              <a:gd name="connsiteY8159" fmla="*/ 722006 h 6479439"/>
              <a:gd name="connsiteX8160" fmla="*/ 9572438 w 9586368"/>
              <a:gd name="connsiteY8160" fmla="*/ 717966 h 6479439"/>
              <a:gd name="connsiteX8161" fmla="*/ 9582349 w 9586368"/>
              <a:gd name="connsiteY8161" fmla="*/ 717966 h 6479439"/>
              <a:gd name="connsiteX8162" fmla="*/ 9586368 w 9586368"/>
              <a:gd name="connsiteY8162" fmla="*/ 722004 h 6479439"/>
              <a:gd name="connsiteX8163" fmla="*/ 9586368 w 9586368"/>
              <a:gd name="connsiteY8163" fmla="*/ 731875 h 6479439"/>
              <a:gd name="connsiteX8164" fmla="*/ 9582349 w 9586368"/>
              <a:gd name="connsiteY8164" fmla="*/ 735914 h 6479439"/>
              <a:gd name="connsiteX8165" fmla="*/ 9572438 w 9586368"/>
              <a:gd name="connsiteY8165" fmla="*/ 735914 h 6479439"/>
              <a:gd name="connsiteX8166" fmla="*/ 9568419 w 9586368"/>
              <a:gd name="connsiteY8166" fmla="*/ 731875 h 6479439"/>
              <a:gd name="connsiteX8167" fmla="*/ 9568419 w 9586368"/>
              <a:gd name="connsiteY8167" fmla="*/ 722004 h 6479439"/>
              <a:gd name="connsiteX8168" fmla="*/ 243349 w 9586368"/>
              <a:gd name="connsiteY8168" fmla="*/ 717939 h 6479439"/>
              <a:gd name="connsiteX8169" fmla="*/ 253260 w 9586368"/>
              <a:gd name="connsiteY8169" fmla="*/ 717939 h 6479439"/>
              <a:gd name="connsiteX8170" fmla="*/ 257279 w 9586368"/>
              <a:gd name="connsiteY8170" fmla="*/ 721977 h 6479439"/>
              <a:gd name="connsiteX8171" fmla="*/ 257279 w 9586368"/>
              <a:gd name="connsiteY8171" fmla="*/ 731847 h 6479439"/>
              <a:gd name="connsiteX8172" fmla="*/ 253260 w 9586368"/>
              <a:gd name="connsiteY8172" fmla="*/ 735886 h 6479439"/>
              <a:gd name="connsiteX8173" fmla="*/ 243349 w 9586368"/>
              <a:gd name="connsiteY8173" fmla="*/ 735886 h 6479439"/>
              <a:gd name="connsiteX8174" fmla="*/ 239330 w 9586368"/>
              <a:gd name="connsiteY8174" fmla="*/ 731847 h 6479439"/>
              <a:gd name="connsiteX8175" fmla="*/ 239330 w 9586368"/>
              <a:gd name="connsiteY8175" fmla="*/ 721977 h 6479439"/>
              <a:gd name="connsiteX8176" fmla="*/ 4036 w 9586368"/>
              <a:gd name="connsiteY8176" fmla="*/ 717939 h 6479439"/>
              <a:gd name="connsiteX8177" fmla="*/ 13947 w 9586368"/>
              <a:gd name="connsiteY8177" fmla="*/ 717939 h 6479439"/>
              <a:gd name="connsiteX8178" fmla="*/ 17965 w 9586368"/>
              <a:gd name="connsiteY8178" fmla="*/ 721978 h 6479439"/>
              <a:gd name="connsiteX8179" fmla="*/ 17965 w 9586368"/>
              <a:gd name="connsiteY8179" fmla="*/ 731848 h 6479439"/>
              <a:gd name="connsiteX8180" fmla="*/ 13947 w 9586368"/>
              <a:gd name="connsiteY8180" fmla="*/ 735886 h 6479439"/>
              <a:gd name="connsiteX8181" fmla="*/ 4036 w 9586368"/>
              <a:gd name="connsiteY8181" fmla="*/ 735886 h 6479439"/>
              <a:gd name="connsiteX8182" fmla="*/ 17 w 9586368"/>
              <a:gd name="connsiteY8182" fmla="*/ 731848 h 6479439"/>
              <a:gd name="connsiteX8183" fmla="*/ 17 w 9586368"/>
              <a:gd name="connsiteY8183" fmla="*/ 721978 h 6479439"/>
              <a:gd name="connsiteX8184" fmla="*/ 721975 w 9586368"/>
              <a:gd name="connsiteY8184" fmla="*/ 717939 h 6479439"/>
              <a:gd name="connsiteX8185" fmla="*/ 731885 w 9586368"/>
              <a:gd name="connsiteY8185" fmla="*/ 717939 h 6479439"/>
              <a:gd name="connsiteX8186" fmla="*/ 735904 w 9586368"/>
              <a:gd name="connsiteY8186" fmla="*/ 721977 h 6479439"/>
              <a:gd name="connsiteX8187" fmla="*/ 735904 w 9586368"/>
              <a:gd name="connsiteY8187" fmla="*/ 731847 h 6479439"/>
              <a:gd name="connsiteX8188" fmla="*/ 731885 w 9586368"/>
              <a:gd name="connsiteY8188" fmla="*/ 735886 h 6479439"/>
              <a:gd name="connsiteX8189" fmla="*/ 721975 w 9586368"/>
              <a:gd name="connsiteY8189" fmla="*/ 735886 h 6479439"/>
              <a:gd name="connsiteX8190" fmla="*/ 717956 w 9586368"/>
              <a:gd name="connsiteY8190" fmla="*/ 731847 h 6479439"/>
              <a:gd name="connsiteX8191" fmla="*/ 717956 w 9586368"/>
              <a:gd name="connsiteY8191" fmla="*/ 721977 h 6479439"/>
              <a:gd name="connsiteX8192" fmla="*/ 482663 w 9586368"/>
              <a:gd name="connsiteY8192" fmla="*/ 717939 h 6479439"/>
              <a:gd name="connsiteX8193" fmla="*/ 492573 w 9586368"/>
              <a:gd name="connsiteY8193" fmla="*/ 717939 h 6479439"/>
              <a:gd name="connsiteX8194" fmla="*/ 496593 w 9586368"/>
              <a:gd name="connsiteY8194" fmla="*/ 721977 h 6479439"/>
              <a:gd name="connsiteX8195" fmla="*/ 496593 w 9586368"/>
              <a:gd name="connsiteY8195" fmla="*/ 731847 h 6479439"/>
              <a:gd name="connsiteX8196" fmla="*/ 492573 w 9586368"/>
              <a:gd name="connsiteY8196" fmla="*/ 735886 h 6479439"/>
              <a:gd name="connsiteX8197" fmla="*/ 482663 w 9586368"/>
              <a:gd name="connsiteY8197" fmla="*/ 735886 h 6479439"/>
              <a:gd name="connsiteX8198" fmla="*/ 478643 w 9586368"/>
              <a:gd name="connsiteY8198" fmla="*/ 731847 h 6479439"/>
              <a:gd name="connsiteX8199" fmla="*/ 478643 w 9586368"/>
              <a:gd name="connsiteY8199" fmla="*/ 721977 h 6479439"/>
              <a:gd name="connsiteX8200" fmla="*/ 3350359 w 9586368"/>
              <a:gd name="connsiteY8200" fmla="*/ 478760 h 6479439"/>
              <a:gd name="connsiteX8201" fmla="*/ 3360268 w 9586368"/>
              <a:gd name="connsiteY8201" fmla="*/ 478760 h 6479439"/>
              <a:gd name="connsiteX8202" fmla="*/ 3364287 w 9586368"/>
              <a:gd name="connsiteY8202" fmla="*/ 482801 h 6479439"/>
              <a:gd name="connsiteX8203" fmla="*/ 3364287 w 9586368"/>
              <a:gd name="connsiteY8203" fmla="*/ 492670 h 6479439"/>
              <a:gd name="connsiteX8204" fmla="*/ 3360268 w 9586368"/>
              <a:gd name="connsiteY8204" fmla="*/ 496707 h 6479439"/>
              <a:gd name="connsiteX8205" fmla="*/ 3350359 w 9586368"/>
              <a:gd name="connsiteY8205" fmla="*/ 496707 h 6479439"/>
              <a:gd name="connsiteX8206" fmla="*/ 3346340 w 9586368"/>
              <a:gd name="connsiteY8206" fmla="*/ 492670 h 6479439"/>
              <a:gd name="connsiteX8207" fmla="*/ 3346340 w 9586368"/>
              <a:gd name="connsiteY8207" fmla="*/ 482801 h 6479439"/>
              <a:gd name="connsiteX8208" fmla="*/ 3111048 w 9586368"/>
              <a:gd name="connsiteY8208" fmla="*/ 478760 h 6479439"/>
              <a:gd name="connsiteX8209" fmla="*/ 3120959 w 9586368"/>
              <a:gd name="connsiteY8209" fmla="*/ 478760 h 6479439"/>
              <a:gd name="connsiteX8210" fmla="*/ 3124977 w 9586368"/>
              <a:gd name="connsiteY8210" fmla="*/ 482801 h 6479439"/>
              <a:gd name="connsiteX8211" fmla="*/ 3124977 w 9586368"/>
              <a:gd name="connsiteY8211" fmla="*/ 492670 h 6479439"/>
              <a:gd name="connsiteX8212" fmla="*/ 3120959 w 9586368"/>
              <a:gd name="connsiteY8212" fmla="*/ 496707 h 6479439"/>
              <a:gd name="connsiteX8213" fmla="*/ 3111048 w 9586368"/>
              <a:gd name="connsiteY8213" fmla="*/ 496707 h 6479439"/>
              <a:gd name="connsiteX8214" fmla="*/ 3107029 w 9586368"/>
              <a:gd name="connsiteY8214" fmla="*/ 492670 h 6479439"/>
              <a:gd name="connsiteX8215" fmla="*/ 3107029 w 9586368"/>
              <a:gd name="connsiteY8215" fmla="*/ 482801 h 6479439"/>
              <a:gd name="connsiteX8216" fmla="*/ 2871737 w 9586368"/>
              <a:gd name="connsiteY8216" fmla="*/ 478760 h 6479439"/>
              <a:gd name="connsiteX8217" fmla="*/ 2881646 w 9586368"/>
              <a:gd name="connsiteY8217" fmla="*/ 478760 h 6479439"/>
              <a:gd name="connsiteX8218" fmla="*/ 2885666 w 9586368"/>
              <a:gd name="connsiteY8218" fmla="*/ 482801 h 6479439"/>
              <a:gd name="connsiteX8219" fmla="*/ 2885666 w 9586368"/>
              <a:gd name="connsiteY8219" fmla="*/ 492670 h 6479439"/>
              <a:gd name="connsiteX8220" fmla="*/ 2881646 w 9586368"/>
              <a:gd name="connsiteY8220" fmla="*/ 496707 h 6479439"/>
              <a:gd name="connsiteX8221" fmla="*/ 2871737 w 9586368"/>
              <a:gd name="connsiteY8221" fmla="*/ 496707 h 6479439"/>
              <a:gd name="connsiteX8222" fmla="*/ 2867717 w 9586368"/>
              <a:gd name="connsiteY8222" fmla="*/ 492670 h 6479439"/>
              <a:gd name="connsiteX8223" fmla="*/ 2867717 w 9586368"/>
              <a:gd name="connsiteY8223" fmla="*/ 482801 h 6479439"/>
              <a:gd name="connsiteX8224" fmla="*/ 2632423 w 9586368"/>
              <a:gd name="connsiteY8224" fmla="*/ 478760 h 6479439"/>
              <a:gd name="connsiteX8225" fmla="*/ 2642334 w 9586368"/>
              <a:gd name="connsiteY8225" fmla="*/ 478760 h 6479439"/>
              <a:gd name="connsiteX8226" fmla="*/ 2646352 w 9586368"/>
              <a:gd name="connsiteY8226" fmla="*/ 482801 h 6479439"/>
              <a:gd name="connsiteX8227" fmla="*/ 2646352 w 9586368"/>
              <a:gd name="connsiteY8227" fmla="*/ 492670 h 6479439"/>
              <a:gd name="connsiteX8228" fmla="*/ 2642334 w 9586368"/>
              <a:gd name="connsiteY8228" fmla="*/ 496707 h 6479439"/>
              <a:gd name="connsiteX8229" fmla="*/ 2632423 w 9586368"/>
              <a:gd name="connsiteY8229" fmla="*/ 496707 h 6479439"/>
              <a:gd name="connsiteX8230" fmla="*/ 2628404 w 9586368"/>
              <a:gd name="connsiteY8230" fmla="*/ 492670 h 6479439"/>
              <a:gd name="connsiteX8231" fmla="*/ 2628404 w 9586368"/>
              <a:gd name="connsiteY8231" fmla="*/ 482801 h 6479439"/>
              <a:gd name="connsiteX8232" fmla="*/ 2393104 w 9586368"/>
              <a:gd name="connsiteY8232" fmla="*/ 478760 h 6479439"/>
              <a:gd name="connsiteX8233" fmla="*/ 2403015 w 9586368"/>
              <a:gd name="connsiteY8233" fmla="*/ 478760 h 6479439"/>
              <a:gd name="connsiteX8234" fmla="*/ 2407034 w 9586368"/>
              <a:gd name="connsiteY8234" fmla="*/ 482801 h 6479439"/>
              <a:gd name="connsiteX8235" fmla="*/ 2407034 w 9586368"/>
              <a:gd name="connsiteY8235" fmla="*/ 492670 h 6479439"/>
              <a:gd name="connsiteX8236" fmla="*/ 2403015 w 9586368"/>
              <a:gd name="connsiteY8236" fmla="*/ 496707 h 6479439"/>
              <a:gd name="connsiteX8237" fmla="*/ 2393104 w 9586368"/>
              <a:gd name="connsiteY8237" fmla="*/ 496707 h 6479439"/>
              <a:gd name="connsiteX8238" fmla="*/ 2389087 w 9586368"/>
              <a:gd name="connsiteY8238" fmla="*/ 492670 h 6479439"/>
              <a:gd name="connsiteX8239" fmla="*/ 2389087 w 9586368"/>
              <a:gd name="connsiteY8239" fmla="*/ 482801 h 6479439"/>
              <a:gd name="connsiteX8240" fmla="*/ 4546929 w 9586368"/>
              <a:gd name="connsiteY8240" fmla="*/ 478748 h 6479439"/>
              <a:gd name="connsiteX8241" fmla="*/ 4556840 w 9586368"/>
              <a:gd name="connsiteY8241" fmla="*/ 478748 h 6479439"/>
              <a:gd name="connsiteX8242" fmla="*/ 4560859 w 9586368"/>
              <a:gd name="connsiteY8242" fmla="*/ 482789 h 6479439"/>
              <a:gd name="connsiteX8243" fmla="*/ 4560859 w 9586368"/>
              <a:gd name="connsiteY8243" fmla="*/ 492657 h 6479439"/>
              <a:gd name="connsiteX8244" fmla="*/ 4556840 w 9586368"/>
              <a:gd name="connsiteY8244" fmla="*/ 496695 h 6479439"/>
              <a:gd name="connsiteX8245" fmla="*/ 4546929 w 9586368"/>
              <a:gd name="connsiteY8245" fmla="*/ 496695 h 6479439"/>
              <a:gd name="connsiteX8246" fmla="*/ 4542910 w 9586368"/>
              <a:gd name="connsiteY8246" fmla="*/ 492657 h 6479439"/>
              <a:gd name="connsiteX8247" fmla="*/ 4542910 w 9586368"/>
              <a:gd name="connsiteY8247" fmla="*/ 482789 h 6479439"/>
              <a:gd name="connsiteX8248" fmla="*/ 4307612 w 9586368"/>
              <a:gd name="connsiteY8248" fmla="*/ 478748 h 6479439"/>
              <a:gd name="connsiteX8249" fmla="*/ 4317523 w 9586368"/>
              <a:gd name="connsiteY8249" fmla="*/ 478748 h 6479439"/>
              <a:gd name="connsiteX8250" fmla="*/ 4321543 w 9586368"/>
              <a:gd name="connsiteY8250" fmla="*/ 482789 h 6479439"/>
              <a:gd name="connsiteX8251" fmla="*/ 4321543 w 9586368"/>
              <a:gd name="connsiteY8251" fmla="*/ 492657 h 6479439"/>
              <a:gd name="connsiteX8252" fmla="*/ 4317523 w 9586368"/>
              <a:gd name="connsiteY8252" fmla="*/ 496695 h 6479439"/>
              <a:gd name="connsiteX8253" fmla="*/ 4307612 w 9586368"/>
              <a:gd name="connsiteY8253" fmla="*/ 496695 h 6479439"/>
              <a:gd name="connsiteX8254" fmla="*/ 4303595 w 9586368"/>
              <a:gd name="connsiteY8254" fmla="*/ 492657 h 6479439"/>
              <a:gd name="connsiteX8255" fmla="*/ 4303595 w 9586368"/>
              <a:gd name="connsiteY8255" fmla="*/ 482789 h 6479439"/>
              <a:gd name="connsiteX8256" fmla="*/ 4068297 w 9586368"/>
              <a:gd name="connsiteY8256" fmla="*/ 478748 h 6479439"/>
              <a:gd name="connsiteX8257" fmla="*/ 4078210 w 9586368"/>
              <a:gd name="connsiteY8257" fmla="*/ 478748 h 6479439"/>
              <a:gd name="connsiteX8258" fmla="*/ 4082229 w 9586368"/>
              <a:gd name="connsiteY8258" fmla="*/ 482789 h 6479439"/>
              <a:gd name="connsiteX8259" fmla="*/ 4082229 w 9586368"/>
              <a:gd name="connsiteY8259" fmla="*/ 492657 h 6479439"/>
              <a:gd name="connsiteX8260" fmla="*/ 4078210 w 9586368"/>
              <a:gd name="connsiteY8260" fmla="*/ 496695 h 6479439"/>
              <a:gd name="connsiteX8261" fmla="*/ 4068297 w 9586368"/>
              <a:gd name="connsiteY8261" fmla="*/ 496695 h 6479439"/>
              <a:gd name="connsiteX8262" fmla="*/ 4064278 w 9586368"/>
              <a:gd name="connsiteY8262" fmla="*/ 492657 h 6479439"/>
              <a:gd name="connsiteX8263" fmla="*/ 4064278 w 9586368"/>
              <a:gd name="connsiteY8263" fmla="*/ 482789 h 6479439"/>
              <a:gd name="connsiteX8264" fmla="*/ 3828990 w 9586368"/>
              <a:gd name="connsiteY8264" fmla="*/ 478748 h 6479439"/>
              <a:gd name="connsiteX8265" fmla="*/ 3838899 w 9586368"/>
              <a:gd name="connsiteY8265" fmla="*/ 478748 h 6479439"/>
              <a:gd name="connsiteX8266" fmla="*/ 3842917 w 9586368"/>
              <a:gd name="connsiteY8266" fmla="*/ 482789 h 6479439"/>
              <a:gd name="connsiteX8267" fmla="*/ 3842917 w 9586368"/>
              <a:gd name="connsiteY8267" fmla="*/ 492657 h 6479439"/>
              <a:gd name="connsiteX8268" fmla="*/ 3838899 w 9586368"/>
              <a:gd name="connsiteY8268" fmla="*/ 496695 h 6479439"/>
              <a:gd name="connsiteX8269" fmla="*/ 3828990 w 9586368"/>
              <a:gd name="connsiteY8269" fmla="*/ 496695 h 6479439"/>
              <a:gd name="connsiteX8270" fmla="*/ 3824971 w 9586368"/>
              <a:gd name="connsiteY8270" fmla="*/ 492657 h 6479439"/>
              <a:gd name="connsiteX8271" fmla="*/ 3824971 w 9586368"/>
              <a:gd name="connsiteY8271" fmla="*/ 482789 h 6479439"/>
              <a:gd name="connsiteX8272" fmla="*/ 3589676 w 9586368"/>
              <a:gd name="connsiteY8272" fmla="*/ 478748 h 6479439"/>
              <a:gd name="connsiteX8273" fmla="*/ 3599585 w 9586368"/>
              <a:gd name="connsiteY8273" fmla="*/ 478748 h 6479439"/>
              <a:gd name="connsiteX8274" fmla="*/ 3603604 w 9586368"/>
              <a:gd name="connsiteY8274" fmla="*/ 482789 h 6479439"/>
              <a:gd name="connsiteX8275" fmla="*/ 3603604 w 9586368"/>
              <a:gd name="connsiteY8275" fmla="*/ 492657 h 6479439"/>
              <a:gd name="connsiteX8276" fmla="*/ 3599585 w 9586368"/>
              <a:gd name="connsiteY8276" fmla="*/ 496695 h 6479439"/>
              <a:gd name="connsiteX8277" fmla="*/ 3589676 w 9586368"/>
              <a:gd name="connsiteY8277" fmla="*/ 496695 h 6479439"/>
              <a:gd name="connsiteX8278" fmla="*/ 3585657 w 9586368"/>
              <a:gd name="connsiteY8278" fmla="*/ 492657 h 6479439"/>
              <a:gd name="connsiteX8279" fmla="*/ 3585657 w 9586368"/>
              <a:gd name="connsiteY8279" fmla="*/ 482789 h 6479439"/>
              <a:gd name="connsiteX8280" fmla="*/ 5743412 w 9586368"/>
              <a:gd name="connsiteY8280" fmla="*/ 478736 h 6479439"/>
              <a:gd name="connsiteX8281" fmla="*/ 5753323 w 9586368"/>
              <a:gd name="connsiteY8281" fmla="*/ 478736 h 6479439"/>
              <a:gd name="connsiteX8282" fmla="*/ 5757342 w 9586368"/>
              <a:gd name="connsiteY8282" fmla="*/ 482776 h 6479439"/>
              <a:gd name="connsiteX8283" fmla="*/ 5757342 w 9586368"/>
              <a:gd name="connsiteY8283" fmla="*/ 492645 h 6479439"/>
              <a:gd name="connsiteX8284" fmla="*/ 5753323 w 9586368"/>
              <a:gd name="connsiteY8284" fmla="*/ 496683 h 6479439"/>
              <a:gd name="connsiteX8285" fmla="*/ 5743412 w 9586368"/>
              <a:gd name="connsiteY8285" fmla="*/ 496683 h 6479439"/>
              <a:gd name="connsiteX8286" fmla="*/ 5739393 w 9586368"/>
              <a:gd name="connsiteY8286" fmla="*/ 492645 h 6479439"/>
              <a:gd name="connsiteX8287" fmla="*/ 5739393 w 9586368"/>
              <a:gd name="connsiteY8287" fmla="*/ 482776 h 6479439"/>
              <a:gd name="connsiteX8288" fmla="*/ 5504099 w 9586368"/>
              <a:gd name="connsiteY8288" fmla="*/ 478736 h 6479439"/>
              <a:gd name="connsiteX8289" fmla="*/ 5514010 w 9586368"/>
              <a:gd name="connsiteY8289" fmla="*/ 478736 h 6479439"/>
              <a:gd name="connsiteX8290" fmla="*/ 5518029 w 9586368"/>
              <a:gd name="connsiteY8290" fmla="*/ 482776 h 6479439"/>
              <a:gd name="connsiteX8291" fmla="*/ 5518029 w 9586368"/>
              <a:gd name="connsiteY8291" fmla="*/ 492645 h 6479439"/>
              <a:gd name="connsiteX8292" fmla="*/ 5514010 w 9586368"/>
              <a:gd name="connsiteY8292" fmla="*/ 496683 h 6479439"/>
              <a:gd name="connsiteX8293" fmla="*/ 5504099 w 9586368"/>
              <a:gd name="connsiteY8293" fmla="*/ 496683 h 6479439"/>
              <a:gd name="connsiteX8294" fmla="*/ 5500080 w 9586368"/>
              <a:gd name="connsiteY8294" fmla="*/ 492645 h 6479439"/>
              <a:gd name="connsiteX8295" fmla="*/ 5500080 w 9586368"/>
              <a:gd name="connsiteY8295" fmla="*/ 482776 h 6479439"/>
              <a:gd name="connsiteX8296" fmla="*/ 5264784 w 9586368"/>
              <a:gd name="connsiteY8296" fmla="*/ 478736 h 6479439"/>
              <a:gd name="connsiteX8297" fmla="*/ 5274694 w 9586368"/>
              <a:gd name="connsiteY8297" fmla="*/ 478736 h 6479439"/>
              <a:gd name="connsiteX8298" fmla="*/ 5278713 w 9586368"/>
              <a:gd name="connsiteY8298" fmla="*/ 482776 h 6479439"/>
              <a:gd name="connsiteX8299" fmla="*/ 5278713 w 9586368"/>
              <a:gd name="connsiteY8299" fmla="*/ 492645 h 6479439"/>
              <a:gd name="connsiteX8300" fmla="*/ 5274694 w 9586368"/>
              <a:gd name="connsiteY8300" fmla="*/ 496683 h 6479439"/>
              <a:gd name="connsiteX8301" fmla="*/ 5264784 w 9586368"/>
              <a:gd name="connsiteY8301" fmla="*/ 496683 h 6479439"/>
              <a:gd name="connsiteX8302" fmla="*/ 5260765 w 9586368"/>
              <a:gd name="connsiteY8302" fmla="*/ 492645 h 6479439"/>
              <a:gd name="connsiteX8303" fmla="*/ 5260765 w 9586368"/>
              <a:gd name="connsiteY8303" fmla="*/ 482776 h 6479439"/>
              <a:gd name="connsiteX8304" fmla="*/ 5025470 w 9586368"/>
              <a:gd name="connsiteY8304" fmla="*/ 478736 h 6479439"/>
              <a:gd name="connsiteX8305" fmla="*/ 5035381 w 9586368"/>
              <a:gd name="connsiteY8305" fmla="*/ 478736 h 6479439"/>
              <a:gd name="connsiteX8306" fmla="*/ 5039400 w 9586368"/>
              <a:gd name="connsiteY8306" fmla="*/ 482776 h 6479439"/>
              <a:gd name="connsiteX8307" fmla="*/ 5039400 w 9586368"/>
              <a:gd name="connsiteY8307" fmla="*/ 492645 h 6479439"/>
              <a:gd name="connsiteX8308" fmla="*/ 5035381 w 9586368"/>
              <a:gd name="connsiteY8308" fmla="*/ 496683 h 6479439"/>
              <a:gd name="connsiteX8309" fmla="*/ 5025470 w 9586368"/>
              <a:gd name="connsiteY8309" fmla="*/ 496683 h 6479439"/>
              <a:gd name="connsiteX8310" fmla="*/ 5021451 w 9586368"/>
              <a:gd name="connsiteY8310" fmla="*/ 492645 h 6479439"/>
              <a:gd name="connsiteX8311" fmla="*/ 5021451 w 9586368"/>
              <a:gd name="connsiteY8311" fmla="*/ 482776 h 6479439"/>
              <a:gd name="connsiteX8312" fmla="*/ 4786241 w 9586368"/>
              <a:gd name="connsiteY8312" fmla="*/ 478736 h 6479439"/>
              <a:gd name="connsiteX8313" fmla="*/ 4796152 w 9586368"/>
              <a:gd name="connsiteY8313" fmla="*/ 478736 h 6479439"/>
              <a:gd name="connsiteX8314" fmla="*/ 4800171 w 9586368"/>
              <a:gd name="connsiteY8314" fmla="*/ 482776 h 6479439"/>
              <a:gd name="connsiteX8315" fmla="*/ 4800171 w 9586368"/>
              <a:gd name="connsiteY8315" fmla="*/ 492645 h 6479439"/>
              <a:gd name="connsiteX8316" fmla="*/ 4796152 w 9586368"/>
              <a:gd name="connsiteY8316" fmla="*/ 496683 h 6479439"/>
              <a:gd name="connsiteX8317" fmla="*/ 4786241 w 9586368"/>
              <a:gd name="connsiteY8317" fmla="*/ 496683 h 6479439"/>
              <a:gd name="connsiteX8318" fmla="*/ 4782224 w 9586368"/>
              <a:gd name="connsiteY8318" fmla="*/ 492645 h 6479439"/>
              <a:gd name="connsiteX8319" fmla="*/ 4782224 w 9586368"/>
              <a:gd name="connsiteY8319" fmla="*/ 482776 h 6479439"/>
              <a:gd name="connsiteX8320" fmla="*/ 6939983 w 9586368"/>
              <a:gd name="connsiteY8320" fmla="*/ 478724 h 6479439"/>
              <a:gd name="connsiteX8321" fmla="*/ 6949894 w 9586368"/>
              <a:gd name="connsiteY8321" fmla="*/ 478724 h 6479439"/>
              <a:gd name="connsiteX8322" fmla="*/ 6953913 w 9586368"/>
              <a:gd name="connsiteY8322" fmla="*/ 482764 h 6479439"/>
              <a:gd name="connsiteX8323" fmla="*/ 6953913 w 9586368"/>
              <a:gd name="connsiteY8323" fmla="*/ 492633 h 6479439"/>
              <a:gd name="connsiteX8324" fmla="*/ 6949894 w 9586368"/>
              <a:gd name="connsiteY8324" fmla="*/ 496671 h 6479439"/>
              <a:gd name="connsiteX8325" fmla="*/ 6939983 w 9586368"/>
              <a:gd name="connsiteY8325" fmla="*/ 496671 h 6479439"/>
              <a:gd name="connsiteX8326" fmla="*/ 6935964 w 9586368"/>
              <a:gd name="connsiteY8326" fmla="*/ 492633 h 6479439"/>
              <a:gd name="connsiteX8327" fmla="*/ 6935964 w 9586368"/>
              <a:gd name="connsiteY8327" fmla="*/ 482764 h 6479439"/>
              <a:gd name="connsiteX8328" fmla="*/ 6700670 w 9586368"/>
              <a:gd name="connsiteY8328" fmla="*/ 478724 h 6479439"/>
              <a:gd name="connsiteX8329" fmla="*/ 6710581 w 9586368"/>
              <a:gd name="connsiteY8329" fmla="*/ 478724 h 6479439"/>
              <a:gd name="connsiteX8330" fmla="*/ 6714600 w 9586368"/>
              <a:gd name="connsiteY8330" fmla="*/ 482764 h 6479439"/>
              <a:gd name="connsiteX8331" fmla="*/ 6714600 w 9586368"/>
              <a:gd name="connsiteY8331" fmla="*/ 492633 h 6479439"/>
              <a:gd name="connsiteX8332" fmla="*/ 6710581 w 9586368"/>
              <a:gd name="connsiteY8332" fmla="*/ 496671 h 6479439"/>
              <a:gd name="connsiteX8333" fmla="*/ 6700670 w 9586368"/>
              <a:gd name="connsiteY8333" fmla="*/ 496671 h 6479439"/>
              <a:gd name="connsiteX8334" fmla="*/ 6696651 w 9586368"/>
              <a:gd name="connsiteY8334" fmla="*/ 492633 h 6479439"/>
              <a:gd name="connsiteX8335" fmla="*/ 6696651 w 9586368"/>
              <a:gd name="connsiteY8335" fmla="*/ 482764 h 6479439"/>
              <a:gd name="connsiteX8336" fmla="*/ 6461356 w 9586368"/>
              <a:gd name="connsiteY8336" fmla="*/ 478724 h 6479439"/>
              <a:gd name="connsiteX8337" fmla="*/ 6471266 w 9586368"/>
              <a:gd name="connsiteY8337" fmla="*/ 478724 h 6479439"/>
              <a:gd name="connsiteX8338" fmla="*/ 6475285 w 9586368"/>
              <a:gd name="connsiteY8338" fmla="*/ 482764 h 6479439"/>
              <a:gd name="connsiteX8339" fmla="*/ 6475285 w 9586368"/>
              <a:gd name="connsiteY8339" fmla="*/ 492633 h 6479439"/>
              <a:gd name="connsiteX8340" fmla="*/ 6471266 w 9586368"/>
              <a:gd name="connsiteY8340" fmla="*/ 496671 h 6479439"/>
              <a:gd name="connsiteX8341" fmla="*/ 6461356 w 9586368"/>
              <a:gd name="connsiteY8341" fmla="*/ 496671 h 6479439"/>
              <a:gd name="connsiteX8342" fmla="*/ 6457337 w 9586368"/>
              <a:gd name="connsiteY8342" fmla="*/ 492633 h 6479439"/>
              <a:gd name="connsiteX8343" fmla="*/ 6457337 w 9586368"/>
              <a:gd name="connsiteY8343" fmla="*/ 482764 h 6479439"/>
              <a:gd name="connsiteX8344" fmla="*/ 6222042 w 9586368"/>
              <a:gd name="connsiteY8344" fmla="*/ 478724 h 6479439"/>
              <a:gd name="connsiteX8345" fmla="*/ 6231952 w 9586368"/>
              <a:gd name="connsiteY8345" fmla="*/ 478724 h 6479439"/>
              <a:gd name="connsiteX8346" fmla="*/ 6235971 w 9586368"/>
              <a:gd name="connsiteY8346" fmla="*/ 482764 h 6479439"/>
              <a:gd name="connsiteX8347" fmla="*/ 6235971 w 9586368"/>
              <a:gd name="connsiteY8347" fmla="*/ 492633 h 6479439"/>
              <a:gd name="connsiteX8348" fmla="*/ 6231952 w 9586368"/>
              <a:gd name="connsiteY8348" fmla="*/ 496671 h 6479439"/>
              <a:gd name="connsiteX8349" fmla="*/ 6222042 w 9586368"/>
              <a:gd name="connsiteY8349" fmla="*/ 496671 h 6479439"/>
              <a:gd name="connsiteX8350" fmla="*/ 6218023 w 9586368"/>
              <a:gd name="connsiteY8350" fmla="*/ 492633 h 6479439"/>
              <a:gd name="connsiteX8351" fmla="*/ 6218023 w 9586368"/>
              <a:gd name="connsiteY8351" fmla="*/ 482764 h 6479439"/>
              <a:gd name="connsiteX8352" fmla="*/ 5982729 w 9586368"/>
              <a:gd name="connsiteY8352" fmla="*/ 478724 h 6479439"/>
              <a:gd name="connsiteX8353" fmla="*/ 5992639 w 9586368"/>
              <a:gd name="connsiteY8353" fmla="*/ 478724 h 6479439"/>
              <a:gd name="connsiteX8354" fmla="*/ 5996658 w 9586368"/>
              <a:gd name="connsiteY8354" fmla="*/ 482764 h 6479439"/>
              <a:gd name="connsiteX8355" fmla="*/ 5996658 w 9586368"/>
              <a:gd name="connsiteY8355" fmla="*/ 492633 h 6479439"/>
              <a:gd name="connsiteX8356" fmla="*/ 5992639 w 9586368"/>
              <a:gd name="connsiteY8356" fmla="*/ 496671 h 6479439"/>
              <a:gd name="connsiteX8357" fmla="*/ 5982729 w 9586368"/>
              <a:gd name="connsiteY8357" fmla="*/ 496671 h 6479439"/>
              <a:gd name="connsiteX8358" fmla="*/ 5978710 w 9586368"/>
              <a:gd name="connsiteY8358" fmla="*/ 492633 h 6479439"/>
              <a:gd name="connsiteX8359" fmla="*/ 5978710 w 9586368"/>
              <a:gd name="connsiteY8359" fmla="*/ 482764 h 6479439"/>
              <a:gd name="connsiteX8360" fmla="*/ 7897241 w 9586368"/>
              <a:gd name="connsiteY8360" fmla="*/ 478712 h 6479439"/>
              <a:gd name="connsiteX8361" fmla="*/ 7907151 w 9586368"/>
              <a:gd name="connsiteY8361" fmla="*/ 478712 h 6479439"/>
              <a:gd name="connsiteX8362" fmla="*/ 7911170 w 9586368"/>
              <a:gd name="connsiteY8362" fmla="*/ 482751 h 6479439"/>
              <a:gd name="connsiteX8363" fmla="*/ 7911170 w 9586368"/>
              <a:gd name="connsiteY8363" fmla="*/ 492620 h 6479439"/>
              <a:gd name="connsiteX8364" fmla="*/ 7907151 w 9586368"/>
              <a:gd name="connsiteY8364" fmla="*/ 496658 h 6479439"/>
              <a:gd name="connsiteX8365" fmla="*/ 7897241 w 9586368"/>
              <a:gd name="connsiteY8365" fmla="*/ 496658 h 6479439"/>
              <a:gd name="connsiteX8366" fmla="*/ 7893222 w 9586368"/>
              <a:gd name="connsiteY8366" fmla="*/ 492620 h 6479439"/>
              <a:gd name="connsiteX8367" fmla="*/ 7893222 w 9586368"/>
              <a:gd name="connsiteY8367" fmla="*/ 482751 h 6479439"/>
              <a:gd name="connsiteX8368" fmla="*/ 7657926 w 9586368"/>
              <a:gd name="connsiteY8368" fmla="*/ 478712 h 6479439"/>
              <a:gd name="connsiteX8369" fmla="*/ 7667836 w 9586368"/>
              <a:gd name="connsiteY8369" fmla="*/ 478712 h 6479439"/>
              <a:gd name="connsiteX8370" fmla="*/ 7671855 w 9586368"/>
              <a:gd name="connsiteY8370" fmla="*/ 482751 h 6479439"/>
              <a:gd name="connsiteX8371" fmla="*/ 7671855 w 9586368"/>
              <a:gd name="connsiteY8371" fmla="*/ 492620 h 6479439"/>
              <a:gd name="connsiteX8372" fmla="*/ 7667836 w 9586368"/>
              <a:gd name="connsiteY8372" fmla="*/ 496659 h 6479439"/>
              <a:gd name="connsiteX8373" fmla="*/ 7657926 w 9586368"/>
              <a:gd name="connsiteY8373" fmla="*/ 496659 h 6479439"/>
              <a:gd name="connsiteX8374" fmla="*/ 7653906 w 9586368"/>
              <a:gd name="connsiteY8374" fmla="*/ 492620 h 6479439"/>
              <a:gd name="connsiteX8375" fmla="*/ 7653906 w 9586368"/>
              <a:gd name="connsiteY8375" fmla="*/ 482751 h 6479439"/>
              <a:gd name="connsiteX8376" fmla="*/ 7418611 w 9586368"/>
              <a:gd name="connsiteY8376" fmla="*/ 478712 h 6479439"/>
              <a:gd name="connsiteX8377" fmla="*/ 7428521 w 9586368"/>
              <a:gd name="connsiteY8377" fmla="*/ 478712 h 6479439"/>
              <a:gd name="connsiteX8378" fmla="*/ 7432540 w 9586368"/>
              <a:gd name="connsiteY8378" fmla="*/ 482751 h 6479439"/>
              <a:gd name="connsiteX8379" fmla="*/ 7432540 w 9586368"/>
              <a:gd name="connsiteY8379" fmla="*/ 492620 h 6479439"/>
              <a:gd name="connsiteX8380" fmla="*/ 7428521 w 9586368"/>
              <a:gd name="connsiteY8380" fmla="*/ 496659 h 6479439"/>
              <a:gd name="connsiteX8381" fmla="*/ 7418611 w 9586368"/>
              <a:gd name="connsiteY8381" fmla="*/ 496659 h 6479439"/>
              <a:gd name="connsiteX8382" fmla="*/ 7414592 w 9586368"/>
              <a:gd name="connsiteY8382" fmla="*/ 492620 h 6479439"/>
              <a:gd name="connsiteX8383" fmla="*/ 7414592 w 9586368"/>
              <a:gd name="connsiteY8383" fmla="*/ 482751 h 6479439"/>
              <a:gd name="connsiteX8384" fmla="*/ 7179298 w 9586368"/>
              <a:gd name="connsiteY8384" fmla="*/ 478712 h 6479439"/>
              <a:gd name="connsiteX8385" fmla="*/ 7189209 w 9586368"/>
              <a:gd name="connsiteY8385" fmla="*/ 478712 h 6479439"/>
              <a:gd name="connsiteX8386" fmla="*/ 7193228 w 9586368"/>
              <a:gd name="connsiteY8386" fmla="*/ 482751 h 6479439"/>
              <a:gd name="connsiteX8387" fmla="*/ 7193228 w 9586368"/>
              <a:gd name="connsiteY8387" fmla="*/ 492620 h 6479439"/>
              <a:gd name="connsiteX8388" fmla="*/ 7189209 w 9586368"/>
              <a:gd name="connsiteY8388" fmla="*/ 496659 h 6479439"/>
              <a:gd name="connsiteX8389" fmla="*/ 7179298 w 9586368"/>
              <a:gd name="connsiteY8389" fmla="*/ 496659 h 6479439"/>
              <a:gd name="connsiteX8390" fmla="*/ 7175279 w 9586368"/>
              <a:gd name="connsiteY8390" fmla="*/ 492620 h 6479439"/>
              <a:gd name="connsiteX8391" fmla="*/ 7175279 w 9586368"/>
              <a:gd name="connsiteY8391" fmla="*/ 482751 h 6479439"/>
              <a:gd name="connsiteX8392" fmla="*/ 8136553 w 9586368"/>
              <a:gd name="connsiteY8392" fmla="*/ 478711 h 6479439"/>
              <a:gd name="connsiteX8393" fmla="*/ 8146464 w 9586368"/>
              <a:gd name="connsiteY8393" fmla="*/ 478711 h 6479439"/>
              <a:gd name="connsiteX8394" fmla="*/ 8150483 w 9586368"/>
              <a:gd name="connsiteY8394" fmla="*/ 482751 h 6479439"/>
              <a:gd name="connsiteX8395" fmla="*/ 8150483 w 9586368"/>
              <a:gd name="connsiteY8395" fmla="*/ 492620 h 6479439"/>
              <a:gd name="connsiteX8396" fmla="*/ 8146464 w 9586368"/>
              <a:gd name="connsiteY8396" fmla="*/ 496658 h 6479439"/>
              <a:gd name="connsiteX8397" fmla="*/ 8136553 w 9586368"/>
              <a:gd name="connsiteY8397" fmla="*/ 496658 h 6479439"/>
              <a:gd name="connsiteX8398" fmla="*/ 8132534 w 9586368"/>
              <a:gd name="connsiteY8398" fmla="*/ 492620 h 6479439"/>
              <a:gd name="connsiteX8399" fmla="*/ 8132534 w 9586368"/>
              <a:gd name="connsiteY8399" fmla="*/ 482751 h 6479439"/>
              <a:gd name="connsiteX8400" fmla="*/ 9093811 w 9586368"/>
              <a:gd name="connsiteY8400" fmla="*/ 478699 h 6479439"/>
              <a:gd name="connsiteX8401" fmla="*/ 9103722 w 9586368"/>
              <a:gd name="connsiteY8401" fmla="*/ 478699 h 6479439"/>
              <a:gd name="connsiteX8402" fmla="*/ 9107741 w 9586368"/>
              <a:gd name="connsiteY8402" fmla="*/ 482738 h 6479439"/>
              <a:gd name="connsiteX8403" fmla="*/ 9107741 w 9586368"/>
              <a:gd name="connsiteY8403" fmla="*/ 492608 h 6479439"/>
              <a:gd name="connsiteX8404" fmla="*/ 9103722 w 9586368"/>
              <a:gd name="connsiteY8404" fmla="*/ 496646 h 6479439"/>
              <a:gd name="connsiteX8405" fmla="*/ 9093811 w 9586368"/>
              <a:gd name="connsiteY8405" fmla="*/ 496646 h 6479439"/>
              <a:gd name="connsiteX8406" fmla="*/ 9089792 w 9586368"/>
              <a:gd name="connsiteY8406" fmla="*/ 492608 h 6479439"/>
              <a:gd name="connsiteX8407" fmla="*/ 9089792 w 9586368"/>
              <a:gd name="connsiteY8407" fmla="*/ 482738 h 6479439"/>
              <a:gd name="connsiteX8408" fmla="*/ 8854496 w 9586368"/>
              <a:gd name="connsiteY8408" fmla="*/ 478699 h 6479439"/>
              <a:gd name="connsiteX8409" fmla="*/ 8864407 w 9586368"/>
              <a:gd name="connsiteY8409" fmla="*/ 478699 h 6479439"/>
              <a:gd name="connsiteX8410" fmla="*/ 8868426 w 9586368"/>
              <a:gd name="connsiteY8410" fmla="*/ 482738 h 6479439"/>
              <a:gd name="connsiteX8411" fmla="*/ 8868426 w 9586368"/>
              <a:gd name="connsiteY8411" fmla="*/ 492608 h 6479439"/>
              <a:gd name="connsiteX8412" fmla="*/ 8864407 w 9586368"/>
              <a:gd name="connsiteY8412" fmla="*/ 496647 h 6479439"/>
              <a:gd name="connsiteX8413" fmla="*/ 8854496 w 9586368"/>
              <a:gd name="connsiteY8413" fmla="*/ 496647 h 6479439"/>
              <a:gd name="connsiteX8414" fmla="*/ 8850477 w 9586368"/>
              <a:gd name="connsiteY8414" fmla="*/ 492608 h 6479439"/>
              <a:gd name="connsiteX8415" fmla="*/ 8850477 w 9586368"/>
              <a:gd name="connsiteY8415" fmla="*/ 482738 h 6479439"/>
              <a:gd name="connsiteX8416" fmla="*/ 8615184 w 9586368"/>
              <a:gd name="connsiteY8416" fmla="*/ 478699 h 6479439"/>
              <a:gd name="connsiteX8417" fmla="*/ 8625095 w 9586368"/>
              <a:gd name="connsiteY8417" fmla="*/ 478699 h 6479439"/>
              <a:gd name="connsiteX8418" fmla="*/ 8629114 w 9586368"/>
              <a:gd name="connsiteY8418" fmla="*/ 482739 h 6479439"/>
              <a:gd name="connsiteX8419" fmla="*/ 8629114 w 9586368"/>
              <a:gd name="connsiteY8419" fmla="*/ 492608 h 6479439"/>
              <a:gd name="connsiteX8420" fmla="*/ 8625095 w 9586368"/>
              <a:gd name="connsiteY8420" fmla="*/ 496647 h 6479439"/>
              <a:gd name="connsiteX8421" fmla="*/ 8615184 w 9586368"/>
              <a:gd name="connsiteY8421" fmla="*/ 496647 h 6479439"/>
              <a:gd name="connsiteX8422" fmla="*/ 8611165 w 9586368"/>
              <a:gd name="connsiteY8422" fmla="*/ 492608 h 6479439"/>
              <a:gd name="connsiteX8423" fmla="*/ 8611165 w 9586368"/>
              <a:gd name="connsiteY8423" fmla="*/ 482739 h 6479439"/>
              <a:gd name="connsiteX8424" fmla="*/ 8375869 w 9586368"/>
              <a:gd name="connsiteY8424" fmla="*/ 478699 h 6479439"/>
              <a:gd name="connsiteX8425" fmla="*/ 8385779 w 9586368"/>
              <a:gd name="connsiteY8425" fmla="*/ 478699 h 6479439"/>
              <a:gd name="connsiteX8426" fmla="*/ 8389799 w 9586368"/>
              <a:gd name="connsiteY8426" fmla="*/ 482739 h 6479439"/>
              <a:gd name="connsiteX8427" fmla="*/ 8389799 w 9586368"/>
              <a:gd name="connsiteY8427" fmla="*/ 492608 h 6479439"/>
              <a:gd name="connsiteX8428" fmla="*/ 8385779 w 9586368"/>
              <a:gd name="connsiteY8428" fmla="*/ 496647 h 6479439"/>
              <a:gd name="connsiteX8429" fmla="*/ 8375869 w 9586368"/>
              <a:gd name="connsiteY8429" fmla="*/ 496647 h 6479439"/>
              <a:gd name="connsiteX8430" fmla="*/ 8371850 w 9586368"/>
              <a:gd name="connsiteY8430" fmla="*/ 492608 h 6479439"/>
              <a:gd name="connsiteX8431" fmla="*/ 8371850 w 9586368"/>
              <a:gd name="connsiteY8431" fmla="*/ 482739 h 6479439"/>
              <a:gd name="connsiteX8432" fmla="*/ 9333125 w 9586368"/>
              <a:gd name="connsiteY8432" fmla="*/ 478698 h 6479439"/>
              <a:gd name="connsiteX8433" fmla="*/ 9343036 w 9586368"/>
              <a:gd name="connsiteY8433" fmla="*/ 478698 h 6479439"/>
              <a:gd name="connsiteX8434" fmla="*/ 9347055 w 9586368"/>
              <a:gd name="connsiteY8434" fmla="*/ 482738 h 6479439"/>
              <a:gd name="connsiteX8435" fmla="*/ 9347055 w 9586368"/>
              <a:gd name="connsiteY8435" fmla="*/ 492608 h 6479439"/>
              <a:gd name="connsiteX8436" fmla="*/ 9343036 w 9586368"/>
              <a:gd name="connsiteY8436" fmla="*/ 496646 h 6479439"/>
              <a:gd name="connsiteX8437" fmla="*/ 9333125 w 9586368"/>
              <a:gd name="connsiteY8437" fmla="*/ 496646 h 6479439"/>
              <a:gd name="connsiteX8438" fmla="*/ 9329106 w 9586368"/>
              <a:gd name="connsiteY8438" fmla="*/ 492608 h 6479439"/>
              <a:gd name="connsiteX8439" fmla="*/ 9329106 w 9586368"/>
              <a:gd name="connsiteY8439" fmla="*/ 482738 h 6479439"/>
              <a:gd name="connsiteX8440" fmla="*/ 9572438 w 9586368"/>
              <a:gd name="connsiteY8440" fmla="*/ 478687 h 6479439"/>
              <a:gd name="connsiteX8441" fmla="*/ 9582349 w 9586368"/>
              <a:gd name="connsiteY8441" fmla="*/ 478687 h 6479439"/>
              <a:gd name="connsiteX8442" fmla="*/ 9586368 w 9586368"/>
              <a:gd name="connsiteY8442" fmla="*/ 482726 h 6479439"/>
              <a:gd name="connsiteX8443" fmla="*/ 9586368 w 9586368"/>
              <a:gd name="connsiteY8443" fmla="*/ 492596 h 6479439"/>
              <a:gd name="connsiteX8444" fmla="*/ 9582349 w 9586368"/>
              <a:gd name="connsiteY8444" fmla="*/ 496634 h 6479439"/>
              <a:gd name="connsiteX8445" fmla="*/ 9572438 w 9586368"/>
              <a:gd name="connsiteY8445" fmla="*/ 496634 h 6479439"/>
              <a:gd name="connsiteX8446" fmla="*/ 9568419 w 9586368"/>
              <a:gd name="connsiteY8446" fmla="*/ 492596 h 6479439"/>
              <a:gd name="connsiteX8447" fmla="*/ 9568419 w 9586368"/>
              <a:gd name="connsiteY8447" fmla="*/ 482726 h 6479439"/>
              <a:gd name="connsiteX8448" fmla="*/ 721976 w 9586368"/>
              <a:gd name="connsiteY8448" fmla="*/ 478660 h 6479439"/>
              <a:gd name="connsiteX8449" fmla="*/ 731886 w 9586368"/>
              <a:gd name="connsiteY8449" fmla="*/ 478660 h 6479439"/>
              <a:gd name="connsiteX8450" fmla="*/ 735905 w 9586368"/>
              <a:gd name="connsiteY8450" fmla="*/ 482698 h 6479439"/>
              <a:gd name="connsiteX8451" fmla="*/ 735905 w 9586368"/>
              <a:gd name="connsiteY8451" fmla="*/ 492569 h 6479439"/>
              <a:gd name="connsiteX8452" fmla="*/ 731886 w 9586368"/>
              <a:gd name="connsiteY8452" fmla="*/ 496608 h 6479439"/>
              <a:gd name="connsiteX8453" fmla="*/ 721976 w 9586368"/>
              <a:gd name="connsiteY8453" fmla="*/ 496608 h 6479439"/>
              <a:gd name="connsiteX8454" fmla="*/ 717957 w 9586368"/>
              <a:gd name="connsiteY8454" fmla="*/ 492569 h 6479439"/>
              <a:gd name="connsiteX8455" fmla="*/ 717957 w 9586368"/>
              <a:gd name="connsiteY8455" fmla="*/ 482698 h 6479439"/>
              <a:gd name="connsiteX8456" fmla="*/ 482664 w 9586368"/>
              <a:gd name="connsiteY8456" fmla="*/ 478660 h 6479439"/>
              <a:gd name="connsiteX8457" fmla="*/ 492574 w 9586368"/>
              <a:gd name="connsiteY8457" fmla="*/ 478660 h 6479439"/>
              <a:gd name="connsiteX8458" fmla="*/ 496593 w 9586368"/>
              <a:gd name="connsiteY8458" fmla="*/ 482698 h 6479439"/>
              <a:gd name="connsiteX8459" fmla="*/ 496593 w 9586368"/>
              <a:gd name="connsiteY8459" fmla="*/ 492569 h 6479439"/>
              <a:gd name="connsiteX8460" fmla="*/ 492574 w 9586368"/>
              <a:gd name="connsiteY8460" fmla="*/ 496608 h 6479439"/>
              <a:gd name="connsiteX8461" fmla="*/ 482664 w 9586368"/>
              <a:gd name="connsiteY8461" fmla="*/ 496608 h 6479439"/>
              <a:gd name="connsiteX8462" fmla="*/ 478645 w 9586368"/>
              <a:gd name="connsiteY8462" fmla="*/ 492569 h 6479439"/>
              <a:gd name="connsiteX8463" fmla="*/ 478645 w 9586368"/>
              <a:gd name="connsiteY8463" fmla="*/ 482698 h 6479439"/>
              <a:gd name="connsiteX8464" fmla="*/ 243350 w 9586368"/>
              <a:gd name="connsiteY8464" fmla="*/ 478660 h 6479439"/>
              <a:gd name="connsiteX8465" fmla="*/ 253260 w 9586368"/>
              <a:gd name="connsiteY8465" fmla="*/ 478660 h 6479439"/>
              <a:gd name="connsiteX8466" fmla="*/ 257279 w 9586368"/>
              <a:gd name="connsiteY8466" fmla="*/ 482698 h 6479439"/>
              <a:gd name="connsiteX8467" fmla="*/ 257279 w 9586368"/>
              <a:gd name="connsiteY8467" fmla="*/ 492569 h 6479439"/>
              <a:gd name="connsiteX8468" fmla="*/ 253260 w 9586368"/>
              <a:gd name="connsiteY8468" fmla="*/ 496608 h 6479439"/>
              <a:gd name="connsiteX8469" fmla="*/ 243350 w 9586368"/>
              <a:gd name="connsiteY8469" fmla="*/ 496608 h 6479439"/>
              <a:gd name="connsiteX8470" fmla="*/ 239331 w 9586368"/>
              <a:gd name="connsiteY8470" fmla="*/ 492569 h 6479439"/>
              <a:gd name="connsiteX8471" fmla="*/ 239331 w 9586368"/>
              <a:gd name="connsiteY8471" fmla="*/ 482698 h 6479439"/>
              <a:gd name="connsiteX8472" fmla="*/ 4037 w 9586368"/>
              <a:gd name="connsiteY8472" fmla="*/ 478660 h 6479439"/>
              <a:gd name="connsiteX8473" fmla="*/ 13947 w 9586368"/>
              <a:gd name="connsiteY8473" fmla="*/ 478660 h 6479439"/>
              <a:gd name="connsiteX8474" fmla="*/ 17966 w 9586368"/>
              <a:gd name="connsiteY8474" fmla="*/ 482698 h 6479439"/>
              <a:gd name="connsiteX8475" fmla="*/ 17966 w 9586368"/>
              <a:gd name="connsiteY8475" fmla="*/ 492569 h 6479439"/>
              <a:gd name="connsiteX8476" fmla="*/ 13947 w 9586368"/>
              <a:gd name="connsiteY8476" fmla="*/ 496608 h 6479439"/>
              <a:gd name="connsiteX8477" fmla="*/ 4037 w 9586368"/>
              <a:gd name="connsiteY8477" fmla="*/ 496608 h 6479439"/>
              <a:gd name="connsiteX8478" fmla="*/ 18 w 9586368"/>
              <a:gd name="connsiteY8478" fmla="*/ 492569 h 6479439"/>
              <a:gd name="connsiteX8479" fmla="*/ 18 w 9586368"/>
              <a:gd name="connsiteY8479" fmla="*/ 482698 h 6479439"/>
              <a:gd name="connsiteX8480" fmla="*/ 1679220 w 9586368"/>
              <a:gd name="connsiteY8480" fmla="*/ 478650 h 6479439"/>
              <a:gd name="connsiteX8481" fmla="*/ 1689130 w 9586368"/>
              <a:gd name="connsiteY8481" fmla="*/ 478650 h 6479439"/>
              <a:gd name="connsiteX8482" fmla="*/ 1693149 w 9586368"/>
              <a:gd name="connsiteY8482" fmla="*/ 482688 h 6479439"/>
              <a:gd name="connsiteX8483" fmla="*/ 1693149 w 9586368"/>
              <a:gd name="connsiteY8483" fmla="*/ 492559 h 6479439"/>
              <a:gd name="connsiteX8484" fmla="*/ 1689130 w 9586368"/>
              <a:gd name="connsiteY8484" fmla="*/ 496598 h 6479439"/>
              <a:gd name="connsiteX8485" fmla="*/ 1679220 w 9586368"/>
              <a:gd name="connsiteY8485" fmla="*/ 496598 h 6479439"/>
              <a:gd name="connsiteX8486" fmla="*/ 1675200 w 9586368"/>
              <a:gd name="connsiteY8486" fmla="*/ 492559 h 6479439"/>
              <a:gd name="connsiteX8487" fmla="*/ 1675200 w 9586368"/>
              <a:gd name="connsiteY8487" fmla="*/ 482688 h 6479439"/>
              <a:gd name="connsiteX8488" fmla="*/ 1439902 w 9586368"/>
              <a:gd name="connsiteY8488" fmla="*/ 478650 h 6479439"/>
              <a:gd name="connsiteX8489" fmla="*/ 1449812 w 9586368"/>
              <a:gd name="connsiteY8489" fmla="*/ 478650 h 6479439"/>
              <a:gd name="connsiteX8490" fmla="*/ 1453831 w 9586368"/>
              <a:gd name="connsiteY8490" fmla="*/ 482688 h 6479439"/>
              <a:gd name="connsiteX8491" fmla="*/ 1453831 w 9586368"/>
              <a:gd name="connsiteY8491" fmla="*/ 492559 h 6479439"/>
              <a:gd name="connsiteX8492" fmla="*/ 1449812 w 9586368"/>
              <a:gd name="connsiteY8492" fmla="*/ 496598 h 6479439"/>
              <a:gd name="connsiteX8493" fmla="*/ 1439902 w 9586368"/>
              <a:gd name="connsiteY8493" fmla="*/ 496598 h 6479439"/>
              <a:gd name="connsiteX8494" fmla="*/ 1435883 w 9586368"/>
              <a:gd name="connsiteY8494" fmla="*/ 492559 h 6479439"/>
              <a:gd name="connsiteX8495" fmla="*/ 1435883 w 9586368"/>
              <a:gd name="connsiteY8495" fmla="*/ 482688 h 6479439"/>
              <a:gd name="connsiteX8496" fmla="*/ 1200585 w 9586368"/>
              <a:gd name="connsiteY8496" fmla="*/ 478650 h 6479439"/>
              <a:gd name="connsiteX8497" fmla="*/ 1210496 w 9586368"/>
              <a:gd name="connsiteY8497" fmla="*/ 478650 h 6479439"/>
              <a:gd name="connsiteX8498" fmla="*/ 1214515 w 9586368"/>
              <a:gd name="connsiteY8498" fmla="*/ 482689 h 6479439"/>
              <a:gd name="connsiteX8499" fmla="*/ 1214515 w 9586368"/>
              <a:gd name="connsiteY8499" fmla="*/ 492559 h 6479439"/>
              <a:gd name="connsiteX8500" fmla="*/ 1210496 w 9586368"/>
              <a:gd name="connsiteY8500" fmla="*/ 496598 h 6479439"/>
              <a:gd name="connsiteX8501" fmla="*/ 1200585 w 9586368"/>
              <a:gd name="connsiteY8501" fmla="*/ 496598 h 6479439"/>
              <a:gd name="connsiteX8502" fmla="*/ 1196567 w 9586368"/>
              <a:gd name="connsiteY8502" fmla="*/ 492559 h 6479439"/>
              <a:gd name="connsiteX8503" fmla="*/ 1196567 w 9586368"/>
              <a:gd name="connsiteY8503" fmla="*/ 482689 h 6479439"/>
              <a:gd name="connsiteX8504" fmla="*/ 961273 w 9586368"/>
              <a:gd name="connsiteY8504" fmla="*/ 478650 h 6479439"/>
              <a:gd name="connsiteX8505" fmla="*/ 971183 w 9586368"/>
              <a:gd name="connsiteY8505" fmla="*/ 478650 h 6479439"/>
              <a:gd name="connsiteX8506" fmla="*/ 975202 w 9586368"/>
              <a:gd name="connsiteY8506" fmla="*/ 482689 h 6479439"/>
              <a:gd name="connsiteX8507" fmla="*/ 975202 w 9586368"/>
              <a:gd name="connsiteY8507" fmla="*/ 492559 h 6479439"/>
              <a:gd name="connsiteX8508" fmla="*/ 971183 w 9586368"/>
              <a:gd name="connsiteY8508" fmla="*/ 496598 h 6479439"/>
              <a:gd name="connsiteX8509" fmla="*/ 961273 w 9586368"/>
              <a:gd name="connsiteY8509" fmla="*/ 496598 h 6479439"/>
              <a:gd name="connsiteX8510" fmla="*/ 957254 w 9586368"/>
              <a:gd name="connsiteY8510" fmla="*/ 492559 h 6479439"/>
              <a:gd name="connsiteX8511" fmla="*/ 957254 w 9586368"/>
              <a:gd name="connsiteY8511" fmla="*/ 482689 h 6479439"/>
              <a:gd name="connsiteX8512" fmla="*/ 1918515 w 9586368"/>
              <a:gd name="connsiteY8512" fmla="*/ 478641 h 6479439"/>
              <a:gd name="connsiteX8513" fmla="*/ 1928425 w 9586368"/>
              <a:gd name="connsiteY8513" fmla="*/ 478641 h 6479439"/>
              <a:gd name="connsiteX8514" fmla="*/ 1932444 w 9586368"/>
              <a:gd name="connsiteY8514" fmla="*/ 482679 h 6479439"/>
              <a:gd name="connsiteX8515" fmla="*/ 1932444 w 9586368"/>
              <a:gd name="connsiteY8515" fmla="*/ 492550 h 6479439"/>
              <a:gd name="connsiteX8516" fmla="*/ 1928425 w 9586368"/>
              <a:gd name="connsiteY8516" fmla="*/ 496589 h 6479439"/>
              <a:gd name="connsiteX8517" fmla="*/ 1918515 w 9586368"/>
              <a:gd name="connsiteY8517" fmla="*/ 496589 h 6479439"/>
              <a:gd name="connsiteX8518" fmla="*/ 1914495 w 9586368"/>
              <a:gd name="connsiteY8518" fmla="*/ 492550 h 6479439"/>
              <a:gd name="connsiteX8519" fmla="*/ 1914495 w 9586368"/>
              <a:gd name="connsiteY8519" fmla="*/ 482679 h 6479439"/>
              <a:gd name="connsiteX8520" fmla="*/ 2157823 w 9586368"/>
              <a:gd name="connsiteY8520" fmla="*/ 478638 h 6479439"/>
              <a:gd name="connsiteX8521" fmla="*/ 2167734 w 9586368"/>
              <a:gd name="connsiteY8521" fmla="*/ 478638 h 6479439"/>
              <a:gd name="connsiteX8522" fmla="*/ 2171753 w 9586368"/>
              <a:gd name="connsiteY8522" fmla="*/ 482677 h 6479439"/>
              <a:gd name="connsiteX8523" fmla="*/ 2171753 w 9586368"/>
              <a:gd name="connsiteY8523" fmla="*/ 492548 h 6479439"/>
              <a:gd name="connsiteX8524" fmla="*/ 2167734 w 9586368"/>
              <a:gd name="connsiteY8524" fmla="*/ 496587 h 6479439"/>
              <a:gd name="connsiteX8525" fmla="*/ 2157823 w 9586368"/>
              <a:gd name="connsiteY8525" fmla="*/ 496587 h 6479439"/>
              <a:gd name="connsiteX8526" fmla="*/ 2153804 w 9586368"/>
              <a:gd name="connsiteY8526" fmla="*/ 492548 h 6479439"/>
              <a:gd name="connsiteX8527" fmla="*/ 2153804 w 9586368"/>
              <a:gd name="connsiteY8527" fmla="*/ 482677 h 6479439"/>
              <a:gd name="connsiteX8528" fmla="*/ 2632423 w 9586368"/>
              <a:gd name="connsiteY8528" fmla="*/ 239432 h 6479439"/>
              <a:gd name="connsiteX8529" fmla="*/ 2642334 w 9586368"/>
              <a:gd name="connsiteY8529" fmla="*/ 239432 h 6479439"/>
              <a:gd name="connsiteX8530" fmla="*/ 2646352 w 9586368"/>
              <a:gd name="connsiteY8530" fmla="*/ 243470 h 6479439"/>
              <a:gd name="connsiteX8531" fmla="*/ 2646352 w 9586368"/>
              <a:gd name="connsiteY8531" fmla="*/ 253341 h 6479439"/>
              <a:gd name="connsiteX8532" fmla="*/ 2642334 w 9586368"/>
              <a:gd name="connsiteY8532" fmla="*/ 257380 h 6479439"/>
              <a:gd name="connsiteX8533" fmla="*/ 2632423 w 9586368"/>
              <a:gd name="connsiteY8533" fmla="*/ 257380 h 6479439"/>
              <a:gd name="connsiteX8534" fmla="*/ 2628404 w 9586368"/>
              <a:gd name="connsiteY8534" fmla="*/ 253341 h 6479439"/>
              <a:gd name="connsiteX8535" fmla="*/ 2628404 w 9586368"/>
              <a:gd name="connsiteY8535" fmla="*/ 243470 h 6479439"/>
              <a:gd name="connsiteX8536" fmla="*/ 2393104 w 9586368"/>
              <a:gd name="connsiteY8536" fmla="*/ 239432 h 6479439"/>
              <a:gd name="connsiteX8537" fmla="*/ 2403015 w 9586368"/>
              <a:gd name="connsiteY8537" fmla="*/ 239432 h 6479439"/>
              <a:gd name="connsiteX8538" fmla="*/ 2407034 w 9586368"/>
              <a:gd name="connsiteY8538" fmla="*/ 243470 h 6479439"/>
              <a:gd name="connsiteX8539" fmla="*/ 2407034 w 9586368"/>
              <a:gd name="connsiteY8539" fmla="*/ 253341 h 6479439"/>
              <a:gd name="connsiteX8540" fmla="*/ 2403015 w 9586368"/>
              <a:gd name="connsiteY8540" fmla="*/ 257380 h 6479439"/>
              <a:gd name="connsiteX8541" fmla="*/ 2393104 w 9586368"/>
              <a:gd name="connsiteY8541" fmla="*/ 257380 h 6479439"/>
              <a:gd name="connsiteX8542" fmla="*/ 2389087 w 9586368"/>
              <a:gd name="connsiteY8542" fmla="*/ 253341 h 6479439"/>
              <a:gd name="connsiteX8543" fmla="*/ 2389087 w 9586368"/>
              <a:gd name="connsiteY8543" fmla="*/ 243470 h 6479439"/>
              <a:gd name="connsiteX8544" fmla="*/ 3350359 w 9586368"/>
              <a:gd name="connsiteY8544" fmla="*/ 239432 h 6479439"/>
              <a:gd name="connsiteX8545" fmla="*/ 3360268 w 9586368"/>
              <a:gd name="connsiteY8545" fmla="*/ 239432 h 6479439"/>
              <a:gd name="connsiteX8546" fmla="*/ 3364287 w 9586368"/>
              <a:gd name="connsiteY8546" fmla="*/ 243470 h 6479439"/>
              <a:gd name="connsiteX8547" fmla="*/ 3364287 w 9586368"/>
              <a:gd name="connsiteY8547" fmla="*/ 253341 h 6479439"/>
              <a:gd name="connsiteX8548" fmla="*/ 3360268 w 9586368"/>
              <a:gd name="connsiteY8548" fmla="*/ 257380 h 6479439"/>
              <a:gd name="connsiteX8549" fmla="*/ 3350359 w 9586368"/>
              <a:gd name="connsiteY8549" fmla="*/ 257380 h 6479439"/>
              <a:gd name="connsiteX8550" fmla="*/ 3346340 w 9586368"/>
              <a:gd name="connsiteY8550" fmla="*/ 253341 h 6479439"/>
              <a:gd name="connsiteX8551" fmla="*/ 3346340 w 9586368"/>
              <a:gd name="connsiteY8551" fmla="*/ 243470 h 6479439"/>
              <a:gd name="connsiteX8552" fmla="*/ 3111048 w 9586368"/>
              <a:gd name="connsiteY8552" fmla="*/ 239432 h 6479439"/>
              <a:gd name="connsiteX8553" fmla="*/ 3120959 w 9586368"/>
              <a:gd name="connsiteY8553" fmla="*/ 239432 h 6479439"/>
              <a:gd name="connsiteX8554" fmla="*/ 3124977 w 9586368"/>
              <a:gd name="connsiteY8554" fmla="*/ 243470 h 6479439"/>
              <a:gd name="connsiteX8555" fmla="*/ 3124977 w 9586368"/>
              <a:gd name="connsiteY8555" fmla="*/ 253341 h 6479439"/>
              <a:gd name="connsiteX8556" fmla="*/ 3120959 w 9586368"/>
              <a:gd name="connsiteY8556" fmla="*/ 257380 h 6479439"/>
              <a:gd name="connsiteX8557" fmla="*/ 3111048 w 9586368"/>
              <a:gd name="connsiteY8557" fmla="*/ 257380 h 6479439"/>
              <a:gd name="connsiteX8558" fmla="*/ 3107029 w 9586368"/>
              <a:gd name="connsiteY8558" fmla="*/ 253341 h 6479439"/>
              <a:gd name="connsiteX8559" fmla="*/ 3107029 w 9586368"/>
              <a:gd name="connsiteY8559" fmla="*/ 243470 h 6479439"/>
              <a:gd name="connsiteX8560" fmla="*/ 2871737 w 9586368"/>
              <a:gd name="connsiteY8560" fmla="*/ 239432 h 6479439"/>
              <a:gd name="connsiteX8561" fmla="*/ 2881646 w 9586368"/>
              <a:gd name="connsiteY8561" fmla="*/ 239432 h 6479439"/>
              <a:gd name="connsiteX8562" fmla="*/ 2885666 w 9586368"/>
              <a:gd name="connsiteY8562" fmla="*/ 243470 h 6479439"/>
              <a:gd name="connsiteX8563" fmla="*/ 2885666 w 9586368"/>
              <a:gd name="connsiteY8563" fmla="*/ 253341 h 6479439"/>
              <a:gd name="connsiteX8564" fmla="*/ 2881646 w 9586368"/>
              <a:gd name="connsiteY8564" fmla="*/ 257380 h 6479439"/>
              <a:gd name="connsiteX8565" fmla="*/ 2871737 w 9586368"/>
              <a:gd name="connsiteY8565" fmla="*/ 257380 h 6479439"/>
              <a:gd name="connsiteX8566" fmla="*/ 2867717 w 9586368"/>
              <a:gd name="connsiteY8566" fmla="*/ 253341 h 6479439"/>
              <a:gd name="connsiteX8567" fmla="*/ 2867717 w 9586368"/>
              <a:gd name="connsiteY8567" fmla="*/ 243470 h 6479439"/>
              <a:gd name="connsiteX8568" fmla="*/ 3828990 w 9586368"/>
              <a:gd name="connsiteY8568" fmla="*/ 239420 h 6479439"/>
              <a:gd name="connsiteX8569" fmla="*/ 3838899 w 9586368"/>
              <a:gd name="connsiteY8569" fmla="*/ 239420 h 6479439"/>
              <a:gd name="connsiteX8570" fmla="*/ 3842917 w 9586368"/>
              <a:gd name="connsiteY8570" fmla="*/ 243457 h 6479439"/>
              <a:gd name="connsiteX8571" fmla="*/ 3842917 w 9586368"/>
              <a:gd name="connsiteY8571" fmla="*/ 253328 h 6479439"/>
              <a:gd name="connsiteX8572" fmla="*/ 3838899 w 9586368"/>
              <a:gd name="connsiteY8572" fmla="*/ 257367 h 6479439"/>
              <a:gd name="connsiteX8573" fmla="*/ 3828990 w 9586368"/>
              <a:gd name="connsiteY8573" fmla="*/ 257367 h 6479439"/>
              <a:gd name="connsiteX8574" fmla="*/ 3824971 w 9586368"/>
              <a:gd name="connsiteY8574" fmla="*/ 253328 h 6479439"/>
              <a:gd name="connsiteX8575" fmla="*/ 3824971 w 9586368"/>
              <a:gd name="connsiteY8575" fmla="*/ 243457 h 6479439"/>
              <a:gd name="connsiteX8576" fmla="*/ 3589676 w 9586368"/>
              <a:gd name="connsiteY8576" fmla="*/ 239420 h 6479439"/>
              <a:gd name="connsiteX8577" fmla="*/ 3599585 w 9586368"/>
              <a:gd name="connsiteY8577" fmla="*/ 239420 h 6479439"/>
              <a:gd name="connsiteX8578" fmla="*/ 3603604 w 9586368"/>
              <a:gd name="connsiteY8578" fmla="*/ 243457 h 6479439"/>
              <a:gd name="connsiteX8579" fmla="*/ 3603604 w 9586368"/>
              <a:gd name="connsiteY8579" fmla="*/ 253328 h 6479439"/>
              <a:gd name="connsiteX8580" fmla="*/ 3599585 w 9586368"/>
              <a:gd name="connsiteY8580" fmla="*/ 257367 h 6479439"/>
              <a:gd name="connsiteX8581" fmla="*/ 3589676 w 9586368"/>
              <a:gd name="connsiteY8581" fmla="*/ 257367 h 6479439"/>
              <a:gd name="connsiteX8582" fmla="*/ 3585657 w 9586368"/>
              <a:gd name="connsiteY8582" fmla="*/ 253328 h 6479439"/>
              <a:gd name="connsiteX8583" fmla="*/ 3585657 w 9586368"/>
              <a:gd name="connsiteY8583" fmla="*/ 243457 h 6479439"/>
              <a:gd name="connsiteX8584" fmla="*/ 4546929 w 9586368"/>
              <a:gd name="connsiteY8584" fmla="*/ 239419 h 6479439"/>
              <a:gd name="connsiteX8585" fmla="*/ 4556840 w 9586368"/>
              <a:gd name="connsiteY8585" fmla="*/ 239419 h 6479439"/>
              <a:gd name="connsiteX8586" fmla="*/ 4560859 w 9586368"/>
              <a:gd name="connsiteY8586" fmla="*/ 243457 h 6479439"/>
              <a:gd name="connsiteX8587" fmla="*/ 4560859 w 9586368"/>
              <a:gd name="connsiteY8587" fmla="*/ 253328 h 6479439"/>
              <a:gd name="connsiteX8588" fmla="*/ 4556840 w 9586368"/>
              <a:gd name="connsiteY8588" fmla="*/ 257367 h 6479439"/>
              <a:gd name="connsiteX8589" fmla="*/ 4546929 w 9586368"/>
              <a:gd name="connsiteY8589" fmla="*/ 257367 h 6479439"/>
              <a:gd name="connsiteX8590" fmla="*/ 4542910 w 9586368"/>
              <a:gd name="connsiteY8590" fmla="*/ 253328 h 6479439"/>
              <a:gd name="connsiteX8591" fmla="*/ 4542910 w 9586368"/>
              <a:gd name="connsiteY8591" fmla="*/ 243457 h 6479439"/>
              <a:gd name="connsiteX8592" fmla="*/ 4307612 w 9586368"/>
              <a:gd name="connsiteY8592" fmla="*/ 239419 h 6479439"/>
              <a:gd name="connsiteX8593" fmla="*/ 4317523 w 9586368"/>
              <a:gd name="connsiteY8593" fmla="*/ 239419 h 6479439"/>
              <a:gd name="connsiteX8594" fmla="*/ 4321543 w 9586368"/>
              <a:gd name="connsiteY8594" fmla="*/ 243457 h 6479439"/>
              <a:gd name="connsiteX8595" fmla="*/ 4321543 w 9586368"/>
              <a:gd name="connsiteY8595" fmla="*/ 253328 h 6479439"/>
              <a:gd name="connsiteX8596" fmla="*/ 4317523 w 9586368"/>
              <a:gd name="connsiteY8596" fmla="*/ 257367 h 6479439"/>
              <a:gd name="connsiteX8597" fmla="*/ 4307612 w 9586368"/>
              <a:gd name="connsiteY8597" fmla="*/ 257367 h 6479439"/>
              <a:gd name="connsiteX8598" fmla="*/ 4303595 w 9586368"/>
              <a:gd name="connsiteY8598" fmla="*/ 253328 h 6479439"/>
              <a:gd name="connsiteX8599" fmla="*/ 4303595 w 9586368"/>
              <a:gd name="connsiteY8599" fmla="*/ 243457 h 6479439"/>
              <a:gd name="connsiteX8600" fmla="*/ 4068297 w 9586368"/>
              <a:gd name="connsiteY8600" fmla="*/ 239419 h 6479439"/>
              <a:gd name="connsiteX8601" fmla="*/ 4078210 w 9586368"/>
              <a:gd name="connsiteY8601" fmla="*/ 239419 h 6479439"/>
              <a:gd name="connsiteX8602" fmla="*/ 4082229 w 9586368"/>
              <a:gd name="connsiteY8602" fmla="*/ 243457 h 6479439"/>
              <a:gd name="connsiteX8603" fmla="*/ 4082229 w 9586368"/>
              <a:gd name="connsiteY8603" fmla="*/ 253328 h 6479439"/>
              <a:gd name="connsiteX8604" fmla="*/ 4078210 w 9586368"/>
              <a:gd name="connsiteY8604" fmla="*/ 257367 h 6479439"/>
              <a:gd name="connsiteX8605" fmla="*/ 4068297 w 9586368"/>
              <a:gd name="connsiteY8605" fmla="*/ 257367 h 6479439"/>
              <a:gd name="connsiteX8606" fmla="*/ 4064278 w 9586368"/>
              <a:gd name="connsiteY8606" fmla="*/ 253328 h 6479439"/>
              <a:gd name="connsiteX8607" fmla="*/ 4064278 w 9586368"/>
              <a:gd name="connsiteY8607" fmla="*/ 243457 h 6479439"/>
              <a:gd name="connsiteX8608" fmla="*/ 5025470 w 9586368"/>
              <a:gd name="connsiteY8608" fmla="*/ 239407 h 6479439"/>
              <a:gd name="connsiteX8609" fmla="*/ 5035381 w 9586368"/>
              <a:gd name="connsiteY8609" fmla="*/ 239407 h 6479439"/>
              <a:gd name="connsiteX8610" fmla="*/ 5039400 w 9586368"/>
              <a:gd name="connsiteY8610" fmla="*/ 243445 h 6479439"/>
              <a:gd name="connsiteX8611" fmla="*/ 5039400 w 9586368"/>
              <a:gd name="connsiteY8611" fmla="*/ 253316 h 6479439"/>
              <a:gd name="connsiteX8612" fmla="*/ 5035381 w 9586368"/>
              <a:gd name="connsiteY8612" fmla="*/ 257355 h 6479439"/>
              <a:gd name="connsiteX8613" fmla="*/ 5025470 w 9586368"/>
              <a:gd name="connsiteY8613" fmla="*/ 257355 h 6479439"/>
              <a:gd name="connsiteX8614" fmla="*/ 5021451 w 9586368"/>
              <a:gd name="connsiteY8614" fmla="*/ 253316 h 6479439"/>
              <a:gd name="connsiteX8615" fmla="*/ 5021451 w 9586368"/>
              <a:gd name="connsiteY8615" fmla="*/ 243445 h 6479439"/>
              <a:gd name="connsiteX8616" fmla="*/ 4786241 w 9586368"/>
              <a:gd name="connsiteY8616" fmla="*/ 239407 h 6479439"/>
              <a:gd name="connsiteX8617" fmla="*/ 4796152 w 9586368"/>
              <a:gd name="connsiteY8617" fmla="*/ 239407 h 6479439"/>
              <a:gd name="connsiteX8618" fmla="*/ 4800171 w 9586368"/>
              <a:gd name="connsiteY8618" fmla="*/ 243445 h 6479439"/>
              <a:gd name="connsiteX8619" fmla="*/ 4800171 w 9586368"/>
              <a:gd name="connsiteY8619" fmla="*/ 253316 h 6479439"/>
              <a:gd name="connsiteX8620" fmla="*/ 4796152 w 9586368"/>
              <a:gd name="connsiteY8620" fmla="*/ 257355 h 6479439"/>
              <a:gd name="connsiteX8621" fmla="*/ 4786241 w 9586368"/>
              <a:gd name="connsiteY8621" fmla="*/ 257355 h 6479439"/>
              <a:gd name="connsiteX8622" fmla="*/ 4782224 w 9586368"/>
              <a:gd name="connsiteY8622" fmla="*/ 253316 h 6479439"/>
              <a:gd name="connsiteX8623" fmla="*/ 4782224 w 9586368"/>
              <a:gd name="connsiteY8623" fmla="*/ 243445 h 6479439"/>
              <a:gd name="connsiteX8624" fmla="*/ 5743412 w 9586368"/>
              <a:gd name="connsiteY8624" fmla="*/ 239407 h 6479439"/>
              <a:gd name="connsiteX8625" fmla="*/ 5753323 w 9586368"/>
              <a:gd name="connsiteY8625" fmla="*/ 239407 h 6479439"/>
              <a:gd name="connsiteX8626" fmla="*/ 5757342 w 9586368"/>
              <a:gd name="connsiteY8626" fmla="*/ 243445 h 6479439"/>
              <a:gd name="connsiteX8627" fmla="*/ 5757342 w 9586368"/>
              <a:gd name="connsiteY8627" fmla="*/ 253316 h 6479439"/>
              <a:gd name="connsiteX8628" fmla="*/ 5753323 w 9586368"/>
              <a:gd name="connsiteY8628" fmla="*/ 257355 h 6479439"/>
              <a:gd name="connsiteX8629" fmla="*/ 5743412 w 9586368"/>
              <a:gd name="connsiteY8629" fmla="*/ 257355 h 6479439"/>
              <a:gd name="connsiteX8630" fmla="*/ 5739393 w 9586368"/>
              <a:gd name="connsiteY8630" fmla="*/ 253316 h 6479439"/>
              <a:gd name="connsiteX8631" fmla="*/ 5739393 w 9586368"/>
              <a:gd name="connsiteY8631" fmla="*/ 243445 h 6479439"/>
              <a:gd name="connsiteX8632" fmla="*/ 5504099 w 9586368"/>
              <a:gd name="connsiteY8632" fmla="*/ 239407 h 6479439"/>
              <a:gd name="connsiteX8633" fmla="*/ 5514010 w 9586368"/>
              <a:gd name="connsiteY8633" fmla="*/ 239407 h 6479439"/>
              <a:gd name="connsiteX8634" fmla="*/ 5518029 w 9586368"/>
              <a:gd name="connsiteY8634" fmla="*/ 243445 h 6479439"/>
              <a:gd name="connsiteX8635" fmla="*/ 5518029 w 9586368"/>
              <a:gd name="connsiteY8635" fmla="*/ 253316 h 6479439"/>
              <a:gd name="connsiteX8636" fmla="*/ 5514010 w 9586368"/>
              <a:gd name="connsiteY8636" fmla="*/ 257355 h 6479439"/>
              <a:gd name="connsiteX8637" fmla="*/ 5504099 w 9586368"/>
              <a:gd name="connsiteY8637" fmla="*/ 257355 h 6479439"/>
              <a:gd name="connsiteX8638" fmla="*/ 5500080 w 9586368"/>
              <a:gd name="connsiteY8638" fmla="*/ 253316 h 6479439"/>
              <a:gd name="connsiteX8639" fmla="*/ 5500080 w 9586368"/>
              <a:gd name="connsiteY8639" fmla="*/ 243445 h 6479439"/>
              <a:gd name="connsiteX8640" fmla="*/ 5264784 w 9586368"/>
              <a:gd name="connsiteY8640" fmla="*/ 239407 h 6479439"/>
              <a:gd name="connsiteX8641" fmla="*/ 5274694 w 9586368"/>
              <a:gd name="connsiteY8641" fmla="*/ 239407 h 6479439"/>
              <a:gd name="connsiteX8642" fmla="*/ 5278713 w 9586368"/>
              <a:gd name="connsiteY8642" fmla="*/ 243445 h 6479439"/>
              <a:gd name="connsiteX8643" fmla="*/ 5278713 w 9586368"/>
              <a:gd name="connsiteY8643" fmla="*/ 253316 h 6479439"/>
              <a:gd name="connsiteX8644" fmla="*/ 5274694 w 9586368"/>
              <a:gd name="connsiteY8644" fmla="*/ 257355 h 6479439"/>
              <a:gd name="connsiteX8645" fmla="*/ 5264784 w 9586368"/>
              <a:gd name="connsiteY8645" fmla="*/ 257355 h 6479439"/>
              <a:gd name="connsiteX8646" fmla="*/ 5260765 w 9586368"/>
              <a:gd name="connsiteY8646" fmla="*/ 253316 h 6479439"/>
              <a:gd name="connsiteX8647" fmla="*/ 5260765 w 9586368"/>
              <a:gd name="connsiteY8647" fmla="*/ 243445 h 6479439"/>
              <a:gd name="connsiteX8648" fmla="*/ 6222042 w 9586368"/>
              <a:gd name="connsiteY8648" fmla="*/ 239395 h 6479439"/>
              <a:gd name="connsiteX8649" fmla="*/ 6231952 w 9586368"/>
              <a:gd name="connsiteY8649" fmla="*/ 239395 h 6479439"/>
              <a:gd name="connsiteX8650" fmla="*/ 6235971 w 9586368"/>
              <a:gd name="connsiteY8650" fmla="*/ 243432 h 6479439"/>
              <a:gd name="connsiteX8651" fmla="*/ 6235971 w 9586368"/>
              <a:gd name="connsiteY8651" fmla="*/ 253303 h 6479439"/>
              <a:gd name="connsiteX8652" fmla="*/ 6231952 w 9586368"/>
              <a:gd name="connsiteY8652" fmla="*/ 257342 h 6479439"/>
              <a:gd name="connsiteX8653" fmla="*/ 6222042 w 9586368"/>
              <a:gd name="connsiteY8653" fmla="*/ 257342 h 6479439"/>
              <a:gd name="connsiteX8654" fmla="*/ 6218023 w 9586368"/>
              <a:gd name="connsiteY8654" fmla="*/ 253303 h 6479439"/>
              <a:gd name="connsiteX8655" fmla="*/ 6218023 w 9586368"/>
              <a:gd name="connsiteY8655" fmla="*/ 243432 h 6479439"/>
              <a:gd name="connsiteX8656" fmla="*/ 5982729 w 9586368"/>
              <a:gd name="connsiteY8656" fmla="*/ 239395 h 6479439"/>
              <a:gd name="connsiteX8657" fmla="*/ 5992639 w 9586368"/>
              <a:gd name="connsiteY8657" fmla="*/ 239395 h 6479439"/>
              <a:gd name="connsiteX8658" fmla="*/ 5996658 w 9586368"/>
              <a:gd name="connsiteY8658" fmla="*/ 243433 h 6479439"/>
              <a:gd name="connsiteX8659" fmla="*/ 5996658 w 9586368"/>
              <a:gd name="connsiteY8659" fmla="*/ 253303 h 6479439"/>
              <a:gd name="connsiteX8660" fmla="*/ 5992639 w 9586368"/>
              <a:gd name="connsiteY8660" fmla="*/ 257342 h 6479439"/>
              <a:gd name="connsiteX8661" fmla="*/ 5982729 w 9586368"/>
              <a:gd name="connsiteY8661" fmla="*/ 257342 h 6479439"/>
              <a:gd name="connsiteX8662" fmla="*/ 5978710 w 9586368"/>
              <a:gd name="connsiteY8662" fmla="*/ 253303 h 6479439"/>
              <a:gd name="connsiteX8663" fmla="*/ 5978710 w 9586368"/>
              <a:gd name="connsiteY8663" fmla="*/ 243433 h 6479439"/>
              <a:gd name="connsiteX8664" fmla="*/ 6939983 w 9586368"/>
              <a:gd name="connsiteY8664" fmla="*/ 239394 h 6479439"/>
              <a:gd name="connsiteX8665" fmla="*/ 6949894 w 9586368"/>
              <a:gd name="connsiteY8665" fmla="*/ 239394 h 6479439"/>
              <a:gd name="connsiteX8666" fmla="*/ 6953913 w 9586368"/>
              <a:gd name="connsiteY8666" fmla="*/ 243432 h 6479439"/>
              <a:gd name="connsiteX8667" fmla="*/ 6953913 w 9586368"/>
              <a:gd name="connsiteY8667" fmla="*/ 253303 h 6479439"/>
              <a:gd name="connsiteX8668" fmla="*/ 6949894 w 9586368"/>
              <a:gd name="connsiteY8668" fmla="*/ 257342 h 6479439"/>
              <a:gd name="connsiteX8669" fmla="*/ 6939983 w 9586368"/>
              <a:gd name="connsiteY8669" fmla="*/ 257342 h 6479439"/>
              <a:gd name="connsiteX8670" fmla="*/ 6935964 w 9586368"/>
              <a:gd name="connsiteY8670" fmla="*/ 253303 h 6479439"/>
              <a:gd name="connsiteX8671" fmla="*/ 6935964 w 9586368"/>
              <a:gd name="connsiteY8671" fmla="*/ 243432 h 6479439"/>
              <a:gd name="connsiteX8672" fmla="*/ 6700670 w 9586368"/>
              <a:gd name="connsiteY8672" fmla="*/ 239394 h 6479439"/>
              <a:gd name="connsiteX8673" fmla="*/ 6710581 w 9586368"/>
              <a:gd name="connsiteY8673" fmla="*/ 239394 h 6479439"/>
              <a:gd name="connsiteX8674" fmla="*/ 6714600 w 9586368"/>
              <a:gd name="connsiteY8674" fmla="*/ 243432 h 6479439"/>
              <a:gd name="connsiteX8675" fmla="*/ 6714600 w 9586368"/>
              <a:gd name="connsiteY8675" fmla="*/ 253303 h 6479439"/>
              <a:gd name="connsiteX8676" fmla="*/ 6710581 w 9586368"/>
              <a:gd name="connsiteY8676" fmla="*/ 257342 h 6479439"/>
              <a:gd name="connsiteX8677" fmla="*/ 6700670 w 9586368"/>
              <a:gd name="connsiteY8677" fmla="*/ 257342 h 6479439"/>
              <a:gd name="connsiteX8678" fmla="*/ 6696651 w 9586368"/>
              <a:gd name="connsiteY8678" fmla="*/ 253303 h 6479439"/>
              <a:gd name="connsiteX8679" fmla="*/ 6696651 w 9586368"/>
              <a:gd name="connsiteY8679" fmla="*/ 243432 h 6479439"/>
              <a:gd name="connsiteX8680" fmla="*/ 6461356 w 9586368"/>
              <a:gd name="connsiteY8680" fmla="*/ 239394 h 6479439"/>
              <a:gd name="connsiteX8681" fmla="*/ 6471266 w 9586368"/>
              <a:gd name="connsiteY8681" fmla="*/ 239394 h 6479439"/>
              <a:gd name="connsiteX8682" fmla="*/ 6475285 w 9586368"/>
              <a:gd name="connsiteY8682" fmla="*/ 243432 h 6479439"/>
              <a:gd name="connsiteX8683" fmla="*/ 6475285 w 9586368"/>
              <a:gd name="connsiteY8683" fmla="*/ 253303 h 6479439"/>
              <a:gd name="connsiteX8684" fmla="*/ 6471266 w 9586368"/>
              <a:gd name="connsiteY8684" fmla="*/ 257342 h 6479439"/>
              <a:gd name="connsiteX8685" fmla="*/ 6461356 w 9586368"/>
              <a:gd name="connsiteY8685" fmla="*/ 257342 h 6479439"/>
              <a:gd name="connsiteX8686" fmla="*/ 6457337 w 9586368"/>
              <a:gd name="connsiteY8686" fmla="*/ 253303 h 6479439"/>
              <a:gd name="connsiteX8687" fmla="*/ 6457337 w 9586368"/>
              <a:gd name="connsiteY8687" fmla="*/ 243432 h 6479439"/>
              <a:gd name="connsiteX8688" fmla="*/ 7418611 w 9586368"/>
              <a:gd name="connsiteY8688" fmla="*/ 239382 h 6479439"/>
              <a:gd name="connsiteX8689" fmla="*/ 7428521 w 9586368"/>
              <a:gd name="connsiteY8689" fmla="*/ 239382 h 6479439"/>
              <a:gd name="connsiteX8690" fmla="*/ 7432540 w 9586368"/>
              <a:gd name="connsiteY8690" fmla="*/ 243420 h 6479439"/>
              <a:gd name="connsiteX8691" fmla="*/ 7432540 w 9586368"/>
              <a:gd name="connsiteY8691" fmla="*/ 253291 h 6479439"/>
              <a:gd name="connsiteX8692" fmla="*/ 7428521 w 9586368"/>
              <a:gd name="connsiteY8692" fmla="*/ 257330 h 6479439"/>
              <a:gd name="connsiteX8693" fmla="*/ 7418611 w 9586368"/>
              <a:gd name="connsiteY8693" fmla="*/ 257330 h 6479439"/>
              <a:gd name="connsiteX8694" fmla="*/ 7414592 w 9586368"/>
              <a:gd name="connsiteY8694" fmla="*/ 253291 h 6479439"/>
              <a:gd name="connsiteX8695" fmla="*/ 7414592 w 9586368"/>
              <a:gd name="connsiteY8695" fmla="*/ 243420 h 6479439"/>
              <a:gd name="connsiteX8696" fmla="*/ 7179298 w 9586368"/>
              <a:gd name="connsiteY8696" fmla="*/ 239382 h 6479439"/>
              <a:gd name="connsiteX8697" fmla="*/ 7189209 w 9586368"/>
              <a:gd name="connsiteY8697" fmla="*/ 239382 h 6479439"/>
              <a:gd name="connsiteX8698" fmla="*/ 7193228 w 9586368"/>
              <a:gd name="connsiteY8698" fmla="*/ 243421 h 6479439"/>
              <a:gd name="connsiteX8699" fmla="*/ 7193228 w 9586368"/>
              <a:gd name="connsiteY8699" fmla="*/ 253292 h 6479439"/>
              <a:gd name="connsiteX8700" fmla="*/ 7189209 w 9586368"/>
              <a:gd name="connsiteY8700" fmla="*/ 257330 h 6479439"/>
              <a:gd name="connsiteX8701" fmla="*/ 7179298 w 9586368"/>
              <a:gd name="connsiteY8701" fmla="*/ 257330 h 6479439"/>
              <a:gd name="connsiteX8702" fmla="*/ 7175279 w 9586368"/>
              <a:gd name="connsiteY8702" fmla="*/ 253292 h 6479439"/>
              <a:gd name="connsiteX8703" fmla="*/ 7175279 w 9586368"/>
              <a:gd name="connsiteY8703" fmla="*/ 243421 h 6479439"/>
              <a:gd name="connsiteX8704" fmla="*/ 8136553 w 9586368"/>
              <a:gd name="connsiteY8704" fmla="*/ 239382 h 6479439"/>
              <a:gd name="connsiteX8705" fmla="*/ 8146464 w 9586368"/>
              <a:gd name="connsiteY8705" fmla="*/ 239382 h 6479439"/>
              <a:gd name="connsiteX8706" fmla="*/ 8150483 w 9586368"/>
              <a:gd name="connsiteY8706" fmla="*/ 243420 h 6479439"/>
              <a:gd name="connsiteX8707" fmla="*/ 8150483 w 9586368"/>
              <a:gd name="connsiteY8707" fmla="*/ 253291 h 6479439"/>
              <a:gd name="connsiteX8708" fmla="*/ 8146464 w 9586368"/>
              <a:gd name="connsiteY8708" fmla="*/ 257330 h 6479439"/>
              <a:gd name="connsiteX8709" fmla="*/ 8136553 w 9586368"/>
              <a:gd name="connsiteY8709" fmla="*/ 257330 h 6479439"/>
              <a:gd name="connsiteX8710" fmla="*/ 8132534 w 9586368"/>
              <a:gd name="connsiteY8710" fmla="*/ 253291 h 6479439"/>
              <a:gd name="connsiteX8711" fmla="*/ 8132534 w 9586368"/>
              <a:gd name="connsiteY8711" fmla="*/ 243420 h 6479439"/>
              <a:gd name="connsiteX8712" fmla="*/ 7897241 w 9586368"/>
              <a:gd name="connsiteY8712" fmla="*/ 239382 h 6479439"/>
              <a:gd name="connsiteX8713" fmla="*/ 7907151 w 9586368"/>
              <a:gd name="connsiteY8713" fmla="*/ 239382 h 6479439"/>
              <a:gd name="connsiteX8714" fmla="*/ 7911170 w 9586368"/>
              <a:gd name="connsiteY8714" fmla="*/ 243420 h 6479439"/>
              <a:gd name="connsiteX8715" fmla="*/ 7911170 w 9586368"/>
              <a:gd name="connsiteY8715" fmla="*/ 253291 h 6479439"/>
              <a:gd name="connsiteX8716" fmla="*/ 7907151 w 9586368"/>
              <a:gd name="connsiteY8716" fmla="*/ 257330 h 6479439"/>
              <a:gd name="connsiteX8717" fmla="*/ 7897241 w 9586368"/>
              <a:gd name="connsiteY8717" fmla="*/ 257330 h 6479439"/>
              <a:gd name="connsiteX8718" fmla="*/ 7893222 w 9586368"/>
              <a:gd name="connsiteY8718" fmla="*/ 253291 h 6479439"/>
              <a:gd name="connsiteX8719" fmla="*/ 7893222 w 9586368"/>
              <a:gd name="connsiteY8719" fmla="*/ 243420 h 6479439"/>
              <a:gd name="connsiteX8720" fmla="*/ 7657926 w 9586368"/>
              <a:gd name="connsiteY8720" fmla="*/ 239382 h 6479439"/>
              <a:gd name="connsiteX8721" fmla="*/ 7667836 w 9586368"/>
              <a:gd name="connsiteY8721" fmla="*/ 239382 h 6479439"/>
              <a:gd name="connsiteX8722" fmla="*/ 7671855 w 9586368"/>
              <a:gd name="connsiteY8722" fmla="*/ 243420 h 6479439"/>
              <a:gd name="connsiteX8723" fmla="*/ 7671855 w 9586368"/>
              <a:gd name="connsiteY8723" fmla="*/ 253291 h 6479439"/>
              <a:gd name="connsiteX8724" fmla="*/ 7667836 w 9586368"/>
              <a:gd name="connsiteY8724" fmla="*/ 257330 h 6479439"/>
              <a:gd name="connsiteX8725" fmla="*/ 7657926 w 9586368"/>
              <a:gd name="connsiteY8725" fmla="*/ 257330 h 6479439"/>
              <a:gd name="connsiteX8726" fmla="*/ 7653906 w 9586368"/>
              <a:gd name="connsiteY8726" fmla="*/ 253291 h 6479439"/>
              <a:gd name="connsiteX8727" fmla="*/ 7653906 w 9586368"/>
              <a:gd name="connsiteY8727" fmla="*/ 243420 h 6479439"/>
              <a:gd name="connsiteX8728" fmla="*/ 1679220 w 9586368"/>
              <a:gd name="connsiteY8728" fmla="*/ 239371 h 6479439"/>
              <a:gd name="connsiteX8729" fmla="*/ 1689131 w 9586368"/>
              <a:gd name="connsiteY8729" fmla="*/ 239371 h 6479439"/>
              <a:gd name="connsiteX8730" fmla="*/ 1693150 w 9586368"/>
              <a:gd name="connsiteY8730" fmla="*/ 243409 h 6479439"/>
              <a:gd name="connsiteX8731" fmla="*/ 1693150 w 9586368"/>
              <a:gd name="connsiteY8731" fmla="*/ 253280 h 6479439"/>
              <a:gd name="connsiteX8732" fmla="*/ 1689131 w 9586368"/>
              <a:gd name="connsiteY8732" fmla="*/ 257319 h 6479439"/>
              <a:gd name="connsiteX8733" fmla="*/ 1679220 w 9586368"/>
              <a:gd name="connsiteY8733" fmla="*/ 257319 h 6479439"/>
              <a:gd name="connsiteX8734" fmla="*/ 1675202 w 9586368"/>
              <a:gd name="connsiteY8734" fmla="*/ 253280 h 6479439"/>
              <a:gd name="connsiteX8735" fmla="*/ 1675202 w 9586368"/>
              <a:gd name="connsiteY8735" fmla="*/ 243409 h 6479439"/>
              <a:gd name="connsiteX8736" fmla="*/ 1439902 w 9586368"/>
              <a:gd name="connsiteY8736" fmla="*/ 239371 h 6479439"/>
              <a:gd name="connsiteX8737" fmla="*/ 1449813 w 9586368"/>
              <a:gd name="connsiteY8737" fmla="*/ 239371 h 6479439"/>
              <a:gd name="connsiteX8738" fmla="*/ 1453832 w 9586368"/>
              <a:gd name="connsiteY8738" fmla="*/ 243409 h 6479439"/>
              <a:gd name="connsiteX8739" fmla="*/ 1453832 w 9586368"/>
              <a:gd name="connsiteY8739" fmla="*/ 253280 h 6479439"/>
              <a:gd name="connsiteX8740" fmla="*/ 1449813 w 9586368"/>
              <a:gd name="connsiteY8740" fmla="*/ 257319 h 6479439"/>
              <a:gd name="connsiteX8741" fmla="*/ 1439902 w 9586368"/>
              <a:gd name="connsiteY8741" fmla="*/ 257319 h 6479439"/>
              <a:gd name="connsiteX8742" fmla="*/ 1435884 w 9586368"/>
              <a:gd name="connsiteY8742" fmla="*/ 253280 h 6479439"/>
              <a:gd name="connsiteX8743" fmla="*/ 1435884 w 9586368"/>
              <a:gd name="connsiteY8743" fmla="*/ 243409 h 6479439"/>
              <a:gd name="connsiteX8744" fmla="*/ 1200587 w 9586368"/>
              <a:gd name="connsiteY8744" fmla="*/ 239371 h 6479439"/>
              <a:gd name="connsiteX8745" fmla="*/ 1210496 w 9586368"/>
              <a:gd name="connsiteY8745" fmla="*/ 239371 h 6479439"/>
              <a:gd name="connsiteX8746" fmla="*/ 1214515 w 9586368"/>
              <a:gd name="connsiteY8746" fmla="*/ 243409 h 6479439"/>
              <a:gd name="connsiteX8747" fmla="*/ 1214515 w 9586368"/>
              <a:gd name="connsiteY8747" fmla="*/ 253280 h 6479439"/>
              <a:gd name="connsiteX8748" fmla="*/ 1210496 w 9586368"/>
              <a:gd name="connsiteY8748" fmla="*/ 257319 h 6479439"/>
              <a:gd name="connsiteX8749" fmla="*/ 1200587 w 9586368"/>
              <a:gd name="connsiteY8749" fmla="*/ 257319 h 6479439"/>
              <a:gd name="connsiteX8750" fmla="*/ 1196567 w 9586368"/>
              <a:gd name="connsiteY8750" fmla="*/ 253280 h 6479439"/>
              <a:gd name="connsiteX8751" fmla="*/ 1196567 w 9586368"/>
              <a:gd name="connsiteY8751" fmla="*/ 243409 h 6479439"/>
              <a:gd name="connsiteX8752" fmla="*/ 961273 w 9586368"/>
              <a:gd name="connsiteY8752" fmla="*/ 239371 h 6479439"/>
              <a:gd name="connsiteX8753" fmla="*/ 971184 w 9586368"/>
              <a:gd name="connsiteY8753" fmla="*/ 239371 h 6479439"/>
              <a:gd name="connsiteX8754" fmla="*/ 975203 w 9586368"/>
              <a:gd name="connsiteY8754" fmla="*/ 243409 h 6479439"/>
              <a:gd name="connsiteX8755" fmla="*/ 975203 w 9586368"/>
              <a:gd name="connsiteY8755" fmla="*/ 253280 h 6479439"/>
              <a:gd name="connsiteX8756" fmla="*/ 971184 w 9586368"/>
              <a:gd name="connsiteY8756" fmla="*/ 257319 h 6479439"/>
              <a:gd name="connsiteX8757" fmla="*/ 961273 w 9586368"/>
              <a:gd name="connsiteY8757" fmla="*/ 257319 h 6479439"/>
              <a:gd name="connsiteX8758" fmla="*/ 957255 w 9586368"/>
              <a:gd name="connsiteY8758" fmla="*/ 253280 h 6479439"/>
              <a:gd name="connsiteX8759" fmla="*/ 957255 w 9586368"/>
              <a:gd name="connsiteY8759" fmla="*/ 243409 h 6479439"/>
              <a:gd name="connsiteX8760" fmla="*/ 8615184 w 9586368"/>
              <a:gd name="connsiteY8760" fmla="*/ 239370 h 6479439"/>
              <a:gd name="connsiteX8761" fmla="*/ 8625095 w 9586368"/>
              <a:gd name="connsiteY8761" fmla="*/ 239370 h 6479439"/>
              <a:gd name="connsiteX8762" fmla="*/ 8629114 w 9586368"/>
              <a:gd name="connsiteY8762" fmla="*/ 243408 h 6479439"/>
              <a:gd name="connsiteX8763" fmla="*/ 8629114 w 9586368"/>
              <a:gd name="connsiteY8763" fmla="*/ 253278 h 6479439"/>
              <a:gd name="connsiteX8764" fmla="*/ 8625095 w 9586368"/>
              <a:gd name="connsiteY8764" fmla="*/ 257317 h 6479439"/>
              <a:gd name="connsiteX8765" fmla="*/ 8615184 w 9586368"/>
              <a:gd name="connsiteY8765" fmla="*/ 257317 h 6479439"/>
              <a:gd name="connsiteX8766" fmla="*/ 8611165 w 9586368"/>
              <a:gd name="connsiteY8766" fmla="*/ 253278 h 6479439"/>
              <a:gd name="connsiteX8767" fmla="*/ 8611165 w 9586368"/>
              <a:gd name="connsiteY8767" fmla="*/ 243408 h 6479439"/>
              <a:gd name="connsiteX8768" fmla="*/ 8375869 w 9586368"/>
              <a:gd name="connsiteY8768" fmla="*/ 239370 h 6479439"/>
              <a:gd name="connsiteX8769" fmla="*/ 8385779 w 9586368"/>
              <a:gd name="connsiteY8769" fmla="*/ 239370 h 6479439"/>
              <a:gd name="connsiteX8770" fmla="*/ 8389799 w 9586368"/>
              <a:gd name="connsiteY8770" fmla="*/ 243408 h 6479439"/>
              <a:gd name="connsiteX8771" fmla="*/ 8389799 w 9586368"/>
              <a:gd name="connsiteY8771" fmla="*/ 253279 h 6479439"/>
              <a:gd name="connsiteX8772" fmla="*/ 8385779 w 9586368"/>
              <a:gd name="connsiteY8772" fmla="*/ 257318 h 6479439"/>
              <a:gd name="connsiteX8773" fmla="*/ 8375869 w 9586368"/>
              <a:gd name="connsiteY8773" fmla="*/ 257318 h 6479439"/>
              <a:gd name="connsiteX8774" fmla="*/ 8371850 w 9586368"/>
              <a:gd name="connsiteY8774" fmla="*/ 253279 h 6479439"/>
              <a:gd name="connsiteX8775" fmla="*/ 8371850 w 9586368"/>
              <a:gd name="connsiteY8775" fmla="*/ 243408 h 6479439"/>
              <a:gd name="connsiteX8776" fmla="*/ 9333125 w 9586368"/>
              <a:gd name="connsiteY8776" fmla="*/ 239369 h 6479439"/>
              <a:gd name="connsiteX8777" fmla="*/ 9343036 w 9586368"/>
              <a:gd name="connsiteY8777" fmla="*/ 239369 h 6479439"/>
              <a:gd name="connsiteX8778" fmla="*/ 9347055 w 9586368"/>
              <a:gd name="connsiteY8778" fmla="*/ 243407 h 6479439"/>
              <a:gd name="connsiteX8779" fmla="*/ 9347055 w 9586368"/>
              <a:gd name="connsiteY8779" fmla="*/ 253278 h 6479439"/>
              <a:gd name="connsiteX8780" fmla="*/ 9343036 w 9586368"/>
              <a:gd name="connsiteY8780" fmla="*/ 257317 h 6479439"/>
              <a:gd name="connsiteX8781" fmla="*/ 9333125 w 9586368"/>
              <a:gd name="connsiteY8781" fmla="*/ 257317 h 6479439"/>
              <a:gd name="connsiteX8782" fmla="*/ 9329106 w 9586368"/>
              <a:gd name="connsiteY8782" fmla="*/ 253278 h 6479439"/>
              <a:gd name="connsiteX8783" fmla="*/ 9329106 w 9586368"/>
              <a:gd name="connsiteY8783" fmla="*/ 243407 h 6479439"/>
              <a:gd name="connsiteX8784" fmla="*/ 9093811 w 9586368"/>
              <a:gd name="connsiteY8784" fmla="*/ 239369 h 6479439"/>
              <a:gd name="connsiteX8785" fmla="*/ 9103722 w 9586368"/>
              <a:gd name="connsiteY8785" fmla="*/ 239369 h 6479439"/>
              <a:gd name="connsiteX8786" fmla="*/ 9107741 w 9586368"/>
              <a:gd name="connsiteY8786" fmla="*/ 243407 h 6479439"/>
              <a:gd name="connsiteX8787" fmla="*/ 9107741 w 9586368"/>
              <a:gd name="connsiteY8787" fmla="*/ 253278 h 6479439"/>
              <a:gd name="connsiteX8788" fmla="*/ 9103722 w 9586368"/>
              <a:gd name="connsiteY8788" fmla="*/ 257317 h 6479439"/>
              <a:gd name="connsiteX8789" fmla="*/ 9093811 w 9586368"/>
              <a:gd name="connsiteY8789" fmla="*/ 257317 h 6479439"/>
              <a:gd name="connsiteX8790" fmla="*/ 9089792 w 9586368"/>
              <a:gd name="connsiteY8790" fmla="*/ 253278 h 6479439"/>
              <a:gd name="connsiteX8791" fmla="*/ 9089792 w 9586368"/>
              <a:gd name="connsiteY8791" fmla="*/ 243407 h 6479439"/>
              <a:gd name="connsiteX8792" fmla="*/ 8854496 w 9586368"/>
              <a:gd name="connsiteY8792" fmla="*/ 239369 h 6479439"/>
              <a:gd name="connsiteX8793" fmla="*/ 8864407 w 9586368"/>
              <a:gd name="connsiteY8793" fmla="*/ 239369 h 6479439"/>
              <a:gd name="connsiteX8794" fmla="*/ 8868426 w 9586368"/>
              <a:gd name="connsiteY8794" fmla="*/ 243407 h 6479439"/>
              <a:gd name="connsiteX8795" fmla="*/ 8868426 w 9586368"/>
              <a:gd name="connsiteY8795" fmla="*/ 253278 h 6479439"/>
              <a:gd name="connsiteX8796" fmla="*/ 8864407 w 9586368"/>
              <a:gd name="connsiteY8796" fmla="*/ 257317 h 6479439"/>
              <a:gd name="connsiteX8797" fmla="*/ 8854496 w 9586368"/>
              <a:gd name="connsiteY8797" fmla="*/ 257317 h 6479439"/>
              <a:gd name="connsiteX8798" fmla="*/ 8850477 w 9586368"/>
              <a:gd name="connsiteY8798" fmla="*/ 253278 h 6479439"/>
              <a:gd name="connsiteX8799" fmla="*/ 8850477 w 9586368"/>
              <a:gd name="connsiteY8799" fmla="*/ 243407 h 6479439"/>
              <a:gd name="connsiteX8800" fmla="*/ 1918515 w 9586368"/>
              <a:gd name="connsiteY8800" fmla="*/ 239361 h 6479439"/>
              <a:gd name="connsiteX8801" fmla="*/ 1928425 w 9586368"/>
              <a:gd name="connsiteY8801" fmla="*/ 239361 h 6479439"/>
              <a:gd name="connsiteX8802" fmla="*/ 1932444 w 9586368"/>
              <a:gd name="connsiteY8802" fmla="*/ 243400 h 6479439"/>
              <a:gd name="connsiteX8803" fmla="*/ 1932444 w 9586368"/>
              <a:gd name="connsiteY8803" fmla="*/ 253271 h 6479439"/>
              <a:gd name="connsiteX8804" fmla="*/ 1928425 w 9586368"/>
              <a:gd name="connsiteY8804" fmla="*/ 257310 h 6479439"/>
              <a:gd name="connsiteX8805" fmla="*/ 1918515 w 9586368"/>
              <a:gd name="connsiteY8805" fmla="*/ 257310 h 6479439"/>
              <a:gd name="connsiteX8806" fmla="*/ 1914495 w 9586368"/>
              <a:gd name="connsiteY8806" fmla="*/ 253271 h 6479439"/>
              <a:gd name="connsiteX8807" fmla="*/ 1914495 w 9586368"/>
              <a:gd name="connsiteY8807" fmla="*/ 243400 h 6479439"/>
              <a:gd name="connsiteX8808" fmla="*/ 2157824 w 9586368"/>
              <a:gd name="connsiteY8808" fmla="*/ 239359 h 6479439"/>
              <a:gd name="connsiteX8809" fmla="*/ 2167734 w 9586368"/>
              <a:gd name="connsiteY8809" fmla="*/ 239359 h 6479439"/>
              <a:gd name="connsiteX8810" fmla="*/ 2171753 w 9586368"/>
              <a:gd name="connsiteY8810" fmla="*/ 243397 h 6479439"/>
              <a:gd name="connsiteX8811" fmla="*/ 2171753 w 9586368"/>
              <a:gd name="connsiteY8811" fmla="*/ 253268 h 6479439"/>
              <a:gd name="connsiteX8812" fmla="*/ 2167734 w 9586368"/>
              <a:gd name="connsiteY8812" fmla="*/ 257307 h 6479439"/>
              <a:gd name="connsiteX8813" fmla="*/ 2157824 w 9586368"/>
              <a:gd name="connsiteY8813" fmla="*/ 257307 h 6479439"/>
              <a:gd name="connsiteX8814" fmla="*/ 2153804 w 9586368"/>
              <a:gd name="connsiteY8814" fmla="*/ 253268 h 6479439"/>
              <a:gd name="connsiteX8815" fmla="*/ 2153804 w 9586368"/>
              <a:gd name="connsiteY8815" fmla="*/ 243397 h 6479439"/>
              <a:gd name="connsiteX8816" fmla="*/ 9572438 w 9586368"/>
              <a:gd name="connsiteY8816" fmla="*/ 239357 h 6479439"/>
              <a:gd name="connsiteX8817" fmla="*/ 9582349 w 9586368"/>
              <a:gd name="connsiteY8817" fmla="*/ 239357 h 6479439"/>
              <a:gd name="connsiteX8818" fmla="*/ 9586368 w 9586368"/>
              <a:gd name="connsiteY8818" fmla="*/ 243395 h 6479439"/>
              <a:gd name="connsiteX8819" fmla="*/ 9586368 w 9586368"/>
              <a:gd name="connsiteY8819" fmla="*/ 253267 h 6479439"/>
              <a:gd name="connsiteX8820" fmla="*/ 9582349 w 9586368"/>
              <a:gd name="connsiteY8820" fmla="*/ 257306 h 6479439"/>
              <a:gd name="connsiteX8821" fmla="*/ 9572438 w 9586368"/>
              <a:gd name="connsiteY8821" fmla="*/ 257306 h 6479439"/>
              <a:gd name="connsiteX8822" fmla="*/ 9568419 w 9586368"/>
              <a:gd name="connsiteY8822" fmla="*/ 253267 h 6479439"/>
              <a:gd name="connsiteX8823" fmla="*/ 9568419 w 9586368"/>
              <a:gd name="connsiteY8823" fmla="*/ 243395 h 6479439"/>
              <a:gd name="connsiteX8824" fmla="*/ 721976 w 9586368"/>
              <a:gd name="connsiteY8824" fmla="*/ 239330 h 6479439"/>
              <a:gd name="connsiteX8825" fmla="*/ 731887 w 9586368"/>
              <a:gd name="connsiteY8825" fmla="*/ 239330 h 6479439"/>
              <a:gd name="connsiteX8826" fmla="*/ 735906 w 9586368"/>
              <a:gd name="connsiteY8826" fmla="*/ 243368 h 6479439"/>
              <a:gd name="connsiteX8827" fmla="*/ 735906 w 9586368"/>
              <a:gd name="connsiteY8827" fmla="*/ 253239 h 6479439"/>
              <a:gd name="connsiteX8828" fmla="*/ 731887 w 9586368"/>
              <a:gd name="connsiteY8828" fmla="*/ 257278 h 6479439"/>
              <a:gd name="connsiteX8829" fmla="*/ 721976 w 9586368"/>
              <a:gd name="connsiteY8829" fmla="*/ 257278 h 6479439"/>
              <a:gd name="connsiteX8830" fmla="*/ 717958 w 9586368"/>
              <a:gd name="connsiteY8830" fmla="*/ 253239 h 6479439"/>
              <a:gd name="connsiteX8831" fmla="*/ 717958 w 9586368"/>
              <a:gd name="connsiteY8831" fmla="*/ 243368 h 6479439"/>
              <a:gd name="connsiteX8832" fmla="*/ 482664 w 9586368"/>
              <a:gd name="connsiteY8832" fmla="*/ 239330 h 6479439"/>
              <a:gd name="connsiteX8833" fmla="*/ 492575 w 9586368"/>
              <a:gd name="connsiteY8833" fmla="*/ 239330 h 6479439"/>
              <a:gd name="connsiteX8834" fmla="*/ 496594 w 9586368"/>
              <a:gd name="connsiteY8834" fmla="*/ 243368 h 6479439"/>
              <a:gd name="connsiteX8835" fmla="*/ 496594 w 9586368"/>
              <a:gd name="connsiteY8835" fmla="*/ 253239 h 6479439"/>
              <a:gd name="connsiteX8836" fmla="*/ 492575 w 9586368"/>
              <a:gd name="connsiteY8836" fmla="*/ 257278 h 6479439"/>
              <a:gd name="connsiteX8837" fmla="*/ 482664 w 9586368"/>
              <a:gd name="connsiteY8837" fmla="*/ 257278 h 6479439"/>
              <a:gd name="connsiteX8838" fmla="*/ 478645 w 9586368"/>
              <a:gd name="connsiteY8838" fmla="*/ 253239 h 6479439"/>
              <a:gd name="connsiteX8839" fmla="*/ 478645 w 9586368"/>
              <a:gd name="connsiteY8839" fmla="*/ 243368 h 6479439"/>
              <a:gd name="connsiteX8840" fmla="*/ 243350 w 9586368"/>
              <a:gd name="connsiteY8840" fmla="*/ 239330 h 6479439"/>
              <a:gd name="connsiteX8841" fmla="*/ 253261 w 9586368"/>
              <a:gd name="connsiteY8841" fmla="*/ 239330 h 6479439"/>
              <a:gd name="connsiteX8842" fmla="*/ 257280 w 9586368"/>
              <a:gd name="connsiteY8842" fmla="*/ 243368 h 6479439"/>
              <a:gd name="connsiteX8843" fmla="*/ 257280 w 9586368"/>
              <a:gd name="connsiteY8843" fmla="*/ 253239 h 6479439"/>
              <a:gd name="connsiteX8844" fmla="*/ 253261 w 9586368"/>
              <a:gd name="connsiteY8844" fmla="*/ 257278 h 6479439"/>
              <a:gd name="connsiteX8845" fmla="*/ 243350 w 9586368"/>
              <a:gd name="connsiteY8845" fmla="*/ 257278 h 6479439"/>
              <a:gd name="connsiteX8846" fmla="*/ 239332 w 9586368"/>
              <a:gd name="connsiteY8846" fmla="*/ 253239 h 6479439"/>
              <a:gd name="connsiteX8847" fmla="*/ 239332 w 9586368"/>
              <a:gd name="connsiteY8847" fmla="*/ 243368 h 6479439"/>
              <a:gd name="connsiteX8848" fmla="*/ 4037 w 9586368"/>
              <a:gd name="connsiteY8848" fmla="*/ 239330 h 6479439"/>
              <a:gd name="connsiteX8849" fmla="*/ 13948 w 9586368"/>
              <a:gd name="connsiteY8849" fmla="*/ 239330 h 6479439"/>
              <a:gd name="connsiteX8850" fmla="*/ 17967 w 9586368"/>
              <a:gd name="connsiteY8850" fmla="*/ 243368 h 6479439"/>
              <a:gd name="connsiteX8851" fmla="*/ 17967 w 9586368"/>
              <a:gd name="connsiteY8851" fmla="*/ 253239 h 6479439"/>
              <a:gd name="connsiteX8852" fmla="*/ 13948 w 9586368"/>
              <a:gd name="connsiteY8852" fmla="*/ 257278 h 6479439"/>
              <a:gd name="connsiteX8853" fmla="*/ 4037 w 9586368"/>
              <a:gd name="connsiteY8853" fmla="*/ 257278 h 6479439"/>
              <a:gd name="connsiteX8854" fmla="*/ 18 w 9586368"/>
              <a:gd name="connsiteY8854" fmla="*/ 253239 h 6479439"/>
              <a:gd name="connsiteX8855" fmla="*/ 18 w 9586368"/>
              <a:gd name="connsiteY8855" fmla="*/ 243368 h 6479439"/>
              <a:gd name="connsiteX8856" fmla="*/ 3111048 w 9586368"/>
              <a:gd name="connsiteY8856" fmla="*/ 106 h 6479439"/>
              <a:gd name="connsiteX8857" fmla="*/ 3120959 w 9586368"/>
              <a:gd name="connsiteY8857" fmla="*/ 106 h 6479439"/>
              <a:gd name="connsiteX8858" fmla="*/ 3124977 w 9586368"/>
              <a:gd name="connsiteY8858" fmla="*/ 4144 h 6479439"/>
              <a:gd name="connsiteX8859" fmla="*/ 3124977 w 9586368"/>
              <a:gd name="connsiteY8859" fmla="*/ 14015 h 6479439"/>
              <a:gd name="connsiteX8860" fmla="*/ 3120959 w 9586368"/>
              <a:gd name="connsiteY8860" fmla="*/ 18054 h 6479439"/>
              <a:gd name="connsiteX8861" fmla="*/ 3111048 w 9586368"/>
              <a:gd name="connsiteY8861" fmla="*/ 18054 h 6479439"/>
              <a:gd name="connsiteX8862" fmla="*/ 3107029 w 9586368"/>
              <a:gd name="connsiteY8862" fmla="*/ 14015 h 6479439"/>
              <a:gd name="connsiteX8863" fmla="*/ 3107029 w 9586368"/>
              <a:gd name="connsiteY8863" fmla="*/ 4144 h 6479439"/>
              <a:gd name="connsiteX8864" fmla="*/ 2871737 w 9586368"/>
              <a:gd name="connsiteY8864" fmla="*/ 106 h 6479439"/>
              <a:gd name="connsiteX8865" fmla="*/ 2881646 w 9586368"/>
              <a:gd name="connsiteY8865" fmla="*/ 106 h 6479439"/>
              <a:gd name="connsiteX8866" fmla="*/ 2885666 w 9586368"/>
              <a:gd name="connsiteY8866" fmla="*/ 4145 h 6479439"/>
              <a:gd name="connsiteX8867" fmla="*/ 2885666 w 9586368"/>
              <a:gd name="connsiteY8867" fmla="*/ 14015 h 6479439"/>
              <a:gd name="connsiteX8868" fmla="*/ 2881646 w 9586368"/>
              <a:gd name="connsiteY8868" fmla="*/ 18054 h 6479439"/>
              <a:gd name="connsiteX8869" fmla="*/ 2871737 w 9586368"/>
              <a:gd name="connsiteY8869" fmla="*/ 18054 h 6479439"/>
              <a:gd name="connsiteX8870" fmla="*/ 2867717 w 9586368"/>
              <a:gd name="connsiteY8870" fmla="*/ 14015 h 6479439"/>
              <a:gd name="connsiteX8871" fmla="*/ 2867717 w 9586368"/>
              <a:gd name="connsiteY8871" fmla="*/ 4145 h 6479439"/>
              <a:gd name="connsiteX8872" fmla="*/ 2632423 w 9586368"/>
              <a:gd name="connsiteY8872" fmla="*/ 106 h 6479439"/>
              <a:gd name="connsiteX8873" fmla="*/ 2642334 w 9586368"/>
              <a:gd name="connsiteY8873" fmla="*/ 106 h 6479439"/>
              <a:gd name="connsiteX8874" fmla="*/ 2646352 w 9586368"/>
              <a:gd name="connsiteY8874" fmla="*/ 4145 h 6479439"/>
              <a:gd name="connsiteX8875" fmla="*/ 2646352 w 9586368"/>
              <a:gd name="connsiteY8875" fmla="*/ 14016 h 6479439"/>
              <a:gd name="connsiteX8876" fmla="*/ 2642334 w 9586368"/>
              <a:gd name="connsiteY8876" fmla="*/ 18055 h 6479439"/>
              <a:gd name="connsiteX8877" fmla="*/ 2632423 w 9586368"/>
              <a:gd name="connsiteY8877" fmla="*/ 18055 h 6479439"/>
              <a:gd name="connsiteX8878" fmla="*/ 2628404 w 9586368"/>
              <a:gd name="connsiteY8878" fmla="*/ 14016 h 6479439"/>
              <a:gd name="connsiteX8879" fmla="*/ 2628404 w 9586368"/>
              <a:gd name="connsiteY8879" fmla="*/ 4145 h 6479439"/>
              <a:gd name="connsiteX8880" fmla="*/ 2393104 w 9586368"/>
              <a:gd name="connsiteY8880" fmla="*/ 106 h 6479439"/>
              <a:gd name="connsiteX8881" fmla="*/ 2403015 w 9586368"/>
              <a:gd name="connsiteY8881" fmla="*/ 106 h 6479439"/>
              <a:gd name="connsiteX8882" fmla="*/ 2407034 w 9586368"/>
              <a:gd name="connsiteY8882" fmla="*/ 4145 h 6479439"/>
              <a:gd name="connsiteX8883" fmla="*/ 2407034 w 9586368"/>
              <a:gd name="connsiteY8883" fmla="*/ 14016 h 6479439"/>
              <a:gd name="connsiteX8884" fmla="*/ 2403015 w 9586368"/>
              <a:gd name="connsiteY8884" fmla="*/ 18055 h 6479439"/>
              <a:gd name="connsiteX8885" fmla="*/ 2393104 w 9586368"/>
              <a:gd name="connsiteY8885" fmla="*/ 18055 h 6479439"/>
              <a:gd name="connsiteX8886" fmla="*/ 2389087 w 9586368"/>
              <a:gd name="connsiteY8886" fmla="*/ 14016 h 6479439"/>
              <a:gd name="connsiteX8887" fmla="*/ 2389087 w 9586368"/>
              <a:gd name="connsiteY8887" fmla="*/ 4145 h 6479439"/>
              <a:gd name="connsiteX8888" fmla="*/ 3350359 w 9586368"/>
              <a:gd name="connsiteY8888" fmla="*/ 106 h 6479439"/>
              <a:gd name="connsiteX8889" fmla="*/ 3360268 w 9586368"/>
              <a:gd name="connsiteY8889" fmla="*/ 106 h 6479439"/>
              <a:gd name="connsiteX8890" fmla="*/ 3364287 w 9586368"/>
              <a:gd name="connsiteY8890" fmla="*/ 4144 h 6479439"/>
              <a:gd name="connsiteX8891" fmla="*/ 3364287 w 9586368"/>
              <a:gd name="connsiteY8891" fmla="*/ 14015 h 6479439"/>
              <a:gd name="connsiteX8892" fmla="*/ 3360268 w 9586368"/>
              <a:gd name="connsiteY8892" fmla="*/ 18054 h 6479439"/>
              <a:gd name="connsiteX8893" fmla="*/ 3350359 w 9586368"/>
              <a:gd name="connsiteY8893" fmla="*/ 18054 h 6479439"/>
              <a:gd name="connsiteX8894" fmla="*/ 3346340 w 9586368"/>
              <a:gd name="connsiteY8894" fmla="*/ 14015 h 6479439"/>
              <a:gd name="connsiteX8895" fmla="*/ 3346340 w 9586368"/>
              <a:gd name="connsiteY8895" fmla="*/ 4144 h 6479439"/>
              <a:gd name="connsiteX8896" fmla="*/ 4546929 w 9586368"/>
              <a:gd name="connsiteY8896" fmla="*/ 93 h 6479439"/>
              <a:gd name="connsiteX8897" fmla="*/ 4556840 w 9586368"/>
              <a:gd name="connsiteY8897" fmla="*/ 93 h 6479439"/>
              <a:gd name="connsiteX8898" fmla="*/ 4560859 w 9586368"/>
              <a:gd name="connsiteY8898" fmla="*/ 4132 h 6479439"/>
              <a:gd name="connsiteX8899" fmla="*/ 4560859 w 9586368"/>
              <a:gd name="connsiteY8899" fmla="*/ 14002 h 6479439"/>
              <a:gd name="connsiteX8900" fmla="*/ 4556840 w 9586368"/>
              <a:gd name="connsiteY8900" fmla="*/ 18041 h 6479439"/>
              <a:gd name="connsiteX8901" fmla="*/ 4546929 w 9586368"/>
              <a:gd name="connsiteY8901" fmla="*/ 18041 h 6479439"/>
              <a:gd name="connsiteX8902" fmla="*/ 4542910 w 9586368"/>
              <a:gd name="connsiteY8902" fmla="*/ 14002 h 6479439"/>
              <a:gd name="connsiteX8903" fmla="*/ 4542910 w 9586368"/>
              <a:gd name="connsiteY8903" fmla="*/ 4132 h 6479439"/>
              <a:gd name="connsiteX8904" fmla="*/ 4307612 w 9586368"/>
              <a:gd name="connsiteY8904" fmla="*/ 93 h 6479439"/>
              <a:gd name="connsiteX8905" fmla="*/ 4317523 w 9586368"/>
              <a:gd name="connsiteY8905" fmla="*/ 93 h 6479439"/>
              <a:gd name="connsiteX8906" fmla="*/ 4321543 w 9586368"/>
              <a:gd name="connsiteY8906" fmla="*/ 4132 h 6479439"/>
              <a:gd name="connsiteX8907" fmla="*/ 4321543 w 9586368"/>
              <a:gd name="connsiteY8907" fmla="*/ 14003 h 6479439"/>
              <a:gd name="connsiteX8908" fmla="*/ 4317523 w 9586368"/>
              <a:gd name="connsiteY8908" fmla="*/ 18042 h 6479439"/>
              <a:gd name="connsiteX8909" fmla="*/ 4307612 w 9586368"/>
              <a:gd name="connsiteY8909" fmla="*/ 18042 h 6479439"/>
              <a:gd name="connsiteX8910" fmla="*/ 4303595 w 9586368"/>
              <a:gd name="connsiteY8910" fmla="*/ 14003 h 6479439"/>
              <a:gd name="connsiteX8911" fmla="*/ 4303595 w 9586368"/>
              <a:gd name="connsiteY8911" fmla="*/ 4132 h 6479439"/>
              <a:gd name="connsiteX8912" fmla="*/ 4068297 w 9586368"/>
              <a:gd name="connsiteY8912" fmla="*/ 93 h 6479439"/>
              <a:gd name="connsiteX8913" fmla="*/ 4078210 w 9586368"/>
              <a:gd name="connsiteY8913" fmla="*/ 93 h 6479439"/>
              <a:gd name="connsiteX8914" fmla="*/ 4082229 w 9586368"/>
              <a:gd name="connsiteY8914" fmla="*/ 4132 h 6479439"/>
              <a:gd name="connsiteX8915" fmla="*/ 4082229 w 9586368"/>
              <a:gd name="connsiteY8915" fmla="*/ 14003 h 6479439"/>
              <a:gd name="connsiteX8916" fmla="*/ 4078210 w 9586368"/>
              <a:gd name="connsiteY8916" fmla="*/ 18042 h 6479439"/>
              <a:gd name="connsiteX8917" fmla="*/ 4068297 w 9586368"/>
              <a:gd name="connsiteY8917" fmla="*/ 18042 h 6479439"/>
              <a:gd name="connsiteX8918" fmla="*/ 4064278 w 9586368"/>
              <a:gd name="connsiteY8918" fmla="*/ 14003 h 6479439"/>
              <a:gd name="connsiteX8919" fmla="*/ 4064278 w 9586368"/>
              <a:gd name="connsiteY8919" fmla="*/ 4132 h 6479439"/>
              <a:gd name="connsiteX8920" fmla="*/ 3828990 w 9586368"/>
              <a:gd name="connsiteY8920" fmla="*/ 93 h 6479439"/>
              <a:gd name="connsiteX8921" fmla="*/ 3838899 w 9586368"/>
              <a:gd name="connsiteY8921" fmla="*/ 93 h 6479439"/>
              <a:gd name="connsiteX8922" fmla="*/ 3842917 w 9586368"/>
              <a:gd name="connsiteY8922" fmla="*/ 4132 h 6479439"/>
              <a:gd name="connsiteX8923" fmla="*/ 3842917 w 9586368"/>
              <a:gd name="connsiteY8923" fmla="*/ 14003 h 6479439"/>
              <a:gd name="connsiteX8924" fmla="*/ 3838899 w 9586368"/>
              <a:gd name="connsiteY8924" fmla="*/ 18042 h 6479439"/>
              <a:gd name="connsiteX8925" fmla="*/ 3828990 w 9586368"/>
              <a:gd name="connsiteY8925" fmla="*/ 18042 h 6479439"/>
              <a:gd name="connsiteX8926" fmla="*/ 3824971 w 9586368"/>
              <a:gd name="connsiteY8926" fmla="*/ 14003 h 6479439"/>
              <a:gd name="connsiteX8927" fmla="*/ 3824971 w 9586368"/>
              <a:gd name="connsiteY8927" fmla="*/ 4132 h 6479439"/>
              <a:gd name="connsiteX8928" fmla="*/ 3589676 w 9586368"/>
              <a:gd name="connsiteY8928" fmla="*/ 93 h 6479439"/>
              <a:gd name="connsiteX8929" fmla="*/ 3599585 w 9586368"/>
              <a:gd name="connsiteY8929" fmla="*/ 93 h 6479439"/>
              <a:gd name="connsiteX8930" fmla="*/ 3603604 w 9586368"/>
              <a:gd name="connsiteY8930" fmla="*/ 4132 h 6479439"/>
              <a:gd name="connsiteX8931" fmla="*/ 3603604 w 9586368"/>
              <a:gd name="connsiteY8931" fmla="*/ 14003 h 6479439"/>
              <a:gd name="connsiteX8932" fmla="*/ 3599585 w 9586368"/>
              <a:gd name="connsiteY8932" fmla="*/ 18042 h 6479439"/>
              <a:gd name="connsiteX8933" fmla="*/ 3589676 w 9586368"/>
              <a:gd name="connsiteY8933" fmla="*/ 18042 h 6479439"/>
              <a:gd name="connsiteX8934" fmla="*/ 3585657 w 9586368"/>
              <a:gd name="connsiteY8934" fmla="*/ 14003 h 6479439"/>
              <a:gd name="connsiteX8935" fmla="*/ 3585657 w 9586368"/>
              <a:gd name="connsiteY8935" fmla="*/ 4132 h 6479439"/>
              <a:gd name="connsiteX8936" fmla="*/ 4786241 w 9586368"/>
              <a:gd name="connsiteY8936" fmla="*/ 81 h 6479439"/>
              <a:gd name="connsiteX8937" fmla="*/ 4796152 w 9586368"/>
              <a:gd name="connsiteY8937" fmla="*/ 81 h 6479439"/>
              <a:gd name="connsiteX8938" fmla="*/ 4800171 w 9586368"/>
              <a:gd name="connsiteY8938" fmla="*/ 4119 h 6479439"/>
              <a:gd name="connsiteX8939" fmla="*/ 4800171 w 9586368"/>
              <a:gd name="connsiteY8939" fmla="*/ 13990 h 6479439"/>
              <a:gd name="connsiteX8940" fmla="*/ 4796152 w 9586368"/>
              <a:gd name="connsiteY8940" fmla="*/ 18029 h 6479439"/>
              <a:gd name="connsiteX8941" fmla="*/ 4786241 w 9586368"/>
              <a:gd name="connsiteY8941" fmla="*/ 18029 h 6479439"/>
              <a:gd name="connsiteX8942" fmla="*/ 4782224 w 9586368"/>
              <a:gd name="connsiteY8942" fmla="*/ 13990 h 6479439"/>
              <a:gd name="connsiteX8943" fmla="*/ 4782224 w 9586368"/>
              <a:gd name="connsiteY8943" fmla="*/ 4119 h 6479439"/>
              <a:gd name="connsiteX8944" fmla="*/ 5743412 w 9586368"/>
              <a:gd name="connsiteY8944" fmla="*/ 80 h 6479439"/>
              <a:gd name="connsiteX8945" fmla="*/ 5753323 w 9586368"/>
              <a:gd name="connsiteY8945" fmla="*/ 80 h 6479439"/>
              <a:gd name="connsiteX8946" fmla="*/ 5757342 w 9586368"/>
              <a:gd name="connsiteY8946" fmla="*/ 4119 h 6479439"/>
              <a:gd name="connsiteX8947" fmla="*/ 5757342 w 9586368"/>
              <a:gd name="connsiteY8947" fmla="*/ 13990 h 6479439"/>
              <a:gd name="connsiteX8948" fmla="*/ 5753323 w 9586368"/>
              <a:gd name="connsiteY8948" fmla="*/ 18029 h 6479439"/>
              <a:gd name="connsiteX8949" fmla="*/ 5743412 w 9586368"/>
              <a:gd name="connsiteY8949" fmla="*/ 18029 h 6479439"/>
              <a:gd name="connsiteX8950" fmla="*/ 5739393 w 9586368"/>
              <a:gd name="connsiteY8950" fmla="*/ 13990 h 6479439"/>
              <a:gd name="connsiteX8951" fmla="*/ 5739393 w 9586368"/>
              <a:gd name="connsiteY8951" fmla="*/ 4119 h 6479439"/>
              <a:gd name="connsiteX8952" fmla="*/ 5504099 w 9586368"/>
              <a:gd name="connsiteY8952" fmla="*/ 80 h 6479439"/>
              <a:gd name="connsiteX8953" fmla="*/ 5514010 w 9586368"/>
              <a:gd name="connsiteY8953" fmla="*/ 80 h 6479439"/>
              <a:gd name="connsiteX8954" fmla="*/ 5518029 w 9586368"/>
              <a:gd name="connsiteY8954" fmla="*/ 4119 h 6479439"/>
              <a:gd name="connsiteX8955" fmla="*/ 5518029 w 9586368"/>
              <a:gd name="connsiteY8955" fmla="*/ 13990 h 6479439"/>
              <a:gd name="connsiteX8956" fmla="*/ 5514010 w 9586368"/>
              <a:gd name="connsiteY8956" fmla="*/ 18029 h 6479439"/>
              <a:gd name="connsiteX8957" fmla="*/ 5504099 w 9586368"/>
              <a:gd name="connsiteY8957" fmla="*/ 18029 h 6479439"/>
              <a:gd name="connsiteX8958" fmla="*/ 5500080 w 9586368"/>
              <a:gd name="connsiteY8958" fmla="*/ 13990 h 6479439"/>
              <a:gd name="connsiteX8959" fmla="*/ 5500080 w 9586368"/>
              <a:gd name="connsiteY8959" fmla="*/ 4119 h 6479439"/>
              <a:gd name="connsiteX8960" fmla="*/ 5264784 w 9586368"/>
              <a:gd name="connsiteY8960" fmla="*/ 80 h 6479439"/>
              <a:gd name="connsiteX8961" fmla="*/ 5274694 w 9586368"/>
              <a:gd name="connsiteY8961" fmla="*/ 80 h 6479439"/>
              <a:gd name="connsiteX8962" fmla="*/ 5278713 w 9586368"/>
              <a:gd name="connsiteY8962" fmla="*/ 4119 h 6479439"/>
              <a:gd name="connsiteX8963" fmla="*/ 5278713 w 9586368"/>
              <a:gd name="connsiteY8963" fmla="*/ 13990 h 6479439"/>
              <a:gd name="connsiteX8964" fmla="*/ 5274694 w 9586368"/>
              <a:gd name="connsiteY8964" fmla="*/ 18029 h 6479439"/>
              <a:gd name="connsiteX8965" fmla="*/ 5264784 w 9586368"/>
              <a:gd name="connsiteY8965" fmla="*/ 18029 h 6479439"/>
              <a:gd name="connsiteX8966" fmla="*/ 5260765 w 9586368"/>
              <a:gd name="connsiteY8966" fmla="*/ 13990 h 6479439"/>
              <a:gd name="connsiteX8967" fmla="*/ 5260765 w 9586368"/>
              <a:gd name="connsiteY8967" fmla="*/ 4119 h 6479439"/>
              <a:gd name="connsiteX8968" fmla="*/ 5025470 w 9586368"/>
              <a:gd name="connsiteY8968" fmla="*/ 80 h 6479439"/>
              <a:gd name="connsiteX8969" fmla="*/ 5035381 w 9586368"/>
              <a:gd name="connsiteY8969" fmla="*/ 80 h 6479439"/>
              <a:gd name="connsiteX8970" fmla="*/ 5039400 w 9586368"/>
              <a:gd name="connsiteY8970" fmla="*/ 4119 h 6479439"/>
              <a:gd name="connsiteX8971" fmla="*/ 5039400 w 9586368"/>
              <a:gd name="connsiteY8971" fmla="*/ 13990 h 6479439"/>
              <a:gd name="connsiteX8972" fmla="*/ 5035381 w 9586368"/>
              <a:gd name="connsiteY8972" fmla="*/ 18029 h 6479439"/>
              <a:gd name="connsiteX8973" fmla="*/ 5025470 w 9586368"/>
              <a:gd name="connsiteY8973" fmla="*/ 18029 h 6479439"/>
              <a:gd name="connsiteX8974" fmla="*/ 5021451 w 9586368"/>
              <a:gd name="connsiteY8974" fmla="*/ 13990 h 6479439"/>
              <a:gd name="connsiteX8975" fmla="*/ 5021451 w 9586368"/>
              <a:gd name="connsiteY8975" fmla="*/ 4119 h 6479439"/>
              <a:gd name="connsiteX8976" fmla="*/ 6461356 w 9586368"/>
              <a:gd name="connsiteY8976" fmla="*/ 68 h 6479439"/>
              <a:gd name="connsiteX8977" fmla="*/ 6471266 w 9586368"/>
              <a:gd name="connsiteY8977" fmla="*/ 68 h 6479439"/>
              <a:gd name="connsiteX8978" fmla="*/ 6475285 w 9586368"/>
              <a:gd name="connsiteY8978" fmla="*/ 4106 h 6479439"/>
              <a:gd name="connsiteX8979" fmla="*/ 6475285 w 9586368"/>
              <a:gd name="connsiteY8979" fmla="*/ 13976 h 6479439"/>
              <a:gd name="connsiteX8980" fmla="*/ 6471266 w 9586368"/>
              <a:gd name="connsiteY8980" fmla="*/ 18015 h 6479439"/>
              <a:gd name="connsiteX8981" fmla="*/ 6461356 w 9586368"/>
              <a:gd name="connsiteY8981" fmla="*/ 18015 h 6479439"/>
              <a:gd name="connsiteX8982" fmla="*/ 6457337 w 9586368"/>
              <a:gd name="connsiteY8982" fmla="*/ 13976 h 6479439"/>
              <a:gd name="connsiteX8983" fmla="*/ 6457337 w 9586368"/>
              <a:gd name="connsiteY8983" fmla="*/ 4106 h 6479439"/>
              <a:gd name="connsiteX8984" fmla="*/ 6222042 w 9586368"/>
              <a:gd name="connsiteY8984" fmla="*/ 68 h 6479439"/>
              <a:gd name="connsiteX8985" fmla="*/ 6231952 w 9586368"/>
              <a:gd name="connsiteY8985" fmla="*/ 68 h 6479439"/>
              <a:gd name="connsiteX8986" fmla="*/ 6235971 w 9586368"/>
              <a:gd name="connsiteY8986" fmla="*/ 4106 h 6479439"/>
              <a:gd name="connsiteX8987" fmla="*/ 6235971 w 9586368"/>
              <a:gd name="connsiteY8987" fmla="*/ 13977 h 6479439"/>
              <a:gd name="connsiteX8988" fmla="*/ 6231952 w 9586368"/>
              <a:gd name="connsiteY8988" fmla="*/ 18016 h 6479439"/>
              <a:gd name="connsiteX8989" fmla="*/ 6222042 w 9586368"/>
              <a:gd name="connsiteY8989" fmla="*/ 18016 h 6479439"/>
              <a:gd name="connsiteX8990" fmla="*/ 6218023 w 9586368"/>
              <a:gd name="connsiteY8990" fmla="*/ 13977 h 6479439"/>
              <a:gd name="connsiteX8991" fmla="*/ 6218023 w 9586368"/>
              <a:gd name="connsiteY8991" fmla="*/ 4106 h 6479439"/>
              <a:gd name="connsiteX8992" fmla="*/ 5982729 w 9586368"/>
              <a:gd name="connsiteY8992" fmla="*/ 68 h 6479439"/>
              <a:gd name="connsiteX8993" fmla="*/ 5992639 w 9586368"/>
              <a:gd name="connsiteY8993" fmla="*/ 68 h 6479439"/>
              <a:gd name="connsiteX8994" fmla="*/ 5996658 w 9586368"/>
              <a:gd name="connsiteY8994" fmla="*/ 4106 h 6479439"/>
              <a:gd name="connsiteX8995" fmla="*/ 5996658 w 9586368"/>
              <a:gd name="connsiteY8995" fmla="*/ 13977 h 6479439"/>
              <a:gd name="connsiteX8996" fmla="*/ 5992639 w 9586368"/>
              <a:gd name="connsiteY8996" fmla="*/ 18016 h 6479439"/>
              <a:gd name="connsiteX8997" fmla="*/ 5982729 w 9586368"/>
              <a:gd name="connsiteY8997" fmla="*/ 18016 h 6479439"/>
              <a:gd name="connsiteX8998" fmla="*/ 5978710 w 9586368"/>
              <a:gd name="connsiteY8998" fmla="*/ 13977 h 6479439"/>
              <a:gd name="connsiteX8999" fmla="*/ 5978710 w 9586368"/>
              <a:gd name="connsiteY8999" fmla="*/ 4106 h 6479439"/>
              <a:gd name="connsiteX9000" fmla="*/ 6939983 w 9586368"/>
              <a:gd name="connsiteY9000" fmla="*/ 67 h 6479439"/>
              <a:gd name="connsiteX9001" fmla="*/ 6949894 w 9586368"/>
              <a:gd name="connsiteY9001" fmla="*/ 67 h 6479439"/>
              <a:gd name="connsiteX9002" fmla="*/ 6953913 w 9586368"/>
              <a:gd name="connsiteY9002" fmla="*/ 4105 h 6479439"/>
              <a:gd name="connsiteX9003" fmla="*/ 6953913 w 9586368"/>
              <a:gd name="connsiteY9003" fmla="*/ 13976 h 6479439"/>
              <a:gd name="connsiteX9004" fmla="*/ 6949894 w 9586368"/>
              <a:gd name="connsiteY9004" fmla="*/ 18015 h 6479439"/>
              <a:gd name="connsiteX9005" fmla="*/ 6939983 w 9586368"/>
              <a:gd name="connsiteY9005" fmla="*/ 18015 h 6479439"/>
              <a:gd name="connsiteX9006" fmla="*/ 6935964 w 9586368"/>
              <a:gd name="connsiteY9006" fmla="*/ 13976 h 6479439"/>
              <a:gd name="connsiteX9007" fmla="*/ 6935964 w 9586368"/>
              <a:gd name="connsiteY9007" fmla="*/ 4105 h 6479439"/>
              <a:gd name="connsiteX9008" fmla="*/ 6700670 w 9586368"/>
              <a:gd name="connsiteY9008" fmla="*/ 67 h 6479439"/>
              <a:gd name="connsiteX9009" fmla="*/ 6710581 w 9586368"/>
              <a:gd name="connsiteY9009" fmla="*/ 67 h 6479439"/>
              <a:gd name="connsiteX9010" fmla="*/ 6714600 w 9586368"/>
              <a:gd name="connsiteY9010" fmla="*/ 4105 h 6479439"/>
              <a:gd name="connsiteX9011" fmla="*/ 6714600 w 9586368"/>
              <a:gd name="connsiteY9011" fmla="*/ 13976 h 6479439"/>
              <a:gd name="connsiteX9012" fmla="*/ 6710581 w 9586368"/>
              <a:gd name="connsiteY9012" fmla="*/ 18015 h 6479439"/>
              <a:gd name="connsiteX9013" fmla="*/ 6700670 w 9586368"/>
              <a:gd name="connsiteY9013" fmla="*/ 18015 h 6479439"/>
              <a:gd name="connsiteX9014" fmla="*/ 6696651 w 9586368"/>
              <a:gd name="connsiteY9014" fmla="*/ 13976 h 6479439"/>
              <a:gd name="connsiteX9015" fmla="*/ 6696651 w 9586368"/>
              <a:gd name="connsiteY9015" fmla="*/ 4105 h 6479439"/>
              <a:gd name="connsiteX9016" fmla="*/ 8136553 w 9586368"/>
              <a:gd name="connsiteY9016" fmla="*/ 54 h 6479439"/>
              <a:gd name="connsiteX9017" fmla="*/ 8146464 w 9586368"/>
              <a:gd name="connsiteY9017" fmla="*/ 54 h 6479439"/>
              <a:gd name="connsiteX9018" fmla="*/ 8150483 w 9586368"/>
              <a:gd name="connsiteY9018" fmla="*/ 4093 h 6479439"/>
              <a:gd name="connsiteX9019" fmla="*/ 8150483 w 9586368"/>
              <a:gd name="connsiteY9019" fmla="*/ 13963 h 6479439"/>
              <a:gd name="connsiteX9020" fmla="*/ 8146464 w 9586368"/>
              <a:gd name="connsiteY9020" fmla="*/ 18002 h 6479439"/>
              <a:gd name="connsiteX9021" fmla="*/ 8136553 w 9586368"/>
              <a:gd name="connsiteY9021" fmla="*/ 18002 h 6479439"/>
              <a:gd name="connsiteX9022" fmla="*/ 8132534 w 9586368"/>
              <a:gd name="connsiteY9022" fmla="*/ 13963 h 6479439"/>
              <a:gd name="connsiteX9023" fmla="*/ 8132534 w 9586368"/>
              <a:gd name="connsiteY9023" fmla="*/ 4093 h 6479439"/>
              <a:gd name="connsiteX9024" fmla="*/ 7897241 w 9586368"/>
              <a:gd name="connsiteY9024" fmla="*/ 54 h 6479439"/>
              <a:gd name="connsiteX9025" fmla="*/ 7907151 w 9586368"/>
              <a:gd name="connsiteY9025" fmla="*/ 54 h 6479439"/>
              <a:gd name="connsiteX9026" fmla="*/ 7911170 w 9586368"/>
              <a:gd name="connsiteY9026" fmla="*/ 4093 h 6479439"/>
              <a:gd name="connsiteX9027" fmla="*/ 7911170 w 9586368"/>
              <a:gd name="connsiteY9027" fmla="*/ 13964 h 6479439"/>
              <a:gd name="connsiteX9028" fmla="*/ 7907151 w 9586368"/>
              <a:gd name="connsiteY9028" fmla="*/ 18003 h 6479439"/>
              <a:gd name="connsiteX9029" fmla="*/ 7897241 w 9586368"/>
              <a:gd name="connsiteY9029" fmla="*/ 18003 h 6479439"/>
              <a:gd name="connsiteX9030" fmla="*/ 7893222 w 9586368"/>
              <a:gd name="connsiteY9030" fmla="*/ 13964 h 6479439"/>
              <a:gd name="connsiteX9031" fmla="*/ 7893222 w 9586368"/>
              <a:gd name="connsiteY9031" fmla="*/ 4093 h 6479439"/>
              <a:gd name="connsiteX9032" fmla="*/ 7657926 w 9586368"/>
              <a:gd name="connsiteY9032" fmla="*/ 54 h 6479439"/>
              <a:gd name="connsiteX9033" fmla="*/ 7667836 w 9586368"/>
              <a:gd name="connsiteY9033" fmla="*/ 54 h 6479439"/>
              <a:gd name="connsiteX9034" fmla="*/ 7671855 w 9586368"/>
              <a:gd name="connsiteY9034" fmla="*/ 4093 h 6479439"/>
              <a:gd name="connsiteX9035" fmla="*/ 7671855 w 9586368"/>
              <a:gd name="connsiteY9035" fmla="*/ 13964 h 6479439"/>
              <a:gd name="connsiteX9036" fmla="*/ 7667836 w 9586368"/>
              <a:gd name="connsiteY9036" fmla="*/ 18003 h 6479439"/>
              <a:gd name="connsiteX9037" fmla="*/ 7657926 w 9586368"/>
              <a:gd name="connsiteY9037" fmla="*/ 18003 h 6479439"/>
              <a:gd name="connsiteX9038" fmla="*/ 7653906 w 9586368"/>
              <a:gd name="connsiteY9038" fmla="*/ 13964 h 6479439"/>
              <a:gd name="connsiteX9039" fmla="*/ 7653906 w 9586368"/>
              <a:gd name="connsiteY9039" fmla="*/ 4093 h 6479439"/>
              <a:gd name="connsiteX9040" fmla="*/ 7418611 w 9586368"/>
              <a:gd name="connsiteY9040" fmla="*/ 54 h 6479439"/>
              <a:gd name="connsiteX9041" fmla="*/ 7428521 w 9586368"/>
              <a:gd name="connsiteY9041" fmla="*/ 54 h 6479439"/>
              <a:gd name="connsiteX9042" fmla="*/ 7432540 w 9586368"/>
              <a:gd name="connsiteY9042" fmla="*/ 4093 h 6479439"/>
              <a:gd name="connsiteX9043" fmla="*/ 7432540 w 9586368"/>
              <a:gd name="connsiteY9043" fmla="*/ 13964 h 6479439"/>
              <a:gd name="connsiteX9044" fmla="*/ 7428521 w 9586368"/>
              <a:gd name="connsiteY9044" fmla="*/ 18003 h 6479439"/>
              <a:gd name="connsiteX9045" fmla="*/ 7418611 w 9586368"/>
              <a:gd name="connsiteY9045" fmla="*/ 18003 h 6479439"/>
              <a:gd name="connsiteX9046" fmla="*/ 7414592 w 9586368"/>
              <a:gd name="connsiteY9046" fmla="*/ 13964 h 6479439"/>
              <a:gd name="connsiteX9047" fmla="*/ 7414592 w 9586368"/>
              <a:gd name="connsiteY9047" fmla="*/ 4093 h 6479439"/>
              <a:gd name="connsiteX9048" fmla="*/ 7179298 w 9586368"/>
              <a:gd name="connsiteY9048" fmla="*/ 54 h 6479439"/>
              <a:gd name="connsiteX9049" fmla="*/ 7189209 w 9586368"/>
              <a:gd name="connsiteY9049" fmla="*/ 54 h 6479439"/>
              <a:gd name="connsiteX9050" fmla="*/ 7193228 w 9586368"/>
              <a:gd name="connsiteY9050" fmla="*/ 4093 h 6479439"/>
              <a:gd name="connsiteX9051" fmla="*/ 7193228 w 9586368"/>
              <a:gd name="connsiteY9051" fmla="*/ 13964 h 6479439"/>
              <a:gd name="connsiteX9052" fmla="*/ 7189209 w 9586368"/>
              <a:gd name="connsiteY9052" fmla="*/ 18003 h 6479439"/>
              <a:gd name="connsiteX9053" fmla="*/ 7179298 w 9586368"/>
              <a:gd name="connsiteY9053" fmla="*/ 18003 h 6479439"/>
              <a:gd name="connsiteX9054" fmla="*/ 7175279 w 9586368"/>
              <a:gd name="connsiteY9054" fmla="*/ 13964 h 6479439"/>
              <a:gd name="connsiteX9055" fmla="*/ 7175279 w 9586368"/>
              <a:gd name="connsiteY9055" fmla="*/ 4093 h 6479439"/>
              <a:gd name="connsiteX9056" fmla="*/ 8375869 w 9586368"/>
              <a:gd name="connsiteY9056" fmla="*/ 42 h 6479439"/>
              <a:gd name="connsiteX9057" fmla="*/ 8385779 w 9586368"/>
              <a:gd name="connsiteY9057" fmla="*/ 42 h 6479439"/>
              <a:gd name="connsiteX9058" fmla="*/ 8389799 w 9586368"/>
              <a:gd name="connsiteY9058" fmla="*/ 4080 h 6479439"/>
              <a:gd name="connsiteX9059" fmla="*/ 8389799 w 9586368"/>
              <a:gd name="connsiteY9059" fmla="*/ 13951 h 6479439"/>
              <a:gd name="connsiteX9060" fmla="*/ 8385779 w 9586368"/>
              <a:gd name="connsiteY9060" fmla="*/ 17990 h 6479439"/>
              <a:gd name="connsiteX9061" fmla="*/ 8375869 w 9586368"/>
              <a:gd name="connsiteY9061" fmla="*/ 17990 h 6479439"/>
              <a:gd name="connsiteX9062" fmla="*/ 8371850 w 9586368"/>
              <a:gd name="connsiteY9062" fmla="*/ 13951 h 6479439"/>
              <a:gd name="connsiteX9063" fmla="*/ 8371850 w 9586368"/>
              <a:gd name="connsiteY9063" fmla="*/ 4080 h 6479439"/>
              <a:gd name="connsiteX9064" fmla="*/ 9333125 w 9586368"/>
              <a:gd name="connsiteY9064" fmla="*/ 41 h 6479439"/>
              <a:gd name="connsiteX9065" fmla="*/ 9343036 w 9586368"/>
              <a:gd name="connsiteY9065" fmla="*/ 41 h 6479439"/>
              <a:gd name="connsiteX9066" fmla="*/ 9347055 w 9586368"/>
              <a:gd name="connsiteY9066" fmla="*/ 4080 h 6479439"/>
              <a:gd name="connsiteX9067" fmla="*/ 9347055 w 9586368"/>
              <a:gd name="connsiteY9067" fmla="*/ 13951 h 6479439"/>
              <a:gd name="connsiteX9068" fmla="*/ 9343036 w 9586368"/>
              <a:gd name="connsiteY9068" fmla="*/ 17990 h 6479439"/>
              <a:gd name="connsiteX9069" fmla="*/ 9333125 w 9586368"/>
              <a:gd name="connsiteY9069" fmla="*/ 17990 h 6479439"/>
              <a:gd name="connsiteX9070" fmla="*/ 9329106 w 9586368"/>
              <a:gd name="connsiteY9070" fmla="*/ 13951 h 6479439"/>
              <a:gd name="connsiteX9071" fmla="*/ 9329106 w 9586368"/>
              <a:gd name="connsiteY9071" fmla="*/ 4080 h 6479439"/>
              <a:gd name="connsiteX9072" fmla="*/ 9093811 w 9586368"/>
              <a:gd name="connsiteY9072" fmla="*/ 41 h 6479439"/>
              <a:gd name="connsiteX9073" fmla="*/ 9103722 w 9586368"/>
              <a:gd name="connsiteY9073" fmla="*/ 41 h 6479439"/>
              <a:gd name="connsiteX9074" fmla="*/ 9107741 w 9586368"/>
              <a:gd name="connsiteY9074" fmla="*/ 4080 h 6479439"/>
              <a:gd name="connsiteX9075" fmla="*/ 9107741 w 9586368"/>
              <a:gd name="connsiteY9075" fmla="*/ 13951 h 6479439"/>
              <a:gd name="connsiteX9076" fmla="*/ 9103722 w 9586368"/>
              <a:gd name="connsiteY9076" fmla="*/ 17990 h 6479439"/>
              <a:gd name="connsiteX9077" fmla="*/ 9093811 w 9586368"/>
              <a:gd name="connsiteY9077" fmla="*/ 17990 h 6479439"/>
              <a:gd name="connsiteX9078" fmla="*/ 9089792 w 9586368"/>
              <a:gd name="connsiteY9078" fmla="*/ 13951 h 6479439"/>
              <a:gd name="connsiteX9079" fmla="*/ 9089792 w 9586368"/>
              <a:gd name="connsiteY9079" fmla="*/ 4080 h 6479439"/>
              <a:gd name="connsiteX9080" fmla="*/ 8854496 w 9586368"/>
              <a:gd name="connsiteY9080" fmla="*/ 41 h 6479439"/>
              <a:gd name="connsiteX9081" fmla="*/ 8864407 w 9586368"/>
              <a:gd name="connsiteY9081" fmla="*/ 41 h 6479439"/>
              <a:gd name="connsiteX9082" fmla="*/ 8868426 w 9586368"/>
              <a:gd name="connsiteY9082" fmla="*/ 4080 h 6479439"/>
              <a:gd name="connsiteX9083" fmla="*/ 8868426 w 9586368"/>
              <a:gd name="connsiteY9083" fmla="*/ 13951 h 6479439"/>
              <a:gd name="connsiteX9084" fmla="*/ 8864407 w 9586368"/>
              <a:gd name="connsiteY9084" fmla="*/ 17990 h 6479439"/>
              <a:gd name="connsiteX9085" fmla="*/ 8854496 w 9586368"/>
              <a:gd name="connsiteY9085" fmla="*/ 17990 h 6479439"/>
              <a:gd name="connsiteX9086" fmla="*/ 8850477 w 9586368"/>
              <a:gd name="connsiteY9086" fmla="*/ 13951 h 6479439"/>
              <a:gd name="connsiteX9087" fmla="*/ 8850477 w 9586368"/>
              <a:gd name="connsiteY9087" fmla="*/ 4080 h 6479439"/>
              <a:gd name="connsiteX9088" fmla="*/ 8615184 w 9586368"/>
              <a:gd name="connsiteY9088" fmla="*/ 41 h 6479439"/>
              <a:gd name="connsiteX9089" fmla="*/ 8625095 w 9586368"/>
              <a:gd name="connsiteY9089" fmla="*/ 41 h 6479439"/>
              <a:gd name="connsiteX9090" fmla="*/ 8629114 w 9586368"/>
              <a:gd name="connsiteY9090" fmla="*/ 4080 h 6479439"/>
              <a:gd name="connsiteX9091" fmla="*/ 8629114 w 9586368"/>
              <a:gd name="connsiteY9091" fmla="*/ 13951 h 6479439"/>
              <a:gd name="connsiteX9092" fmla="*/ 8625095 w 9586368"/>
              <a:gd name="connsiteY9092" fmla="*/ 17990 h 6479439"/>
              <a:gd name="connsiteX9093" fmla="*/ 8615184 w 9586368"/>
              <a:gd name="connsiteY9093" fmla="*/ 17990 h 6479439"/>
              <a:gd name="connsiteX9094" fmla="*/ 8611165 w 9586368"/>
              <a:gd name="connsiteY9094" fmla="*/ 13951 h 6479439"/>
              <a:gd name="connsiteX9095" fmla="*/ 8611165 w 9586368"/>
              <a:gd name="connsiteY9095" fmla="*/ 4080 h 6479439"/>
              <a:gd name="connsiteX9096" fmla="*/ 961275 w 9586368"/>
              <a:gd name="connsiteY9096" fmla="*/ 41 h 6479439"/>
              <a:gd name="connsiteX9097" fmla="*/ 971184 w 9586368"/>
              <a:gd name="connsiteY9097" fmla="*/ 41 h 6479439"/>
              <a:gd name="connsiteX9098" fmla="*/ 975204 w 9586368"/>
              <a:gd name="connsiteY9098" fmla="*/ 4080 h 6479439"/>
              <a:gd name="connsiteX9099" fmla="*/ 975204 w 9586368"/>
              <a:gd name="connsiteY9099" fmla="*/ 13951 h 6479439"/>
              <a:gd name="connsiteX9100" fmla="*/ 971184 w 9586368"/>
              <a:gd name="connsiteY9100" fmla="*/ 17990 h 6479439"/>
              <a:gd name="connsiteX9101" fmla="*/ 961275 w 9586368"/>
              <a:gd name="connsiteY9101" fmla="*/ 17990 h 6479439"/>
              <a:gd name="connsiteX9102" fmla="*/ 957256 w 9586368"/>
              <a:gd name="connsiteY9102" fmla="*/ 13951 h 6479439"/>
              <a:gd name="connsiteX9103" fmla="*/ 957256 w 9586368"/>
              <a:gd name="connsiteY9103" fmla="*/ 4080 h 6479439"/>
              <a:gd name="connsiteX9104" fmla="*/ 1679221 w 9586368"/>
              <a:gd name="connsiteY9104" fmla="*/ 41 h 6479439"/>
              <a:gd name="connsiteX9105" fmla="*/ 1689131 w 9586368"/>
              <a:gd name="connsiteY9105" fmla="*/ 41 h 6479439"/>
              <a:gd name="connsiteX9106" fmla="*/ 1693151 w 9586368"/>
              <a:gd name="connsiteY9106" fmla="*/ 4079 h 6479439"/>
              <a:gd name="connsiteX9107" fmla="*/ 1693151 w 9586368"/>
              <a:gd name="connsiteY9107" fmla="*/ 13950 h 6479439"/>
              <a:gd name="connsiteX9108" fmla="*/ 1689131 w 9586368"/>
              <a:gd name="connsiteY9108" fmla="*/ 17989 h 6479439"/>
              <a:gd name="connsiteX9109" fmla="*/ 1679221 w 9586368"/>
              <a:gd name="connsiteY9109" fmla="*/ 17989 h 6479439"/>
              <a:gd name="connsiteX9110" fmla="*/ 1675203 w 9586368"/>
              <a:gd name="connsiteY9110" fmla="*/ 13950 h 6479439"/>
              <a:gd name="connsiteX9111" fmla="*/ 1675203 w 9586368"/>
              <a:gd name="connsiteY9111" fmla="*/ 4079 h 6479439"/>
              <a:gd name="connsiteX9112" fmla="*/ 1439904 w 9586368"/>
              <a:gd name="connsiteY9112" fmla="*/ 41 h 6479439"/>
              <a:gd name="connsiteX9113" fmla="*/ 1449813 w 9586368"/>
              <a:gd name="connsiteY9113" fmla="*/ 41 h 6479439"/>
              <a:gd name="connsiteX9114" fmla="*/ 1453833 w 9586368"/>
              <a:gd name="connsiteY9114" fmla="*/ 4079 h 6479439"/>
              <a:gd name="connsiteX9115" fmla="*/ 1453833 w 9586368"/>
              <a:gd name="connsiteY9115" fmla="*/ 13950 h 6479439"/>
              <a:gd name="connsiteX9116" fmla="*/ 1449813 w 9586368"/>
              <a:gd name="connsiteY9116" fmla="*/ 17989 h 6479439"/>
              <a:gd name="connsiteX9117" fmla="*/ 1439904 w 9586368"/>
              <a:gd name="connsiteY9117" fmla="*/ 17989 h 6479439"/>
              <a:gd name="connsiteX9118" fmla="*/ 1435885 w 9586368"/>
              <a:gd name="connsiteY9118" fmla="*/ 13950 h 6479439"/>
              <a:gd name="connsiteX9119" fmla="*/ 1435885 w 9586368"/>
              <a:gd name="connsiteY9119" fmla="*/ 4079 h 6479439"/>
              <a:gd name="connsiteX9120" fmla="*/ 1200587 w 9586368"/>
              <a:gd name="connsiteY9120" fmla="*/ 41 h 6479439"/>
              <a:gd name="connsiteX9121" fmla="*/ 1210497 w 9586368"/>
              <a:gd name="connsiteY9121" fmla="*/ 41 h 6479439"/>
              <a:gd name="connsiteX9122" fmla="*/ 1214516 w 9586368"/>
              <a:gd name="connsiteY9122" fmla="*/ 4080 h 6479439"/>
              <a:gd name="connsiteX9123" fmla="*/ 1214516 w 9586368"/>
              <a:gd name="connsiteY9123" fmla="*/ 13951 h 6479439"/>
              <a:gd name="connsiteX9124" fmla="*/ 1210497 w 9586368"/>
              <a:gd name="connsiteY9124" fmla="*/ 17989 h 6479439"/>
              <a:gd name="connsiteX9125" fmla="*/ 1200587 w 9586368"/>
              <a:gd name="connsiteY9125" fmla="*/ 17989 h 6479439"/>
              <a:gd name="connsiteX9126" fmla="*/ 1196568 w 9586368"/>
              <a:gd name="connsiteY9126" fmla="*/ 13951 h 6479439"/>
              <a:gd name="connsiteX9127" fmla="*/ 1196568 w 9586368"/>
              <a:gd name="connsiteY9127" fmla="*/ 4080 h 6479439"/>
              <a:gd name="connsiteX9128" fmla="*/ 1918515 w 9586368"/>
              <a:gd name="connsiteY9128" fmla="*/ 31 h 6479439"/>
              <a:gd name="connsiteX9129" fmla="*/ 1928425 w 9586368"/>
              <a:gd name="connsiteY9129" fmla="*/ 31 h 6479439"/>
              <a:gd name="connsiteX9130" fmla="*/ 1932444 w 9586368"/>
              <a:gd name="connsiteY9130" fmla="*/ 4069 h 6479439"/>
              <a:gd name="connsiteX9131" fmla="*/ 1932444 w 9586368"/>
              <a:gd name="connsiteY9131" fmla="*/ 13940 h 6479439"/>
              <a:gd name="connsiteX9132" fmla="*/ 1928425 w 9586368"/>
              <a:gd name="connsiteY9132" fmla="*/ 17979 h 6479439"/>
              <a:gd name="connsiteX9133" fmla="*/ 1918515 w 9586368"/>
              <a:gd name="connsiteY9133" fmla="*/ 17979 h 6479439"/>
              <a:gd name="connsiteX9134" fmla="*/ 1914497 w 9586368"/>
              <a:gd name="connsiteY9134" fmla="*/ 13940 h 6479439"/>
              <a:gd name="connsiteX9135" fmla="*/ 1914497 w 9586368"/>
              <a:gd name="connsiteY9135" fmla="*/ 4069 h 6479439"/>
              <a:gd name="connsiteX9136" fmla="*/ 9572438 w 9586368"/>
              <a:gd name="connsiteY9136" fmla="*/ 29 h 6479439"/>
              <a:gd name="connsiteX9137" fmla="*/ 9582349 w 9586368"/>
              <a:gd name="connsiteY9137" fmla="*/ 29 h 6479439"/>
              <a:gd name="connsiteX9138" fmla="*/ 9586368 w 9586368"/>
              <a:gd name="connsiteY9138" fmla="*/ 4067 h 6479439"/>
              <a:gd name="connsiteX9139" fmla="*/ 9586368 w 9586368"/>
              <a:gd name="connsiteY9139" fmla="*/ 13938 h 6479439"/>
              <a:gd name="connsiteX9140" fmla="*/ 9582349 w 9586368"/>
              <a:gd name="connsiteY9140" fmla="*/ 17977 h 6479439"/>
              <a:gd name="connsiteX9141" fmla="*/ 9572438 w 9586368"/>
              <a:gd name="connsiteY9141" fmla="*/ 17977 h 6479439"/>
              <a:gd name="connsiteX9142" fmla="*/ 9568419 w 9586368"/>
              <a:gd name="connsiteY9142" fmla="*/ 13938 h 6479439"/>
              <a:gd name="connsiteX9143" fmla="*/ 9568419 w 9586368"/>
              <a:gd name="connsiteY9143" fmla="*/ 4067 h 6479439"/>
              <a:gd name="connsiteX9144" fmla="*/ 2157824 w 9586368"/>
              <a:gd name="connsiteY9144" fmla="*/ 28 h 6479439"/>
              <a:gd name="connsiteX9145" fmla="*/ 2167734 w 9586368"/>
              <a:gd name="connsiteY9145" fmla="*/ 28 h 6479439"/>
              <a:gd name="connsiteX9146" fmla="*/ 2171753 w 9586368"/>
              <a:gd name="connsiteY9146" fmla="*/ 4067 h 6479439"/>
              <a:gd name="connsiteX9147" fmla="*/ 2171753 w 9586368"/>
              <a:gd name="connsiteY9147" fmla="*/ 13938 h 6479439"/>
              <a:gd name="connsiteX9148" fmla="*/ 2167734 w 9586368"/>
              <a:gd name="connsiteY9148" fmla="*/ 17977 h 6479439"/>
              <a:gd name="connsiteX9149" fmla="*/ 2157824 w 9586368"/>
              <a:gd name="connsiteY9149" fmla="*/ 17977 h 6479439"/>
              <a:gd name="connsiteX9150" fmla="*/ 2153804 w 9586368"/>
              <a:gd name="connsiteY9150" fmla="*/ 13938 h 6479439"/>
              <a:gd name="connsiteX9151" fmla="*/ 2153804 w 9586368"/>
              <a:gd name="connsiteY9151" fmla="*/ 4067 h 6479439"/>
              <a:gd name="connsiteX9152" fmla="*/ 721977 w 9586368"/>
              <a:gd name="connsiteY9152" fmla="*/ 0 h 6479439"/>
              <a:gd name="connsiteX9153" fmla="*/ 731887 w 9586368"/>
              <a:gd name="connsiteY9153" fmla="*/ 0 h 6479439"/>
              <a:gd name="connsiteX9154" fmla="*/ 735906 w 9586368"/>
              <a:gd name="connsiteY9154" fmla="*/ 4039 h 6479439"/>
              <a:gd name="connsiteX9155" fmla="*/ 735906 w 9586368"/>
              <a:gd name="connsiteY9155" fmla="*/ 13910 h 6479439"/>
              <a:gd name="connsiteX9156" fmla="*/ 731887 w 9586368"/>
              <a:gd name="connsiteY9156" fmla="*/ 17949 h 6479439"/>
              <a:gd name="connsiteX9157" fmla="*/ 721977 w 9586368"/>
              <a:gd name="connsiteY9157" fmla="*/ 17949 h 6479439"/>
              <a:gd name="connsiteX9158" fmla="*/ 717959 w 9586368"/>
              <a:gd name="connsiteY9158" fmla="*/ 13910 h 6479439"/>
              <a:gd name="connsiteX9159" fmla="*/ 717959 w 9586368"/>
              <a:gd name="connsiteY9159" fmla="*/ 4039 h 6479439"/>
              <a:gd name="connsiteX9160" fmla="*/ 482665 w 9586368"/>
              <a:gd name="connsiteY9160" fmla="*/ 0 h 6479439"/>
              <a:gd name="connsiteX9161" fmla="*/ 492575 w 9586368"/>
              <a:gd name="connsiteY9161" fmla="*/ 0 h 6479439"/>
              <a:gd name="connsiteX9162" fmla="*/ 496594 w 9586368"/>
              <a:gd name="connsiteY9162" fmla="*/ 4039 h 6479439"/>
              <a:gd name="connsiteX9163" fmla="*/ 496594 w 9586368"/>
              <a:gd name="connsiteY9163" fmla="*/ 13910 h 6479439"/>
              <a:gd name="connsiteX9164" fmla="*/ 492575 w 9586368"/>
              <a:gd name="connsiteY9164" fmla="*/ 17949 h 6479439"/>
              <a:gd name="connsiteX9165" fmla="*/ 482665 w 9586368"/>
              <a:gd name="connsiteY9165" fmla="*/ 17949 h 6479439"/>
              <a:gd name="connsiteX9166" fmla="*/ 478646 w 9586368"/>
              <a:gd name="connsiteY9166" fmla="*/ 13910 h 6479439"/>
              <a:gd name="connsiteX9167" fmla="*/ 478646 w 9586368"/>
              <a:gd name="connsiteY9167" fmla="*/ 4039 h 6479439"/>
              <a:gd name="connsiteX9168" fmla="*/ 243351 w 9586368"/>
              <a:gd name="connsiteY9168" fmla="*/ 0 h 6479439"/>
              <a:gd name="connsiteX9169" fmla="*/ 253261 w 9586368"/>
              <a:gd name="connsiteY9169" fmla="*/ 0 h 6479439"/>
              <a:gd name="connsiteX9170" fmla="*/ 257281 w 9586368"/>
              <a:gd name="connsiteY9170" fmla="*/ 4039 h 6479439"/>
              <a:gd name="connsiteX9171" fmla="*/ 257281 w 9586368"/>
              <a:gd name="connsiteY9171" fmla="*/ 13910 h 6479439"/>
              <a:gd name="connsiteX9172" fmla="*/ 253261 w 9586368"/>
              <a:gd name="connsiteY9172" fmla="*/ 17949 h 6479439"/>
              <a:gd name="connsiteX9173" fmla="*/ 243351 w 9586368"/>
              <a:gd name="connsiteY9173" fmla="*/ 17949 h 6479439"/>
              <a:gd name="connsiteX9174" fmla="*/ 239332 w 9586368"/>
              <a:gd name="connsiteY9174" fmla="*/ 13910 h 6479439"/>
              <a:gd name="connsiteX9175" fmla="*/ 239332 w 9586368"/>
              <a:gd name="connsiteY9175" fmla="*/ 4039 h 6479439"/>
              <a:gd name="connsiteX9176" fmla="*/ 4039 w 9586368"/>
              <a:gd name="connsiteY9176" fmla="*/ 0 h 6479439"/>
              <a:gd name="connsiteX9177" fmla="*/ 13948 w 9586368"/>
              <a:gd name="connsiteY9177" fmla="*/ 0 h 6479439"/>
              <a:gd name="connsiteX9178" fmla="*/ 17967 w 9586368"/>
              <a:gd name="connsiteY9178" fmla="*/ 4039 h 6479439"/>
              <a:gd name="connsiteX9179" fmla="*/ 17967 w 9586368"/>
              <a:gd name="connsiteY9179" fmla="*/ 13910 h 6479439"/>
              <a:gd name="connsiteX9180" fmla="*/ 13948 w 9586368"/>
              <a:gd name="connsiteY9180" fmla="*/ 17949 h 6479439"/>
              <a:gd name="connsiteX9181" fmla="*/ 4039 w 9586368"/>
              <a:gd name="connsiteY9181" fmla="*/ 17949 h 6479439"/>
              <a:gd name="connsiteX9182" fmla="*/ 19 w 9586368"/>
              <a:gd name="connsiteY9182" fmla="*/ 13910 h 6479439"/>
              <a:gd name="connsiteX9183" fmla="*/ 19 w 9586368"/>
              <a:gd name="connsiteY9183" fmla="*/ 4039 h 6479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 ang="0">
                <a:pos x="connsiteX7013" y="connsiteY7013"/>
              </a:cxn>
              <a:cxn ang="0">
                <a:pos x="connsiteX7014" y="connsiteY7014"/>
              </a:cxn>
              <a:cxn ang="0">
                <a:pos x="connsiteX7015" y="connsiteY7015"/>
              </a:cxn>
              <a:cxn ang="0">
                <a:pos x="connsiteX7016" y="connsiteY7016"/>
              </a:cxn>
              <a:cxn ang="0">
                <a:pos x="connsiteX7017" y="connsiteY7017"/>
              </a:cxn>
              <a:cxn ang="0">
                <a:pos x="connsiteX7018" y="connsiteY7018"/>
              </a:cxn>
              <a:cxn ang="0">
                <a:pos x="connsiteX7019" y="connsiteY7019"/>
              </a:cxn>
              <a:cxn ang="0">
                <a:pos x="connsiteX7020" y="connsiteY7020"/>
              </a:cxn>
              <a:cxn ang="0">
                <a:pos x="connsiteX7021" y="connsiteY7021"/>
              </a:cxn>
              <a:cxn ang="0">
                <a:pos x="connsiteX7022" y="connsiteY7022"/>
              </a:cxn>
              <a:cxn ang="0">
                <a:pos x="connsiteX7023" y="connsiteY7023"/>
              </a:cxn>
              <a:cxn ang="0">
                <a:pos x="connsiteX7024" y="connsiteY7024"/>
              </a:cxn>
              <a:cxn ang="0">
                <a:pos x="connsiteX7025" y="connsiteY7025"/>
              </a:cxn>
              <a:cxn ang="0">
                <a:pos x="connsiteX7026" y="connsiteY7026"/>
              </a:cxn>
              <a:cxn ang="0">
                <a:pos x="connsiteX7027" y="connsiteY7027"/>
              </a:cxn>
              <a:cxn ang="0">
                <a:pos x="connsiteX7028" y="connsiteY7028"/>
              </a:cxn>
              <a:cxn ang="0">
                <a:pos x="connsiteX7029" y="connsiteY7029"/>
              </a:cxn>
              <a:cxn ang="0">
                <a:pos x="connsiteX7030" y="connsiteY7030"/>
              </a:cxn>
              <a:cxn ang="0">
                <a:pos x="connsiteX7031" y="connsiteY7031"/>
              </a:cxn>
              <a:cxn ang="0">
                <a:pos x="connsiteX7032" y="connsiteY7032"/>
              </a:cxn>
              <a:cxn ang="0">
                <a:pos x="connsiteX7033" y="connsiteY7033"/>
              </a:cxn>
              <a:cxn ang="0">
                <a:pos x="connsiteX7034" y="connsiteY7034"/>
              </a:cxn>
              <a:cxn ang="0">
                <a:pos x="connsiteX7035" y="connsiteY7035"/>
              </a:cxn>
              <a:cxn ang="0">
                <a:pos x="connsiteX7036" y="connsiteY7036"/>
              </a:cxn>
              <a:cxn ang="0">
                <a:pos x="connsiteX7037" y="connsiteY7037"/>
              </a:cxn>
              <a:cxn ang="0">
                <a:pos x="connsiteX7038" y="connsiteY7038"/>
              </a:cxn>
              <a:cxn ang="0">
                <a:pos x="connsiteX7039" y="connsiteY7039"/>
              </a:cxn>
              <a:cxn ang="0">
                <a:pos x="connsiteX7040" y="connsiteY7040"/>
              </a:cxn>
              <a:cxn ang="0">
                <a:pos x="connsiteX7041" y="connsiteY7041"/>
              </a:cxn>
              <a:cxn ang="0">
                <a:pos x="connsiteX7042" y="connsiteY7042"/>
              </a:cxn>
              <a:cxn ang="0">
                <a:pos x="connsiteX7043" y="connsiteY7043"/>
              </a:cxn>
              <a:cxn ang="0">
                <a:pos x="connsiteX7044" y="connsiteY7044"/>
              </a:cxn>
              <a:cxn ang="0">
                <a:pos x="connsiteX7045" y="connsiteY7045"/>
              </a:cxn>
              <a:cxn ang="0">
                <a:pos x="connsiteX7046" y="connsiteY7046"/>
              </a:cxn>
              <a:cxn ang="0">
                <a:pos x="connsiteX7047" y="connsiteY7047"/>
              </a:cxn>
              <a:cxn ang="0">
                <a:pos x="connsiteX7048" y="connsiteY7048"/>
              </a:cxn>
              <a:cxn ang="0">
                <a:pos x="connsiteX7049" y="connsiteY7049"/>
              </a:cxn>
              <a:cxn ang="0">
                <a:pos x="connsiteX7050" y="connsiteY7050"/>
              </a:cxn>
              <a:cxn ang="0">
                <a:pos x="connsiteX7051" y="connsiteY7051"/>
              </a:cxn>
              <a:cxn ang="0">
                <a:pos x="connsiteX7052" y="connsiteY7052"/>
              </a:cxn>
              <a:cxn ang="0">
                <a:pos x="connsiteX7053" y="connsiteY7053"/>
              </a:cxn>
              <a:cxn ang="0">
                <a:pos x="connsiteX7054" y="connsiteY7054"/>
              </a:cxn>
              <a:cxn ang="0">
                <a:pos x="connsiteX7055" y="connsiteY7055"/>
              </a:cxn>
              <a:cxn ang="0">
                <a:pos x="connsiteX7056" y="connsiteY7056"/>
              </a:cxn>
              <a:cxn ang="0">
                <a:pos x="connsiteX7057" y="connsiteY7057"/>
              </a:cxn>
              <a:cxn ang="0">
                <a:pos x="connsiteX7058" y="connsiteY7058"/>
              </a:cxn>
              <a:cxn ang="0">
                <a:pos x="connsiteX7059" y="connsiteY7059"/>
              </a:cxn>
              <a:cxn ang="0">
                <a:pos x="connsiteX7060" y="connsiteY7060"/>
              </a:cxn>
              <a:cxn ang="0">
                <a:pos x="connsiteX7061" y="connsiteY7061"/>
              </a:cxn>
              <a:cxn ang="0">
                <a:pos x="connsiteX7062" y="connsiteY7062"/>
              </a:cxn>
              <a:cxn ang="0">
                <a:pos x="connsiteX7063" y="connsiteY7063"/>
              </a:cxn>
              <a:cxn ang="0">
                <a:pos x="connsiteX7064" y="connsiteY7064"/>
              </a:cxn>
              <a:cxn ang="0">
                <a:pos x="connsiteX7065" y="connsiteY7065"/>
              </a:cxn>
              <a:cxn ang="0">
                <a:pos x="connsiteX7066" y="connsiteY7066"/>
              </a:cxn>
              <a:cxn ang="0">
                <a:pos x="connsiteX7067" y="connsiteY7067"/>
              </a:cxn>
              <a:cxn ang="0">
                <a:pos x="connsiteX7068" y="connsiteY7068"/>
              </a:cxn>
              <a:cxn ang="0">
                <a:pos x="connsiteX7069" y="connsiteY7069"/>
              </a:cxn>
              <a:cxn ang="0">
                <a:pos x="connsiteX7070" y="connsiteY7070"/>
              </a:cxn>
              <a:cxn ang="0">
                <a:pos x="connsiteX7071" y="connsiteY7071"/>
              </a:cxn>
              <a:cxn ang="0">
                <a:pos x="connsiteX7072" y="connsiteY7072"/>
              </a:cxn>
              <a:cxn ang="0">
                <a:pos x="connsiteX7073" y="connsiteY7073"/>
              </a:cxn>
              <a:cxn ang="0">
                <a:pos x="connsiteX7074" y="connsiteY7074"/>
              </a:cxn>
              <a:cxn ang="0">
                <a:pos x="connsiteX7075" y="connsiteY7075"/>
              </a:cxn>
              <a:cxn ang="0">
                <a:pos x="connsiteX7076" y="connsiteY7076"/>
              </a:cxn>
              <a:cxn ang="0">
                <a:pos x="connsiteX7077" y="connsiteY7077"/>
              </a:cxn>
              <a:cxn ang="0">
                <a:pos x="connsiteX7078" y="connsiteY7078"/>
              </a:cxn>
              <a:cxn ang="0">
                <a:pos x="connsiteX7079" y="connsiteY7079"/>
              </a:cxn>
              <a:cxn ang="0">
                <a:pos x="connsiteX7080" y="connsiteY7080"/>
              </a:cxn>
              <a:cxn ang="0">
                <a:pos x="connsiteX7081" y="connsiteY7081"/>
              </a:cxn>
              <a:cxn ang="0">
                <a:pos x="connsiteX7082" y="connsiteY7082"/>
              </a:cxn>
              <a:cxn ang="0">
                <a:pos x="connsiteX7083" y="connsiteY7083"/>
              </a:cxn>
              <a:cxn ang="0">
                <a:pos x="connsiteX7084" y="connsiteY7084"/>
              </a:cxn>
              <a:cxn ang="0">
                <a:pos x="connsiteX7085" y="connsiteY7085"/>
              </a:cxn>
              <a:cxn ang="0">
                <a:pos x="connsiteX7086" y="connsiteY7086"/>
              </a:cxn>
              <a:cxn ang="0">
                <a:pos x="connsiteX7087" y="connsiteY7087"/>
              </a:cxn>
              <a:cxn ang="0">
                <a:pos x="connsiteX7088" y="connsiteY7088"/>
              </a:cxn>
              <a:cxn ang="0">
                <a:pos x="connsiteX7089" y="connsiteY7089"/>
              </a:cxn>
              <a:cxn ang="0">
                <a:pos x="connsiteX7090" y="connsiteY7090"/>
              </a:cxn>
              <a:cxn ang="0">
                <a:pos x="connsiteX7091" y="connsiteY7091"/>
              </a:cxn>
              <a:cxn ang="0">
                <a:pos x="connsiteX7092" y="connsiteY7092"/>
              </a:cxn>
              <a:cxn ang="0">
                <a:pos x="connsiteX7093" y="connsiteY7093"/>
              </a:cxn>
              <a:cxn ang="0">
                <a:pos x="connsiteX7094" y="connsiteY7094"/>
              </a:cxn>
              <a:cxn ang="0">
                <a:pos x="connsiteX7095" y="connsiteY7095"/>
              </a:cxn>
              <a:cxn ang="0">
                <a:pos x="connsiteX7096" y="connsiteY7096"/>
              </a:cxn>
              <a:cxn ang="0">
                <a:pos x="connsiteX7097" y="connsiteY7097"/>
              </a:cxn>
              <a:cxn ang="0">
                <a:pos x="connsiteX7098" y="connsiteY7098"/>
              </a:cxn>
              <a:cxn ang="0">
                <a:pos x="connsiteX7099" y="connsiteY7099"/>
              </a:cxn>
              <a:cxn ang="0">
                <a:pos x="connsiteX7100" y="connsiteY7100"/>
              </a:cxn>
              <a:cxn ang="0">
                <a:pos x="connsiteX7101" y="connsiteY7101"/>
              </a:cxn>
              <a:cxn ang="0">
                <a:pos x="connsiteX7102" y="connsiteY7102"/>
              </a:cxn>
              <a:cxn ang="0">
                <a:pos x="connsiteX7103" y="connsiteY7103"/>
              </a:cxn>
              <a:cxn ang="0">
                <a:pos x="connsiteX7104" y="connsiteY7104"/>
              </a:cxn>
              <a:cxn ang="0">
                <a:pos x="connsiteX7105" y="connsiteY7105"/>
              </a:cxn>
              <a:cxn ang="0">
                <a:pos x="connsiteX7106" y="connsiteY7106"/>
              </a:cxn>
              <a:cxn ang="0">
                <a:pos x="connsiteX7107" y="connsiteY7107"/>
              </a:cxn>
              <a:cxn ang="0">
                <a:pos x="connsiteX7108" y="connsiteY7108"/>
              </a:cxn>
              <a:cxn ang="0">
                <a:pos x="connsiteX7109" y="connsiteY7109"/>
              </a:cxn>
              <a:cxn ang="0">
                <a:pos x="connsiteX7110" y="connsiteY7110"/>
              </a:cxn>
              <a:cxn ang="0">
                <a:pos x="connsiteX7111" y="connsiteY7111"/>
              </a:cxn>
              <a:cxn ang="0">
                <a:pos x="connsiteX7112" y="connsiteY7112"/>
              </a:cxn>
              <a:cxn ang="0">
                <a:pos x="connsiteX7113" y="connsiteY7113"/>
              </a:cxn>
              <a:cxn ang="0">
                <a:pos x="connsiteX7114" y="connsiteY7114"/>
              </a:cxn>
              <a:cxn ang="0">
                <a:pos x="connsiteX7115" y="connsiteY7115"/>
              </a:cxn>
              <a:cxn ang="0">
                <a:pos x="connsiteX7116" y="connsiteY7116"/>
              </a:cxn>
              <a:cxn ang="0">
                <a:pos x="connsiteX7117" y="connsiteY7117"/>
              </a:cxn>
              <a:cxn ang="0">
                <a:pos x="connsiteX7118" y="connsiteY7118"/>
              </a:cxn>
              <a:cxn ang="0">
                <a:pos x="connsiteX7119" y="connsiteY7119"/>
              </a:cxn>
              <a:cxn ang="0">
                <a:pos x="connsiteX7120" y="connsiteY7120"/>
              </a:cxn>
              <a:cxn ang="0">
                <a:pos x="connsiteX7121" y="connsiteY7121"/>
              </a:cxn>
              <a:cxn ang="0">
                <a:pos x="connsiteX7122" y="connsiteY7122"/>
              </a:cxn>
              <a:cxn ang="0">
                <a:pos x="connsiteX7123" y="connsiteY7123"/>
              </a:cxn>
              <a:cxn ang="0">
                <a:pos x="connsiteX7124" y="connsiteY7124"/>
              </a:cxn>
              <a:cxn ang="0">
                <a:pos x="connsiteX7125" y="connsiteY7125"/>
              </a:cxn>
              <a:cxn ang="0">
                <a:pos x="connsiteX7126" y="connsiteY7126"/>
              </a:cxn>
              <a:cxn ang="0">
                <a:pos x="connsiteX7127" y="connsiteY7127"/>
              </a:cxn>
              <a:cxn ang="0">
                <a:pos x="connsiteX7128" y="connsiteY7128"/>
              </a:cxn>
              <a:cxn ang="0">
                <a:pos x="connsiteX7129" y="connsiteY7129"/>
              </a:cxn>
              <a:cxn ang="0">
                <a:pos x="connsiteX7130" y="connsiteY7130"/>
              </a:cxn>
              <a:cxn ang="0">
                <a:pos x="connsiteX7131" y="connsiteY7131"/>
              </a:cxn>
              <a:cxn ang="0">
                <a:pos x="connsiteX7132" y="connsiteY7132"/>
              </a:cxn>
              <a:cxn ang="0">
                <a:pos x="connsiteX7133" y="connsiteY7133"/>
              </a:cxn>
              <a:cxn ang="0">
                <a:pos x="connsiteX7134" y="connsiteY7134"/>
              </a:cxn>
              <a:cxn ang="0">
                <a:pos x="connsiteX7135" y="connsiteY7135"/>
              </a:cxn>
              <a:cxn ang="0">
                <a:pos x="connsiteX7136" y="connsiteY7136"/>
              </a:cxn>
              <a:cxn ang="0">
                <a:pos x="connsiteX7137" y="connsiteY7137"/>
              </a:cxn>
              <a:cxn ang="0">
                <a:pos x="connsiteX7138" y="connsiteY7138"/>
              </a:cxn>
              <a:cxn ang="0">
                <a:pos x="connsiteX7139" y="connsiteY7139"/>
              </a:cxn>
              <a:cxn ang="0">
                <a:pos x="connsiteX7140" y="connsiteY7140"/>
              </a:cxn>
              <a:cxn ang="0">
                <a:pos x="connsiteX7141" y="connsiteY7141"/>
              </a:cxn>
              <a:cxn ang="0">
                <a:pos x="connsiteX7142" y="connsiteY7142"/>
              </a:cxn>
              <a:cxn ang="0">
                <a:pos x="connsiteX7143" y="connsiteY7143"/>
              </a:cxn>
              <a:cxn ang="0">
                <a:pos x="connsiteX7144" y="connsiteY7144"/>
              </a:cxn>
              <a:cxn ang="0">
                <a:pos x="connsiteX7145" y="connsiteY7145"/>
              </a:cxn>
              <a:cxn ang="0">
                <a:pos x="connsiteX7146" y="connsiteY7146"/>
              </a:cxn>
              <a:cxn ang="0">
                <a:pos x="connsiteX7147" y="connsiteY7147"/>
              </a:cxn>
              <a:cxn ang="0">
                <a:pos x="connsiteX7148" y="connsiteY7148"/>
              </a:cxn>
              <a:cxn ang="0">
                <a:pos x="connsiteX7149" y="connsiteY7149"/>
              </a:cxn>
              <a:cxn ang="0">
                <a:pos x="connsiteX7150" y="connsiteY7150"/>
              </a:cxn>
              <a:cxn ang="0">
                <a:pos x="connsiteX7151" y="connsiteY7151"/>
              </a:cxn>
              <a:cxn ang="0">
                <a:pos x="connsiteX7152" y="connsiteY7152"/>
              </a:cxn>
              <a:cxn ang="0">
                <a:pos x="connsiteX7153" y="connsiteY7153"/>
              </a:cxn>
              <a:cxn ang="0">
                <a:pos x="connsiteX7154" y="connsiteY7154"/>
              </a:cxn>
              <a:cxn ang="0">
                <a:pos x="connsiteX7155" y="connsiteY7155"/>
              </a:cxn>
              <a:cxn ang="0">
                <a:pos x="connsiteX7156" y="connsiteY7156"/>
              </a:cxn>
              <a:cxn ang="0">
                <a:pos x="connsiteX7157" y="connsiteY7157"/>
              </a:cxn>
              <a:cxn ang="0">
                <a:pos x="connsiteX7158" y="connsiteY7158"/>
              </a:cxn>
              <a:cxn ang="0">
                <a:pos x="connsiteX7159" y="connsiteY7159"/>
              </a:cxn>
              <a:cxn ang="0">
                <a:pos x="connsiteX7160" y="connsiteY7160"/>
              </a:cxn>
              <a:cxn ang="0">
                <a:pos x="connsiteX7161" y="connsiteY7161"/>
              </a:cxn>
              <a:cxn ang="0">
                <a:pos x="connsiteX7162" y="connsiteY7162"/>
              </a:cxn>
              <a:cxn ang="0">
                <a:pos x="connsiteX7163" y="connsiteY7163"/>
              </a:cxn>
              <a:cxn ang="0">
                <a:pos x="connsiteX7164" y="connsiteY7164"/>
              </a:cxn>
              <a:cxn ang="0">
                <a:pos x="connsiteX7165" y="connsiteY7165"/>
              </a:cxn>
              <a:cxn ang="0">
                <a:pos x="connsiteX7166" y="connsiteY7166"/>
              </a:cxn>
              <a:cxn ang="0">
                <a:pos x="connsiteX7167" y="connsiteY7167"/>
              </a:cxn>
              <a:cxn ang="0">
                <a:pos x="connsiteX7168" y="connsiteY7168"/>
              </a:cxn>
              <a:cxn ang="0">
                <a:pos x="connsiteX7169" y="connsiteY7169"/>
              </a:cxn>
              <a:cxn ang="0">
                <a:pos x="connsiteX7170" y="connsiteY7170"/>
              </a:cxn>
              <a:cxn ang="0">
                <a:pos x="connsiteX7171" y="connsiteY7171"/>
              </a:cxn>
              <a:cxn ang="0">
                <a:pos x="connsiteX7172" y="connsiteY7172"/>
              </a:cxn>
              <a:cxn ang="0">
                <a:pos x="connsiteX7173" y="connsiteY7173"/>
              </a:cxn>
              <a:cxn ang="0">
                <a:pos x="connsiteX7174" y="connsiteY7174"/>
              </a:cxn>
              <a:cxn ang="0">
                <a:pos x="connsiteX7175" y="connsiteY7175"/>
              </a:cxn>
              <a:cxn ang="0">
                <a:pos x="connsiteX7176" y="connsiteY7176"/>
              </a:cxn>
              <a:cxn ang="0">
                <a:pos x="connsiteX7177" y="connsiteY7177"/>
              </a:cxn>
              <a:cxn ang="0">
                <a:pos x="connsiteX7178" y="connsiteY7178"/>
              </a:cxn>
              <a:cxn ang="0">
                <a:pos x="connsiteX7179" y="connsiteY7179"/>
              </a:cxn>
              <a:cxn ang="0">
                <a:pos x="connsiteX7180" y="connsiteY7180"/>
              </a:cxn>
              <a:cxn ang="0">
                <a:pos x="connsiteX7181" y="connsiteY7181"/>
              </a:cxn>
              <a:cxn ang="0">
                <a:pos x="connsiteX7182" y="connsiteY7182"/>
              </a:cxn>
              <a:cxn ang="0">
                <a:pos x="connsiteX7183" y="connsiteY7183"/>
              </a:cxn>
              <a:cxn ang="0">
                <a:pos x="connsiteX7184" y="connsiteY7184"/>
              </a:cxn>
              <a:cxn ang="0">
                <a:pos x="connsiteX7185" y="connsiteY7185"/>
              </a:cxn>
              <a:cxn ang="0">
                <a:pos x="connsiteX7186" y="connsiteY7186"/>
              </a:cxn>
              <a:cxn ang="0">
                <a:pos x="connsiteX7187" y="connsiteY7187"/>
              </a:cxn>
              <a:cxn ang="0">
                <a:pos x="connsiteX7188" y="connsiteY7188"/>
              </a:cxn>
              <a:cxn ang="0">
                <a:pos x="connsiteX7189" y="connsiteY7189"/>
              </a:cxn>
              <a:cxn ang="0">
                <a:pos x="connsiteX7190" y="connsiteY7190"/>
              </a:cxn>
              <a:cxn ang="0">
                <a:pos x="connsiteX7191" y="connsiteY7191"/>
              </a:cxn>
              <a:cxn ang="0">
                <a:pos x="connsiteX7192" y="connsiteY7192"/>
              </a:cxn>
              <a:cxn ang="0">
                <a:pos x="connsiteX7193" y="connsiteY7193"/>
              </a:cxn>
              <a:cxn ang="0">
                <a:pos x="connsiteX7194" y="connsiteY7194"/>
              </a:cxn>
              <a:cxn ang="0">
                <a:pos x="connsiteX7195" y="connsiteY7195"/>
              </a:cxn>
              <a:cxn ang="0">
                <a:pos x="connsiteX7196" y="connsiteY7196"/>
              </a:cxn>
              <a:cxn ang="0">
                <a:pos x="connsiteX7197" y="connsiteY7197"/>
              </a:cxn>
              <a:cxn ang="0">
                <a:pos x="connsiteX7198" y="connsiteY7198"/>
              </a:cxn>
              <a:cxn ang="0">
                <a:pos x="connsiteX7199" y="connsiteY7199"/>
              </a:cxn>
              <a:cxn ang="0">
                <a:pos x="connsiteX7200" y="connsiteY7200"/>
              </a:cxn>
              <a:cxn ang="0">
                <a:pos x="connsiteX7201" y="connsiteY7201"/>
              </a:cxn>
              <a:cxn ang="0">
                <a:pos x="connsiteX7202" y="connsiteY7202"/>
              </a:cxn>
              <a:cxn ang="0">
                <a:pos x="connsiteX7203" y="connsiteY7203"/>
              </a:cxn>
              <a:cxn ang="0">
                <a:pos x="connsiteX7204" y="connsiteY7204"/>
              </a:cxn>
              <a:cxn ang="0">
                <a:pos x="connsiteX7205" y="connsiteY7205"/>
              </a:cxn>
              <a:cxn ang="0">
                <a:pos x="connsiteX7206" y="connsiteY7206"/>
              </a:cxn>
              <a:cxn ang="0">
                <a:pos x="connsiteX7207" y="connsiteY7207"/>
              </a:cxn>
              <a:cxn ang="0">
                <a:pos x="connsiteX7208" y="connsiteY7208"/>
              </a:cxn>
              <a:cxn ang="0">
                <a:pos x="connsiteX7209" y="connsiteY7209"/>
              </a:cxn>
              <a:cxn ang="0">
                <a:pos x="connsiteX7210" y="connsiteY7210"/>
              </a:cxn>
              <a:cxn ang="0">
                <a:pos x="connsiteX7211" y="connsiteY7211"/>
              </a:cxn>
              <a:cxn ang="0">
                <a:pos x="connsiteX7212" y="connsiteY7212"/>
              </a:cxn>
              <a:cxn ang="0">
                <a:pos x="connsiteX7213" y="connsiteY7213"/>
              </a:cxn>
              <a:cxn ang="0">
                <a:pos x="connsiteX7214" y="connsiteY7214"/>
              </a:cxn>
              <a:cxn ang="0">
                <a:pos x="connsiteX7215" y="connsiteY7215"/>
              </a:cxn>
              <a:cxn ang="0">
                <a:pos x="connsiteX7216" y="connsiteY7216"/>
              </a:cxn>
              <a:cxn ang="0">
                <a:pos x="connsiteX7217" y="connsiteY7217"/>
              </a:cxn>
              <a:cxn ang="0">
                <a:pos x="connsiteX7218" y="connsiteY7218"/>
              </a:cxn>
              <a:cxn ang="0">
                <a:pos x="connsiteX7219" y="connsiteY7219"/>
              </a:cxn>
              <a:cxn ang="0">
                <a:pos x="connsiteX7220" y="connsiteY7220"/>
              </a:cxn>
              <a:cxn ang="0">
                <a:pos x="connsiteX7221" y="connsiteY7221"/>
              </a:cxn>
              <a:cxn ang="0">
                <a:pos x="connsiteX7222" y="connsiteY7222"/>
              </a:cxn>
              <a:cxn ang="0">
                <a:pos x="connsiteX7223" y="connsiteY7223"/>
              </a:cxn>
              <a:cxn ang="0">
                <a:pos x="connsiteX7224" y="connsiteY7224"/>
              </a:cxn>
              <a:cxn ang="0">
                <a:pos x="connsiteX7225" y="connsiteY7225"/>
              </a:cxn>
              <a:cxn ang="0">
                <a:pos x="connsiteX7226" y="connsiteY7226"/>
              </a:cxn>
              <a:cxn ang="0">
                <a:pos x="connsiteX7227" y="connsiteY7227"/>
              </a:cxn>
              <a:cxn ang="0">
                <a:pos x="connsiteX7228" y="connsiteY7228"/>
              </a:cxn>
              <a:cxn ang="0">
                <a:pos x="connsiteX7229" y="connsiteY7229"/>
              </a:cxn>
              <a:cxn ang="0">
                <a:pos x="connsiteX7230" y="connsiteY7230"/>
              </a:cxn>
              <a:cxn ang="0">
                <a:pos x="connsiteX7231" y="connsiteY7231"/>
              </a:cxn>
              <a:cxn ang="0">
                <a:pos x="connsiteX7232" y="connsiteY7232"/>
              </a:cxn>
              <a:cxn ang="0">
                <a:pos x="connsiteX7233" y="connsiteY7233"/>
              </a:cxn>
              <a:cxn ang="0">
                <a:pos x="connsiteX7234" y="connsiteY7234"/>
              </a:cxn>
              <a:cxn ang="0">
                <a:pos x="connsiteX7235" y="connsiteY7235"/>
              </a:cxn>
              <a:cxn ang="0">
                <a:pos x="connsiteX7236" y="connsiteY7236"/>
              </a:cxn>
              <a:cxn ang="0">
                <a:pos x="connsiteX7237" y="connsiteY7237"/>
              </a:cxn>
              <a:cxn ang="0">
                <a:pos x="connsiteX7238" y="connsiteY7238"/>
              </a:cxn>
              <a:cxn ang="0">
                <a:pos x="connsiteX7239" y="connsiteY7239"/>
              </a:cxn>
              <a:cxn ang="0">
                <a:pos x="connsiteX7240" y="connsiteY7240"/>
              </a:cxn>
              <a:cxn ang="0">
                <a:pos x="connsiteX7241" y="connsiteY7241"/>
              </a:cxn>
              <a:cxn ang="0">
                <a:pos x="connsiteX7242" y="connsiteY7242"/>
              </a:cxn>
              <a:cxn ang="0">
                <a:pos x="connsiteX7243" y="connsiteY7243"/>
              </a:cxn>
              <a:cxn ang="0">
                <a:pos x="connsiteX7244" y="connsiteY7244"/>
              </a:cxn>
              <a:cxn ang="0">
                <a:pos x="connsiteX7245" y="connsiteY7245"/>
              </a:cxn>
              <a:cxn ang="0">
                <a:pos x="connsiteX7246" y="connsiteY7246"/>
              </a:cxn>
              <a:cxn ang="0">
                <a:pos x="connsiteX7247" y="connsiteY7247"/>
              </a:cxn>
              <a:cxn ang="0">
                <a:pos x="connsiteX7248" y="connsiteY7248"/>
              </a:cxn>
              <a:cxn ang="0">
                <a:pos x="connsiteX7249" y="connsiteY7249"/>
              </a:cxn>
              <a:cxn ang="0">
                <a:pos x="connsiteX7250" y="connsiteY7250"/>
              </a:cxn>
              <a:cxn ang="0">
                <a:pos x="connsiteX7251" y="connsiteY7251"/>
              </a:cxn>
              <a:cxn ang="0">
                <a:pos x="connsiteX7252" y="connsiteY7252"/>
              </a:cxn>
              <a:cxn ang="0">
                <a:pos x="connsiteX7253" y="connsiteY7253"/>
              </a:cxn>
              <a:cxn ang="0">
                <a:pos x="connsiteX7254" y="connsiteY7254"/>
              </a:cxn>
              <a:cxn ang="0">
                <a:pos x="connsiteX7255" y="connsiteY7255"/>
              </a:cxn>
              <a:cxn ang="0">
                <a:pos x="connsiteX7256" y="connsiteY7256"/>
              </a:cxn>
              <a:cxn ang="0">
                <a:pos x="connsiteX7257" y="connsiteY7257"/>
              </a:cxn>
              <a:cxn ang="0">
                <a:pos x="connsiteX7258" y="connsiteY7258"/>
              </a:cxn>
              <a:cxn ang="0">
                <a:pos x="connsiteX7259" y="connsiteY7259"/>
              </a:cxn>
              <a:cxn ang="0">
                <a:pos x="connsiteX7260" y="connsiteY7260"/>
              </a:cxn>
              <a:cxn ang="0">
                <a:pos x="connsiteX7261" y="connsiteY7261"/>
              </a:cxn>
              <a:cxn ang="0">
                <a:pos x="connsiteX7262" y="connsiteY7262"/>
              </a:cxn>
              <a:cxn ang="0">
                <a:pos x="connsiteX7263" y="connsiteY7263"/>
              </a:cxn>
              <a:cxn ang="0">
                <a:pos x="connsiteX7264" y="connsiteY7264"/>
              </a:cxn>
              <a:cxn ang="0">
                <a:pos x="connsiteX7265" y="connsiteY7265"/>
              </a:cxn>
              <a:cxn ang="0">
                <a:pos x="connsiteX7266" y="connsiteY7266"/>
              </a:cxn>
              <a:cxn ang="0">
                <a:pos x="connsiteX7267" y="connsiteY7267"/>
              </a:cxn>
              <a:cxn ang="0">
                <a:pos x="connsiteX7268" y="connsiteY7268"/>
              </a:cxn>
              <a:cxn ang="0">
                <a:pos x="connsiteX7269" y="connsiteY7269"/>
              </a:cxn>
              <a:cxn ang="0">
                <a:pos x="connsiteX7270" y="connsiteY7270"/>
              </a:cxn>
              <a:cxn ang="0">
                <a:pos x="connsiteX7271" y="connsiteY7271"/>
              </a:cxn>
              <a:cxn ang="0">
                <a:pos x="connsiteX7272" y="connsiteY7272"/>
              </a:cxn>
              <a:cxn ang="0">
                <a:pos x="connsiteX7273" y="connsiteY7273"/>
              </a:cxn>
              <a:cxn ang="0">
                <a:pos x="connsiteX7274" y="connsiteY7274"/>
              </a:cxn>
              <a:cxn ang="0">
                <a:pos x="connsiteX7275" y="connsiteY7275"/>
              </a:cxn>
              <a:cxn ang="0">
                <a:pos x="connsiteX7276" y="connsiteY7276"/>
              </a:cxn>
              <a:cxn ang="0">
                <a:pos x="connsiteX7277" y="connsiteY7277"/>
              </a:cxn>
              <a:cxn ang="0">
                <a:pos x="connsiteX7278" y="connsiteY7278"/>
              </a:cxn>
              <a:cxn ang="0">
                <a:pos x="connsiteX7279" y="connsiteY7279"/>
              </a:cxn>
              <a:cxn ang="0">
                <a:pos x="connsiteX7280" y="connsiteY7280"/>
              </a:cxn>
              <a:cxn ang="0">
                <a:pos x="connsiteX7281" y="connsiteY7281"/>
              </a:cxn>
              <a:cxn ang="0">
                <a:pos x="connsiteX7282" y="connsiteY7282"/>
              </a:cxn>
              <a:cxn ang="0">
                <a:pos x="connsiteX7283" y="connsiteY7283"/>
              </a:cxn>
              <a:cxn ang="0">
                <a:pos x="connsiteX7284" y="connsiteY7284"/>
              </a:cxn>
              <a:cxn ang="0">
                <a:pos x="connsiteX7285" y="connsiteY7285"/>
              </a:cxn>
              <a:cxn ang="0">
                <a:pos x="connsiteX7286" y="connsiteY7286"/>
              </a:cxn>
              <a:cxn ang="0">
                <a:pos x="connsiteX7287" y="connsiteY7287"/>
              </a:cxn>
              <a:cxn ang="0">
                <a:pos x="connsiteX7288" y="connsiteY7288"/>
              </a:cxn>
              <a:cxn ang="0">
                <a:pos x="connsiteX7289" y="connsiteY7289"/>
              </a:cxn>
              <a:cxn ang="0">
                <a:pos x="connsiteX7290" y="connsiteY7290"/>
              </a:cxn>
              <a:cxn ang="0">
                <a:pos x="connsiteX7291" y="connsiteY7291"/>
              </a:cxn>
              <a:cxn ang="0">
                <a:pos x="connsiteX7292" y="connsiteY7292"/>
              </a:cxn>
              <a:cxn ang="0">
                <a:pos x="connsiteX7293" y="connsiteY7293"/>
              </a:cxn>
              <a:cxn ang="0">
                <a:pos x="connsiteX7294" y="connsiteY7294"/>
              </a:cxn>
              <a:cxn ang="0">
                <a:pos x="connsiteX7295" y="connsiteY7295"/>
              </a:cxn>
              <a:cxn ang="0">
                <a:pos x="connsiteX7296" y="connsiteY7296"/>
              </a:cxn>
              <a:cxn ang="0">
                <a:pos x="connsiteX7297" y="connsiteY7297"/>
              </a:cxn>
              <a:cxn ang="0">
                <a:pos x="connsiteX7298" y="connsiteY7298"/>
              </a:cxn>
              <a:cxn ang="0">
                <a:pos x="connsiteX7299" y="connsiteY7299"/>
              </a:cxn>
              <a:cxn ang="0">
                <a:pos x="connsiteX7300" y="connsiteY7300"/>
              </a:cxn>
              <a:cxn ang="0">
                <a:pos x="connsiteX7301" y="connsiteY7301"/>
              </a:cxn>
              <a:cxn ang="0">
                <a:pos x="connsiteX7302" y="connsiteY7302"/>
              </a:cxn>
              <a:cxn ang="0">
                <a:pos x="connsiteX7303" y="connsiteY7303"/>
              </a:cxn>
              <a:cxn ang="0">
                <a:pos x="connsiteX7304" y="connsiteY7304"/>
              </a:cxn>
              <a:cxn ang="0">
                <a:pos x="connsiteX7305" y="connsiteY7305"/>
              </a:cxn>
              <a:cxn ang="0">
                <a:pos x="connsiteX7306" y="connsiteY7306"/>
              </a:cxn>
              <a:cxn ang="0">
                <a:pos x="connsiteX7307" y="connsiteY7307"/>
              </a:cxn>
              <a:cxn ang="0">
                <a:pos x="connsiteX7308" y="connsiteY7308"/>
              </a:cxn>
              <a:cxn ang="0">
                <a:pos x="connsiteX7309" y="connsiteY7309"/>
              </a:cxn>
              <a:cxn ang="0">
                <a:pos x="connsiteX7310" y="connsiteY7310"/>
              </a:cxn>
              <a:cxn ang="0">
                <a:pos x="connsiteX7311" y="connsiteY7311"/>
              </a:cxn>
              <a:cxn ang="0">
                <a:pos x="connsiteX7312" y="connsiteY7312"/>
              </a:cxn>
              <a:cxn ang="0">
                <a:pos x="connsiteX7313" y="connsiteY7313"/>
              </a:cxn>
              <a:cxn ang="0">
                <a:pos x="connsiteX7314" y="connsiteY7314"/>
              </a:cxn>
              <a:cxn ang="0">
                <a:pos x="connsiteX7315" y="connsiteY7315"/>
              </a:cxn>
              <a:cxn ang="0">
                <a:pos x="connsiteX7316" y="connsiteY7316"/>
              </a:cxn>
              <a:cxn ang="0">
                <a:pos x="connsiteX7317" y="connsiteY7317"/>
              </a:cxn>
              <a:cxn ang="0">
                <a:pos x="connsiteX7318" y="connsiteY7318"/>
              </a:cxn>
              <a:cxn ang="0">
                <a:pos x="connsiteX7319" y="connsiteY7319"/>
              </a:cxn>
              <a:cxn ang="0">
                <a:pos x="connsiteX7320" y="connsiteY7320"/>
              </a:cxn>
              <a:cxn ang="0">
                <a:pos x="connsiteX7321" y="connsiteY7321"/>
              </a:cxn>
              <a:cxn ang="0">
                <a:pos x="connsiteX7322" y="connsiteY7322"/>
              </a:cxn>
              <a:cxn ang="0">
                <a:pos x="connsiteX7323" y="connsiteY7323"/>
              </a:cxn>
              <a:cxn ang="0">
                <a:pos x="connsiteX7324" y="connsiteY7324"/>
              </a:cxn>
              <a:cxn ang="0">
                <a:pos x="connsiteX7325" y="connsiteY7325"/>
              </a:cxn>
              <a:cxn ang="0">
                <a:pos x="connsiteX7326" y="connsiteY7326"/>
              </a:cxn>
              <a:cxn ang="0">
                <a:pos x="connsiteX7327" y="connsiteY7327"/>
              </a:cxn>
              <a:cxn ang="0">
                <a:pos x="connsiteX7328" y="connsiteY7328"/>
              </a:cxn>
              <a:cxn ang="0">
                <a:pos x="connsiteX7329" y="connsiteY7329"/>
              </a:cxn>
              <a:cxn ang="0">
                <a:pos x="connsiteX7330" y="connsiteY7330"/>
              </a:cxn>
              <a:cxn ang="0">
                <a:pos x="connsiteX7331" y="connsiteY7331"/>
              </a:cxn>
              <a:cxn ang="0">
                <a:pos x="connsiteX7332" y="connsiteY7332"/>
              </a:cxn>
              <a:cxn ang="0">
                <a:pos x="connsiteX7333" y="connsiteY7333"/>
              </a:cxn>
              <a:cxn ang="0">
                <a:pos x="connsiteX7334" y="connsiteY7334"/>
              </a:cxn>
              <a:cxn ang="0">
                <a:pos x="connsiteX7335" y="connsiteY7335"/>
              </a:cxn>
              <a:cxn ang="0">
                <a:pos x="connsiteX7336" y="connsiteY7336"/>
              </a:cxn>
              <a:cxn ang="0">
                <a:pos x="connsiteX7337" y="connsiteY7337"/>
              </a:cxn>
              <a:cxn ang="0">
                <a:pos x="connsiteX7338" y="connsiteY7338"/>
              </a:cxn>
              <a:cxn ang="0">
                <a:pos x="connsiteX7339" y="connsiteY7339"/>
              </a:cxn>
              <a:cxn ang="0">
                <a:pos x="connsiteX7340" y="connsiteY7340"/>
              </a:cxn>
              <a:cxn ang="0">
                <a:pos x="connsiteX7341" y="connsiteY7341"/>
              </a:cxn>
              <a:cxn ang="0">
                <a:pos x="connsiteX7342" y="connsiteY7342"/>
              </a:cxn>
              <a:cxn ang="0">
                <a:pos x="connsiteX7343" y="connsiteY7343"/>
              </a:cxn>
              <a:cxn ang="0">
                <a:pos x="connsiteX7344" y="connsiteY7344"/>
              </a:cxn>
              <a:cxn ang="0">
                <a:pos x="connsiteX7345" y="connsiteY7345"/>
              </a:cxn>
              <a:cxn ang="0">
                <a:pos x="connsiteX7346" y="connsiteY7346"/>
              </a:cxn>
              <a:cxn ang="0">
                <a:pos x="connsiteX7347" y="connsiteY7347"/>
              </a:cxn>
              <a:cxn ang="0">
                <a:pos x="connsiteX7348" y="connsiteY7348"/>
              </a:cxn>
              <a:cxn ang="0">
                <a:pos x="connsiteX7349" y="connsiteY7349"/>
              </a:cxn>
              <a:cxn ang="0">
                <a:pos x="connsiteX7350" y="connsiteY7350"/>
              </a:cxn>
              <a:cxn ang="0">
                <a:pos x="connsiteX7351" y="connsiteY7351"/>
              </a:cxn>
              <a:cxn ang="0">
                <a:pos x="connsiteX7352" y="connsiteY7352"/>
              </a:cxn>
              <a:cxn ang="0">
                <a:pos x="connsiteX7353" y="connsiteY7353"/>
              </a:cxn>
              <a:cxn ang="0">
                <a:pos x="connsiteX7354" y="connsiteY7354"/>
              </a:cxn>
              <a:cxn ang="0">
                <a:pos x="connsiteX7355" y="connsiteY7355"/>
              </a:cxn>
              <a:cxn ang="0">
                <a:pos x="connsiteX7356" y="connsiteY7356"/>
              </a:cxn>
              <a:cxn ang="0">
                <a:pos x="connsiteX7357" y="connsiteY7357"/>
              </a:cxn>
              <a:cxn ang="0">
                <a:pos x="connsiteX7358" y="connsiteY7358"/>
              </a:cxn>
              <a:cxn ang="0">
                <a:pos x="connsiteX7359" y="connsiteY7359"/>
              </a:cxn>
              <a:cxn ang="0">
                <a:pos x="connsiteX7360" y="connsiteY7360"/>
              </a:cxn>
              <a:cxn ang="0">
                <a:pos x="connsiteX7361" y="connsiteY7361"/>
              </a:cxn>
              <a:cxn ang="0">
                <a:pos x="connsiteX7362" y="connsiteY7362"/>
              </a:cxn>
              <a:cxn ang="0">
                <a:pos x="connsiteX7363" y="connsiteY7363"/>
              </a:cxn>
              <a:cxn ang="0">
                <a:pos x="connsiteX7364" y="connsiteY7364"/>
              </a:cxn>
              <a:cxn ang="0">
                <a:pos x="connsiteX7365" y="connsiteY7365"/>
              </a:cxn>
              <a:cxn ang="0">
                <a:pos x="connsiteX7366" y="connsiteY7366"/>
              </a:cxn>
              <a:cxn ang="0">
                <a:pos x="connsiteX7367" y="connsiteY7367"/>
              </a:cxn>
              <a:cxn ang="0">
                <a:pos x="connsiteX7368" y="connsiteY7368"/>
              </a:cxn>
              <a:cxn ang="0">
                <a:pos x="connsiteX7369" y="connsiteY7369"/>
              </a:cxn>
              <a:cxn ang="0">
                <a:pos x="connsiteX7370" y="connsiteY7370"/>
              </a:cxn>
              <a:cxn ang="0">
                <a:pos x="connsiteX7371" y="connsiteY7371"/>
              </a:cxn>
              <a:cxn ang="0">
                <a:pos x="connsiteX7372" y="connsiteY7372"/>
              </a:cxn>
              <a:cxn ang="0">
                <a:pos x="connsiteX7373" y="connsiteY7373"/>
              </a:cxn>
              <a:cxn ang="0">
                <a:pos x="connsiteX7374" y="connsiteY7374"/>
              </a:cxn>
              <a:cxn ang="0">
                <a:pos x="connsiteX7375" y="connsiteY7375"/>
              </a:cxn>
              <a:cxn ang="0">
                <a:pos x="connsiteX7376" y="connsiteY7376"/>
              </a:cxn>
              <a:cxn ang="0">
                <a:pos x="connsiteX7377" y="connsiteY7377"/>
              </a:cxn>
              <a:cxn ang="0">
                <a:pos x="connsiteX7378" y="connsiteY7378"/>
              </a:cxn>
              <a:cxn ang="0">
                <a:pos x="connsiteX7379" y="connsiteY7379"/>
              </a:cxn>
              <a:cxn ang="0">
                <a:pos x="connsiteX7380" y="connsiteY7380"/>
              </a:cxn>
              <a:cxn ang="0">
                <a:pos x="connsiteX7381" y="connsiteY7381"/>
              </a:cxn>
              <a:cxn ang="0">
                <a:pos x="connsiteX7382" y="connsiteY7382"/>
              </a:cxn>
              <a:cxn ang="0">
                <a:pos x="connsiteX7383" y="connsiteY7383"/>
              </a:cxn>
              <a:cxn ang="0">
                <a:pos x="connsiteX7384" y="connsiteY7384"/>
              </a:cxn>
              <a:cxn ang="0">
                <a:pos x="connsiteX7385" y="connsiteY7385"/>
              </a:cxn>
              <a:cxn ang="0">
                <a:pos x="connsiteX7386" y="connsiteY7386"/>
              </a:cxn>
              <a:cxn ang="0">
                <a:pos x="connsiteX7387" y="connsiteY7387"/>
              </a:cxn>
              <a:cxn ang="0">
                <a:pos x="connsiteX7388" y="connsiteY7388"/>
              </a:cxn>
              <a:cxn ang="0">
                <a:pos x="connsiteX7389" y="connsiteY7389"/>
              </a:cxn>
              <a:cxn ang="0">
                <a:pos x="connsiteX7390" y="connsiteY7390"/>
              </a:cxn>
              <a:cxn ang="0">
                <a:pos x="connsiteX7391" y="connsiteY7391"/>
              </a:cxn>
              <a:cxn ang="0">
                <a:pos x="connsiteX7392" y="connsiteY7392"/>
              </a:cxn>
              <a:cxn ang="0">
                <a:pos x="connsiteX7393" y="connsiteY7393"/>
              </a:cxn>
              <a:cxn ang="0">
                <a:pos x="connsiteX7394" y="connsiteY7394"/>
              </a:cxn>
              <a:cxn ang="0">
                <a:pos x="connsiteX7395" y="connsiteY7395"/>
              </a:cxn>
              <a:cxn ang="0">
                <a:pos x="connsiteX7396" y="connsiteY7396"/>
              </a:cxn>
              <a:cxn ang="0">
                <a:pos x="connsiteX7397" y="connsiteY7397"/>
              </a:cxn>
              <a:cxn ang="0">
                <a:pos x="connsiteX7398" y="connsiteY7398"/>
              </a:cxn>
              <a:cxn ang="0">
                <a:pos x="connsiteX7399" y="connsiteY7399"/>
              </a:cxn>
              <a:cxn ang="0">
                <a:pos x="connsiteX7400" y="connsiteY7400"/>
              </a:cxn>
              <a:cxn ang="0">
                <a:pos x="connsiteX7401" y="connsiteY7401"/>
              </a:cxn>
              <a:cxn ang="0">
                <a:pos x="connsiteX7402" y="connsiteY7402"/>
              </a:cxn>
              <a:cxn ang="0">
                <a:pos x="connsiteX7403" y="connsiteY7403"/>
              </a:cxn>
              <a:cxn ang="0">
                <a:pos x="connsiteX7404" y="connsiteY7404"/>
              </a:cxn>
              <a:cxn ang="0">
                <a:pos x="connsiteX7405" y="connsiteY7405"/>
              </a:cxn>
              <a:cxn ang="0">
                <a:pos x="connsiteX7406" y="connsiteY7406"/>
              </a:cxn>
              <a:cxn ang="0">
                <a:pos x="connsiteX7407" y="connsiteY7407"/>
              </a:cxn>
              <a:cxn ang="0">
                <a:pos x="connsiteX7408" y="connsiteY7408"/>
              </a:cxn>
              <a:cxn ang="0">
                <a:pos x="connsiteX7409" y="connsiteY7409"/>
              </a:cxn>
              <a:cxn ang="0">
                <a:pos x="connsiteX7410" y="connsiteY7410"/>
              </a:cxn>
              <a:cxn ang="0">
                <a:pos x="connsiteX7411" y="connsiteY7411"/>
              </a:cxn>
              <a:cxn ang="0">
                <a:pos x="connsiteX7412" y="connsiteY7412"/>
              </a:cxn>
              <a:cxn ang="0">
                <a:pos x="connsiteX7413" y="connsiteY7413"/>
              </a:cxn>
              <a:cxn ang="0">
                <a:pos x="connsiteX7414" y="connsiteY7414"/>
              </a:cxn>
              <a:cxn ang="0">
                <a:pos x="connsiteX7415" y="connsiteY7415"/>
              </a:cxn>
              <a:cxn ang="0">
                <a:pos x="connsiteX7416" y="connsiteY7416"/>
              </a:cxn>
              <a:cxn ang="0">
                <a:pos x="connsiteX7417" y="connsiteY7417"/>
              </a:cxn>
              <a:cxn ang="0">
                <a:pos x="connsiteX7418" y="connsiteY7418"/>
              </a:cxn>
              <a:cxn ang="0">
                <a:pos x="connsiteX7419" y="connsiteY7419"/>
              </a:cxn>
              <a:cxn ang="0">
                <a:pos x="connsiteX7420" y="connsiteY7420"/>
              </a:cxn>
              <a:cxn ang="0">
                <a:pos x="connsiteX7421" y="connsiteY7421"/>
              </a:cxn>
              <a:cxn ang="0">
                <a:pos x="connsiteX7422" y="connsiteY7422"/>
              </a:cxn>
              <a:cxn ang="0">
                <a:pos x="connsiteX7423" y="connsiteY7423"/>
              </a:cxn>
              <a:cxn ang="0">
                <a:pos x="connsiteX7424" y="connsiteY7424"/>
              </a:cxn>
              <a:cxn ang="0">
                <a:pos x="connsiteX7425" y="connsiteY7425"/>
              </a:cxn>
              <a:cxn ang="0">
                <a:pos x="connsiteX7426" y="connsiteY7426"/>
              </a:cxn>
              <a:cxn ang="0">
                <a:pos x="connsiteX7427" y="connsiteY7427"/>
              </a:cxn>
              <a:cxn ang="0">
                <a:pos x="connsiteX7428" y="connsiteY7428"/>
              </a:cxn>
              <a:cxn ang="0">
                <a:pos x="connsiteX7429" y="connsiteY7429"/>
              </a:cxn>
              <a:cxn ang="0">
                <a:pos x="connsiteX7430" y="connsiteY7430"/>
              </a:cxn>
              <a:cxn ang="0">
                <a:pos x="connsiteX7431" y="connsiteY7431"/>
              </a:cxn>
              <a:cxn ang="0">
                <a:pos x="connsiteX7432" y="connsiteY7432"/>
              </a:cxn>
              <a:cxn ang="0">
                <a:pos x="connsiteX7433" y="connsiteY7433"/>
              </a:cxn>
              <a:cxn ang="0">
                <a:pos x="connsiteX7434" y="connsiteY7434"/>
              </a:cxn>
              <a:cxn ang="0">
                <a:pos x="connsiteX7435" y="connsiteY7435"/>
              </a:cxn>
              <a:cxn ang="0">
                <a:pos x="connsiteX7436" y="connsiteY7436"/>
              </a:cxn>
              <a:cxn ang="0">
                <a:pos x="connsiteX7437" y="connsiteY7437"/>
              </a:cxn>
              <a:cxn ang="0">
                <a:pos x="connsiteX7438" y="connsiteY7438"/>
              </a:cxn>
              <a:cxn ang="0">
                <a:pos x="connsiteX7439" y="connsiteY7439"/>
              </a:cxn>
              <a:cxn ang="0">
                <a:pos x="connsiteX7440" y="connsiteY7440"/>
              </a:cxn>
              <a:cxn ang="0">
                <a:pos x="connsiteX7441" y="connsiteY7441"/>
              </a:cxn>
              <a:cxn ang="0">
                <a:pos x="connsiteX7442" y="connsiteY7442"/>
              </a:cxn>
              <a:cxn ang="0">
                <a:pos x="connsiteX7443" y="connsiteY7443"/>
              </a:cxn>
              <a:cxn ang="0">
                <a:pos x="connsiteX7444" y="connsiteY7444"/>
              </a:cxn>
              <a:cxn ang="0">
                <a:pos x="connsiteX7445" y="connsiteY7445"/>
              </a:cxn>
              <a:cxn ang="0">
                <a:pos x="connsiteX7446" y="connsiteY7446"/>
              </a:cxn>
              <a:cxn ang="0">
                <a:pos x="connsiteX7447" y="connsiteY7447"/>
              </a:cxn>
              <a:cxn ang="0">
                <a:pos x="connsiteX7448" y="connsiteY7448"/>
              </a:cxn>
              <a:cxn ang="0">
                <a:pos x="connsiteX7449" y="connsiteY7449"/>
              </a:cxn>
              <a:cxn ang="0">
                <a:pos x="connsiteX7450" y="connsiteY7450"/>
              </a:cxn>
              <a:cxn ang="0">
                <a:pos x="connsiteX7451" y="connsiteY7451"/>
              </a:cxn>
              <a:cxn ang="0">
                <a:pos x="connsiteX7452" y="connsiteY7452"/>
              </a:cxn>
              <a:cxn ang="0">
                <a:pos x="connsiteX7453" y="connsiteY7453"/>
              </a:cxn>
              <a:cxn ang="0">
                <a:pos x="connsiteX7454" y="connsiteY7454"/>
              </a:cxn>
              <a:cxn ang="0">
                <a:pos x="connsiteX7455" y="connsiteY7455"/>
              </a:cxn>
              <a:cxn ang="0">
                <a:pos x="connsiteX7456" y="connsiteY7456"/>
              </a:cxn>
              <a:cxn ang="0">
                <a:pos x="connsiteX7457" y="connsiteY7457"/>
              </a:cxn>
              <a:cxn ang="0">
                <a:pos x="connsiteX7458" y="connsiteY7458"/>
              </a:cxn>
              <a:cxn ang="0">
                <a:pos x="connsiteX7459" y="connsiteY7459"/>
              </a:cxn>
              <a:cxn ang="0">
                <a:pos x="connsiteX7460" y="connsiteY7460"/>
              </a:cxn>
              <a:cxn ang="0">
                <a:pos x="connsiteX7461" y="connsiteY7461"/>
              </a:cxn>
              <a:cxn ang="0">
                <a:pos x="connsiteX7462" y="connsiteY7462"/>
              </a:cxn>
              <a:cxn ang="0">
                <a:pos x="connsiteX7463" y="connsiteY7463"/>
              </a:cxn>
              <a:cxn ang="0">
                <a:pos x="connsiteX7464" y="connsiteY7464"/>
              </a:cxn>
              <a:cxn ang="0">
                <a:pos x="connsiteX7465" y="connsiteY7465"/>
              </a:cxn>
              <a:cxn ang="0">
                <a:pos x="connsiteX7466" y="connsiteY7466"/>
              </a:cxn>
              <a:cxn ang="0">
                <a:pos x="connsiteX7467" y="connsiteY7467"/>
              </a:cxn>
              <a:cxn ang="0">
                <a:pos x="connsiteX7468" y="connsiteY7468"/>
              </a:cxn>
              <a:cxn ang="0">
                <a:pos x="connsiteX7469" y="connsiteY7469"/>
              </a:cxn>
              <a:cxn ang="0">
                <a:pos x="connsiteX7470" y="connsiteY7470"/>
              </a:cxn>
              <a:cxn ang="0">
                <a:pos x="connsiteX7471" y="connsiteY7471"/>
              </a:cxn>
              <a:cxn ang="0">
                <a:pos x="connsiteX7472" y="connsiteY7472"/>
              </a:cxn>
              <a:cxn ang="0">
                <a:pos x="connsiteX7473" y="connsiteY7473"/>
              </a:cxn>
              <a:cxn ang="0">
                <a:pos x="connsiteX7474" y="connsiteY7474"/>
              </a:cxn>
              <a:cxn ang="0">
                <a:pos x="connsiteX7475" y="connsiteY7475"/>
              </a:cxn>
              <a:cxn ang="0">
                <a:pos x="connsiteX7476" y="connsiteY7476"/>
              </a:cxn>
              <a:cxn ang="0">
                <a:pos x="connsiteX7477" y="connsiteY7477"/>
              </a:cxn>
              <a:cxn ang="0">
                <a:pos x="connsiteX7478" y="connsiteY7478"/>
              </a:cxn>
              <a:cxn ang="0">
                <a:pos x="connsiteX7479" y="connsiteY7479"/>
              </a:cxn>
              <a:cxn ang="0">
                <a:pos x="connsiteX7480" y="connsiteY7480"/>
              </a:cxn>
              <a:cxn ang="0">
                <a:pos x="connsiteX7481" y="connsiteY7481"/>
              </a:cxn>
              <a:cxn ang="0">
                <a:pos x="connsiteX7482" y="connsiteY7482"/>
              </a:cxn>
              <a:cxn ang="0">
                <a:pos x="connsiteX7483" y="connsiteY7483"/>
              </a:cxn>
              <a:cxn ang="0">
                <a:pos x="connsiteX7484" y="connsiteY7484"/>
              </a:cxn>
              <a:cxn ang="0">
                <a:pos x="connsiteX7485" y="connsiteY7485"/>
              </a:cxn>
              <a:cxn ang="0">
                <a:pos x="connsiteX7486" y="connsiteY7486"/>
              </a:cxn>
              <a:cxn ang="0">
                <a:pos x="connsiteX7487" y="connsiteY7487"/>
              </a:cxn>
              <a:cxn ang="0">
                <a:pos x="connsiteX7488" y="connsiteY7488"/>
              </a:cxn>
              <a:cxn ang="0">
                <a:pos x="connsiteX7489" y="connsiteY7489"/>
              </a:cxn>
              <a:cxn ang="0">
                <a:pos x="connsiteX7490" y="connsiteY7490"/>
              </a:cxn>
              <a:cxn ang="0">
                <a:pos x="connsiteX7491" y="connsiteY7491"/>
              </a:cxn>
              <a:cxn ang="0">
                <a:pos x="connsiteX7492" y="connsiteY7492"/>
              </a:cxn>
              <a:cxn ang="0">
                <a:pos x="connsiteX7493" y="connsiteY7493"/>
              </a:cxn>
              <a:cxn ang="0">
                <a:pos x="connsiteX7494" y="connsiteY7494"/>
              </a:cxn>
              <a:cxn ang="0">
                <a:pos x="connsiteX7495" y="connsiteY7495"/>
              </a:cxn>
              <a:cxn ang="0">
                <a:pos x="connsiteX7496" y="connsiteY7496"/>
              </a:cxn>
              <a:cxn ang="0">
                <a:pos x="connsiteX7497" y="connsiteY7497"/>
              </a:cxn>
              <a:cxn ang="0">
                <a:pos x="connsiteX7498" y="connsiteY7498"/>
              </a:cxn>
              <a:cxn ang="0">
                <a:pos x="connsiteX7499" y="connsiteY7499"/>
              </a:cxn>
              <a:cxn ang="0">
                <a:pos x="connsiteX7500" y="connsiteY7500"/>
              </a:cxn>
              <a:cxn ang="0">
                <a:pos x="connsiteX7501" y="connsiteY7501"/>
              </a:cxn>
              <a:cxn ang="0">
                <a:pos x="connsiteX7502" y="connsiteY7502"/>
              </a:cxn>
              <a:cxn ang="0">
                <a:pos x="connsiteX7503" y="connsiteY7503"/>
              </a:cxn>
              <a:cxn ang="0">
                <a:pos x="connsiteX7504" y="connsiteY7504"/>
              </a:cxn>
              <a:cxn ang="0">
                <a:pos x="connsiteX7505" y="connsiteY7505"/>
              </a:cxn>
              <a:cxn ang="0">
                <a:pos x="connsiteX7506" y="connsiteY7506"/>
              </a:cxn>
              <a:cxn ang="0">
                <a:pos x="connsiteX7507" y="connsiteY7507"/>
              </a:cxn>
              <a:cxn ang="0">
                <a:pos x="connsiteX7508" y="connsiteY7508"/>
              </a:cxn>
              <a:cxn ang="0">
                <a:pos x="connsiteX7509" y="connsiteY7509"/>
              </a:cxn>
              <a:cxn ang="0">
                <a:pos x="connsiteX7510" y="connsiteY7510"/>
              </a:cxn>
              <a:cxn ang="0">
                <a:pos x="connsiteX7511" y="connsiteY7511"/>
              </a:cxn>
              <a:cxn ang="0">
                <a:pos x="connsiteX7512" y="connsiteY7512"/>
              </a:cxn>
              <a:cxn ang="0">
                <a:pos x="connsiteX7513" y="connsiteY7513"/>
              </a:cxn>
              <a:cxn ang="0">
                <a:pos x="connsiteX7514" y="connsiteY7514"/>
              </a:cxn>
              <a:cxn ang="0">
                <a:pos x="connsiteX7515" y="connsiteY7515"/>
              </a:cxn>
              <a:cxn ang="0">
                <a:pos x="connsiteX7516" y="connsiteY7516"/>
              </a:cxn>
              <a:cxn ang="0">
                <a:pos x="connsiteX7517" y="connsiteY7517"/>
              </a:cxn>
              <a:cxn ang="0">
                <a:pos x="connsiteX7518" y="connsiteY7518"/>
              </a:cxn>
              <a:cxn ang="0">
                <a:pos x="connsiteX7519" y="connsiteY7519"/>
              </a:cxn>
              <a:cxn ang="0">
                <a:pos x="connsiteX7520" y="connsiteY7520"/>
              </a:cxn>
              <a:cxn ang="0">
                <a:pos x="connsiteX7521" y="connsiteY7521"/>
              </a:cxn>
              <a:cxn ang="0">
                <a:pos x="connsiteX7522" y="connsiteY7522"/>
              </a:cxn>
              <a:cxn ang="0">
                <a:pos x="connsiteX7523" y="connsiteY7523"/>
              </a:cxn>
              <a:cxn ang="0">
                <a:pos x="connsiteX7524" y="connsiteY7524"/>
              </a:cxn>
              <a:cxn ang="0">
                <a:pos x="connsiteX7525" y="connsiteY7525"/>
              </a:cxn>
              <a:cxn ang="0">
                <a:pos x="connsiteX7526" y="connsiteY7526"/>
              </a:cxn>
              <a:cxn ang="0">
                <a:pos x="connsiteX7527" y="connsiteY7527"/>
              </a:cxn>
              <a:cxn ang="0">
                <a:pos x="connsiteX7528" y="connsiteY7528"/>
              </a:cxn>
              <a:cxn ang="0">
                <a:pos x="connsiteX7529" y="connsiteY7529"/>
              </a:cxn>
              <a:cxn ang="0">
                <a:pos x="connsiteX7530" y="connsiteY7530"/>
              </a:cxn>
              <a:cxn ang="0">
                <a:pos x="connsiteX7531" y="connsiteY7531"/>
              </a:cxn>
              <a:cxn ang="0">
                <a:pos x="connsiteX7532" y="connsiteY7532"/>
              </a:cxn>
              <a:cxn ang="0">
                <a:pos x="connsiteX7533" y="connsiteY7533"/>
              </a:cxn>
              <a:cxn ang="0">
                <a:pos x="connsiteX7534" y="connsiteY7534"/>
              </a:cxn>
              <a:cxn ang="0">
                <a:pos x="connsiteX7535" y="connsiteY7535"/>
              </a:cxn>
              <a:cxn ang="0">
                <a:pos x="connsiteX7536" y="connsiteY7536"/>
              </a:cxn>
              <a:cxn ang="0">
                <a:pos x="connsiteX7537" y="connsiteY7537"/>
              </a:cxn>
              <a:cxn ang="0">
                <a:pos x="connsiteX7538" y="connsiteY7538"/>
              </a:cxn>
              <a:cxn ang="0">
                <a:pos x="connsiteX7539" y="connsiteY7539"/>
              </a:cxn>
              <a:cxn ang="0">
                <a:pos x="connsiteX7540" y="connsiteY7540"/>
              </a:cxn>
              <a:cxn ang="0">
                <a:pos x="connsiteX7541" y="connsiteY7541"/>
              </a:cxn>
              <a:cxn ang="0">
                <a:pos x="connsiteX7542" y="connsiteY7542"/>
              </a:cxn>
              <a:cxn ang="0">
                <a:pos x="connsiteX7543" y="connsiteY7543"/>
              </a:cxn>
              <a:cxn ang="0">
                <a:pos x="connsiteX7544" y="connsiteY7544"/>
              </a:cxn>
              <a:cxn ang="0">
                <a:pos x="connsiteX7545" y="connsiteY7545"/>
              </a:cxn>
              <a:cxn ang="0">
                <a:pos x="connsiteX7546" y="connsiteY7546"/>
              </a:cxn>
              <a:cxn ang="0">
                <a:pos x="connsiteX7547" y="connsiteY7547"/>
              </a:cxn>
              <a:cxn ang="0">
                <a:pos x="connsiteX7548" y="connsiteY7548"/>
              </a:cxn>
              <a:cxn ang="0">
                <a:pos x="connsiteX7549" y="connsiteY7549"/>
              </a:cxn>
              <a:cxn ang="0">
                <a:pos x="connsiteX7550" y="connsiteY7550"/>
              </a:cxn>
              <a:cxn ang="0">
                <a:pos x="connsiteX7551" y="connsiteY7551"/>
              </a:cxn>
              <a:cxn ang="0">
                <a:pos x="connsiteX7552" y="connsiteY7552"/>
              </a:cxn>
              <a:cxn ang="0">
                <a:pos x="connsiteX7553" y="connsiteY7553"/>
              </a:cxn>
              <a:cxn ang="0">
                <a:pos x="connsiteX7554" y="connsiteY7554"/>
              </a:cxn>
              <a:cxn ang="0">
                <a:pos x="connsiteX7555" y="connsiteY7555"/>
              </a:cxn>
              <a:cxn ang="0">
                <a:pos x="connsiteX7556" y="connsiteY7556"/>
              </a:cxn>
              <a:cxn ang="0">
                <a:pos x="connsiteX7557" y="connsiteY7557"/>
              </a:cxn>
              <a:cxn ang="0">
                <a:pos x="connsiteX7558" y="connsiteY7558"/>
              </a:cxn>
              <a:cxn ang="0">
                <a:pos x="connsiteX7559" y="connsiteY7559"/>
              </a:cxn>
              <a:cxn ang="0">
                <a:pos x="connsiteX7560" y="connsiteY7560"/>
              </a:cxn>
              <a:cxn ang="0">
                <a:pos x="connsiteX7561" y="connsiteY7561"/>
              </a:cxn>
              <a:cxn ang="0">
                <a:pos x="connsiteX7562" y="connsiteY7562"/>
              </a:cxn>
              <a:cxn ang="0">
                <a:pos x="connsiteX7563" y="connsiteY7563"/>
              </a:cxn>
              <a:cxn ang="0">
                <a:pos x="connsiteX7564" y="connsiteY7564"/>
              </a:cxn>
              <a:cxn ang="0">
                <a:pos x="connsiteX7565" y="connsiteY7565"/>
              </a:cxn>
              <a:cxn ang="0">
                <a:pos x="connsiteX7566" y="connsiteY7566"/>
              </a:cxn>
              <a:cxn ang="0">
                <a:pos x="connsiteX7567" y="connsiteY7567"/>
              </a:cxn>
              <a:cxn ang="0">
                <a:pos x="connsiteX7568" y="connsiteY7568"/>
              </a:cxn>
              <a:cxn ang="0">
                <a:pos x="connsiteX7569" y="connsiteY7569"/>
              </a:cxn>
              <a:cxn ang="0">
                <a:pos x="connsiteX7570" y="connsiteY7570"/>
              </a:cxn>
              <a:cxn ang="0">
                <a:pos x="connsiteX7571" y="connsiteY7571"/>
              </a:cxn>
              <a:cxn ang="0">
                <a:pos x="connsiteX7572" y="connsiteY7572"/>
              </a:cxn>
              <a:cxn ang="0">
                <a:pos x="connsiteX7573" y="connsiteY7573"/>
              </a:cxn>
              <a:cxn ang="0">
                <a:pos x="connsiteX7574" y="connsiteY7574"/>
              </a:cxn>
              <a:cxn ang="0">
                <a:pos x="connsiteX7575" y="connsiteY7575"/>
              </a:cxn>
              <a:cxn ang="0">
                <a:pos x="connsiteX7576" y="connsiteY7576"/>
              </a:cxn>
              <a:cxn ang="0">
                <a:pos x="connsiteX7577" y="connsiteY7577"/>
              </a:cxn>
              <a:cxn ang="0">
                <a:pos x="connsiteX7578" y="connsiteY7578"/>
              </a:cxn>
              <a:cxn ang="0">
                <a:pos x="connsiteX7579" y="connsiteY7579"/>
              </a:cxn>
              <a:cxn ang="0">
                <a:pos x="connsiteX7580" y="connsiteY7580"/>
              </a:cxn>
              <a:cxn ang="0">
                <a:pos x="connsiteX7581" y="connsiteY7581"/>
              </a:cxn>
              <a:cxn ang="0">
                <a:pos x="connsiteX7582" y="connsiteY7582"/>
              </a:cxn>
              <a:cxn ang="0">
                <a:pos x="connsiteX7583" y="connsiteY7583"/>
              </a:cxn>
              <a:cxn ang="0">
                <a:pos x="connsiteX7584" y="connsiteY7584"/>
              </a:cxn>
              <a:cxn ang="0">
                <a:pos x="connsiteX7585" y="connsiteY7585"/>
              </a:cxn>
              <a:cxn ang="0">
                <a:pos x="connsiteX7586" y="connsiteY7586"/>
              </a:cxn>
              <a:cxn ang="0">
                <a:pos x="connsiteX7587" y="connsiteY7587"/>
              </a:cxn>
              <a:cxn ang="0">
                <a:pos x="connsiteX7588" y="connsiteY7588"/>
              </a:cxn>
              <a:cxn ang="0">
                <a:pos x="connsiteX7589" y="connsiteY7589"/>
              </a:cxn>
              <a:cxn ang="0">
                <a:pos x="connsiteX7590" y="connsiteY7590"/>
              </a:cxn>
              <a:cxn ang="0">
                <a:pos x="connsiteX7591" y="connsiteY7591"/>
              </a:cxn>
              <a:cxn ang="0">
                <a:pos x="connsiteX7592" y="connsiteY7592"/>
              </a:cxn>
              <a:cxn ang="0">
                <a:pos x="connsiteX7593" y="connsiteY7593"/>
              </a:cxn>
              <a:cxn ang="0">
                <a:pos x="connsiteX7594" y="connsiteY7594"/>
              </a:cxn>
              <a:cxn ang="0">
                <a:pos x="connsiteX7595" y="connsiteY7595"/>
              </a:cxn>
              <a:cxn ang="0">
                <a:pos x="connsiteX7596" y="connsiteY7596"/>
              </a:cxn>
              <a:cxn ang="0">
                <a:pos x="connsiteX7597" y="connsiteY7597"/>
              </a:cxn>
              <a:cxn ang="0">
                <a:pos x="connsiteX7598" y="connsiteY7598"/>
              </a:cxn>
              <a:cxn ang="0">
                <a:pos x="connsiteX7599" y="connsiteY7599"/>
              </a:cxn>
              <a:cxn ang="0">
                <a:pos x="connsiteX7600" y="connsiteY7600"/>
              </a:cxn>
              <a:cxn ang="0">
                <a:pos x="connsiteX7601" y="connsiteY7601"/>
              </a:cxn>
              <a:cxn ang="0">
                <a:pos x="connsiteX7602" y="connsiteY7602"/>
              </a:cxn>
              <a:cxn ang="0">
                <a:pos x="connsiteX7603" y="connsiteY7603"/>
              </a:cxn>
              <a:cxn ang="0">
                <a:pos x="connsiteX7604" y="connsiteY7604"/>
              </a:cxn>
              <a:cxn ang="0">
                <a:pos x="connsiteX7605" y="connsiteY7605"/>
              </a:cxn>
              <a:cxn ang="0">
                <a:pos x="connsiteX7606" y="connsiteY7606"/>
              </a:cxn>
              <a:cxn ang="0">
                <a:pos x="connsiteX7607" y="connsiteY7607"/>
              </a:cxn>
              <a:cxn ang="0">
                <a:pos x="connsiteX7608" y="connsiteY7608"/>
              </a:cxn>
              <a:cxn ang="0">
                <a:pos x="connsiteX7609" y="connsiteY7609"/>
              </a:cxn>
              <a:cxn ang="0">
                <a:pos x="connsiteX7610" y="connsiteY7610"/>
              </a:cxn>
              <a:cxn ang="0">
                <a:pos x="connsiteX7611" y="connsiteY7611"/>
              </a:cxn>
              <a:cxn ang="0">
                <a:pos x="connsiteX7612" y="connsiteY7612"/>
              </a:cxn>
              <a:cxn ang="0">
                <a:pos x="connsiteX7613" y="connsiteY7613"/>
              </a:cxn>
              <a:cxn ang="0">
                <a:pos x="connsiteX7614" y="connsiteY7614"/>
              </a:cxn>
              <a:cxn ang="0">
                <a:pos x="connsiteX7615" y="connsiteY7615"/>
              </a:cxn>
              <a:cxn ang="0">
                <a:pos x="connsiteX7616" y="connsiteY7616"/>
              </a:cxn>
              <a:cxn ang="0">
                <a:pos x="connsiteX7617" y="connsiteY7617"/>
              </a:cxn>
              <a:cxn ang="0">
                <a:pos x="connsiteX7618" y="connsiteY7618"/>
              </a:cxn>
              <a:cxn ang="0">
                <a:pos x="connsiteX7619" y="connsiteY7619"/>
              </a:cxn>
              <a:cxn ang="0">
                <a:pos x="connsiteX7620" y="connsiteY7620"/>
              </a:cxn>
              <a:cxn ang="0">
                <a:pos x="connsiteX7621" y="connsiteY7621"/>
              </a:cxn>
              <a:cxn ang="0">
                <a:pos x="connsiteX7622" y="connsiteY7622"/>
              </a:cxn>
              <a:cxn ang="0">
                <a:pos x="connsiteX7623" y="connsiteY7623"/>
              </a:cxn>
              <a:cxn ang="0">
                <a:pos x="connsiteX7624" y="connsiteY7624"/>
              </a:cxn>
              <a:cxn ang="0">
                <a:pos x="connsiteX7625" y="connsiteY7625"/>
              </a:cxn>
              <a:cxn ang="0">
                <a:pos x="connsiteX7626" y="connsiteY7626"/>
              </a:cxn>
              <a:cxn ang="0">
                <a:pos x="connsiteX7627" y="connsiteY7627"/>
              </a:cxn>
              <a:cxn ang="0">
                <a:pos x="connsiteX7628" y="connsiteY7628"/>
              </a:cxn>
              <a:cxn ang="0">
                <a:pos x="connsiteX7629" y="connsiteY7629"/>
              </a:cxn>
              <a:cxn ang="0">
                <a:pos x="connsiteX7630" y="connsiteY7630"/>
              </a:cxn>
              <a:cxn ang="0">
                <a:pos x="connsiteX7631" y="connsiteY7631"/>
              </a:cxn>
              <a:cxn ang="0">
                <a:pos x="connsiteX7632" y="connsiteY7632"/>
              </a:cxn>
              <a:cxn ang="0">
                <a:pos x="connsiteX7633" y="connsiteY7633"/>
              </a:cxn>
              <a:cxn ang="0">
                <a:pos x="connsiteX7634" y="connsiteY7634"/>
              </a:cxn>
              <a:cxn ang="0">
                <a:pos x="connsiteX7635" y="connsiteY7635"/>
              </a:cxn>
              <a:cxn ang="0">
                <a:pos x="connsiteX7636" y="connsiteY7636"/>
              </a:cxn>
              <a:cxn ang="0">
                <a:pos x="connsiteX7637" y="connsiteY7637"/>
              </a:cxn>
              <a:cxn ang="0">
                <a:pos x="connsiteX7638" y="connsiteY7638"/>
              </a:cxn>
              <a:cxn ang="0">
                <a:pos x="connsiteX7639" y="connsiteY7639"/>
              </a:cxn>
              <a:cxn ang="0">
                <a:pos x="connsiteX7640" y="connsiteY7640"/>
              </a:cxn>
              <a:cxn ang="0">
                <a:pos x="connsiteX7641" y="connsiteY7641"/>
              </a:cxn>
              <a:cxn ang="0">
                <a:pos x="connsiteX7642" y="connsiteY7642"/>
              </a:cxn>
              <a:cxn ang="0">
                <a:pos x="connsiteX7643" y="connsiteY7643"/>
              </a:cxn>
              <a:cxn ang="0">
                <a:pos x="connsiteX7644" y="connsiteY7644"/>
              </a:cxn>
              <a:cxn ang="0">
                <a:pos x="connsiteX7645" y="connsiteY7645"/>
              </a:cxn>
              <a:cxn ang="0">
                <a:pos x="connsiteX7646" y="connsiteY7646"/>
              </a:cxn>
              <a:cxn ang="0">
                <a:pos x="connsiteX7647" y="connsiteY7647"/>
              </a:cxn>
              <a:cxn ang="0">
                <a:pos x="connsiteX7648" y="connsiteY7648"/>
              </a:cxn>
              <a:cxn ang="0">
                <a:pos x="connsiteX7649" y="connsiteY7649"/>
              </a:cxn>
              <a:cxn ang="0">
                <a:pos x="connsiteX7650" y="connsiteY7650"/>
              </a:cxn>
              <a:cxn ang="0">
                <a:pos x="connsiteX7651" y="connsiteY7651"/>
              </a:cxn>
              <a:cxn ang="0">
                <a:pos x="connsiteX7652" y="connsiteY7652"/>
              </a:cxn>
              <a:cxn ang="0">
                <a:pos x="connsiteX7653" y="connsiteY7653"/>
              </a:cxn>
              <a:cxn ang="0">
                <a:pos x="connsiteX7654" y="connsiteY7654"/>
              </a:cxn>
              <a:cxn ang="0">
                <a:pos x="connsiteX7655" y="connsiteY7655"/>
              </a:cxn>
              <a:cxn ang="0">
                <a:pos x="connsiteX7656" y="connsiteY7656"/>
              </a:cxn>
              <a:cxn ang="0">
                <a:pos x="connsiteX7657" y="connsiteY7657"/>
              </a:cxn>
              <a:cxn ang="0">
                <a:pos x="connsiteX7658" y="connsiteY7658"/>
              </a:cxn>
              <a:cxn ang="0">
                <a:pos x="connsiteX7659" y="connsiteY7659"/>
              </a:cxn>
              <a:cxn ang="0">
                <a:pos x="connsiteX7660" y="connsiteY7660"/>
              </a:cxn>
              <a:cxn ang="0">
                <a:pos x="connsiteX7661" y="connsiteY7661"/>
              </a:cxn>
              <a:cxn ang="0">
                <a:pos x="connsiteX7662" y="connsiteY7662"/>
              </a:cxn>
              <a:cxn ang="0">
                <a:pos x="connsiteX7663" y="connsiteY7663"/>
              </a:cxn>
              <a:cxn ang="0">
                <a:pos x="connsiteX7664" y="connsiteY7664"/>
              </a:cxn>
              <a:cxn ang="0">
                <a:pos x="connsiteX7665" y="connsiteY7665"/>
              </a:cxn>
              <a:cxn ang="0">
                <a:pos x="connsiteX7666" y="connsiteY7666"/>
              </a:cxn>
              <a:cxn ang="0">
                <a:pos x="connsiteX7667" y="connsiteY7667"/>
              </a:cxn>
              <a:cxn ang="0">
                <a:pos x="connsiteX7668" y="connsiteY7668"/>
              </a:cxn>
              <a:cxn ang="0">
                <a:pos x="connsiteX7669" y="connsiteY7669"/>
              </a:cxn>
              <a:cxn ang="0">
                <a:pos x="connsiteX7670" y="connsiteY7670"/>
              </a:cxn>
              <a:cxn ang="0">
                <a:pos x="connsiteX7671" y="connsiteY7671"/>
              </a:cxn>
              <a:cxn ang="0">
                <a:pos x="connsiteX7672" y="connsiteY7672"/>
              </a:cxn>
              <a:cxn ang="0">
                <a:pos x="connsiteX7673" y="connsiteY7673"/>
              </a:cxn>
              <a:cxn ang="0">
                <a:pos x="connsiteX7674" y="connsiteY7674"/>
              </a:cxn>
              <a:cxn ang="0">
                <a:pos x="connsiteX7675" y="connsiteY7675"/>
              </a:cxn>
              <a:cxn ang="0">
                <a:pos x="connsiteX7676" y="connsiteY7676"/>
              </a:cxn>
              <a:cxn ang="0">
                <a:pos x="connsiteX7677" y="connsiteY7677"/>
              </a:cxn>
              <a:cxn ang="0">
                <a:pos x="connsiteX7678" y="connsiteY7678"/>
              </a:cxn>
              <a:cxn ang="0">
                <a:pos x="connsiteX7679" y="connsiteY7679"/>
              </a:cxn>
              <a:cxn ang="0">
                <a:pos x="connsiteX7680" y="connsiteY7680"/>
              </a:cxn>
              <a:cxn ang="0">
                <a:pos x="connsiteX7681" y="connsiteY7681"/>
              </a:cxn>
              <a:cxn ang="0">
                <a:pos x="connsiteX7682" y="connsiteY7682"/>
              </a:cxn>
              <a:cxn ang="0">
                <a:pos x="connsiteX7683" y="connsiteY7683"/>
              </a:cxn>
              <a:cxn ang="0">
                <a:pos x="connsiteX7684" y="connsiteY7684"/>
              </a:cxn>
              <a:cxn ang="0">
                <a:pos x="connsiteX7685" y="connsiteY7685"/>
              </a:cxn>
              <a:cxn ang="0">
                <a:pos x="connsiteX7686" y="connsiteY7686"/>
              </a:cxn>
              <a:cxn ang="0">
                <a:pos x="connsiteX7687" y="connsiteY7687"/>
              </a:cxn>
              <a:cxn ang="0">
                <a:pos x="connsiteX7688" y="connsiteY7688"/>
              </a:cxn>
              <a:cxn ang="0">
                <a:pos x="connsiteX7689" y="connsiteY7689"/>
              </a:cxn>
              <a:cxn ang="0">
                <a:pos x="connsiteX7690" y="connsiteY7690"/>
              </a:cxn>
              <a:cxn ang="0">
                <a:pos x="connsiteX7691" y="connsiteY7691"/>
              </a:cxn>
              <a:cxn ang="0">
                <a:pos x="connsiteX7692" y="connsiteY7692"/>
              </a:cxn>
              <a:cxn ang="0">
                <a:pos x="connsiteX7693" y="connsiteY7693"/>
              </a:cxn>
              <a:cxn ang="0">
                <a:pos x="connsiteX7694" y="connsiteY7694"/>
              </a:cxn>
              <a:cxn ang="0">
                <a:pos x="connsiteX7695" y="connsiteY7695"/>
              </a:cxn>
              <a:cxn ang="0">
                <a:pos x="connsiteX7696" y="connsiteY7696"/>
              </a:cxn>
              <a:cxn ang="0">
                <a:pos x="connsiteX7697" y="connsiteY7697"/>
              </a:cxn>
              <a:cxn ang="0">
                <a:pos x="connsiteX7698" y="connsiteY7698"/>
              </a:cxn>
              <a:cxn ang="0">
                <a:pos x="connsiteX7699" y="connsiteY7699"/>
              </a:cxn>
              <a:cxn ang="0">
                <a:pos x="connsiteX7700" y="connsiteY7700"/>
              </a:cxn>
              <a:cxn ang="0">
                <a:pos x="connsiteX7701" y="connsiteY7701"/>
              </a:cxn>
              <a:cxn ang="0">
                <a:pos x="connsiteX7702" y="connsiteY7702"/>
              </a:cxn>
              <a:cxn ang="0">
                <a:pos x="connsiteX7703" y="connsiteY7703"/>
              </a:cxn>
              <a:cxn ang="0">
                <a:pos x="connsiteX7704" y="connsiteY7704"/>
              </a:cxn>
              <a:cxn ang="0">
                <a:pos x="connsiteX7705" y="connsiteY7705"/>
              </a:cxn>
              <a:cxn ang="0">
                <a:pos x="connsiteX7706" y="connsiteY7706"/>
              </a:cxn>
              <a:cxn ang="0">
                <a:pos x="connsiteX7707" y="connsiteY7707"/>
              </a:cxn>
              <a:cxn ang="0">
                <a:pos x="connsiteX7708" y="connsiteY7708"/>
              </a:cxn>
              <a:cxn ang="0">
                <a:pos x="connsiteX7709" y="connsiteY7709"/>
              </a:cxn>
              <a:cxn ang="0">
                <a:pos x="connsiteX7710" y="connsiteY7710"/>
              </a:cxn>
              <a:cxn ang="0">
                <a:pos x="connsiteX7711" y="connsiteY7711"/>
              </a:cxn>
              <a:cxn ang="0">
                <a:pos x="connsiteX7712" y="connsiteY7712"/>
              </a:cxn>
              <a:cxn ang="0">
                <a:pos x="connsiteX7713" y="connsiteY7713"/>
              </a:cxn>
              <a:cxn ang="0">
                <a:pos x="connsiteX7714" y="connsiteY7714"/>
              </a:cxn>
              <a:cxn ang="0">
                <a:pos x="connsiteX7715" y="connsiteY7715"/>
              </a:cxn>
              <a:cxn ang="0">
                <a:pos x="connsiteX7716" y="connsiteY7716"/>
              </a:cxn>
              <a:cxn ang="0">
                <a:pos x="connsiteX7717" y="connsiteY7717"/>
              </a:cxn>
              <a:cxn ang="0">
                <a:pos x="connsiteX7718" y="connsiteY7718"/>
              </a:cxn>
              <a:cxn ang="0">
                <a:pos x="connsiteX7719" y="connsiteY7719"/>
              </a:cxn>
              <a:cxn ang="0">
                <a:pos x="connsiteX7720" y="connsiteY7720"/>
              </a:cxn>
              <a:cxn ang="0">
                <a:pos x="connsiteX7721" y="connsiteY7721"/>
              </a:cxn>
              <a:cxn ang="0">
                <a:pos x="connsiteX7722" y="connsiteY7722"/>
              </a:cxn>
              <a:cxn ang="0">
                <a:pos x="connsiteX7723" y="connsiteY7723"/>
              </a:cxn>
              <a:cxn ang="0">
                <a:pos x="connsiteX7724" y="connsiteY7724"/>
              </a:cxn>
              <a:cxn ang="0">
                <a:pos x="connsiteX7725" y="connsiteY7725"/>
              </a:cxn>
              <a:cxn ang="0">
                <a:pos x="connsiteX7726" y="connsiteY7726"/>
              </a:cxn>
              <a:cxn ang="0">
                <a:pos x="connsiteX7727" y="connsiteY7727"/>
              </a:cxn>
              <a:cxn ang="0">
                <a:pos x="connsiteX7728" y="connsiteY7728"/>
              </a:cxn>
              <a:cxn ang="0">
                <a:pos x="connsiteX7729" y="connsiteY7729"/>
              </a:cxn>
              <a:cxn ang="0">
                <a:pos x="connsiteX7730" y="connsiteY7730"/>
              </a:cxn>
              <a:cxn ang="0">
                <a:pos x="connsiteX7731" y="connsiteY7731"/>
              </a:cxn>
              <a:cxn ang="0">
                <a:pos x="connsiteX7732" y="connsiteY7732"/>
              </a:cxn>
              <a:cxn ang="0">
                <a:pos x="connsiteX7733" y="connsiteY7733"/>
              </a:cxn>
              <a:cxn ang="0">
                <a:pos x="connsiteX7734" y="connsiteY7734"/>
              </a:cxn>
              <a:cxn ang="0">
                <a:pos x="connsiteX7735" y="connsiteY7735"/>
              </a:cxn>
              <a:cxn ang="0">
                <a:pos x="connsiteX7736" y="connsiteY7736"/>
              </a:cxn>
              <a:cxn ang="0">
                <a:pos x="connsiteX7737" y="connsiteY7737"/>
              </a:cxn>
              <a:cxn ang="0">
                <a:pos x="connsiteX7738" y="connsiteY7738"/>
              </a:cxn>
              <a:cxn ang="0">
                <a:pos x="connsiteX7739" y="connsiteY7739"/>
              </a:cxn>
              <a:cxn ang="0">
                <a:pos x="connsiteX7740" y="connsiteY7740"/>
              </a:cxn>
              <a:cxn ang="0">
                <a:pos x="connsiteX7741" y="connsiteY7741"/>
              </a:cxn>
              <a:cxn ang="0">
                <a:pos x="connsiteX7742" y="connsiteY7742"/>
              </a:cxn>
              <a:cxn ang="0">
                <a:pos x="connsiteX7743" y="connsiteY7743"/>
              </a:cxn>
              <a:cxn ang="0">
                <a:pos x="connsiteX7744" y="connsiteY7744"/>
              </a:cxn>
              <a:cxn ang="0">
                <a:pos x="connsiteX7745" y="connsiteY7745"/>
              </a:cxn>
              <a:cxn ang="0">
                <a:pos x="connsiteX7746" y="connsiteY7746"/>
              </a:cxn>
              <a:cxn ang="0">
                <a:pos x="connsiteX7747" y="connsiteY7747"/>
              </a:cxn>
              <a:cxn ang="0">
                <a:pos x="connsiteX7748" y="connsiteY7748"/>
              </a:cxn>
              <a:cxn ang="0">
                <a:pos x="connsiteX7749" y="connsiteY7749"/>
              </a:cxn>
              <a:cxn ang="0">
                <a:pos x="connsiteX7750" y="connsiteY7750"/>
              </a:cxn>
              <a:cxn ang="0">
                <a:pos x="connsiteX7751" y="connsiteY7751"/>
              </a:cxn>
              <a:cxn ang="0">
                <a:pos x="connsiteX7752" y="connsiteY7752"/>
              </a:cxn>
              <a:cxn ang="0">
                <a:pos x="connsiteX7753" y="connsiteY7753"/>
              </a:cxn>
              <a:cxn ang="0">
                <a:pos x="connsiteX7754" y="connsiteY7754"/>
              </a:cxn>
              <a:cxn ang="0">
                <a:pos x="connsiteX7755" y="connsiteY7755"/>
              </a:cxn>
              <a:cxn ang="0">
                <a:pos x="connsiteX7756" y="connsiteY7756"/>
              </a:cxn>
              <a:cxn ang="0">
                <a:pos x="connsiteX7757" y="connsiteY7757"/>
              </a:cxn>
              <a:cxn ang="0">
                <a:pos x="connsiteX7758" y="connsiteY7758"/>
              </a:cxn>
              <a:cxn ang="0">
                <a:pos x="connsiteX7759" y="connsiteY7759"/>
              </a:cxn>
              <a:cxn ang="0">
                <a:pos x="connsiteX7760" y="connsiteY7760"/>
              </a:cxn>
              <a:cxn ang="0">
                <a:pos x="connsiteX7761" y="connsiteY7761"/>
              </a:cxn>
              <a:cxn ang="0">
                <a:pos x="connsiteX7762" y="connsiteY7762"/>
              </a:cxn>
              <a:cxn ang="0">
                <a:pos x="connsiteX7763" y="connsiteY7763"/>
              </a:cxn>
              <a:cxn ang="0">
                <a:pos x="connsiteX7764" y="connsiteY7764"/>
              </a:cxn>
              <a:cxn ang="0">
                <a:pos x="connsiteX7765" y="connsiteY7765"/>
              </a:cxn>
              <a:cxn ang="0">
                <a:pos x="connsiteX7766" y="connsiteY7766"/>
              </a:cxn>
              <a:cxn ang="0">
                <a:pos x="connsiteX7767" y="connsiteY7767"/>
              </a:cxn>
              <a:cxn ang="0">
                <a:pos x="connsiteX7768" y="connsiteY7768"/>
              </a:cxn>
              <a:cxn ang="0">
                <a:pos x="connsiteX7769" y="connsiteY7769"/>
              </a:cxn>
              <a:cxn ang="0">
                <a:pos x="connsiteX7770" y="connsiteY7770"/>
              </a:cxn>
              <a:cxn ang="0">
                <a:pos x="connsiteX7771" y="connsiteY7771"/>
              </a:cxn>
              <a:cxn ang="0">
                <a:pos x="connsiteX7772" y="connsiteY7772"/>
              </a:cxn>
              <a:cxn ang="0">
                <a:pos x="connsiteX7773" y="connsiteY7773"/>
              </a:cxn>
              <a:cxn ang="0">
                <a:pos x="connsiteX7774" y="connsiteY7774"/>
              </a:cxn>
              <a:cxn ang="0">
                <a:pos x="connsiteX7775" y="connsiteY7775"/>
              </a:cxn>
              <a:cxn ang="0">
                <a:pos x="connsiteX7776" y="connsiteY7776"/>
              </a:cxn>
              <a:cxn ang="0">
                <a:pos x="connsiteX7777" y="connsiteY7777"/>
              </a:cxn>
              <a:cxn ang="0">
                <a:pos x="connsiteX7778" y="connsiteY7778"/>
              </a:cxn>
              <a:cxn ang="0">
                <a:pos x="connsiteX7779" y="connsiteY7779"/>
              </a:cxn>
              <a:cxn ang="0">
                <a:pos x="connsiteX7780" y="connsiteY7780"/>
              </a:cxn>
              <a:cxn ang="0">
                <a:pos x="connsiteX7781" y="connsiteY7781"/>
              </a:cxn>
              <a:cxn ang="0">
                <a:pos x="connsiteX7782" y="connsiteY7782"/>
              </a:cxn>
              <a:cxn ang="0">
                <a:pos x="connsiteX7783" y="connsiteY7783"/>
              </a:cxn>
              <a:cxn ang="0">
                <a:pos x="connsiteX7784" y="connsiteY7784"/>
              </a:cxn>
              <a:cxn ang="0">
                <a:pos x="connsiteX7785" y="connsiteY7785"/>
              </a:cxn>
              <a:cxn ang="0">
                <a:pos x="connsiteX7786" y="connsiteY7786"/>
              </a:cxn>
              <a:cxn ang="0">
                <a:pos x="connsiteX7787" y="connsiteY7787"/>
              </a:cxn>
              <a:cxn ang="0">
                <a:pos x="connsiteX7788" y="connsiteY7788"/>
              </a:cxn>
              <a:cxn ang="0">
                <a:pos x="connsiteX7789" y="connsiteY7789"/>
              </a:cxn>
              <a:cxn ang="0">
                <a:pos x="connsiteX7790" y="connsiteY7790"/>
              </a:cxn>
              <a:cxn ang="0">
                <a:pos x="connsiteX7791" y="connsiteY7791"/>
              </a:cxn>
              <a:cxn ang="0">
                <a:pos x="connsiteX7792" y="connsiteY7792"/>
              </a:cxn>
              <a:cxn ang="0">
                <a:pos x="connsiteX7793" y="connsiteY7793"/>
              </a:cxn>
              <a:cxn ang="0">
                <a:pos x="connsiteX7794" y="connsiteY7794"/>
              </a:cxn>
              <a:cxn ang="0">
                <a:pos x="connsiteX7795" y="connsiteY7795"/>
              </a:cxn>
              <a:cxn ang="0">
                <a:pos x="connsiteX7796" y="connsiteY7796"/>
              </a:cxn>
              <a:cxn ang="0">
                <a:pos x="connsiteX7797" y="connsiteY7797"/>
              </a:cxn>
              <a:cxn ang="0">
                <a:pos x="connsiteX7798" y="connsiteY7798"/>
              </a:cxn>
              <a:cxn ang="0">
                <a:pos x="connsiteX7799" y="connsiteY7799"/>
              </a:cxn>
              <a:cxn ang="0">
                <a:pos x="connsiteX7800" y="connsiteY7800"/>
              </a:cxn>
              <a:cxn ang="0">
                <a:pos x="connsiteX7801" y="connsiteY7801"/>
              </a:cxn>
              <a:cxn ang="0">
                <a:pos x="connsiteX7802" y="connsiteY7802"/>
              </a:cxn>
              <a:cxn ang="0">
                <a:pos x="connsiteX7803" y="connsiteY7803"/>
              </a:cxn>
              <a:cxn ang="0">
                <a:pos x="connsiteX7804" y="connsiteY7804"/>
              </a:cxn>
              <a:cxn ang="0">
                <a:pos x="connsiteX7805" y="connsiteY7805"/>
              </a:cxn>
              <a:cxn ang="0">
                <a:pos x="connsiteX7806" y="connsiteY7806"/>
              </a:cxn>
              <a:cxn ang="0">
                <a:pos x="connsiteX7807" y="connsiteY7807"/>
              </a:cxn>
              <a:cxn ang="0">
                <a:pos x="connsiteX7808" y="connsiteY7808"/>
              </a:cxn>
              <a:cxn ang="0">
                <a:pos x="connsiteX7809" y="connsiteY7809"/>
              </a:cxn>
              <a:cxn ang="0">
                <a:pos x="connsiteX7810" y="connsiteY7810"/>
              </a:cxn>
              <a:cxn ang="0">
                <a:pos x="connsiteX7811" y="connsiteY7811"/>
              </a:cxn>
              <a:cxn ang="0">
                <a:pos x="connsiteX7812" y="connsiteY7812"/>
              </a:cxn>
              <a:cxn ang="0">
                <a:pos x="connsiteX7813" y="connsiteY7813"/>
              </a:cxn>
              <a:cxn ang="0">
                <a:pos x="connsiteX7814" y="connsiteY7814"/>
              </a:cxn>
              <a:cxn ang="0">
                <a:pos x="connsiteX7815" y="connsiteY7815"/>
              </a:cxn>
              <a:cxn ang="0">
                <a:pos x="connsiteX7816" y="connsiteY7816"/>
              </a:cxn>
              <a:cxn ang="0">
                <a:pos x="connsiteX7817" y="connsiteY7817"/>
              </a:cxn>
              <a:cxn ang="0">
                <a:pos x="connsiteX7818" y="connsiteY7818"/>
              </a:cxn>
              <a:cxn ang="0">
                <a:pos x="connsiteX7819" y="connsiteY7819"/>
              </a:cxn>
              <a:cxn ang="0">
                <a:pos x="connsiteX7820" y="connsiteY7820"/>
              </a:cxn>
              <a:cxn ang="0">
                <a:pos x="connsiteX7821" y="connsiteY7821"/>
              </a:cxn>
              <a:cxn ang="0">
                <a:pos x="connsiteX7822" y="connsiteY7822"/>
              </a:cxn>
              <a:cxn ang="0">
                <a:pos x="connsiteX7823" y="connsiteY7823"/>
              </a:cxn>
              <a:cxn ang="0">
                <a:pos x="connsiteX7824" y="connsiteY7824"/>
              </a:cxn>
              <a:cxn ang="0">
                <a:pos x="connsiteX7825" y="connsiteY7825"/>
              </a:cxn>
              <a:cxn ang="0">
                <a:pos x="connsiteX7826" y="connsiteY7826"/>
              </a:cxn>
              <a:cxn ang="0">
                <a:pos x="connsiteX7827" y="connsiteY7827"/>
              </a:cxn>
              <a:cxn ang="0">
                <a:pos x="connsiteX7828" y="connsiteY7828"/>
              </a:cxn>
              <a:cxn ang="0">
                <a:pos x="connsiteX7829" y="connsiteY7829"/>
              </a:cxn>
              <a:cxn ang="0">
                <a:pos x="connsiteX7830" y="connsiteY7830"/>
              </a:cxn>
              <a:cxn ang="0">
                <a:pos x="connsiteX7831" y="connsiteY7831"/>
              </a:cxn>
              <a:cxn ang="0">
                <a:pos x="connsiteX7832" y="connsiteY7832"/>
              </a:cxn>
              <a:cxn ang="0">
                <a:pos x="connsiteX7833" y="connsiteY7833"/>
              </a:cxn>
              <a:cxn ang="0">
                <a:pos x="connsiteX7834" y="connsiteY7834"/>
              </a:cxn>
              <a:cxn ang="0">
                <a:pos x="connsiteX7835" y="connsiteY7835"/>
              </a:cxn>
              <a:cxn ang="0">
                <a:pos x="connsiteX7836" y="connsiteY7836"/>
              </a:cxn>
              <a:cxn ang="0">
                <a:pos x="connsiteX7837" y="connsiteY7837"/>
              </a:cxn>
              <a:cxn ang="0">
                <a:pos x="connsiteX7838" y="connsiteY7838"/>
              </a:cxn>
              <a:cxn ang="0">
                <a:pos x="connsiteX7839" y="connsiteY7839"/>
              </a:cxn>
              <a:cxn ang="0">
                <a:pos x="connsiteX7840" y="connsiteY7840"/>
              </a:cxn>
              <a:cxn ang="0">
                <a:pos x="connsiteX7841" y="connsiteY7841"/>
              </a:cxn>
              <a:cxn ang="0">
                <a:pos x="connsiteX7842" y="connsiteY7842"/>
              </a:cxn>
              <a:cxn ang="0">
                <a:pos x="connsiteX7843" y="connsiteY7843"/>
              </a:cxn>
              <a:cxn ang="0">
                <a:pos x="connsiteX7844" y="connsiteY7844"/>
              </a:cxn>
              <a:cxn ang="0">
                <a:pos x="connsiteX7845" y="connsiteY7845"/>
              </a:cxn>
              <a:cxn ang="0">
                <a:pos x="connsiteX7846" y="connsiteY7846"/>
              </a:cxn>
              <a:cxn ang="0">
                <a:pos x="connsiteX7847" y="connsiteY7847"/>
              </a:cxn>
              <a:cxn ang="0">
                <a:pos x="connsiteX7848" y="connsiteY7848"/>
              </a:cxn>
              <a:cxn ang="0">
                <a:pos x="connsiteX7849" y="connsiteY7849"/>
              </a:cxn>
              <a:cxn ang="0">
                <a:pos x="connsiteX7850" y="connsiteY7850"/>
              </a:cxn>
              <a:cxn ang="0">
                <a:pos x="connsiteX7851" y="connsiteY7851"/>
              </a:cxn>
              <a:cxn ang="0">
                <a:pos x="connsiteX7852" y="connsiteY7852"/>
              </a:cxn>
              <a:cxn ang="0">
                <a:pos x="connsiteX7853" y="connsiteY7853"/>
              </a:cxn>
              <a:cxn ang="0">
                <a:pos x="connsiteX7854" y="connsiteY7854"/>
              </a:cxn>
              <a:cxn ang="0">
                <a:pos x="connsiteX7855" y="connsiteY7855"/>
              </a:cxn>
              <a:cxn ang="0">
                <a:pos x="connsiteX7856" y="connsiteY7856"/>
              </a:cxn>
              <a:cxn ang="0">
                <a:pos x="connsiteX7857" y="connsiteY7857"/>
              </a:cxn>
              <a:cxn ang="0">
                <a:pos x="connsiteX7858" y="connsiteY7858"/>
              </a:cxn>
              <a:cxn ang="0">
                <a:pos x="connsiteX7859" y="connsiteY7859"/>
              </a:cxn>
              <a:cxn ang="0">
                <a:pos x="connsiteX7860" y="connsiteY7860"/>
              </a:cxn>
              <a:cxn ang="0">
                <a:pos x="connsiteX7861" y="connsiteY7861"/>
              </a:cxn>
              <a:cxn ang="0">
                <a:pos x="connsiteX7862" y="connsiteY7862"/>
              </a:cxn>
              <a:cxn ang="0">
                <a:pos x="connsiteX7863" y="connsiteY7863"/>
              </a:cxn>
              <a:cxn ang="0">
                <a:pos x="connsiteX7864" y="connsiteY7864"/>
              </a:cxn>
              <a:cxn ang="0">
                <a:pos x="connsiteX7865" y="connsiteY7865"/>
              </a:cxn>
              <a:cxn ang="0">
                <a:pos x="connsiteX7866" y="connsiteY7866"/>
              </a:cxn>
              <a:cxn ang="0">
                <a:pos x="connsiteX7867" y="connsiteY7867"/>
              </a:cxn>
              <a:cxn ang="0">
                <a:pos x="connsiteX7868" y="connsiteY7868"/>
              </a:cxn>
              <a:cxn ang="0">
                <a:pos x="connsiteX7869" y="connsiteY7869"/>
              </a:cxn>
              <a:cxn ang="0">
                <a:pos x="connsiteX7870" y="connsiteY7870"/>
              </a:cxn>
              <a:cxn ang="0">
                <a:pos x="connsiteX7871" y="connsiteY7871"/>
              </a:cxn>
              <a:cxn ang="0">
                <a:pos x="connsiteX7872" y="connsiteY7872"/>
              </a:cxn>
              <a:cxn ang="0">
                <a:pos x="connsiteX7873" y="connsiteY7873"/>
              </a:cxn>
              <a:cxn ang="0">
                <a:pos x="connsiteX7874" y="connsiteY7874"/>
              </a:cxn>
              <a:cxn ang="0">
                <a:pos x="connsiteX7875" y="connsiteY7875"/>
              </a:cxn>
              <a:cxn ang="0">
                <a:pos x="connsiteX7876" y="connsiteY7876"/>
              </a:cxn>
              <a:cxn ang="0">
                <a:pos x="connsiteX7877" y="connsiteY7877"/>
              </a:cxn>
              <a:cxn ang="0">
                <a:pos x="connsiteX7878" y="connsiteY7878"/>
              </a:cxn>
              <a:cxn ang="0">
                <a:pos x="connsiteX7879" y="connsiteY7879"/>
              </a:cxn>
              <a:cxn ang="0">
                <a:pos x="connsiteX7880" y="connsiteY7880"/>
              </a:cxn>
              <a:cxn ang="0">
                <a:pos x="connsiteX7881" y="connsiteY7881"/>
              </a:cxn>
              <a:cxn ang="0">
                <a:pos x="connsiteX7882" y="connsiteY7882"/>
              </a:cxn>
              <a:cxn ang="0">
                <a:pos x="connsiteX7883" y="connsiteY7883"/>
              </a:cxn>
              <a:cxn ang="0">
                <a:pos x="connsiteX7884" y="connsiteY7884"/>
              </a:cxn>
              <a:cxn ang="0">
                <a:pos x="connsiteX7885" y="connsiteY7885"/>
              </a:cxn>
              <a:cxn ang="0">
                <a:pos x="connsiteX7886" y="connsiteY7886"/>
              </a:cxn>
              <a:cxn ang="0">
                <a:pos x="connsiteX7887" y="connsiteY7887"/>
              </a:cxn>
              <a:cxn ang="0">
                <a:pos x="connsiteX7888" y="connsiteY7888"/>
              </a:cxn>
              <a:cxn ang="0">
                <a:pos x="connsiteX7889" y="connsiteY7889"/>
              </a:cxn>
              <a:cxn ang="0">
                <a:pos x="connsiteX7890" y="connsiteY7890"/>
              </a:cxn>
              <a:cxn ang="0">
                <a:pos x="connsiteX7891" y="connsiteY7891"/>
              </a:cxn>
              <a:cxn ang="0">
                <a:pos x="connsiteX7892" y="connsiteY7892"/>
              </a:cxn>
              <a:cxn ang="0">
                <a:pos x="connsiteX7893" y="connsiteY7893"/>
              </a:cxn>
              <a:cxn ang="0">
                <a:pos x="connsiteX7894" y="connsiteY7894"/>
              </a:cxn>
              <a:cxn ang="0">
                <a:pos x="connsiteX7895" y="connsiteY7895"/>
              </a:cxn>
              <a:cxn ang="0">
                <a:pos x="connsiteX7896" y="connsiteY7896"/>
              </a:cxn>
              <a:cxn ang="0">
                <a:pos x="connsiteX7897" y="connsiteY7897"/>
              </a:cxn>
              <a:cxn ang="0">
                <a:pos x="connsiteX7898" y="connsiteY7898"/>
              </a:cxn>
              <a:cxn ang="0">
                <a:pos x="connsiteX7899" y="connsiteY7899"/>
              </a:cxn>
              <a:cxn ang="0">
                <a:pos x="connsiteX7900" y="connsiteY7900"/>
              </a:cxn>
              <a:cxn ang="0">
                <a:pos x="connsiteX7901" y="connsiteY7901"/>
              </a:cxn>
              <a:cxn ang="0">
                <a:pos x="connsiteX7902" y="connsiteY7902"/>
              </a:cxn>
              <a:cxn ang="0">
                <a:pos x="connsiteX7903" y="connsiteY7903"/>
              </a:cxn>
              <a:cxn ang="0">
                <a:pos x="connsiteX7904" y="connsiteY7904"/>
              </a:cxn>
              <a:cxn ang="0">
                <a:pos x="connsiteX7905" y="connsiteY7905"/>
              </a:cxn>
              <a:cxn ang="0">
                <a:pos x="connsiteX7906" y="connsiteY7906"/>
              </a:cxn>
              <a:cxn ang="0">
                <a:pos x="connsiteX7907" y="connsiteY7907"/>
              </a:cxn>
              <a:cxn ang="0">
                <a:pos x="connsiteX7908" y="connsiteY7908"/>
              </a:cxn>
              <a:cxn ang="0">
                <a:pos x="connsiteX7909" y="connsiteY7909"/>
              </a:cxn>
              <a:cxn ang="0">
                <a:pos x="connsiteX7910" y="connsiteY7910"/>
              </a:cxn>
              <a:cxn ang="0">
                <a:pos x="connsiteX7911" y="connsiteY7911"/>
              </a:cxn>
              <a:cxn ang="0">
                <a:pos x="connsiteX7912" y="connsiteY7912"/>
              </a:cxn>
              <a:cxn ang="0">
                <a:pos x="connsiteX7913" y="connsiteY7913"/>
              </a:cxn>
              <a:cxn ang="0">
                <a:pos x="connsiteX7914" y="connsiteY7914"/>
              </a:cxn>
              <a:cxn ang="0">
                <a:pos x="connsiteX7915" y="connsiteY7915"/>
              </a:cxn>
              <a:cxn ang="0">
                <a:pos x="connsiteX7916" y="connsiteY7916"/>
              </a:cxn>
              <a:cxn ang="0">
                <a:pos x="connsiteX7917" y="connsiteY7917"/>
              </a:cxn>
              <a:cxn ang="0">
                <a:pos x="connsiteX7918" y="connsiteY7918"/>
              </a:cxn>
              <a:cxn ang="0">
                <a:pos x="connsiteX7919" y="connsiteY7919"/>
              </a:cxn>
              <a:cxn ang="0">
                <a:pos x="connsiteX7920" y="connsiteY7920"/>
              </a:cxn>
              <a:cxn ang="0">
                <a:pos x="connsiteX7921" y="connsiteY7921"/>
              </a:cxn>
              <a:cxn ang="0">
                <a:pos x="connsiteX7922" y="connsiteY7922"/>
              </a:cxn>
              <a:cxn ang="0">
                <a:pos x="connsiteX7923" y="connsiteY7923"/>
              </a:cxn>
              <a:cxn ang="0">
                <a:pos x="connsiteX7924" y="connsiteY7924"/>
              </a:cxn>
              <a:cxn ang="0">
                <a:pos x="connsiteX7925" y="connsiteY7925"/>
              </a:cxn>
              <a:cxn ang="0">
                <a:pos x="connsiteX7926" y="connsiteY7926"/>
              </a:cxn>
              <a:cxn ang="0">
                <a:pos x="connsiteX7927" y="connsiteY7927"/>
              </a:cxn>
              <a:cxn ang="0">
                <a:pos x="connsiteX7928" y="connsiteY7928"/>
              </a:cxn>
              <a:cxn ang="0">
                <a:pos x="connsiteX7929" y="connsiteY7929"/>
              </a:cxn>
              <a:cxn ang="0">
                <a:pos x="connsiteX7930" y="connsiteY7930"/>
              </a:cxn>
              <a:cxn ang="0">
                <a:pos x="connsiteX7931" y="connsiteY7931"/>
              </a:cxn>
              <a:cxn ang="0">
                <a:pos x="connsiteX7932" y="connsiteY7932"/>
              </a:cxn>
              <a:cxn ang="0">
                <a:pos x="connsiteX7933" y="connsiteY7933"/>
              </a:cxn>
              <a:cxn ang="0">
                <a:pos x="connsiteX7934" y="connsiteY7934"/>
              </a:cxn>
              <a:cxn ang="0">
                <a:pos x="connsiteX7935" y="connsiteY7935"/>
              </a:cxn>
              <a:cxn ang="0">
                <a:pos x="connsiteX7936" y="connsiteY7936"/>
              </a:cxn>
              <a:cxn ang="0">
                <a:pos x="connsiteX7937" y="connsiteY7937"/>
              </a:cxn>
              <a:cxn ang="0">
                <a:pos x="connsiteX7938" y="connsiteY7938"/>
              </a:cxn>
              <a:cxn ang="0">
                <a:pos x="connsiteX7939" y="connsiteY7939"/>
              </a:cxn>
              <a:cxn ang="0">
                <a:pos x="connsiteX7940" y="connsiteY7940"/>
              </a:cxn>
              <a:cxn ang="0">
                <a:pos x="connsiteX7941" y="connsiteY7941"/>
              </a:cxn>
              <a:cxn ang="0">
                <a:pos x="connsiteX7942" y="connsiteY7942"/>
              </a:cxn>
              <a:cxn ang="0">
                <a:pos x="connsiteX7943" y="connsiteY7943"/>
              </a:cxn>
              <a:cxn ang="0">
                <a:pos x="connsiteX7944" y="connsiteY7944"/>
              </a:cxn>
              <a:cxn ang="0">
                <a:pos x="connsiteX7945" y="connsiteY7945"/>
              </a:cxn>
              <a:cxn ang="0">
                <a:pos x="connsiteX7946" y="connsiteY7946"/>
              </a:cxn>
              <a:cxn ang="0">
                <a:pos x="connsiteX7947" y="connsiteY7947"/>
              </a:cxn>
              <a:cxn ang="0">
                <a:pos x="connsiteX7948" y="connsiteY7948"/>
              </a:cxn>
              <a:cxn ang="0">
                <a:pos x="connsiteX7949" y="connsiteY7949"/>
              </a:cxn>
              <a:cxn ang="0">
                <a:pos x="connsiteX7950" y="connsiteY7950"/>
              </a:cxn>
              <a:cxn ang="0">
                <a:pos x="connsiteX7951" y="connsiteY7951"/>
              </a:cxn>
              <a:cxn ang="0">
                <a:pos x="connsiteX7952" y="connsiteY7952"/>
              </a:cxn>
              <a:cxn ang="0">
                <a:pos x="connsiteX7953" y="connsiteY7953"/>
              </a:cxn>
              <a:cxn ang="0">
                <a:pos x="connsiteX7954" y="connsiteY7954"/>
              </a:cxn>
              <a:cxn ang="0">
                <a:pos x="connsiteX7955" y="connsiteY7955"/>
              </a:cxn>
              <a:cxn ang="0">
                <a:pos x="connsiteX7956" y="connsiteY7956"/>
              </a:cxn>
              <a:cxn ang="0">
                <a:pos x="connsiteX7957" y="connsiteY7957"/>
              </a:cxn>
              <a:cxn ang="0">
                <a:pos x="connsiteX7958" y="connsiteY7958"/>
              </a:cxn>
              <a:cxn ang="0">
                <a:pos x="connsiteX7959" y="connsiteY7959"/>
              </a:cxn>
              <a:cxn ang="0">
                <a:pos x="connsiteX7960" y="connsiteY7960"/>
              </a:cxn>
              <a:cxn ang="0">
                <a:pos x="connsiteX7961" y="connsiteY7961"/>
              </a:cxn>
              <a:cxn ang="0">
                <a:pos x="connsiteX7962" y="connsiteY7962"/>
              </a:cxn>
              <a:cxn ang="0">
                <a:pos x="connsiteX7963" y="connsiteY7963"/>
              </a:cxn>
              <a:cxn ang="0">
                <a:pos x="connsiteX7964" y="connsiteY7964"/>
              </a:cxn>
              <a:cxn ang="0">
                <a:pos x="connsiteX7965" y="connsiteY7965"/>
              </a:cxn>
              <a:cxn ang="0">
                <a:pos x="connsiteX7966" y="connsiteY7966"/>
              </a:cxn>
              <a:cxn ang="0">
                <a:pos x="connsiteX7967" y="connsiteY7967"/>
              </a:cxn>
              <a:cxn ang="0">
                <a:pos x="connsiteX7968" y="connsiteY7968"/>
              </a:cxn>
              <a:cxn ang="0">
                <a:pos x="connsiteX7969" y="connsiteY7969"/>
              </a:cxn>
              <a:cxn ang="0">
                <a:pos x="connsiteX7970" y="connsiteY7970"/>
              </a:cxn>
              <a:cxn ang="0">
                <a:pos x="connsiteX7971" y="connsiteY7971"/>
              </a:cxn>
              <a:cxn ang="0">
                <a:pos x="connsiteX7972" y="connsiteY7972"/>
              </a:cxn>
              <a:cxn ang="0">
                <a:pos x="connsiteX7973" y="connsiteY7973"/>
              </a:cxn>
              <a:cxn ang="0">
                <a:pos x="connsiteX7974" y="connsiteY7974"/>
              </a:cxn>
              <a:cxn ang="0">
                <a:pos x="connsiteX7975" y="connsiteY7975"/>
              </a:cxn>
              <a:cxn ang="0">
                <a:pos x="connsiteX7976" y="connsiteY7976"/>
              </a:cxn>
              <a:cxn ang="0">
                <a:pos x="connsiteX7977" y="connsiteY7977"/>
              </a:cxn>
              <a:cxn ang="0">
                <a:pos x="connsiteX7978" y="connsiteY7978"/>
              </a:cxn>
              <a:cxn ang="0">
                <a:pos x="connsiteX7979" y="connsiteY7979"/>
              </a:cxn>
              <a:cxn ang="0">
                <a:pos x="connsiteX7980" y="connsiteY7980"/>
              </a:cxn>
              <a:cxn ang="0">
                <a:pos x="connsiteX7981" y="connsiteY7981"/>
              </a:cxn>
              <a:cxn ang="0">
                <a:pos x="connsiteX7982" y="connsiteY7982"/>
              </a:cxn>
              <a:cxn ang="0">
                <a:pos x="connsiteX7983" y="connsiteY7983"/>
              </a:cxn>
              <a:cxn ang="0">
                <a:pos x="connsiteX7984" y="connsiteY7984"/>
              </a:cxn>
              <a:cxn ang="0">
                <a:pos x="connsiteX7985" y="connsiteY7985"/>
              </a:cxn>
              <a:cxn ang="0">
                <a:pos x="connsiteX7986" y="connsiteY7986"/>
              </a:cxn>
              <a:cxn ang="0">
                <a:pos x="connsiteX7987" y="connsiteY7987"/>
              </a:cxn>
              <a:cxn ang="0">
                <a:pos x="connsiteX7988" y="connsiteY7988"/>
              </a:cxn>
              <a:cxn ang="0">
                <a:pos x="connsiteX7989" y="connsiteY7989"/>
              </a:cxn>
              <a:cxn ang="0">
                <a:pos x="connsiteX7990" y="connsiteY7990"/>
              </a:cxn>
              <a:cxn ang="0">
                <a:pos x="connsiteX7991" y="connsiteY7991"/>
              </a:cxn>
              <a:cxn ang="0">
                <a:pos x="connsiteX7992" y="connsiteY7992"/>
              </a:cxn>
              <a:cxn ang="0">
                <a:pos x="connsiteX7993" y="connsiteY7993"/>
              </a:cxn>
              <a:cxn ang="0">
                <a:pos x="connsiteX7994" y="connsiteY7994"/>
              </a:cxn>
              <a:cxn ang="0">
                <a:pos x="connsiteX7995" y="connsiteY7995"/>
              </a:cxn>
              <a:cxn ang="0">
                <a:pos x="connsiteX7996" y="connsiteY7996"/>
              </a:cxn>
              <a:cxn ang="0">
                <a:pos x="connsiteX7997" y="connsiteY7997"/>
              </a:cxn>
              <a:cxn ang="0">
                <a:pos x="connsiteX7998" y="connsiteY7998"/>
              </a:cxn>
              <a:cxn ang="0">
                <a:pos x="connsiteX7999" y="connsiteY7999"/>
              </a:cxn>
              <a:cxn ang="0">
                <a:pos x="connsiteX8000" y="connsiteY8000"/>
              </a:cxn>
              <a:cxn ang="0">
                <a:pos x="connsiteX8001" y="connsiteY8001"/>
              </a:cxn>
              <a:cxn ang="0">
                <a:pos x="connsiteX8002" y="connsiteY8002"/>
              </a:cxn>
              <a:cxn ang="0">
                <a:pos x="connsiteX8003" y="connsiteY8003"/>
              </a:cxn>
              <a:cxn ang="0">
                <a:pos x="connsiteX8004" y="connsiteY8004"/>
              </a:cxn>
              <a:cxn ang="0">
                <a:pos x="connsiteX8005" y="connsiteY8005"/>
              </a:cxn>
              <a:cxn ang="0">
                <a:pos x="connsiteX8006" y="connsiteY8006"/>
              </a:cxn>
              <a:cxn ang="0">
                <a:pos x="connsiteX8007" y="connsiteY8007"/>
              </a:cxn>
              <a:cxn ang="0">
                <a:pos x="connsiteX8008" y="connsiteY8008"/>
              </a:cxn>
              <a:cxn ang="0">
                <a:pos x="connsiteX8009" y="connsiteY8009"/>
              </a:cxn>
              <a:cxn ang="0">
                <a:pos x="connsiteX8010" y="connsiteY8010"/>
              </a:cxn>
              <a:cxn ang="0">
                <a:pos x="connsiteX8011" y="connsiteY8011"/>
              </a:cxn>
              <a:cxn ang="0">
                <a:pos x="connsiteX8012" y="connsiteY8012"/>
              </a:cxn>
              <a:cxn ang="0">
                <a:pos x="connsiteX8013" y="connsiteY8013"/>
              </a:cxn>
              <a:cxn ang="0">
                <a:pos x="connsiteX8014" y="connsiteY8014"/>
              </a:cxn>
              <a:cxn ang="0">
                <a:pos x="connsiteX8015" y="connsiteY8015"/>
              </a:cxn>
              <a:cxn ang="0">
                <a:pos x="connsiteX8016" y="connsiteY8016"/>
              </a:cxn>
              <a:cxn ang="0">
                <a:pos x="connsiteX8017" y="connsiteY8017"/>
              </a:cxn>
              <a:cxn ang="0">
                <a:pos x="connsiteX8018" y="connsiteY8018"/>
              </a:cxn>
              <a:cxn ang="0">
                <a:pos x="connsiteX8019" y="connsiteY8019"/>
              </a:cxn>
              <a:cxn ang="0">
                <a:pos x="connsiteX8020" y="connsiteY8020"/>
              </a:cxn>
              <a:cxn ang="0">
                <a:pos x="connsiteX8021" y="connsiteY8021"/>
              </a:cxn>
              <a:cxn ang="0">
                <a:pos x="connsiteX8022" y="connsiteY8022"/>
              </a:cxn>
              <a:cxn ang="0">
                <a:pos x="connsiteX8023" y="connsiteY8023"/>
              </a:cxn>
              <a:cxn ang="0">
                <a:pos x="connsiteX8024" y="connsiteY8024"/>
              </a:cxn>
              <a:cxn ang="0">
                <a:pos x="connsiteX8025" y="connsiteY8025"/>
              </a:cxn>
              <a:cxn ang="0">
                <a:pos x="connsiteX8026" y="connsiteY8026"/>
              </a:cxn>
              <a:cxn ang="0">
                <a:pos x="connsiteX8027" y="connsiteY8027"/>
              </a:cxn>
              <a:cxn ang="0">
                <a:pos x="connsiteX8028" y="connsiteY8028"/>
              </a:cxn>
              <a:cxn ang="0">
                <a:pos x="connsiteX8029" y="connsiteY8029"/>
              </a:cxn>
              <a:cxn ang="0">
                <a:pos x="connsiteX8030" y="connsiteY8030"/>
              </a:cxn>
              <a:cxn ang="0">
                <a:pos x="connsiteX8031" y="connsiteY8031"/>
              </a:cxn>
              <a:cxn ang="0">
                <a:pos x="connsiteX8032" y="connsiteY8032"/>
              </a:cxn>
              <a:cxn ang="0">
                <a:pos x="connsiteX8033" y="connsiteY8033"/>
              </a:cxn>
              <a:cxn ang="0">
                <a:pos x="connsiteX8034" y="connsiteY8034"/>
              </a:cxn>
              <a:cxn ang="0">
                <a:pos x="connsiteX8035" y="connsiteY8035"/>
              </a:cxn>
              <a:cxn ang="0">
                <a:pos x="connsiteX8036" y="connsiteY8036"/>
              </a:cxn>
              <a:cxn ang="0">
                <a:pos x="connsiteX8037" y="connsiteY8037"/>
              </a:cxn>
              <a:cxn ang="0">
                <a:pos x="connsiteX8038" y="connsiteY8038"/>
              </a:cxn>
              <a:cxn ang="0">
                <a:pos x="connsiteX8039" y="connsiteY8039"/>
              </a:cxn>
              <a:cxn ang="0">
                <a:pos x="connsiteX8040" y="connsiteY8040"/>
              </a:cxn>
              <a:cxn ang="0">
                <a:pos x="connsiteX8041" y="connsiteY8041"/>
              </a:cxn>
              <a:cxn ang="0">
                <a:pos x="connsiteX8042" y="connsiteY8042"/>
              </a:cxn>
              <a:cxn ang="0">
                <a:pos x="connsiteX8043" y="connsiteY8043"/>
              </a:cxn>
              <a:cxn ang="0">
                <a:pos x="connsiteX8044" y="connsiteY8044"/>
              </a:cxn>
              <a:cxn ang="0">
                <a:pos x="connsiteX8045" y="connsiteY8045"/>
              </a:cxn>
              <a:cxn ang="0">
                <a:pos x="connsiteX8046" y="connsiteY8046"/>
              </a:cxn>
              <a:cxn ang="0">
                <a:pos x="connsiteX8047" y="connsiteY8047"/>
              </a:cxn>
              <a:cxn ang="0">
                <a:pos x="connsiteX8048" y="connsiteY8048"/>
              </a:cxn>
              <a:cxn ang="0">
                <a:pos x="connsiteX8049" y="connsiteY8049"/>
              </a:cxn>
              <a:cxn ang="0">
                <a:pos x="connsiteX8050" y="connsiteY8050"/>
              </a:cxn>
              <a:cxn ang="0">
                <a:pos x="connsiteX8051" y="connsiteY8051"/>
              </a:cxn>
              <a:cxn ang="0">
                <a:pos x="connsiteX8052" y="connsiteY8052"/>
              </a:cxn>
              <a:cxn ang="0">
                <a:pos x="connsiteX8053" y="connsiteY8053"/>
              </a:cxn>
              <a:cxn ang="0">
                <a:pos x="connsiteX8054" y="connsiteY8054"/>
              </a:cxn>
              <a:cxn ang="0">
                <a:pos x="connsiteX8055" y="connsiteY8055"/>
              </a:cxn>
              <a:cxn ang="0">
                <a:pos x="connsiteX8056" y="connsiteY8056"/>
              </a:cxn>
              <a:cxn ang="0">
                <a:pos x="connsiteX8057" y="connsiteY8057"/>
              </a:cxn>
              <a:cxn ang="0">
                <a:pos x="connsiteX8058" y="connsiteY8058"/>
              </a:cxn>
              <a:cxn ang="0">
                <a:pos x="connsiteX8059" y="connsiteY8059"/>
              </a:cxn>
              <a:cxn ang="0">
                <a:pos x="connsiteX8060" y="connsiteY8060"/>
              </a:cxn>
              <a:cxn ang="0">
                <a:pos x="connsiteX8061" y="connsiteY8061"/>
              </a:cxn>
              <a:cxn ang="0">
                <a:pos x="connsiteX8062" y="connsiteY8062"/>
              </a:cxn>
              <a:cxn ang="0">
                <a:pos x="connsiteX8063" y="connsiteY8063"/>
              </a:cxn>
              <a:cxn ang="0">
                <a:pos x="connsiteX8064" y="connsiteY8064"/>
              </a:cxn>
              <a:cxn ang="0">
                <a:pos x="connsiteX8065" y="connsiteY8065"/>
              </a:cxn>
              <a:cxn ang="0">
                <a:pos x="connsiteX8066" y="connsiteY8066"/>
              </a:cxn>
              <a:cxn ang="0">
                <a:pos x="connsiteX8067" y="connsiteY8067"/>
              </a:cxn>
              <a:cxn ang="0">
                <a:pos x="connsiteX8068" y="connsiteY8068"/>
              </a:cxn>
              <a:cxn ang="0">
                <a:pos x="connsiteX8069" y="connsiteY8069"/>
              </a:cxn>
              <a:cxn ang="0">
                <a:pos x="connsiteX8070" y="connsiteY8070"/>
              </a:cxn>
              <a:cxn ang="0">
                <a:pos x="connsiteX8071" y="connsiteY8071"/>
              </a:cxn>
              <a:cxn ang="0">
                <a:pos x="connsiteX8072" y="connsiteY8072"/>
              </a:cxn>
              <a:cxn ang="0">
                <a:pos x="connsiteX8073" y="connsiteY8073"/>
              </a:cxn>
              <a:cxn ang="0">
                <a:pos x="connsiteX8074" y="connsiteY8074"/>
              </a:cxn>
              <a:cxn ang="0">
                <a:pos x="connsiteX8075" y="connsiteY8075"/>
              </a:cxn>
              <a:cxn ang="0">
                <a:pos x="connsiteX8076" y="connsiteY8076"/>
              </a:cxn>
              <a:cxn ang="0">
                <a:pos x="connsiteX8077" y="connsiteY8077"/>
              </a:cxn>
              <a:cxn ang="0">
                <a:pos x="connsiteX8078" y="connsiteY8078"/>
              </a:cxn>
              <a:cxn ang="0">
                <a:pos x="connsiteX8079" y="connsiteY8079"/>
              </a:cxn>
              <a:cxn ang="0">
                <a:pos x="connsiteX8080" y="connsiteY8080"/>
              </a:cxn>
              <a:cxn ang="0">
                <a:pos x="connsiteX8081" y="connsiteY8081"/>
              </a:cxn>
              <a:cxn ang="0">
                <a:pos x="connsiteX8082" y="connsiteY8082"/>
              </a:cxn>
              <a:cxn ang="0">
                <a:pos x="connsiteX8083" y="connsiteY8083"/>
              </a:cxn>
              <a:cxn ang="0">
                <a:pos x="connsiteX8084" y="connsiteY8084"/>
              </a:cxn>
              <a:cxn ang="0">
                <a:pos x="connsiteX8085" y="connsiteY8085"/>
              </a:cxn>
              <a:cxn ang="0">
                <a:pos x="connsiteX8086" y="connsiteY8086"/>
              </a:cxn>
              <a:cxn ang="0">
                <a:pos x="connsiteX8087" y="connsiteY8087"/>
              </a:cxn>
              <a:cxn ang="0">
                <a:pos x="connsiteX8088" y="connsiteY8088"/>
              </a:cxn>
              <a:cxn ang="0">
                <a:pos x="connsiteX8089" y="connsiteY8089"/>
              </a:cxn>
              <a:cxn ang="0">
                <a:pos x="connsiteX8090" y="connsiteY8090"/>
              </a:cxn>
              <a:cxn ang="0">
                <a:pos x="connsiteX8091" y="connsiteY8091"/>
              </a:cxn>
              <a:cxn ang="0">
                <a:pos x="connsiteX8092" y="connsiteY8092"/>
              </a:cxn>
              <a:cxn ang="0">
                <a:pos x="connsiteX8093" y="connsiteY8093"/>
              </a:cxn>
              <a:cxn ang="0">
                <a:pos x="connsiteX8094" y="connsiteY8094"/>
              </a:cxn>
              <a:cxn ang="0">
                <a:pos x="connsiteX8095" y="connsiteY8095"/>
              </a:cxn>
              <a:cxn ang="0">
                <a:pos x="connsiteX8096" y="connsiteY8096"/>
              </a:cxn>
              <a:cxn ang="0">
                <a:pos x="connsiteX8097" y="connsiteY8097"/>
              </a:cxn>
              <a:cxn ang="0">
                <a:pos x="connsiteX8098" y="connsiteY8098"/>
              </a:cxn>
              <a:cxn ang="0">
                <a:pos x="connsiteX8099" y="connsiteY8099"/>
              </a:cxn>
              <a:cxn ang="0">
                <a:pos x="connsiteX8100" y="connsiteY8100"/>
              </a:cxn>
              <a:cxn ang="0">
                <a:pos x="connsiteX8101" y="connsiteY8101"/>
              </a:cxn>
              <a:cxn ang="0">
                <a:pos x="connsiteX8102" y="connsiteY8102"/>
              </a:cxn>
              <a:cxn ang="0">
                <a:pos x="connsiteX8103" y="connsiteY8103"/>
              </a:cxn>
              <a:cxn ang="0">
                <a:pos x="connsiteX8104" y="connsiteY8104"/>
              </a:cxn>
              <a:cxn ang="0">
                <a:pos x="connsiteX8105" y="connsiteY8105"/>
              </a:cxn>
              <a:cxn ang="0">
                <a:pos x="connsiteX8106" y="connsiteY8106"/>
              </a:cxn>
              <a:cxn ang="0">
                <a:pos x="connsiteX8107" y="connsiteY8107"/>
              </a:cxn>
              <a:cxn ang="0">
                <a:pos x="connsiteX8108" y="connsiteY8108"/>
              </a:cxn>
              <a:cxn ang="0">
                <a:pos x="connsiteX8109" y="connsiteY8109"/>
              </a:cxn>
              <a:cxn ang="0">
                <a:pos x="connsiteX8110" y="connsiteY8110"/>
              </a:cxn>
              <a:cxn ang="0">
                <a:pos x="connsiteX8111" y="connsiteY8111"/>
              </a:cxn>
              <a:cxn ang="0">
                <a:pos x="connsiteX8112" y="connsiteY8112"/>
              </a:cxn>
              <a:cxn ang="0">
                <a:pos x="connsiteX8113" y="connsiteY8113"/>
              </a:cxn>
              <a:cxn ang="0">
                <a:pos x="connsiteX8114" y="connsiteY8114"/>
              </a:cxn>
              <a:cxn ang="0">
                <a:pos x="connsiteX8115" y="connsiteY8115"/>
              </a:cxn>
              <a:cxn ang="0">
                <a:pos x="connsiteX8116" y="connsiteY8116"/>
              </a:cxn>
              <a:cxn ang="0">
                <a:pos x="connsiteX8117" y="connsiteY8117"/>
              </a:cxn>
              <a:cxn ang="0">
                <a:pos x="connsiteX8118" y="connsiteY8118"/>
              </a:cxn>
              <a:cxn ang="0">
                <a:pos x="connsiteX8119" y="connsiteY8119"/>
              </a:cxn>
              <a:cxn ang="0">
                <a:pos x="connsiteX8120" y="connsiteY8120"/>
              </a:cxn>
              <a:cxn ang="0">
                <a:pos x="connsiteX8121" y="connsiteY8121"/>
              </a:cxn>
              <a:cxn ang="0">
                <a:pos x="connsiteX8122" y="connsiteY8122"/>
              </a:cxn>
              <a:cxn ang="0">
                <a:pos x="connsiteX8123" y="connsiteY8123"/>
              </a:cxn>
              <a:cxn ang="0">
                <a:pos x="connsiteX8124" y="connsiteY8124"/>
              </a:cxn>
              <a:cxn ang="0">
                <a:pos x="connsiteX8125" y="connsiteY8125"/>
              </a:cxn>
              <a:cxn ang="0">
                <a:pos x="connsiteX8126" y="connsiteY8126"/>
              </a:cxn>
              <a:cxn ang="0">
                <a:pos x="connsiteX8127" y="connsiteY8127"/>
              </a:cxn>
              <a:cxn ang="0">
                <a:pos x="connsiteX8128" y="connsiteY8128"/>
              </a:cxn>
              <a:cxn ang="0">
                <a:pos x="connsiteX8129" y="connsiteY8129"/>
              </a:cxn>
              <a:cxn ang="0">
                <a:pos x="connsiteX8130" y="connsiteY8130"/>
              </a:cxn>
              <a:cxn ang="0">
                <a:pos x="connsiteX8131" y="connsiteY8131"/>
              </a:cxn>
              <a:cxn ang="0">
                <a:pos x="connsiteX8132" y="connsiteY8132"/>
              </a:cxn>
              <a:cxn ang="0">
                <a:pos x="connsiteX8133" y="connsiteY8133"/>
              </a:cxn>
              <a:cxn ang="0">
                <a:pos x="connsiteX8134" y="connsiteY8134"/>
              </a:cxn>
              <a:cxn ang="0">
                <a:pos x="connsiteX8135" y="connsiteY8135"/>
              </a:cxn>
              <a:cxn ang="0">
                <a:pos x="connsiteX8136" y="connsiteY8136"/>
              </a:cxn>
              <a:cxn ang="0">
                <a:pos x="connsiteX8137" y="connsiteY8137"/>
              </a:cxn>
              <a:cxn ang="0">
                <a:pos x="connsiteX8138" y="connsiteY8138"/>
              </a:cxn>
              <a:cxn ang="0">
                <a:pos x="connsiteX8139" y="connsiteY8139"/>
              </a:cxn>
              <a:cxn ang="0">
                <a:pos x="connsiteX8140" y="connsiteY8140"/>
              </a:cxn>
              <a:cxn ang="0">
                <a:pos x="connsiteX8141" y="connsiteY8141"/>
              </a:cxn>
              <a:cxn ang="0">
                <a:pos x="connsiteX8142" y="connsiteY8142"/>
              </a:cxn>
              <a:cxn ang="0">
                <a:pos x="connsiteX8143" y="connsiteY8143"/>
              </a:cxn>
              <a:cxn ang="0">
                <a:pos x="connsiteX8144" y="connsiteY8144"/>
              </a:cxn>
              <a:cxn ang="0">
                <a:pos x="connsiteX8145" y="connsiteY8145"/>
              </a:cxn>
              <a:cxn ang="0">
                <a:pos x="connsiteX8146" y="connsiteY8146"/>
              </a:cxn>
              <a:cxn ang="0">
                <a:pos x="connsiteX8147" y="connsiteY8147"/>
              </a:cxn>
              <a:cxn ang="0">
                <a:pos x="connsiteX8148" y="connsiteY8148"/>
              </a:cxn>
              <a:cxn ang="0">
                <a:pos x="connsiteX8149" y="connsiteY8149"/>
              </a:cxn>
              <a:cxn ang="0">
                <a:pos x="connsiteX8150" y="connsiteY8150"/>
              </a:cxn>
              <a:cxn ang="0">
                <a:pos x="connsiteX8151" y="connsiteY8151"/>
              </a:cxn>
              <a:cxn ang="0">
                <a:pos x="connsiteX8152" y="connsiteY8152"/>
              </a:cxn>
              <a:cxn ang="0">
                <a:pos x="connsiteX8153" y="connsiteY8153"/>
              </a:cxn>
              <a:cxn ang="0">
                <a:pos x="connsiteX8154" y="connsiteY8154"/>
              </a:cxn>
              <a:cxn ang="0">
                <a:pos x="connsiteX8155" y="connsiteY8155"/>
              </a:cxn>
              <a:cxn ang="0">
                <a:pos x="connsiteX8156" y="connsiteY8156"/>
              </a:cxn>
              <a:cxn ang="0">
                <a:pos x="connsiteX8157" y="connsiteY8157"/>
              </a:cxn>
              <a:cxn ang="0">
                <a:pos x="connsiteX8158" y="connsiteY8158"/>
              </a:cxn>
              <a:cxn ang="0">
                <a:pos x="connsiteX8159" y="connsiteY8159"/>
              </a:cxn>
              <a:cxn ang="0">
                <a:pos x="connsiteX8160" y="connsiteY8160"/>
              </a:cxn>
              <a:cxn ang="0">
                <a:pos x="connsiteX8161" y="connsiteY8161"/>
              </a:cxn>
              <a:cxn ang="0">
                <a:pos x="connsiteX8162" y="connsiteY8162"/>
              </a:cxn>
              <a:cxn ang="0">
                <a:pos x="connsiteX8163" y="connsiteY8163"/>
              </a:cxn>
              <a:cxn ang="0">
                <a:pos x="connsiteX8164" y="connsiteY8164"/>
              </a:cxn>
              <a:cxn ang="0">
                <a:pos x="connsiteX8165" y="connsiteY8165"/>
              </a:cxn>
              <a:cxn ang="0">
                <a:pos x="connsiteX8166" y="connsiteY8166"/>
              </a:cxn>
              <a:cxn ang="0">
                <a:pos x="connsiteX8167" y="connsiteY8167"/>
              </a:cxn>
              <a:cxn ang="0">
                <a:pos x="connsiteX8168" y="connsiteY8168"/>
              </a:cxn>
              <a:cxn ang="0">
                <a:pos x="connsiteX8169" y="connsiteY8169"/>
              </a:cxn>
              <a:cxn ang="0">
                <a:pos x="connsiteX8170" y="connsiteY8170"/>
              </a:cxn>
              <a:cxn ang="0">
                <a:pos x="connsiteX8171" y="connsiteY8171"/>
              </a:cxn>
              <a:cxn ang="0">
                <a:pos x="connsiteX8172" y="connsiteY8172"/>
              </a:cxn>
              <a:cxn ang="0">
                <a:pos x="connsiteX8173" y="connsiteY8173"/>
              </a:cxn>
              <a:cxn ang="0">
                <a:pos x="connsiteX8174" y="connsiteY8174"/>
              </a:cxn>
              <a:cxn ang="0">
                <a:pos x="connsiteX8175" y="connsiteY8175"/>
              </a:cxn>
              <a:cxn ang="0">
                <a:pos x="connsiteX8176" y="connsiteY8176"/>
              </a:cxn>
              <a:cxn ang="0">
                <a:pos x="connsiteX8177" y="connsiteY8177"/>
              </a:cxn>
              <a:cxn ang="0">
                <a:pos x="connsiteX8178" y="connsiteY8178"/>
              </a:cxn>
              <a:cxn ang="0">
                <a:pos x="connsiteX8179" y="connsiteY8179"/>
              </a:cxn>
              <a:cxn ang="0">
                <a:pos x="connsiteX8180" y="connsiteY8180"/>
              </a:cxn>
              <a:cxn ang="0">
                <a:pos x="connsiteX8181" y="connsiteY8181"/>
              </a:cxn>
              <a:cxn ang="0">
                <a:pos x="connsiteX8182" y="connsiteY8182"/>
              </a:cxn>
              <a:cxn ang="0">
                <a:pos x="connsiteX8183" y="connsiteY8183"/>
              </a:cxn>
              <a:cxn ang="0">
                <a:pos x="connsiteX8184" y="connsiteY8184"/>
              </a:cxn>
              <a:cxn ang="0">
                <a:pos x="connsiteX8185" y="connsiteY8185"/>
              </a:cxn>
              <a:cxn ang="0">
                <a:pos x="connsiteX8186" y="connsiteY8186"/>
              </a:cxn>
              <a:cxn ang="0">
                <a:pos x="connsiteX8187" y="connsiteY8187"/>
              </a:cxn>
              <a:cxn ang="0">
                <a:pos x="connsiteX8188" y="connsiteY8188"/>
              </a:cxn>
              <a:cxn ang="0">
                <a:pos x="connsiteX8189" y="connsiteY8189"/>
              </a:cxn>
              <a:cxn ang="0">
                <a:pos x="connsiteX8190" y="connsiteY8190"/>
              </a:cxn>
              <a:cxn ang="0">
                <a:pos x="connsiteX8191" y="connsiteY8191"/>
              </a:cxn>
              <a:cxn ang="0">
                <a:pos x="connsiteX8192" y="connsiteY8192"/>
              </a:cxn>
              <a:cxn ang="0">
                <a:pos x="connsiteX8193" y="connsiteY8193"/>
              </a:cxn>
              <a:cxn ang="0">
                <a:pos x="connsiteX8194" y="connsiteY8194"/>
              </a:cxn>
              <a:cxn ang="0">
                <a:pos x="connsiteX8195" y="connsiteY8195"/>
              </a:cxn>
              <a:cxn ang="0">
                <a:pos x="connsiteX8196" y="connsiteY8196"/>
              </a:cxn>
              <a:cxn ang="0">
                <a:pos x="connsiteX8197" y="connsiteY8197"/>
              </a:cxn>
              <a:cxn ang="0">
                <a:pos x="connsiteX8198" y="connsiteY8198"/>
              </a:cxn>
              <a:cxn ang="0">
                <a:pos x="connsiteX8199" y="connsiteY8199"/>
              </a:cxn>
              <a:cxn ang="0">
                <a:pos x="connsiteX8200" y="connsiteY8200"/>
              </a:cxn>
              <a:cxn ang="0">
                <a:pos x="connsiteX8201" y="connsiteY8201"/>
              </a:cxn>
              <a:cxn ang="0">
                <a:pos x="connsiteX8202" y="connsiteY8202"/>
              </a:cxn>
              <a:cxn ang="0">
                <a:pos x="connsiteX8203" y="connsiteY8203"/>
              </a:cxn>
              <a:cxn ang="0">
                <a:pos x="connsiteX8204" y="connsiteY8204"/>
              </a:cxn>
              <a:cxn ang="0">
                <a:pos x="connsiteX8205" y="connsiteY8205"/>
              </a:cxn>
              <a:cxn ang="0">
                <a:pos x="connsiteX8206" y="connsiteY8206"/>
              </a:cxn>
              <a:cxn ang="0">
                <a:pos x="connsiteX8207" y="connsiteY8207"/>
              </a:cxn>
              <a:cxn ang="0">
                <a:pos x="connsiteX8208" y="connsiteY8208"/>
              </a:cxn>
              <a:cxn ang="0">
                <a:pos x="connsiteX8209" y="connsiteY8209"/>
              </a:cxn>
              <a:cxn ang="0">
                <a:pos x="connsiteX8210" y="connsiteY8210"/>
              </a:cxn>
              <a:cxn ang="0">
                <a:pos x="connsiteX8211" y="connsiteY8211"/>
              </a:cxn>
              <a:cxn ang="0">
                <a:pos x="connsiteX8212" y="connsiteY8212"/>
              </a:cxn>
              <a:cxn ang="0">
                <a:pos x="connsiteX8213" y="connsiteY8213"/>
              </a:cxn>
              <a:cxn ang="0">
                <a:pos x="connsiteX8214" y="connsiteY8214"/>
              </a:cxn>
              <a:cxn ang="0">
                <a:pos x="connsiteX8215" y="connsiteY8215"/>
              </a:cxn>
              <a:cxn ang="0">
                <a:pos x="connsiteX8216" y="connsiteY8216"/>
              </a:cxn>
              <a:cxn ang="0">
                <a:pos x="connsiteX8217" y="connsiteY8217"/>
              </a:cxn>
              <a:cxn ang="0">
                <a:pos x="connsiteX8218" y="connsiteY8218"/>
              </a:cxn>
              <a:cxn ang="0">
                <a:pos x="connsiteX8219" y="connsiteY8219"/>
              </a:cxn>
              <a:cxn ang="0">
                <a:pos x="connsiteX8220" y="connsiteY8220"/>
              </a:cxn>
              <a:cxn ang="0">
                <a:pos x="connsiteX8221" y="connsiteY8221"/>
              </a:cxn>
              <a:cxn ang="0">
                <a:pos x="connsiteX8222" y="connsiteY8222"/>
              </a:cxn>
              <a:cxn ang="0">
                <a:pos x="connsiteX8223" y="connsiteY8223"/>
              </a:cxn>
              <a:cxn ang="0">
                <a:pos x="connsiteX8224" y="connsiteY8224"/>
              </a:cxn>
              <a:cxn ang="0">
                <a:pos x="connsiteX8225" y="connsiteY8225"/>
              </a:cxn>
              <a:cxn ang="0">
                <a:pos x="connsiteX8226" y="connsiteY8226"/>
              </a:cxn>
              <a:cxn ang="0">
                <a:pos x="connsiteX8227" y="connsiteY8227"/>
              </a:cxn>
              <a:cxn ang="0">
                <a:pos x="connsiteX8228" y="connsiteY8228"/>
              </a:cxn>
              <a:cxn ang="0">
                <a:pos x="connsiteX8229" y="connsiteY8229"/>
              </a:cxn>
              <a:cxn ang="0">
                <a:pos x="connsiteX8230" y="connsiteY8230"/>
              </a:cxn>
              <a:cxn ang="0">
                <a:pos x="connsiteX8231" y="connsiteY8231"/>
              </a:cxn>
              <a:cxn ang="0">
                <a:pos x="connsiteX8232" y="connsiteY8232"/>
              </a:cxn>
              <a:cxn ang="0">
                <a:pos x="connsiteX8233" y="connsiteY8233"/>
              </a:cxn>
              <a:cxn ang="0">
                <a:pos x="connsiteX8234" y="connsiteY8234"/>
              </a:cxn>
              <a:cxn ang="0">
                <a:pos x="connsiteX8235" y="connsiteY8235"/>
              </a:cxn>
              <a:cxn ang="0">
                <a:pos x="connsiteX8236" y="connsiteY8236"/>
              </a:cxn>
              <a:cxn ang="0">
                <a:pos x="connsiteX8237" y="connsiteY8237"/>
              </a:cxn>
              <a:cxn ang="0">
                <a:pos x="connsiteX8238" y="connsiteY8238"/>
              </a:cxn>
              <a:cxn ang="0">
                <a:pos x="connsiteX8239" y="connsiteY8239"/>
              </a:cxn>
              <a:cxn ang="0">
                <a:pos x="connsiteX8240" y="connsiteY8240"/>
              </a:cxn>
              <a:cxn ang="0">
                <a:pos x="connsiteX8241" y="connsiteY8241"/>
              </a:cxn>
              <a:cxn ang="0">
                <a:pos x="connsiteX8242" y="connsiteY8242"/>
              </a:cxn>
              <a:cxn ang="0">
                <a:pos x="connsiteX8243" y="connsiteY8243"/>
              </a:cxn>
              <a:cxn ang="0">
                <a:pos x="connsiteX8244" y="connsiteY8244"/>
              </a:cxn>
              <a:cxn ang="0">
                <a:pos x="connsiteX8245" y="connsiteY8245"/>
              </a:cxn>
              <a:cxn ang="0">
                <a:pos x="connsiteX8246" y="connsiteY8246"/>
              </a:cxn>
              <a:cxn ang="0">
                <a:pos x="connsiteX8247" y="connsiteY8247"/>
              </a:cxn>
              <a:cxn ang="0">
                <a:pos x="connsiteX8248" y="connsiteY8248"/>
              </a:cxn>
              <a:cxn ang="0">
                <a:pos x="connsiteX8249" y="connsiteY8249"/>
              </a:cxn>
              <a:cxn ang="0">
                <a:pos x="connsiteX8250" y="connsiteY8250"/>
              </a:cxn>
              <a:cxn ang="0">
                <a:pos x="connsiteX8251" y="connsiteY8251"/>
              </a:cxn>
              <a:cxn ang="0">
                <a:pos x="connsiteX8252" y="connsiteY8252"/>
              </a:cxn>
              <a:cxn ang="0">
                <a:pos x="connsiteX8253" y="connsiteY8253"/>
              </a:cxn>
              <a:cxn ang="0">
                <a:pos x="connsiteX8254" y="connsiteY8254"/>
              </a:cxn>
              <a:cxn ang="0">
                <a:pos x="connsiteX8255" y="connsiteY8255"/>
              </a:cxn>
              <a:cxn ang="0">
                <a:pos x="connsiteX8256" y="connsiteY8256"/>
              </a:cxn>
              <a:cxn ang="0">
                <a:pos x="connsiteX8257" y="connsiteY8257"/>
              </a:cxn>
              <a:cxn ang="0">
                <a:pos x="connsiteX8258" y="connsiteY8258"/>
              </a:cxn>
              <a:cxn ang="0">
                <a:pos x="connsiteX8259" y="connsiteY8259"/>
              </a:cxn>
              <a:cxn ang="0">
                <a:pos x="connsiteX8260" y="connsiteY8260"/>
              </a:cxn>
              <a:cxn ang="0">
                <a:pos x="connsiteX8261" y="connsiteY8261"/>
              </a:cxn>
              <a:cxn ang="0">
                <a:pos x="connsiteX8262" y="connsiteY8262"/>
              </a:cxn>
              <a:cxn ang="0">
                <a:pos x="connsiteX8263" y="connsiteY8263"/>
              </a:cxn>
              <a:cxn ang="0">
                <a:pos x="connsiteX8264" y="connsiteY8264"/>
              </a:cxn>
              <a:cxn ang="0">
                <a:pos x="connsiteX8265" y="connsiteY8265"/>
              </a:cxn>
              <a:cxn ang="0">
                <a:pos x="connsiteX8266" y="connsiteY8266"/>
              </a:cxn>
              <a:cxn ang="0">
                <a:pos x="connsiteX8267" y="connsiteY8267"/>
              </a:cxn>
              <a:cxn ang="0">
                <a:pos x="connsiteX8268" y="connsiteY8268"/>
              </a:cxn>
              <a:cxn ang="0">
                <a:pos x="connsiteX8269" y="connsiteY8269"/>
              </a:cxn>
              <a:cxn ang="0">
                <a:pos x="connsiteX8270" y="connsiteY8270"/>
              </a:cxn>
              <a:cxn ang="0">
                <a:pos x="connsiteX8271" y="connsiteY8271"/>
              </a:cxn>
              <a:cxn ang="0">
                <a:pos x="connsiteX8272" y="connsiteY8272"/>
              </a:cxn>
              <a:cxn ang="0">
                <a:pos x="connsiteX8273" y="connsiteY8273"/>
              </a:cxn>
              <a:cxn ang="0">
                <a:pos x="connsiteX8274" y="connsiteY8274"/>
              </a:cxn>
              <a:cxn ang="0">
                <a:pos x="connsiteX8275" y="connsiteY8275"/>
              </a:cxn>
              <a:cxn ang="0">
                <a:pos x="connsiteX8276" y="connsiteY8276"/>
              </a:cxn>
              <a:cxn ang="0">
                <a:pos x="connsiteX8277" y="connsiteY8277"/>
              </a:cxn>
              <a:cxn ang="0">
                <a:pos x="connsiteX8278" y="connsiteY8278"/>
              </a:cxn>
              <a:cxn ang="0">
                <a:pos x="connsiteX8279" y="connsiteY8279"/>
              </a:cxn>
              <a:cxn ang="0">
                <a:pos x="connsiteX8280" y="connsiteY8280"/>
              </a:cxn>
              <a:cxn ang="0">
                <a:pos x="connsiteX8281" y="connsiteY8281"/>
              </a:cxn>
              <a:cxn ang="0">
                <a:pos x="connsiteX8282" y="connsiteY8282"/>
              </a:cxn>
              <a:cxn ang="0">
                <a:pos x="connsiteX8283" y="connsiteY8283"/>
              </a:cxn>
              <a:cxn ang="0">
                <a:pos x="connsiteX8284" y="connsiteY8284"/>
              </a:cxn>
              <a:cxn ang="0">
                <a:pos x="connsiteX8285" y="connsiteY8285"/>
              </a:cxn>
              <a:cxn ang="0">
                <a:pos x="connsiteX8286" y="connsiteY8286"/>
              </a:cxn>
              <a:cxn ang="0">
                <a:pos x="connsiteX8287" y="connsiteY8287"/>
              </a:cxn>
              <a:cxn ang="0">
                <a:pos x="connsiteX8288" y="connsiteY8288"/>
              </a:cxn>
              <a:cxn ang="0">
                <a:pos x="connsiteX8289" y="connsiteY8289"/>
              </a:cxn>
              <a:cxn ang="0">
                <a:pos x="connsiteX8290" y="connsiteY8290"/>
              </a:cxn>
              <a:cxn ang="0">
                <a:pos x="connsiteX8291" y="connsiteY8291"/>
              </a:cxn>
              <a:cxn ang="0">
                <a:pos x="connsiteX8292" y="connsiteY8292"/>
              </a:cxn>
              <a:cxn ang="0">
                <a:pos x="connsiteX8293" y="connsiteY8293"/>
              </a:cxn>
              <a:cxn ang="0">
                <a:pos x="connsiteX8294" y="connsiteY8294"/>
              </a:cxn>
              <a:cxn ang="0">
                <a:pos x="connsiteX8295" y="connsiteY8295"/>
              </a:cxn>
              <a:cxn ang="0">
                <a:pos x="connsiteX8296" y="connsiteY8296"/>
              </a:cxn>
              <a:cxn ang="0">
                <a:pos x="connsiteX8297" y="connsiteY8297"/>
              </a:cxn>
              <a:cxn ang="0">
                <a:pos x="connsiteX8298" y="connsiteY8298"/>
              </a:cxn>
              <a:cxn ang="0">
                <a:pos x="connsiteX8299" y="connsiteY8299"/>
              </a:cxn>
              <a:cxn ang="0">
                <a:pos x="connsiteX8300" y="connsiteY8300"/>
              </a:cxn>
              <a:cxn ang="0">
                <a:pos x="connsiteX8301" y="connsiteY8301"/>
              </a:cxn>
              <a:cxn ang="0">
                <a:pos x="connsiteX8302" y="connsiteY8302"/>
              </a:cxn>
              <a:cxn ang="0">
                <a:pos x="connsiteX8303" y="connsiteY8303"/>
              </a:cxn>
              <a:cxn ang="0">
                <a:pos x="connsiteX8304" y="connsiteY8304"/>
              </a:cxn>
              <a:cxn ang="0">
                <a:pos x="connsiteX8305" y="connsiteY8305"/>
              </a:cxn>
              <a:cxn ang="0">
                <a:pos x="connsiteX8306" y="connsiteY8306"/>
              </a:cxn>
              <a:cxn ang="0">
                <a:pos x="connsiteX8307" y="connsiteY8307"/>
              </a:cxn>
              <a:cxn ang="0">
                <a:pos x="connsiteX8308" y="connsiteY8308"/>
              </a:cxn>
              <a:cxn ang="0">
                <a:pos x="connsiteX8309" y="connsiteY8309"/>
              </a:cxn>
              <a:cxn ang="0">
                <a:pos x="connsiteX8310" y="connsiteY8310"/>
              </a:cxn>
              <a:cxn ang="0">
                <a:pos x="connsiteX8311" y="connsiteY8311"/>
              </a:cxn>
              <a:cxn ang="0">
                <a:pos x="connsiteX8312" y="connsiteY8312"/>
              </a:cxn>
              <a:cxn ang="0">
                <a:pos x="connsiteX8313" y="connsiteY8313"/>
              </a:cxn>
              <a:cxn ang="0">
                <a:pos x="connsiteX8314" y="connsiteY8314"/>
              </a:cxn>
              <a:cxn ang="0">
                <a:pos x="connsiteX8315" y="connsiteY8315"/>
              </a:cxn>
              <a:cxn ang="0">
                <a:pos x="connsiteX8316" y="connsiteY8316"/>
              </a:cxn>
              <a:cxn ang="0">
                <a:pos x="connsiteX8317" y="connsiteY8317"/>
              </a:cxn>
              <a:cxn ang="0">
                <a:pos x="connsiteX8318" y="connsiteY8318"/>
              </a:cxn>
              <a:cxn ang="0">
                <a:pos x="connsiteX8319" y="connsiteY8319"/>
              </a:cxn>
              <a:cxn ang="0">
                <a:pos x="connsiteX8320" y="connsiteY8320"/>
              </a:cxn>
              <a:cxn ang="0">
                <a:pos x="connsiteX8321" y="connsiteY8321"/>
              </a:cxn>
              <a:cxn ang="0">
                <a:pos x="connsiteX8322" y="connsiteY8322"/>
              </a:cxn>
              <a:cxn ang="0">
                <a:pos x="connsiteX8323" y="connsiteY8323"/>
              </a:cxn>
              <a:cxn ang="0">
                <a:pos x="connsiteX8324" y="connsiteY8324"/>
              </a:cxn>
              <a:cxn ang="0">
                <a:pos x="connsiteX8325" y="connsiteY8325"/>
              </a:cxn>
              <a:cxn ang="0">
                <a:pos x="connsiteX8326" y="connsiteY8326"/>
              </a:cxn>
              <a:cxn ang="0">
                <a:pos x="connsiteX8327" y="connsiteY8327"/>
              </a:cxn>
              <a:cxn ang="0">
                <a:pos x="connsiteX8328" y="connsiteY8328"/>
              </a:cxn>
              <a:cxn ang="0">
                <a:pos x="connsiteX8329" y="connsiteY8329"/>
              </a:cxn>
              <a:cxn ang="0">
                <a:pos x="connsiteX8330" y="connsiteY8330"/>
              </a:cxn>
              <a:cxn ang="0">
                <a:pos x="connsiteX8331" y="connsiteY8331"/>
              </a:cxn>
              <a:cxn ang="0">
                <a:pos x="connsiteX8332" y="connsiteY8332"/>
              </a:cxn>
              <a:cxn ang="0">
                <a:pos x="connsiteX8333" y="connsiteY8333"/>
              </a:cxn>
              <a:cxn ang="0">
                <a:pos x="connsiteX8334" y="connsiteY8334"/>
              </a:cxn>
              <a:cxn ang="0">
                <a:pos x="connsiteX8335" y="connsiteY8335"/>
              </a:cxn>
              <a:cxn ang="0">
                <a:pos x="connsiteX8336" y="connsiteY8336"/>
              </a:cxn>
              <a:cxn ang="0">
                <a:pos x="connsiteX8337" y="connsiteY8337"/>
              </a:cxn>
              <a:cxn ang="0">
                <a:pos x="connsiteX8338" y="connsiteY8338"/>
              </a:cxn>
              <a:cxn ang="0">
                <a:pos x="connsiteX8339" y="connsiteY8339"/>
              </a:cxn>
              <a:cxn ang="0">
                <a:pos x="connsiteX8340" y="connsiteY8340"/>
              </a:cxn>
              <a:cxn ang="0">
                <a:pos x="connsiteX8341" y="connsiteY8341"/>
              </a:cxn>
              <a:cxn ang="0">
                <a:pos x="connsiteX8342" y="connsiteY8342"/>
              </a:cxn>
              <a:cxn ang="0">
                <a:pos x="connsiteX8343" y="connsiteY8343"/>
              </a:cxn>
              <a:cxn ang="0">
                <a:pos x="connsiteX8344" y="connsiteY8344"/>
              </a:cxn>
              <a:cxn ang="0">
                <a:pos x="connsiteX8345" y="connsiteY8345"/>
              </a:cxn>
              <a:cxn ang="0">
                <a:pos x="connsiteX8346" y="connsiteY8346"/>
              </a:cxn>
              <a:cxn ang="0">
                <a:pos x="connsiteX8347" y="connsiteY8347"/>
              </a:cxn>
              <a:cxn ang="0">
                <a:pos x="connsiteX8348" y="connsiteY8348"/>
              </a:cxn>
              <a:cxn ang="0">
                <a:pos x="connsiteX8349" y="connsiteY8349"/>
              </a:cxn>
              <a:cxn ang="0">
                <a:pos x="connsiteX8350" y="connsiteY8350"/>
              </a:cxn>
              <a:cxn ang="0">
                <a:pos x="connsiteX8351" y="connsiteY8351"/>
              </a:cxn>
              <a:cxn ang="0">
                <a:pos x="connsiteX8352" y="connsiteY8352"/>
              </a:cxn>
              <a:cxn ang="0">
                <a:pos x="connsiteX8353" y="connsiteY8353"/>
              </a:cxn>
              <a:cxn ang="0">
                <a:pos x="connsiteX8354" y="connsiteY8354"/>
              </a:cxn>
              <a:cxn ang="0">
                <a:pos x="connsiteX8355" y="connsiteY8355"/>
              </a:cxn>
              <a:cxn ang="0">
                <a:pos x="connsiteX8356" y="connsiteY8356"/>
              </a:cxn>
              <a:cxn ang="0">
                <a:pos x="connsiteX8357" y="connsiteY8357"/>
              </a:cxn>
              <a:cxn ang="0">
                <a:pos x="connsiteX8358" y="connsiteY8358"/>
              </a:cxn>
              <a:cxn ang="0">
                <a:pos x="connsiteX8359" y="connsiteY8359"/>
              </a:cxn>
              <a:cxn ang="0">
                <a:pos x="connsiteX8360" y="connsiteY8360"/>
              </a:cxn>
              <a:cxn ang="0">
                <a:pos x="connsiteX8361" y="connsiteY8361"/>
              </a:cxn>
              <a:cxn ang="0">
                <a:pos x="connsiteX8362" y="connsiteY8362"/>
              </a:cxn>
              <a:cxn ang="0">
                <a:pos x="connsiteX8363" y="connsiteY8363"/>
              </a:cxn>
              <a:cxn ang="0">
                <a:pos x="connsiteX8364" y="connsiteY8364"/>
              </a:cxn>
              <a:cxn ang="0">
                <a:pos x="connsiteX8365" y="connsiteY8365"/>
              </a:cxn>
              <a:cxn ang="0">
                <a:pos x="connsiteX8366" y="connsiteY8366"/>
              </a:cxn>
              <a:cxn ang="0">
                <a:pos x="connsiteX8367" y="connsiteY8367"/>
              </a:cxn>
              <a:cxn ang="0">
                <a:pos x="connsiteX8368" y="connsiteY8368"/>
              </a:cxn>
              <a:cxn ang="0">
                <a:pos x="connsiteX8369" y="connsiteY8369"/>
              </a:cxn>
              <a:cxn ang="0">
                <a:pos x="connsiteX8370" y="connsiteY8370"/>
              </a:cxn>
              <a:cxn ang="0">
                <a:pos x="connsiteX8371" y="connsiteY8371"/>
              </a:cxn>
              <a:cxn ang="0">
                <a:pos x="connsiteX8372" y="connsiteY8372"/>
              </a:cxn>
              <a:cxn ang="0">
                <a:pos x="connsiteX8373" y="connsiteY8373"/>
              </a:cxn>
              <a:cxn ang="0">
                <a:pos x="connsiteX8374" y="connsiteY8374"/>
              </a:cxn>
              <a:cxn ang="0">
                <a:pos x="connsiteX8375" y="connsiteY8375"/>
              </a:cxn>
              <a:cxn ang="0">
                <a:pos x="connsiteX8376" y="connsiteY8376"/>
              </a:cxn>
              <a:cxn ang="0">
                <a:pos x="connsiteX8377" y="connsiteY8377"/>
              </a:cxn>
              <a:cxn ang="0">
                <a:pos x="connsiteX8378" y="connsiteY8378"/>
              </a:cxn>
              <a:cxn ang="0">
                <a:pos x="connsiteX8379" y="connsiteY8379"/>
              </a:cxn>
              <a:cxn ang="0">
                <a:pos x="connsiteX8380" y="connsiteY8380"/>
              </a:cxn>
              <a:cxn ang="0">
                <a:pos x="connsiteX8381" y="connsiteY8381"/>
              </a:cxn>
              <a:cxn ang="0">
                <a:pos x="connsiteX8382" y="connsiteY8382"/>
              </a:cxn>
              <a:cxn ang="0">
                <a:pos x="connsiteX8383" y="connsiteY8383"/>
              </a:cxn>
              <a:cxn ang="0">
                <a:pos x="connsiteX8384" y="connsiteY8384"/>
              </a:cxn>
              <a:cxn ang="0">
                <a:pos x="connsiteX8385" y="connsiteY8385"/>
              </a:cxn>
              <a:cxn ang="0">
                <a:pos x="connsiteX8386" y="connsiteY8386"/>
              </a:cxn>
              <a:cxn ang="0">
                <a:pos x="connsiteX8387" y="connsiteY8387"/>
              </a:cxn>
              <a:cxn ang="0">
                <a:pos x="connsiteX8388" y="connsiteY8388"/>
              </a:cxn>
              <a:cxn ang="0">
                <a:pos x="connsiteX8389" y="connsiteY8389"/>
              </a:cxn>
              <a:cxn ang="0">
                <a:pos x="connsiteX8390" y="connsiteY8390"/>
              </a:cxn>
              <a:cxn ang="0">
                <a:pos x="connsiteX8391" y="connsiteY8391"/>
              </a:cxn>
              <a:cxn ang="0">
                <a:pos x="connsiteX8392" y="connsiteY8392"/>
              </a:cxn>
              <a:cxn ang="0">
                <a:pos x="connsiteX8393" y="connsiteY8393"/>
              </a:cxn>
              <a:cxn ang="0">
                <a:pos x="connsiteX8394" y="connsiteY8394"/>
              </a:cxn>
              <a:cxn ang="0">
                <a:pos x="connsiteX8395" y="connsiteY8395"/>
              </a:cxn>
              <a:cxn ang="0">
                <a:pos x="connsiteX8396" y="connsiteY8396"/>
              </a:cxn>
              <a:cxn ang="0">
                <a:pos x="connsiteX8397" y="connsiteY8397"/>
              </a:cxn>
              <a:cxn ang="0">
                <a:pos x="connsiteX8398" y="connsiteY8398"/>
              </a:cxn>
              <a:cxn ang="0">
                <a:pos x="connsiteX8399" y="connsiteY8399"/>
              </a:cxn>
              <a:cxn ang="0">
                <a:pos x="connsiteX8400" y="connsiteY8400"/>
              </a:cxn>
              <a:cxn ang="0">
                <a:pos x="connsiteX8401" y="connsiteY8401"/>
              </a:cxn>
              <a:cxn ang="0">
                <a:pos x="connsiteX8402" y="connsiteY8402"/>
              </a:cxn>
              <a:cxn ang="0">
                <a:pos x="connsiteX8403" y="connsiteY8403"/>
              </a:cxn>
              <a:cxn ang="0">
                <a:pos x="connsiteX8404" y="connsiteY8404"/>
              </a:cxn>
              <a:cxn ang="0">
                <a:pos x="connsiteX8405" y="connsiteY8405"/>
              </a:cxn>
              <a:cxn ang="0">
                <a:pos x="connsiteX8406" y="connsiteY8406"/>
              </a:cxn>
              <a:cxn ang="0">
                <a:pos x="connsiteX8407" y="connsiteY8407"/>
              </a:cxn>
              <a:cxn ang="0">
                <a:pos x="connsiteX8408" y="connsiteY8408"/>
              </a:cxn>
              <a:cxn ang="0">
                <a:pos x="connsiteX8409" y="connsiteY8409"/>
              </a:cxn>
              <a:cxn ang="0">
                <a:pos x="connsiteX8410" y="connsiteY8410"/>
              </a:cxn>
              <a:cxn ang="0">
                <a:pos x="connsiteX8411" y="connsiteY8411"/>
              </a:cxn>
              <a:cxn ang="0">
                <a:pos x="connsiteX8412" y="connsiteY8412"/>
              </a:cxn>
              <a:cxn ang="0">
                <a:pos x="connsiteX8413" y="connsiteY8413"/>
              </a:cxn>
              <a:cxn ang="0">
                <a:pos x="connsiteX8414" y="connsiteY8414"/>
              </a:cxn>
              <a:cxn ang="0">
                <a:pos x="connsiteX8415" y="connsiteY8415"/>
              </a:cxn>
              <a:cxn ang="0">
                <a:pos x="connsiteX8416" y="connsiteY8416"/>
              </a:cxn>
              <a:cxn ang="0">
                <a:pos x="connsiteX8417" y="connsiteY8417"/>
              </a:cxn>
              <a:cxn ang="0">
                <a:pos x="connsiteX8418" y="connsiteY8418"/>
              </a:cxn>
              <a:cxn ang="0">
                <a:pos x="connsiteX8419" y="connsiteY8419"/>
              </a:cxn>
              <a:cxn ang="0">
                <a:pos x="connsiteX8420" y="connsiteY8420"/>
              </a:cxn>
              <a:cxn ang="0">
                <a:pos x="connsiteX8421" y="connsiteY8421"/>
              </a:cxn>
              <a:cxn ang="0">
                <a:pos x="connsiteX8422" y="connsiteY8422"/>
              </a:cxn>
              <a:cxn ang="0">
                <a:pos x="connsiteX8423" y="connsiteY8423"/>
              </a:cxn>
              <a:cxn ang="0">
                <a:pos x="connsiteX8424" y="connsiteY8424"/>
              </a:cxn>
              <a:cxn ang="0">
                <a:pos x="connsiteX8425" y="connsiteY8425"/>
              </a:cxn>
              <a:cxn ang="0">
                <a:pos x="connsiteX8426" y="connsiteY8426"/>
              </a:cxn>
              <a:cxn ang="0">
                <a:pos x="connsiteX8427" y="connsiteY8427"/>
              </a:cxn>
              <a:cxn ang="0">
                <a:pos x="connsiteX8428" y="connsiteY8428"/>
              </a:cxn>
              <a:cxn ang="0">
                <a:pos x="connsiteX8429" y="connsiteY8429"/>
              </a:cxn>
              <a:cxn ang="0">
                <a:pos x="connsiteX8430" y="connsiteY8430"/>
              </a:cxn>
              <a:cxn ang="0">
                <a:pos x="connsiteX8431" y="connsiteY8431"/>
              </a:cxn>
              <a:cxn ang="0">
                <a:pos x="connsiteX8432" y="connsiteY8432"/>
              </a:cxn>
              <a:cxn ang="0">
                <a:pos x="connsiteX8433" y="connsiteY8433"/>
              </a:cxn>
              <a:cxn ang="0">
                <a:pos x="connsiteX8434" y="connsiteY8434"/>
              </a:cxn>
              <a:cxn ang="0">
                <a:pos x="connsiteX8435" y="connsiteY8435"/>
              </a:cxn>
              <a:cxn ang="0">
                <a:pos x="connsiteX8436" y="connsiteY8436"/>
              </a:cxn>
              <a:cxn ang="0">
                <a:pos x="connsiteX8437" y="connsiteY8437"/>
              </a:cxn>
              <a:cxn ang="0">
                <a:pos x="connsiteX8438" y="connsiteY8438"/>
              </a:cxn>
              <a:cxn ang="0">
                <a:pos x="connsiteX8439" y="connsiteY8439"/>
              </a:cxn>
              <a:cxn ang="0">
                <a:pos x="connsiteX8440" y="connsiteY8440"/>
              </a:cxn>
              <a:cxn ang="0">
                <a:pos x="connsiteX8441" y="connsiteY8441"/>
              </a:cxn>
              <a:cxn ang="0">
                <a:pos x="connsiteX8442" y="connsiteY8442"/>
              </a:cxn>
              <a:cxn ang="0">
                <a:pos x="connsiteX8443" y="connsiteY8443"/>
              </a:cxn>
              <a:cxn ang="0">
                <a:pos x="connsiteX8444" y="connsiteY8444"/>
              </a:cxn>
              <a:cxn ang="0">
                <a:pos x="connsiteX8445" y="connsiteY8445"/>
              </a:cxn>
              <a:cxn ang="0">
                <a:pos x="connsiteX8446" y="connsiteY8446"/>
              </a:cxn>
              <a:cxn ang="0">
                <a:pos x="connsiteX8447" y="connsiteY8447"/>
              </a:cxn>
              <a:cxn ang="0">
                <a:pos x="connsiteX8448" y="connsiteY8448"/>
              </a:cxn>
              <a:cxn ang="0">
                <a:pos x="connsiteX8449" y="connsiteY8449"/>
              </a:cxn>
              <a:cxn ang="0">
                <a:pos x="connsiteX8450" y="connsiteY8450"/>
              </a:cxn>
              <a:cxn ang="0">
                <a:pos x="connsiteX8451" y="connsiteY8451"/>
              </a:cxn>
              <a:cxn ang="0">
                <a:pos x="connsiteX8452" y="connsiteY8452"/>
              </a:cxn>
              <a:cxn ang="0">
                <a:pos x="connsiteX8453" y="connsiteY8453"/>
              </a:cxn>
              <a:cxn ang="0">
                <a:pos x="connsiteX8454" y="connsiteY8454"/>
              </a:cxn>
              <a:cxn ang="0">
                <a:pos x="connsiteX8455" y="connsiteY8455"/>
              </a:cxn>
              <a:cxn ang="0">
                <a:pos x="connsiteX8456" y="connsiteY8456"/>
              </a:cxn>
              <a:cxn ang="0">
                <a:pos x="connsiteX8457" y="connsiteY8457"/>
              </a:cxn>
              <a:cxn ang="0">
                <a:pos x="connsiteX8458" y="connsiteY8458"/>
              </a:cxn>
              <a:cxn ang="0">
                <a:pos x="connsiteX8459" y="connsiteY8459"/>
              </a:cxn>
              <a:cxn ang="0">
                <a:pos x="connsiteX8460" y="connsiteY8460"/>
              </a:cxn>
              <a:cxn ang="0">
                <a:pos x="connsiteX8461" y="connsiteY8461"/>
              </a:cxn>
              <a:cxn ang="0">
                <a:pos x="connsiteX8462" y="connsiteY8462"/>
              </a:cxn>
              <a:cxn ang="0">
                <a:pos x="connsiteX8463" y="connsiteY8463"/>
              </a:cxn>
              <a:cxn ang="0">
                <a:pos x="connsiteX8464" y="connsiteY8464"/>
              </a:cxn>
              <a:cxn ang="0">
                <a:pos x="connsiteX8465" y="connsiteY8465"/>
              </a:cxn>
              <a:cxn ang="0">
                <a:pos x="connsiteX8466" y="connsiteY8466"/>
              </a:cxn>
              <a:cxn ang="0">
                <a:pos x="connsiteX8467" y="connsiteY8467"/>
              </a:cxn>
              <a:cxn ang="0">
                <a:pos x="connsiteX8468" y="connsiteY8468"/>
              </a:cxn>
              <a:cxn ang="0">
                <a:pos x="connsiteX8469" y="connsiteY8469"/>
              </a:cxn>
              <a:cxn ang="0">
                <a:pos x="connsiteX8470" y="connsiteY8470"/>
              </a:cxn>
              <a:cxn ang="0">
                <a:pos x="connsiteX8471" y="connsiteY8471"/>
              </a:cxn>
              <a:cxn ang="0">
                <a:pos x="connsiteX8472" y="connsiteY8472"/>
              </a:cxn>
              <a:cxn ang="0">
                <a:pos x="connsiteX8473" y="connsiteY8473"/>
              </a:cxn>
              <a:cxn ang="0">
                <a:pos x="connsiteX8474" y="connsiteY8474"/>
              </a:cxn>
              <a:cxn ang="0">
                <a:pos x="connsiteX8475" y="connsiteY8475"/>
              </a:cxn>
              <a:cxn ang="0">
                <a:pos x="connsiteX8476" y="connsiteY8476"/>
              </a:cxn>
              <a:cxn ang="0">
                <a:pos x="connsiteX8477" y="connsiteY8477"/>
              </a:cxn>
              <a:cxn ang="0">
                <a:pos x="connsiteX8478" y="connsiteY8478"/>
              </a:cxn>
              <a:cxn ang="0">
                <a:pos x="connsiteX8479" y="connsiteY8479"/>
              </a:cxn>
              <a:cxn ang="0">
                <a:pos x="connsiteX8480" y="connsiteY8480"/>
              </a:cxn>
              <a:cxn ang="0">
                <a:pos x="connsiteX8481" y="connsiteY8481"/>
              </a:cxn>
              <a:cxn ang="0">
                <a:pos x="connsiteX8482" y="connsiteY8482"/>
              </a:cxn>
              <a:cxn ang="0">
                <a:pos x="connsiteX8483" y="connsiteY8483"/>
              </a:cxn>
              <a:cxn ang="0">
                <a:pos x="connsiteX8484" y="connsiteY8484"/>
              </a:cxn>
              <a:cxn ang="0">
                <a:pos x="connsiteX8485" y="connsiteY8485"/>
              </a:cxn>
              <a:cxn ang="0">
                <a:pos x="connsiteX8486" y="connsiteY8486"/>
              </a:cxn>
              <a:cxn ang="0">
                <a:pos x="connsiteX8487" y="connsiteY8487"/>
              </a:cxn>
              <a:cxn ang="0">
                <a:pos x="connsiteX8488" y="connsiteY8488"/>
              </a:cxn>
              <a:cxn ang="0">
                <a:pos x="connsiteX8489" y="connsiteY8489"/>
              </a:cxn>
              <a:cxn ang="0">
                <a:pos x="connsiteX8490" y="connsiteY8490"/>
              </a:cxn>
              <a:cxn ang="0">
                <a:pos x="connsiteX8491" y="connsiteY8491"/>
              </a:cxn>
              <a:cxn ang="0">
                <a:pos x="connsiteX8492" y="connsiteY8492"/>
              </a:cxn>
              <a:cxn ang="0">
                <a:pos x="connsiteX8493" y="connsiteY8493"/>
              </a:cxn>
              <a:cxn ang="0">
                <a:pos x="connsiteX8494" y="connsiteY8494"/>
              </a:cxn>
              <a:cxn ang="0">
                <a:pos x="connsiteX8495" y="connsiteY8495"/>
              </a:cxn>
              <a:cxn ang="0">
                <a:pos x="connsiteX8496" y="connsiteY8496"/>
              </a:cxn>
              <a:cxn ang="0">
                <a:pos x="connsiteX8497" y="connsiteY8497"/>
              </a:cxn>
              <a:cxn ang="0">
                <a:pos x="connsiteX8498" y="connsiteY8498"/>
              </a:cxn>
              <a:cxn ang="0">
                <a:pos x="connsiteX8499" y="connsiteY8499"/>
              </a:cxn>
              <a:cxn ang="0">
                <a:pos x="connsiteX8500" y="connsiteY8500"/>
              </a:cxn>
              <a:cxn ang="0">
                <a:pos x="connsiteX8501" y="connsiteY8501"/>
              </a:cxn>
              <a:cxn ang="0">
                <a:pos x="connsiteX8502" y="connsiteY8502"/>
              </a:cxn>
              <a:cxn ang="0">
                <a:pos x="connsiteX8503" y="connsiteY8503"/>
              </a:cxn>
              <a:cxn ang="0">
                <a:pos x="connsiteX8504" y="connsiteY8504"/>
              </a:cxn>
              <a:cxn ang="0">
                <a:pos x="connsiteX8505" y="connsiteY8505"/>
              </a:cxn>
              <a:cxn ang="0">
                <a:pos x="connsiteX8506" y="connsiteY8506"/>
              </a:cxn>
              <a:cxn ang="0">
                <a:pos x="connsiteX8507" y="connsiteY8507"/>
              </a:cxn>
              <a:cxn ang="0">
                <a:pos x="connsiteX8508" y="connsiteY8508"/>
              </a:cxn>
              <a:cxn ang="0">
                <a:pos x="connsiteX8509" y="connsiteY8509"/>
              </a:cxn>
              <a:cxn ang="0">
                <a:pos x="connsiteX8510" y="connsiteY8510"/>
              </a:cxn>
              <a:cxn ang="0">
                <a:pos x="connsiteX8511" y="connsiteY8511"/>
              </a:cxn>
              <a:cxn ang="0">
                <a:pos x="connsiteX8512" y="connsiteY8512"/>
              </a:cxn>
              <a:cxn ang="0">
                <a:pos x="connsiteX8513" y="connsiteY8513"/>
              </a:cxn>
              <a:cxn ang="0">
                <a:pos x="connsiteX8514" y="connsiteY8514"/>
              </a:cxn>
              <a:cxn ang="0">
                <a:pos x="connsiteX8515" y="connsiteY8515"/>
              </a:cxn>
              <a:cxn ang="0">
                <a:pos x="connsiteX8516" y="connsiteY8516"/>
              </a:cxn>
              <a:cxn ang="0">
                <a:pos x="connsiteX8517" y="connsiteY8517"/>
              </a:cxn>
              <a:cxn ang="0">
                <a:pos x="connsiteX8518" y="connsiteY8518"/>
              </a:cxn>
              <a:cxn ang="0">
                <a:pos x="connsiteX8519" y="connsiteY8519"/>
              </a:cxn>
              <a:cxn ang="0">
                <a:pos x="connsiteX8520" y="connsiteY8520"/>
              </a:cxn>
              <a:cxn ang="0">
                <a:pos x="connsiteX8521" y="connsiteY8521"/>
              </a:cxn>
              <a:cxn ang="0">
                <a:pos x="connsiteX8522" y="connsiteY8522"/>
              </a:cxn>
              <a:cxn ang="0">
                <a:pos x="connsiteX8523" y="connsiteY8523"/>
              </a:cxn>
              <a:cxn ang="0">
                <a:pos x="connsiteX8524" y="connsiteY8524"/>
              </a:cxn>
              <a:cxn ang="0">
                <a:pos x="connsiteX8525" y="connsiteY8525"/>
              </a:cxn>
              <a:cxn ang="0">
                <a:pos x="connsiteX8526" y="connsiteY8526"/>
              </a:cxn>
              <a:cxn ang="0">
                <a:pos x="connsiteX8527" y="connsiteY8527"/>
              </a:cxn>
              <a:cxn ang="0">
                <a:pos x="connsiteX8528" y="connsiteY8528"/>
              </a:cxn>
              <a:cxn ang="0">
                <a:pos x="connsiteX8529" y="connsiteY8529"/>
              </a:cxn>
              <a:cxn ang="0">
                <a:pos x="connsiteX8530" y="connsiteY8530"/>
              </a:cxn>
              <a:cxn ang="0">
                <a:pos x="connsiteX8531" y="connsiteY8531"/>
              </a:cxn>
              <a:cxn ang="0">
                <a:pos x="connsiteX8532" y="connsiteY8532"/>
              </a:cxn>
              <a:cxn ang="0">
                <a:pos x="connsiteX8533" y="connsiteY8533"/>
              </a:cxn>
              <a:cxn ang="0">
                <a:pos x="connsiteX8534" y="connsiteY8534"/>
              </a:cxn>
              <a:cxn ang="0">
                <a:pos x="connsiteX8535" y="connsiteY8535"/>
              </a:cxn>
              <a:cxn ang="0">
                <a:pos x="connsiteX8536" y="connsiteY8536"/>
              </a:cxn>
              <a:cxn ang="0">
                <a:pos x="connsiteX8537" y="connsiteY8537"/>
              </a:cxn>
              <a:cxn ang="0">
                <a:pos x="connsiteX8538" y="connsiteY8538"/>
              </a:cxn>
              <a:cxn ang="0">
                <a:pos x="connsiteX8539" y="connsiteY8539"/>
              </a:cxn>
              <a:cxn ang="0">
                <a:pos x="connsiteX8540" y="connsiteY8540"/>
              </a:cxn>
              <a:cxn ang="0">
                <a:pos x="connsiteX8541" y="connsiteY8541"/>
              </a:cxn>
              <a:cxn ang="0">
                <a:pos x="connsiteX8542" y="connsiteY8542"/>
              </a:cxn>
              <a:cxn ang="0">
                <a:pos x="connsiteX8543" y="connsiteY8543"/>
              </a:cxn>
              <a:cxn ang="0">
                <a:pos x="connsiteX8544" y="connsiteY8544"/>
              </a:cxn>
              <a:cxn ang="0">
                <a:pos x="connsiteX8545" y="connsiteY8545"/>
              </a:cxn>
              <a:cxn ang="0">
                <a:pos x="connsiteX8546" y="connsiteY8546"/>
              </a:cxn>
              <a:cxn ang="0">
                <a:pos x="connsiteX8547" y="connsiteY8547"/>
              </a:cxn>
              <a:cxn ang="0">
                <a:pos x="connsiteX8548" y="connsiteY8548"/>
              </a:cxn>
              <a:cxn ang="0">
                <a:pos x="connsiteX8549" y="connsiteY8549"/>
              </a:cxn>
              <a:cxn ang="0">
                <a:pos x="connsiteX8550" y="connsiteY8550"/>
              </a:cxn>
              <a:cxn ang="0">
                <a:pos x="connsiteX8551" y="connsiteY8551"/>
              </a:cxn>
              <a:cxn ang="0">
                <a:pos x="connsiteX8552" y="connsiteY8552"/>
              </a:cxn>
              <a:cxn ang="0">
                <a:pos x="connsiteX8553" y="connsiteY8553"/>
              </a:cxn>
              <a:cxn ang="0">
                <a:pos x="connsiteX8554" y="connsiteY8554"/>
              </a:cxn>
              <a:cxn ang="0">
                <a:pos x="connsiteX8555" y="connsiteY8555"/>
              </a:cxn>
              <a:cxn ang="0">
                <a:pos x="connsiteX8556" y="connsiteY8556"/>
              </a:cxn>
              <a:cxn ang="0">
                <a:pos x="connsiteX8557" y="connsiteY8557"/>
              </a:cxn>
              <a:cxn ang="0">
                <a:pos x="connsiteX8558" y="connsiteY8558"/>
              </a:cxn>
              <a:cxn ang="0">
                <a:pos x="connsiteX8559" y="connsiteY8559"/>
              </a:cxn>
              <a:cxn ang="0">
                <a:pos x="connsiteX8560" y="connsiteY8560"/>
              </a:cxn>
              <a:cxn ang="0">
                <a:pos x="connsiteX8561" y="connsiteY8561"/>
              </a:cxn>
              <a:cxn ang="0">
                <a:pos x="connsiteX8562" y="connsiteY8562"/>
              </a:cxn>
              <a:cxn ang="0">
                <a:pos x="connsiteX8563" y="connsiteY8563"/>
              </a:cxn>
              <a:cxn ang="0">
                <a:pos x="connsiteX8564" y="connsiteY8564"/>
              </a:cxn>
              <a:cxn ang="0">
                <a:pos x="connsiteX8565" y="connsiteY8565"/>
              </a:cxn>
              <a:cxn ang="0">
                <a:pos x="connsiteX8566" y="connsiteY8566"/>
              </a:cxn>
              <a:cxn ang="0">
                <a:pos x="connsiteX8567" y="connsiteY8567"/>
              </a:cxn>
              <a:cxn ang="0">
                <a:pos x="connsiteX8568" y="connsiteY8568"/>
              </a:cxn>
              <a:cxn ang="0">
                <a:pos x="connsiteX8569" y="connsiteY8569"/>
              </a:cxn>
              <a:cxn ang="0">
                <a:pos x="connsiteX8570" y="connsiteY8570"/>
              </a:cxn>
              <a:cxn ang="0">
                <a:pos x="connsiteX8571" y="connsiteY8571"/>
              </a:cxn>
              <a:cxn ang="0">
                <a:pos x="connsiteX8572" y="connsiteY8572"/>
              </a:cxn>
              <a:cxn ang="0">
                <a:pos x="connsiteX8573" y="connsiteY8573"/>
              </a:cxn>
              <a:cxn ang="0">
                <a:pos x="connsiteX8574" y="connsiteY8574"/>
              </a:cxn>
              <a:cxn ang="0">
                <a:pos x="connsiteX8575" y="connsiteY8575"/>
              </a:cxn>
              <a:cxn ang="0">
                <a:pos x="connsiteX8576" y="connsiteY8576"/>
              </a:cxn>
              <a:cxn ang="0">
                <a:pos x="connsiteX8577" y="connsiteY8577"/>
              </a:cxn>
              <a:cxn ang="0">
                <a:pos x="connsiteX8578" y="connsiteY8578"/>
              </a:cxn>
              <a:cxn ang="0">
                <a:pos x="connsiteX8579" y="connsiteY8579"/>
              </a:cxn>
              <a:cxn ang="0">
                <a:pos x="connsiteX8580" y="connsiteY8580"/>
              </a:cxn>
              <a:cxn ang="0">
                <a:pos x="connsiteX8581" y="connsiteY8581"/>
              </a:cxn>
              <a:cxn ang="0">
                <a:pos x="connsiteX8582" y="connsiteY8582"/>
              </a:cxn>
              <a:cxn ang="0">
                <a:pos x="connsiteX8583" y="connsiteY8583"/>
              </a:cxn>
              <a:cxn ang="0">
                <a:pos x="connsiteX8584" y="connsiteY8584"/>
              </a:cxn>
              <a:cxn ang="0">
                <a:pos x="connsiteX8585" y="connsiteY8585"/>
              </a:cxn>
              <a:cxn ang="0">
                <a:pos x="connsiteX8586" y="connsiteY8586"/>
              </a:cxn>
              <a:cxn ang="0">
                <a:pos x="connsiteX8587" y="connsiteY8587"/>
              </a:cxn>
              <a:cxn ang="0">
                <a:pos x="connsiteX8588" y="connsiteY8588"/>
              </a:cxn>
              <a:cxn ang="0">
                <a:pos x="connsiteX8589" y="connsiteY8589"/>
              </a:cxn>
              <a:cxn ang="0">
                <a:pos x="connsiteX8590" y="connsiteY8590"/>
              </a:cxn>
              <a:cxn ang="0">
                <a:pos x="connsiteX8591" y="connsiteY8591"/>
              </a:cxn>
              <a:cxn ang="0">
                <a:pos x="connsiteX8592" y="connsiteY8592"/>
              </a:cxn>
              <a:cxn ang="0">
                <a:pos x="connsiteX8593" y="connsiteY8593"/>
              </a:cxn>
              <a:cxn ang="0">
                <a:pos x="connsiteX8594" y="connsiteY8594"/>
              </a:cxn>
              <a:cxn ang="0">
                <a:pos x="connsiteX8595" y="connsiteY8595"/>
              </a:cxn>
              <a:cxn ang="0">
                <a:pos x="connsiteX8596" y="connsiteY8596"/>
              </a:cxn>
              <a:cxn ang="0">
                <a:pos x="connsiteX8597" y="connsiteY8597"/>
              </a:cxn>
              <a:cxn ang="0">
                <a:pos x="connsiteX8598" y="connsiteY8598"/>
              </a:cxn>
              <a:cxn ang="0">
                <a:pos x="connsiteX8599" y="connsiteY8599"/>
              </a:cxn>
              <a:cxn ang="0">
                <a:pos x="connsiteX8600" y="connsiteY8600"/>
              </a:cxn>
              <a:cxn ang="0">
                <a:pos x="connsiteX8601" y="connsiteY8601"/>
              </a:cxn>
              <a:cxn ang="0">
                <a:pos x="connsiteX8602" y="connsiteY8602"/>
              </a:cxn>
              <a:cxn ang="0">
                <a:pos x="connsiteX8603" y="connsiteY8603"/>
              </a:cxn>
              <a:cxn ang="0">
                <a:pos x="connsiteX8604" y="connsiteY8604"/>
              </a:cxn>
              <a:cxn ang="0">
                <a:pos x="connsiteX8605" y="connsiteY8605"/>
              </a:cxn>
              <a:cxn ang="0">
                <a:pos x="connsiteX8606" y="connsiteY8606"/>
              </a:cxn>
              <a:cxn ang="0">
                <a:pos x="connsiteX8607" y="connsiteY8607"/>
              </a:cxn>
              <a:cxn ang="0">
                <a:pos x="connsiteX8608" y="connsiteY8608"/>
              </a:cxn>
              <a:cxn ang="0">
                <a:pos x="connsiteX8609" y="connsiteY8609"/>
              </a:cxn>
              <a:cxn ang="0">
                <a:pos x="connsiteX8610" y="connsiteY8610"/>
              </a:cxn>
              <a:cxn ang="0">
                <a:pos x="connsiteX8611" y="connsiteY8611"/>
              </a:cxn>
              <a:cxn ang="0">
                <a:pos x="connsiteX8612" y="connsiteY8612"/>
              </a:cxn>
              <a:cxn ang="0">
                <a:pos x="connsiteX8613" y="connsiteY8613"/>
              </a:cxn>
              <a:cxn ang="0">
                <a:pos x="connsiteX8614" y="connsiteY8614"/>
              </a:cxn>
              <a:cxn ang="0">
                <a:pos x="connsiteX8615" y="connsiteY8615"/>
              </a:cxn>
              <a:cxn ang="0">
                <a:pos x="connsiteX8616" y="connsiteY8616"/>
              </a:cxn>
              <a:cxn ang="0">
                <a:pos x="connsiteX8617" y="connsiteY8617"/>
              </a:cxn>
              <a:cxn ang="0">
                <a:pos x="connsiteX8618" y="connsiteY8618"/>
              </a:cxn>
              <a:cxn ang="0">
                <a:pos x="connsiteX8619" y="connsiteY8619"/>
              </a:cxn>
              <a:cxn ang="0">
                <a:pos x="connsiteX8620" y="connsiteY8620"/>
              </a:cxn>
              <a:cxn ang="0">
                <a:pos x="connsiteX8621" y="connsiteY8621"/>
              </a:cxn>
              <a:cxn ang="0">
                <a:pos x="connsiteX8622" y="connsiteY8622"/>
              </a:cxn>
              <a:cxn ang="0">
                <a:pos x="connsiteX8623" y="connsiteY8623"/>
              </a:cxn>
              <a:cxn ang="0">
                <a:pos x="connsiteX8624" y="connsiteY8624"/>
              </a:cxn>
              <a:cxn ang="0">
                <a:pos x="connsiteX8625" y="connsiteY8625"/>
              </a:cxn>
              <a:cxn ang="0">
                <a:pos x="connsiteX8626" y="connsiteY8626"/>
              </a:cxn>
              <a:cxn ang="0">
                <a:pos x="connsiteX8627" y="connsiteY8627"/>
              </a:cxn>
              <a:cxn ang="0">
                <a:pos x="connsiteX8628" y="connsiteY8628"/>
              </a:cxn>
              <a:cxn ang="0">
                <a:pos x="connsiteX8629" y="connsiteY8629"/>
              </a:cxn>
              <a:cxn ang="0">
                <a:pos x="connsiteX8630" y="connsiteY8630"/>
              </a:cxn>
              <a:cxn ang="0">
                <a:pos x="connsiteX8631" y="connsiteY8631"/>
              </a:cxn>
              <a:cxn ang="0">
                <a:pos x="connsiteX8632" y="connsiteY8632"/>
              </a:cxn>
              <a:cxn ang="0">
                <a:pos x="connsiteX8633" y="connsiteY8633"/>
              </a:cxn>
              <a:cxn ang="0">
                <a:pos x="connsiteX8634" y="connsiteY8634"/>
              </a:cxn>
              <a:cxn ang="0">
                <a:pos x="connsiteX8635" y="connsiteY8635"/>
              </a:cxn>
              <a:cxn ang="0">
                <a:pos x="connsiteX8636" y="connsiteY8636"/>
              </a:cxn>
              <a:cxn ang="0">
                <a:pos x="connsiteX8637" y="connsiteY8637"/>
              </a:cxn>
              <a:cxn ang="0">
                <a:pos x="connsiteX8638" y="connsiteY8638"/>
              </a:cxn>
              <a:cxn ang="0">
                <a:pos x="connsiteX8639" y="connsiteY8639"/>
              </a:cxn>
              <a:cxn ang="0">
                <a:pos x="connsiteX8640" y="connsiteY8640"/>
              </a:cxn>
              <a:cxn ang="0">
                <a:pos x="connsiteX8641" y="connsiteY8641"/>
              </a:cxn>
              <a:cxn ang="0">
                <a:pos x="connsiteX8642" y="connsiteY8642"/>
              </a:cxn>
              <a:cxn ang="0">
                <a:pos x="connsiteX8643" y="connsiteY8643"/>
              </a:cxn>
              <a:cxn ang="0">
                <a:pos x="connsiteX8644" y="connsiteY8644"/>
              </a:cxn>
              <a:cxn ang="0">
                <a:pos x="connsiteX8645" y="connsiteY8645"/>
              </a:cxn>
              <a:cxn ang="0">
                <a:pos x="connsiteX8646" y="connsiteY8646"/>
              </a:cxn>
              <a:cxn ang="0">
                <a:pos x="connsiteX8647" y="connsiteY8647"/>
              </a:cxn>
              <a:cxn ang="0">
                <a:pos x="connsiteX8648" y="connsiteY8648"/>
              </a:cxn>
              <a:cxn ang="0">
                <a:pos x="connsiteX8649" y="connsiteY8649"/>
              </a:cxn>
              <a:cxn ang="0">
                <a:pos x="connsiteX8650" y="connsiteY8650"/>
              </a:cxn>
              <a:cxn ang="0">
                <a:pos x="connsiteX8651" y="connsiteY8651"/>
              </a:cxn>
              <a:cxn ang="0">
                <a:pos x="connsiteX8652" y="connsiteY8652"/>
              </a:cxn>
              <a:cxn ang="0">
                <a:pos x="connsiteX8653" y="connsiteY8653"/>
              </a:cxn>
              <a:cxn ang="0">
                <a:pos x="connsiteX8654" y="connsiteY8654"/>
              </a:cxn>
              <a:cxn ang="0">
                <a:pos x="connsiteX8655" y="connsiteY8655"/>
              </a:cxn>
              <a:cxn ang="0">
                <a:pos x="connsiteX8656" y="connsiteY8656"/>
              </a:cxn>
              <a:cxn ang="0">
                <a:pos x="connsiteX8657" y="connsiteY8657"/>
              </a:cxn>
              <a:cxn ang="0">
                <a:pos x="connsiteX8658" y="connsiteY8658"/>
              </a:cxn>
              <a:cxn ang="0">
                <a:pos x="connsiteX8659" y="connsiteY8659"/>
              </a:cxn>
              <a:cxn ang="0">
                <a:pos x="connsiteX8660" y="connsiteY8660"/>
              </a:cxn>
              <a:cxn ang="0">
                <a:pos x="connsiteX8661" y="connsiteY8661"/>
              </a:cxn>
              <a:cxn ang="0">
                <a:pos x="connsiteX8662" y="connsiteY8662"/>
              </a:cxn>
              <a:cxn ang="0">
                <a:pos x="connsiteX8663" y="connsiteY8663"/>
              </a:cxn>
              <a:cxn ang="0">
                <a:pos x="connsiteX8664" y="connsiteY8664"/>
              </a:cxn>
              <a:cxn ang="0">
                <a:pos x="connsiteX8665" y="connsiteY8665"/>
              </a:cxn>
              <a:cxn ang="0">
                <a:pos x="connsiteX8666" y="connsiteY8666"/>
              </a:cxn>
              <a:cxn ang="0">
                <a:pos x="connsiteX8667" y="connsiteY8667"/>
              </a:cxn>
              <a:cxn ang="0">
                <a:pos x="connsiteX8668" y="connsiteY8668"/>
              </a:cxn>
              <a:cxn ang="0">
                <a:pos x="connsiteX8669" y="connsiteY8669"/>
              </a:cxn>
              <a:cxn ang="0">
                <a:pos x="connsiteX8670" y="connsiteY8670"/>
              </a:cxn>
              <a:cxn ang="0">
                <a:pos x="connsiteX8671" y="connsiteY8671"/>
              </a:cxn>
              <a:cxn ang="0">
                <a:pos x="connsiteX8672" y="connsiteY8672"/>
              </a:cxn>
              <a:cxn ang="0">
                <a:pos x="connsiteX8673" y="connsiteY8673"/>
              </a:cxn>
              <a:cxn ang="0">
                <a:pos x="connsiteX8674" y="connsiteY8674"/>
              </a:cxn>
              <a:cxn ang="0">
                <a:pos x="connsiteX8675" y="connsiteY8675"/>
              </a:cxn>
              <a:cxn ang="0">
                <a:pos x="connsiteX8676" y="connsiteY8676"/>
              </a:cxn>
              <a:cxn ang="0">
                <a:pos x="connsiteX8677" y="connsiteY8677"/>
              </a:cxn>
              <a:cxn ang="0">
                <a:pos x="connsiteX8678" y="connsiteY8678"/>
              </a:cxn>
              <a:cxn ang="0">
                <a:pos x="connsiteX8679" y="connsiteY8679"/>
              </a:cxn>
              <a:cxn ang="0">
                <a:pos x="connsiteX8680" y="connsiteY8680"/>
              </a:cxn>
              <a:cxn ang="0">
                <a:pos x="connsiteX8681" y="connsiteY8681"/>
              </a:cxn>
              <a:cxn ang="0">
                <a:pos x="connsiteX8682" y="connsiteY8682"/>
              </a:cxn>
              <a:cxn ang="0">
                <a:pos x="connsiteX8683" y="connsiteY8683"/>
              </a:cxn>
              <a:cxn ang="0">
                <a:pos x="connsiteX8684" y="connsiteY8684"/>
              </a:cxn>
              <a:cxn ang="0">
                <a:pos x="connsiteX8685" y="connsiteY8685"/>
              </a:cxn>
              <a:cxn ang="0">
                <a:pos x="connsiteX8686" y="connsiteY8686"/>
              </a:cxn>
              <a:cxn ang="0">
                <a:pos x="connsiteX8687" y="connsiteY8687"/>
              </a:cxn>
              <a:cxn ang="0">
                <a:pos x="connsiteX8688" y="connsiteY8688"/>
              </a:cxn>
              <a:cxn ang="0">
                <a:pos x="connsiteX8689" y="connsiteY8689"/>
              </a:cxn>
              <a:cxn ang="0">
                <a:pos x="connsiteX8690" y="connsiteY8690"/>
              </a:cxn>
              <a:cxn ang="0">
                <a:pos x="connsiteX8691" y="connsiteY8691"/>
              </a:cxn>
              <a:cxn ang="0">
                <a:pos x="connsiteX8692" y="connsiteY8692"/>
              </a:cxn>
              <a:cxn ang="0">
                <a:pos x="connsiteX8693" y="connsiteY8693"/>
              </a:cxn>
              <a:cxn ang="0">
                <a:pos x="connsiteX8694" y="connsiteY8694"/>
              </a:cxn>
              <a:cxn ang="0">
                <a:pos x="connsiteX8695" y="connsiteY8695"/>
              </a:cxn>
              <a:cxn ang="0">
                <a:pos x="connsiteX8696" y="connsiteY8696"/>
              </a:cxn>
              <a:cxn ang="0">
                <a:pos x="connsiteX8697" y="connsiteY8697"/>
              </a:cxn>
              <a:cxn ang="0">
                <a:pos x="connsiteX8698" y="connsiteY8698"/>
              </a:cxn>
              <a:cxn ang="0">
                <a:pos x="connsiteX8699" y="connsiteY8699"/>
              </a:cxn>
              <a:cxn ang="0">
                <a:pos x="connsiteX8700" y="connsiteY8700"/>
              </a:cxn>
              <a:cxn ang="0">
                <a:pos x="connsiteX8701" y="connsiteY8701"/>
              </a:cxn>
              <a:cxn ang="0">
                <a:pos x="connsiteX8702" y="connsiteY8702"/>
              </a:cxn>
              <a:cxn ang="0">
                <a:pos x="connsiteX8703" y="connsiteY8703"/>
              </a:cxn>
              <a:cxn ang="0">
                <a:pos x="connsiteX8704" y="connsiteY8704"/>
              </a:cxn>
              <a:cxn ang="0">
                <a:pos x="connsiteX8705" y="connsiteY8705"/>
              </a:cxn>
              <a:cxn ang="0">
                <a:pos x="connsiteX8706" y="connsiteY8706"/>
              </a:cxn>
              <a:cxn ang="0">
                <a:pos x="connsiteX8707" y="connsiteY8707"/>
              </a:cxn>
              <a:cxn ang="0">
                <a:pos x="connsiteX8708" y="connsiteY8708"/>
              </a:cxn>
              <a:cxn ang="0">
                <a:pos x="connsiteX8709" y="connsiteY8709"/>
              </a:cxn>
              <a:cxn ang="0">
                <a:pos x="connsiteX8710" y="connsiteY8710"/>
              </a:cxn>
              <a:cxn ang="0">
                <a:pos x="connsiteX8711" y="connsiteY8711"/>
              </a:cxn>
              <a:cxn ang="0">
                <a:pos x="connsiteX8712" y="connsiteY8712"/>
              </a:cxn>
              <a:cxn ang="0">
                <a:pos x="connsiteX8713" y="connsiteY8713"/>
              </a:cxn>
              <a:cxn ang="0">
                <a:pos x="connsiteX8714" y="connsiteY8714"/>
              </a:cxn>
              <a:cxn ang="0">
                <a:pos x="connsiteX8715" y="connsiteY8715"/>
              </a:cxn>
              <a:cxn ang="0">
                <a:pos x="connsiteX8716" y="connsiteY8716"/>
              </a:cxn>
              <a:cxn ang="0">
                <a:pos x="connsiteX8717" y="connsiteY8717"/>
              </a:cxn>
              <a:cxn ang="0">
                <a:pos x="connsiteX8718" y="connsiteY8718"/>
              </a:cxn>
              <a:cxn ang="0">
                <a:pos x="connsiteX8719" y="connsiteY8719"/>
              </a:cxn>
              <a:cxn ang="0">
                <a:pos x="connsiteX8720" y="connsiteY8720"/>
              </a:cxn>
              <a:cxn ang="0">
                <a:pos x="connsiteX8721" y="connsiteY8721"/>
              </a:cxn>
              <a:cxn ang="0">
                <a:pos x="connsiteX8722" y="connsiteY8722"/>
              </a:cxn>
              <a:cxn ang="0">
                <a:pos x="connsiteX8723" y="connsiteY8723"/>
              </a:cxn>
              <a:cxn ang="0">
                <a:pos x="connsiteX8724" y="connsiteY8724"/>
              </a:cxn>
              <a:cxn ang="0">
                <a:pos x="connsiteX8725" y="connsiteY8725"/>
              </a:cxn>
              <a:cxn ang="0">
                <a:pos x="connsiteX8726" y="connsiteY8726"/>
              </a:cxn>
              <a:cxn ang="0">
                <a:pos x="connsiteX8727" y="connsiteY8727"/>
              </a:cxn>
              <a:cxn ang="0">
                <a:pos x="connsiteX8728" y="connsiteY8728"/>
              </a:cxn>
              <a:cxn ang="0">
                <a:pos x="connsiteX8729" y="connsiteY8729"/>
              </a:cxn>
              <a:cxn ang="0">
                <a:pos x="connsiteX8730" y="connsiteY8730"/>
              </a:cxn>
              <a:cxn ang="0">
                <a:pos x="connsiteX8731" y="connsiteY8731"/>
              </a:cxn>
              <a:cxn ang="0">
                <a:pos x="connsiteX8732" y="connsiteY8732"/>
              </a:cxn>
              <a:cxn ang="0">
                <a:pos x="connsiteX8733" y="connsiteY8733"/>
              </a:cxn>
              <a:cxn ang="0">
                <a:pos x="connsiteX8734" y="connsiteY8734"/>
              </a:cxn>
              <a:cxn ang="0">
                <a:pos x="connsiteX8735" y="connsiteY8735"/>
              </a:cxn>
              <a:cxn ang="0">
                <a:pos x="connsiteX8736" y="connsiteY8736"/>
              </a:cxn>
              <a:cxn ang="0">
                <a:pos x="connsiteX8737" y="connsiteY8737"/>
              </a:cxn>
              <a:cxn ang="0">
                <a:pos x="connsiteX8738" y="connsiteY8738"/>
              </a:cxn>
              <a:cxn ang="0">
                <a:pos x="connsiteX8739" y="connsiteY8739"/>
              </a:cxn>
              <a:cxn ang="0">
                <a:pos x="connsiteX8740" y="connsiteY8740"/>
              </a:cxn>
              <a:cxn ang="0">
                <a:pos x="connsiteX8741" y="connsiteY8741"/>
              </a:cxn>
              <a:cxn ang="0">
                <a:pos x="connsiteX8742" y="connsiteY8742"/>
              </a:cxn>
              <a:cxn ang="0">
                <a:pos x="connsiteX8743" y="connsiteY8743"/>
              </a:cxn>
              <a:cxn ang="0">
                <a:pos x="connsiteX8744" y="connsiteY8744"/>
              </a:cxn>
              <a:cxn ang="0">
                <a:pos x="connsiteX8745" y="connsiteY8745"/>
              </a:cxn>
              <a:cxn ang="0">
                <a:pos x="connsiteX8746" y="connsiteY8746"/>
              </a:cxn>
              <a:cxn ang="0">
                <a:pos x="connsiteX8747" y="connsiteY8747"/>
              </a:cxn>
              <a:cxn ang="0">
                <a:pos x="connsiteX8748" y="connsiteY8748"/>
              </a:cxn>
              <a:cxn ang="0">
                <a:pos x="connsiteX8749" y="connsiteY8749"/>
              </a:cxn>
              <a:cxn ang="0">
                <a:pos x="connsiteX8750" y="connsiteY8750"/>
              </a:cxn>
              <a:cxn ang="0">
                <a:pos x="connsiteX8751" y="connsiteY8751"/>
              </a:cxn>
              <a:cxn ang="0">
                <a:pos x="connsiteX8752" y="connsiteY8752"/>
              </a:cxn>
              <a:cxn ang="0">
                <a:pos x="connsiteX8753" y="connsiteY8753"/>
              </a:cxn>
              <a:cxn ang="0">
                <a:pos x="connsiteX8754" y="connsiteY8754"/>
              </a:cxn>
              <a:cxn ang="0">
                <a:pos x="connsiteX8755" y="connsiteY8755"/>
              </a:cxn>
              <a:cxn ang="0">
                <a:pos x="connsiteX8756" y="connsiteY8756"/>
              </a:cxn>
              <a:cxn ang="0">
                <a:pos x="connsiteX8757" y="connsiteY8757"/>
              </a:cxn>
              <a:cxn ang="0">
                <a:pos x="connsiteX8758" y="connsiteY8758"/>
              </a:cxn>
              <a:cxn ang="0">
                <a:pos x="connsiteX8759" y="connsiteY8759"/>
              </a:cxn>
              <a:cxn ang="0">
                <a:pos x="connsiteX8760" y="connsiteY8760"/>
              </a:cxn>
              <a:cxn ang="0">
                <a:pos x="connsiteX8761" y="connsiteY8761"/>
              </a:cxn>
              <a:cxn ang="0">
                <a:pos x="connsiteX8762" y="connsiteY8762"/>
              </a:cxn>
              <a:cxn ang="0">
                <a:pos x="connsiteX8763" y="connsiteY8763"/>
              </a:cxn>
              <a:cxn ang="0">
                <a:pos x="connsiteX8764" y="connsiteY8764"/>
              </a:cxn>
              <a:cxn ang="0">
                <a:pos x="connsiteX8765" y="connsiteY8765"/>
              </a:cxn>
              <a:cxn ang="0">
                <a:pos x="connsiteX8766" y="connsiteY8766"/>
              </a:cxn>
              <a:cxn ang="0">
                <a:pos x="connsiteX8767" y="connsiteY8767"/>
              </a:cxn>
              <a:cxn ang="0">
                <a:pos x="connsiteX8768" y="connsiteY8768"/>
              </a:cxn>
              <a:cxn ang="0">
                <a:pos x="connsiteX8769" y="connsiteY8769"/>
              </a:cxn>
              <a:cxn ang="0">
                <a:pos x="connsiteX8770" y="connsiteY8770"/>
              </a:cxn>
              <a:cxn ang="0">
                <a:pos x="connsiteX8771" y="connsiteY8771"/>
              </a:cxn>
              <a:cxn ang="0">
                <a:pos x="connsiteX8772" y="connsiteY8772"/>
              </a:cxn>
              <a:cxn ang="0">
                <a:pos x="connsiteX8773" y="connsiteY8773"/>
              </a:cxn>
              <a:cxn ang="0">
                <a:pos x="connsiteX8774" y="connsiteY8774"/>
              </a:cxn>
              <a:cxn ang="0">
                <a:pos x="connsiteX8775" y="connsiteY8775"/>
              </a:cxn>
              <a:cxn ang="0">
                <a:pos x="connsiteX8776" y="connsiteY8776"/>
              </a:cxn>
              <a:cxn ang="0">
                <a:pos x="connsiteX8777" y="connsiteY8777"/>
              </a:cxn>
              <a:cxn ang="0">
                <a:pos x="connsiteX8778" y="connsiteY8778"/>
              </a:cxn>
              <a:cxn ang="0">
                <a:pos x="connsiteX8779" y="connsiteY8779"/>
              </a:cxn>
              <a:cxn ang="0">
                <a:pos x="connsiteX8780" y="connsiteY8780"/>
              </a:cxn>
              <a:cxn ang="0">
                <a:pos x="connsiteX8781" y="connsiteY8781"/>
              </a:cxn>
              <a:cxn ang="0">
                <a:pos x="connsiteX8782" y="connsiteY8782"/>
              </a:cxn>
              <a:cxn ang="0">
                <a:pos x="connsiteX8783" y="connsiteY8783"/>
              </a:cxn>
              <a:cxn ang="0">
                <a:pos x="connsiteX8784" y="connsiteY8784"/>
              </a:cxn>
              <a:cxn ang="0">
                <a:pos x="connsiteX8785" y="connsiteY8785"/>
              </a:cxn>
              <a:cxn ang="0">
                <a:pos x="connsiteX8786" y="connsiteY8786"/>
              </a:cxn>
              <a:cxn ang="0">
                <a:pos x="connsiteX8787" y="connsiteY8787"/>
              </a:cxn>
              <a:cxn ang="0">
                <a:pos x="connsiteX8788" y="connsiteY8788"/>
              </a:cxn>
              <a:cxn ang="0">
                <a:pos x="connsiteX8789" y="connsiteY8789"/>
              </a:cxn>
              <a:cxn ang="0">
                <a:pos x="connsiteX8790" y="connsiteY8790"/>
              </a:cxn>
              <a:cxn ang="0">
                <a:pos x="connsiteX8791" y="connsiteY8791"/>
              </a:cxn>
              <a:cxn ang="0">
                <a:pos x="connsiteX8792" y="connsiteY8792"/>
              </a:cxn>
              <a:cxn ang="0">
                <a:pos x="connsiteX8793" y="connsiteY8793"/>
              </a:cxn>
              <a:cxn ang="0">
                <a:pos x="connsiteX8794" y="connsiteY8794"/>
              </a:cxn>
              <a:cxn ang="0">
                <a:pos x="connsiteX8795" y="connsiteY8795"/>
              </a:cxn>
              <a:cxn ang="0">
                <a:pos x="connsiteX8796" y="connsiteY8796"/>
              </a:cxn>
              <a:cxn ang="0">
                <a:pos x="connsiteX8797" y="connsiteY8797"/>
              </a:cxn>
              <a:cxn ang="0">
                <a:pos x="connsiteX8798" y="connsiteY8798"/>
              </a:cxn>
              <a:cxn ang="0">
                <a:pos x="connsiteX8799" y="connsiteY8799"/>
              </a:cxn>
              <a:cxn ang="0">
                <a:pos x="connsiteX8800" y="connsiteY8800"/>
              </a:cxn>
              <a:cxn ang="0">
                <a:pos x="connsiteX8801" y="connsiteY8801"/>
              </a:cxn>
              <a:cxn ang="0">
                <a:pos x="connsiteX8802" y="connsiteY8802"/>
              </a:cxn>
              <a:cxn ang="0">
                <a:pos x="connsiteX8803" y="connsiteY8803"/>
              </a:cxn>
              <a:cxn ang="0">
                <a:pos x="connsiteX8804" y="connsiteY8804"/>
              </a:cxn>
              <a:cxn ang="0">
                <a:pos x="connsiteX8805" y="connsiteY8805"/>
              </a:cxn>
              <a:cxn ang="0">
                <a:pos x="connsiteX8806" y="connsiteY8806"/>
              </a:cxn>
              <a:cxn ang="0">
                <a:pos x="connsiteX8807" y="connsiteY8807"/>
              </a:cxn>
              <a:cxn ang="0">
                <a:pos x="connsiteX8808" y="connsiteY8808"/>
              </a:cxn>
              <a:cxn ang="0">
                <a:pos x="connsiteX8809" y="connsiteY8809"/>
              </a:cxn>
              <a:cxn ang="0">
                <a:pos x="connsiteX8810" y="connsiteY8810"/>
              </a:cxn>
              <a:cxn ang="0">
                <a:pos x="connsiteX8811" y="connsiteY8811"/>
              </a:cxn>
              <a:cxn ang="0">
                <a:pos x="connsiteX8812" y="connsiteY8812"/>
              </a:cxn>
              <a:cxn ang="0">
                <a:pos x="connsiteX8813" y="connsiteY8813"/>
              </a:cxn>
              <a:cxn ang="0">
                <a:pos x="connsiteX8814" y="connsiteY8814"/>
              </a:cxn>
              <a:cxn ang="0">
                <a:pos x="connsiteX8815" y="connsiteY8815"/>
              </a:cxn>
              <a:cxn ang="0">
                <a:pos x="connsiteX8816" y="connsiteY8816"/>
              </a:cxn>
              <a:cxn ang="0">
                <a:pos x="connsiteX8817" y="connsiteY8817"/>
              </a:cxn>
              <a:cxn ang="0">
                <a:pos x="connsiteX8818" y="connsiteY8818"/>
              </a:cxn>
              <a:cxn ang="0">
                <a:pos x="connsiteX8819" y="connsiteY8819"/>
              </a:cxn>
              <a:cxn ang="0">
                <a:pos x="connsiteX8820" y="connsiteY8820"/>
              </a:cxn>
              <a:cxn ang="0">
                <a:pos x="connsiteX8821" y="connsiteY8821"/>
              </a:cxn>
              <a:cxn ang="0">
                <a:pos x="connsiteX8822" y="connsiteY8822"/>
              </a:cxn>
              <a:cxn ang="0">
                <a:pos x="connsiteX8823" y="connsiteY8823"/>
              </a:cxn>
              <a:cxn ang="0">
                <a:pos x="connsiteX8824" y="connsiteY8824"/>
              </a:cxn>
              <a:cxn ang="0">
                <a:pos x="connsiteX8825" y="connsiteY8825"/>
              </a:cxn>
              <a:cxn ang="0">
                <a:pos x="connsiteX8826" y="connsiteY8826"/>
              </a:cxn>
              <a:cxn ang="0">
                <a:pos x="connsiteX8827" y="connsiteY8827"/>
              </a:cxn>
              <a:cxn ang="0">
                <a:pos x="connsiteX8828" y="connsiteY8828"/>
              </a:cxn>
              <a:cxn ang="0">
                <a:pos x="connsiteX8829" y="connsiteY8829"/>
              </a:cxn>
              <a:cxn ang="0">
                <a:pos x="connsiteX8830" y="connsiteY8830"/>
              </a:cxn>
              <a:cxn ang="0">
                <a:pos x="connsiteX8831" y="connsiteY8831"/>
              </a:cxn>
              <a:cxn ang="0">
                <a:pos x="connsiteX8832" y="connsiteY8832"/>
              </a:cxn>
              <a:cxn ang="0">
                <a:pos x="connsiteX8833" y="connsiteY8833"/>
              </a:cxn>
              <a:cxn ang="0">
                <a:pos x="connsiteX8834" y="connsiteY8834"/>
              </a:cxn>
              <a:cxn ang="0">
                <a:pos x="connsiteX8835" y="connsiteY8835"/>
              </a:cxn>
              <a:cxn ang="0">
                <a:pos x="connsiteX8836" y="connsiteY8836"/>
              </a:cxn>
              <a:cxn ang="0">
                <a:pos x="connsiteX8837" y="connsiteY8837"/>
              </a:cxn>
              <a:cxn ang="0">
                <a:pos x="connsiteX8838" y="connsiteY8838"/>
              </a:cxn>
              <a:cxn ang="0">
                <a:pos x="connsiteX8839" y="connsiteY8839"/>
              </a:cxn>
              <a:cxn ang="0">
                <a:pos x="connsiteX8840" y="connsiteY8840"/>
              </a:cxn>
              <a:cxn ang="0">
                <a:pos x="connsiteX8841" y="connsiteY8841"/>
              </a:cxn>
              <a:cxn ang="0">
                <a:pos x="connsiteX8842" y="connsiteY8842"/>
              </a:cxn>
              <a:cxn ang="0">
                <a:pos x="connsiteX8843" y="connsiteY8843"/>
              </a:cxn>
              <a:cxn ang="0">
                <a:pos x="connsiteX8844" y="connsiteY8844"/>
              </a:cxn>
              <a:cxn ang="0">
                <a:pos x="connsiteX8845" y="connsiteY8845"/>
              </a:cxn>
              <a:cxn ang="0">
                <a:pos x="connsiteX8846" y="connsiteY8846"/>
              </a:cxn>
              <a:cxn ang="0">
                <a:pos x="connsiteX8847" y="connsiteY8847"/>
              </a:cxn>
              <a:cxn ang="0">
                <a:pos x="connsiteX8848" y="connsiteY8848"/>
              </a:cxn>
              <a:cxn ang="0">
                <a:pos x="connsiteX8849" y="connsiteY8849"/>
              </a:cxn>
              <a:cxn ang="0">
                <a:pos x="connsiteX8850" y="connsiteY8850"/>
              </a:cxn>
              <a:cxn ang="0">
                <a:pos x="connsiteX8851" y="connsiteY8851"/>
              </a:cxn>
              <a:cxn ang="0">
                <a:pos x="connsiteX8852" y="connsiteY8852"/>
              </a:cxn>
              <a:cxn ang="0">
                <a:pos x="connsiteX8853" y="connsiteY8853"/>
              </a:cxn>
              <a:cxn ang="0">
                <a:pos x="connsiteX8854" y="connsiteY8854"/>
              </a:cxn>
              <a:cxn ang="0">
                <a:pos x="connsiteX8855" y="connsiteY8855"/>
              </a:cxn>
              <a:cxn ang="0">
                <a:pos x="connsiteX8856" y="connsiteY8856"/>
              </a:cxn>
              <a:cxn ang="0">
                <a:pos x="connsiteX8857" y="connsiteY8857"/>
              </a:cxn>
              <a:cxn ang="0">
                <a:pos x="connsiteX8858" y="connsiteY8858"/>
              </a:cxn>
              <a:cxn ang="0">
                <a:pos x="connsiteX8859" y="connsiteY8859"/>
              </a:cxn>
              <a:cxn ang="0">
                <a:pos x="connsiteX8860" y="connsiteY8860"/>
              </a:cxn>
              <a:cxn ang="0">
                <a:pos x="connsiteX8861" y="connsiteY8861"/>
              </a:cxn>
              <a:cxn ang="0">
                <a:pos x="connsiteX8862" y="connsiteY8862"/>
              </a:cxn>
              <a:cxn ang="0">
                <a:pos x="connsiteX8863" y="connsiteY8863"/>
              </a:cxn>
              <a:cxn ang="0">
                <a:pos x="connsiteX8864" y="connsiteY8864"/>
              </a:cxn>
              <a:cxn ang="0">
                <a:pos x="connsiteX8865" y="connsiteY8865"/>
              </a:cxn>
              <a:cxn ang="0">
                <a:pos x="connsiteX8866" y="connsiteY8866"/>
              </a:cxn>
              <a:cxn ang="0">
                <a:pos x="connsiteX8867" y="connsiteY8867"/>
              </a:cxn>
              <a:cxn ang="0">
                <a:pos x="connsiteX8868" y="connsiteY8868"/>
              </a:cxn>
              <a:cxn ang="0">
                <a:pos x="connsiteX8869" y="connsiteY8869"/>
              </a:cxn>
              <a:cxn ang="0">
                <a:pos x="connsiteX8870" y="connsiteY8870"/>
              </a:cxn>
              <a:cxn ang="0">
                <a:pos x="connsiteX8871" y="connsiteY8871"/>
              </a:cxn>
              <a:cxn ang="0">
                <a:pos x="connsiteX8872" y="connsiteY8872"/>
              </a:cxn>
              <a:cxn ang="0">
                <a:pos x="connsiteX8873" y="connsiteY8873"/>
              </a:cxn>
              <a:cxn ang="0">
                <a:pos x="connsiteX8874" y="connsiteY8874"/>
              </a:cxn>
              <a:cxn ang="0">
                <a:pos x="connsiteX8875" y="connsiteY8875"/>
              </a:cxn>
              <a:cxn ang="0">
                <a:pos x="connsiteX8876" y="connsiteY8876"/>
              </a:cxn>
              <a:cxn ang="0">
                <a:pos x="connsiteX8877" y="connsiteY8877"/>
              </a:cxn>
              <a:cxn ang="0">
                <a:pos x="connsiteX8878" y="connsiteY8878"/>
              </a:cxn>
              <a:cxn ang="0">
                <a:pos x="connsiteX8879" y="connsiteY8879"/>
              </a:cxn>
              <a:cxn ang="0">
                <a:pos x="connsiteX8880" y="connsiteY8880"/>
              </a:cxn>
              <a:cxn ang="0">
                <a:pos x="connsiteX8881" y="connsiteY8881"/>
              </a:cxn>
              <a:cxn ang="0">
                <a:pos x="connsiteX8882" y="connsiteY8882"/>
              </a:cxn>
              <a:cxn ang="0">
                <a:pos x="connsiteX8883" y="connsiteY8883"/>
              </a:cxn>
              <a:cxn ang="0">
                <a:pos x="connsiteX8884" y="connsiteY8884"/>
              </a:cxn>
              <a:cxn ang="0">
                <a:pos x="connsiteX8885" y="connsiteY8885"/>
              </a:cxn>
              <a:cxn ang="0">
                <a:pos x="connsiteX8886" y="connsiteY8886"/>
              </a:cxn>
              <a:cxn ang="0">
                <a:pos x="connsiteX8887" y="connsiteY8887"/>
              </a:cxn>
              <a:cxn ang="0">
                <a:pos x="connsiteX8888" y="connsiteY8888"/>
              </a:cxn>
              <a:cxn ang="0">
                <a:pos x="connsiteX8889" y="connsiteY8889"/>
              </a:cxn>
              <a:cxn ang="0">
                <a:pos x="connsiteX8890" y="connsiteY8890"/>
              </a:cxn>
              <a:cxn ang="0">
                <a:pos x="connsiteX8891" y="connsiteY8891"/>
              </a:cxn>
              <a:cxn ang="0">
                <a:pos x="connsiteX8892" y="connsiteY8892"/>
              </a:cxn>
              <a:cxn ang="0">
                <a:pos x="connsiteX8893" y="connsiteY8893"/>
              </a:cxn>
              <a:cxn ang="0">
                <a:pos x="connsiteX8894" y="connsiteY8894"/>
              </a:cxn>
              <a:cxn ang="0">
                <a:pos x="connsiteX8895" y="connsiteY8895"/>
              </a:cxn>
              <a:cxn ang="0">
                <a:pos x="connsiteX8896" y="connsiteY8896"/>
              </a:cxn>
              <a:cxn ang="0">
                <a:pos x="connsiteX8897" y="connsiteY8897"/>
              </a:cxn>
              <a:cxn ang="0">
                <a:pos x="connsiteX8898" y="connsiteY8898"/>
              </a:cxn>
              <a:cxn ang="0">
                <a:pos x="connsiteX8899" y="connsiteY8899"/>
              </a:cxn>
              <a:cxn ang="0">
                <a:pos x="connsiteX8900" y="connsiteY8900"/>
              </a:cxn>
              <a:cxn ang="0">
                <a:pos x="connsiteX8901" y="connsiteY8901"/>
              </a:cxn>
              <a:cxn ang="0">
                <a:pos x="connsiteX8902" y="connsiteY8902"/>
              </a:cxn>
              <a:cxn ang="0">
                <a:pos x="connsiteX8903" y="connsiteY8903"/>
              </a:cxn>
              <a:cxn ang="0">
                <a:pos x="connsiteX8904" y="connsiteY8904"/>
              </a:cxn>
              <a:cxn ang="0">
                <a:pos x="connsiteX8905" y="connsiteY8905"/>
              </a:cxn>
              <a:cxn ang="0">
                <a:pos x="connsiteX8906" y="connsiteY8906"/>
              </a:cxn>
              <a:cxn ang="0">
                <a:pos x="connsiteX8907" y="connsiteY8907"/>
              </a:cxn>
              <a:cxn ang="0">
                <a:pos x="connsiteX8908" y="connsiteY8908"/>
              </a:cxn>
              <a:cxn ang="0">
                <a:pos x="connsiteX8909" y="connsiteY8909"/>
              </a:cxn>
              <a:cxn ang="0">
                <a:pos x="connsiteX8910" y="connsiteY8910"/>
              </a:cxn>
              <a:cxn ang="0">
                <a:pos x="connsiteX8911" y="connsiteY8911"/>
              </a:cxn>
              <a:cxn ang="0">
                <a:pos x="connsiteX8912" y="connsiteY8912"/>
              </a:cxn>
              <a:cxn ang="0">
                <a:pos x="connsiteX8913" y="connsiteY8913"/>
              </a:cxn>
              <a:cxn ang="0">
                <a:pos x="connsiteX8914" y="connsiteY8914"/>
              </a:cxn>
              <a:cxn ang="0">
                <a:pos x="connsiteX8915" y="connsiteY8915"/>
              </a:cxn>
              <a:cxn ang="0">
                <a:pos x="connsiteX8916" y="connsiteY8916"/>
              </a:cxn>
              <a:cxn ang="0">
                <a:pos x="connsiteX8917" y="connsiteY8917"/>
              </a:cxn>
              <a:cxn ang="0">
                <a:pos x="connsiteX8918" y="connsiteY8918"/>
              </a:cxn>
              <a:cxn ang="0">
                <a:pos x="connsiteX8919" y="connsiteY8919"/>
              </a:cxn>
              <a:cxn ang="0">
                <a:pos x="connsiteX8920" y="connsiteY8920"/>
              </a:cxn>
              <a:cxn ang="0">
                <a:pos x="connsiteX8921" y="connsiteY8921"/>
              </a:cxn>
              <a:cxn ang="0">
                <a:pos x="connsiteX8922" y="connsiteY8922"/>
              </a:cxn>
              <a:cxn ang="0">
                <a:pos x="connsiteX8923" y="connsiteY8923"/>
              </a:cxn>
              <a:cxn ang="0">
                <a:pos x="connsiteX8924" y="connsiteY8924"/>
              </a:cxn>
              <a:cxn ang="0">
                <a:pos x="connsiteX8925" y="connsiteY8925"/>
              </a:cxn>
              <a:cxn ang="0">
                <a:pos x="connsiteX8926" y="connsiteY8926"/>
              </a:cxn>
              <a:cxn ang="0">
                <a:pos x="connsiteX8927" y="connsiteY8927"/>
              </a:cxn>
              <a:cxn ang="0">
                <a:pos x="connsiteX8928" y="connsiteY8928"/>
              </a:cxn>
              <a:cxn ang="0">
                <a:pos x="connsiteX8929" y="connsiteY8929"/>
              </a:cxn>
              <a:cxn ang="0">
                <a:pos x="connsiteX8930" y="connsiteY8930"/>
              </a:cxn>
              <a:cxn ang="0">
                <a:pos x="connsiteX8931" y="connsiteY8931"/>
              </a:cxn>
              <a:cxn ang="0">
                <a:pos x="connsiteX8932" y="connsiteY8932"/>
              </a:cxn>
              <a:cxn ang="0">
                <a:pos x="connsiteX8933" y="connsiteY8933"/>
              </a:cxn>
              <a:cxn ang="0">
                <a:pos x="connsiteX8934" y="connsiteY8934"/>
              </a:cxn>
              <a:cxn ang="0">
                <a:pos x="connsiteX8935" y="connsiteY8935"/>
              </a:cxn>
              <a:cxn ang="0">
                <a:pos x="connsiteX8936" y="connsiteY8936"/>
              </a:cxn>
              <a:cxn ang="0">
                <a:pos x="connsiteX8937" y="connsiteY8937"/>
              </a:cxn>
              <a:cxn ang="0">
                <a:pos x="connsiteX8938" y="connsiteY8938"/>
              </a:cxn>
              <a:cxn ang="0">
                <a:pos x="connsiteX8939" y="connsiteY8939"/>
              </a:cxn>
              <a:cxn ang="0">
                <a:pos x="connsiteX8940" y="connsiteY8940"/>
              </a:cxn>
              <a:cxn ang="0">
                <a:pos x="connsiteX8941" y="connsiteY8941"/>
              </a:cxn>
              <a:cxn ang="0">
                <a:pos x="connsiteX8942" y="connsiteY8942"/>
              </a:cxn>
              <a:cxn ang="0">
                <a:pos x="connsiteX8943" y="connsiteY8943"/>
              </a:cxn>
              <a:cxn ang="0">
                <a:pos x="connsiteX8944" y="connsiteY8944"/>
              </a:cxn>
              <a:cxn ang="0">
                <a:pos x="connsiteX8945" y="connsiteY8945"/>
              </a:cxn>
              <a:cxn ang="0">
                <a:pos x="connsiteX8946" y="connsiteY8946"/>
              </a:cxn>
              <a:cxn ang="0">
                <a:pos x="connsiteX8947" y="connsiteY8947"/>
              </a:cxn>
              <a:cxn ang="0">
                <a:pos x="connsiteX8948" y="connsiteY8948"/>
              </a:cxn>
              <a:cxn ang="0">
                <a:pos x="connsiteX8949" y="connsiteY8949"/>
              </a:cxn>
              <a:cxn ang="0">
                <a:pos x="connsiteX8950" y="connsiteY8950"/>
              </a:cxn>
              <a:cxn ang="0">
                <a:pos x="connsiteX8951" y="connsiteY8951"/>
              </a:cxn>
              <a:cxn ang="0">
                <a:pos x="connsiteX8952" y="connsiteY8952"/>
              </a:cxn>
              <a:cxn ang="0">
                <a:pos x="connsiteX8953" y="connsiteY8953"/>
              </a:cxn>
              <a:cxn ang="0">
                <a:pos x="connsiteX8954" y="connsiteY8954"/>
              </a:cxn>
              <a:cxn ang="0">
                <a:pos x="connsiteX8955" y="connsiteY8955"/>
              </a:cxn>
              <a:cxn ang="0">
                <a:pos x="connsiteX8956" y="connsiteY8956"/>
              </a:cxn>
              <a:cxn ang="0">
                <a:pos x="connsiteX8957" y="connsiteY8957"/>
              </a:cxn>
              <a:cxn ang="0">
                <a:pos x="connsiteX8958" y="connsiteY8958"/>
              </a:cxn>
              <a:cxn ang="0">
                <a:pos x="connsiteX8959" y="connsiteY8959"/>
              </a:cxn>
              <a:cxn ang="0">
                <a:pos x="connsiteX8960" y="connsiteY8960"/>
              </a:cxn>
              <a:cxn ang="0">
                <a:pos x="connsiteX8961" y="connsiteY8961"/>
              </a:cxn>
              <a:cxn ang="0">
                <a:pos x="connsiteX8962" y="connsiteY8962"/>
              </a:cxn>
              <a:cxn ang="0">
                <a:pos x="connsiteX8963" y="connsiteY8963"/>
              </a:cxn>
              <a:cxn ang="0">
                <a:pos x="connsiteX8964" y="connsiteY8964"/>
              </a:cxn>
              <a:cxn ang="0">
                <a:pos x="connsiteX8965" y="connsiteY8965"/>
              </a:cxn>
              <a:cxn ang="0">
                <a:pos x="connsiteX8966" y="connsiteY8966"/>
              </a:cxn>
              <a:cxn ang="0">
                <a:pos x="connsiteX8967" y="connsiteY8967"/>
              </a:cxn>
              <a:cxn ang="0">
                <a:pos x="connsiteX8968" y="connsiteY8968"/>
              </a:cxn>
              <a:cxn ang="0">
                <a:pos x="connsiteX8969" y="connsiteY8969"/>
              </a:cxn>
              <a:cxn ang="0">
                <a:pos x="connsiteX8970" y="connsiteY8970"/>
              </a:cxn>
              <a:cxn ang="0">
                <a:pos x="connsiteX8971" y="connsiteY8971"/>
              </a:cxn>
              <a:cxn ang="0">
                <a:pos x="connsiteX8972" y="connsiteY8972"/>
              </a:cxn>
              <a:cxn ang="0">
                <a:pos x="connsiteX8973" y="connsiteY8973"/>
              </a:cxn>
              <a:cxn ang="0">
                <a:pos x="connsiteX8974" y="connsiteY8974"/>
              </a:cxn>
              <a:cxn ang="0">
                <a:pos x="connsiteX8975" y="connsiteY8975"/>
              </a:cxn>
              <a:cxn ang="0">
                <a:pos x="connsiteX8976" y="connsiteY8976"/>
              </a:cxn>
              <a:cxn ang="0">
                <a:pos x="connsiteX8977" y="connsiteY8977"/>
              </a:cxn>
              <a:cxn ang="0">
                <a:pos x="connsiteX8978" y="connsiteY8978"/>
              </a:cxn>
              <a:cxn ang="0">
                <a:pos x="connsiteX8979" y="connsiteY8979"/>
              </a:cxn>
              <a:cxn ang="0">
                <a:pos x="connsiteX8980" y="connsiteY8980"/>
              </a:cxn>
              <a:cxn ang="0">
                <a:pos x="connsiteX8981" y="connsiteY8981"/>
              </a:cxn>
              <a:cxn ang="0">
                <a:pos x="connsiteX8982" y="connsiteY8982"/>
              </a:cxn>
              <a:cxn ang="0">
                <a:pos x="connsiteX8983" y="connsiteY8983"/>
              </a:cxn>
              <a:cxn ang="0">
                <a:pos x="connsiteX8984" y="connsiteY8984"/>
              </a:cxn>
              <a:cxn ang="0">
                <a:pos x="connsiteX8985" y="connsiteY8985"/>
              </a:cxn>
              <a:cxn ang="0">
                <a:pos x="connsiteX8986" y="connsiteY8986"/>
              </a:cxn>
              <a:cxn ang="0">
                <a:pos x="connsiteX8987" y="connsiteY8987"/>
              </a:cxn>
              <a:cxn ang="0">
                <a:pos x="connsiteX8988" y="connsiteY8988"/>
              </a:cxn>
              <a:cxn ang="0">
                <a:pos x="connsiteX8989" y="connsiteY8989"/>
              </a:cxn>
              <a:cxn ang="0">
                <a:pos x="connsiteX8990" y="connsiteY8990"/>
              </a:cxn>
              <a:cxn ang="0">
                <a:pos x="connsiteX8991" y="connsiteY8991"/>
              </a:cxn>
              <a:cxn ang="0">
                <a:pos x="connsiteX8992" y="connsiteY8992"/>
              </a:cxn>
              <a:cxn ang="0">
                <a:pos x="connsiteX8993" y="connsiteY8993"/>
              </a:cxn>
              <a:cxn ang="0">
                <a:pos x="connsiteX8994" y="connsiteY8994"/>
              </a:cxn>
              <a:cxn ang="0">
                <a:pos x="connsiteX8995" y="connsiteY8995"/>
              </a:cxn>
              <a:cxn ang="0">
                <a:pos x="connsiteX8996" y="connsiteY8996"/>
              </a:cxn>
              <a:cxn ang="0">
                <a:pos x="connsiteX8997" y="connsiteY8997"/>
              </a:cxn>
              <a:cxn ang="0">
                <a:pos x="connsiteX8998" y="connsiteY8998"/>
              </a:cxn>
              <a:cxn ang="0">
                <a:pos x="connsiteX8999" y="connsiteY8999"/>
              </a:cxn>
              <a:cxn ang="0">
                <a:pos x="connsiteX9000" y="connsiteY9000"/>
              </a:cxn>
              <a:cxn ang="0">
                <a:pos x="connsiteX9001" y="connsiteY9001"/>
              </a:cxn>
              <a:cxn ang="0">
                <a:pos x="connsiteX9002" y="connsiteY9002"/>
              </a:cxn>
              <a:cxn ang="0">
                <a:pos x="connsiteX9003" y="connsiteY9003"/>
              </a:cxn>
              <a:cxn ang="0">
                <a:pos x="connsiteX9004" y="connsiteY9004"/>
              </a:cxn>
              <a:cxn ang="0">
                <a:pos x="connsiteX9005" y="connsiteY9005"/>
              </a:cxn>
              <a:cxn ang="0">
                <a:pos x="connsiteX9006" y="connsiteY9006"/>
              </a:cxn>
              <a:cxn ang="0">
                <a:pos x="connsiteX9007" y="connsiteY9007"/>
              </a:cxn>
              <a:cxn ang="0">
                <a:pos x="connsiteX9008" y="connsiteY9008"/>
              </a:cxn>
              <a:cxn ang="0">
                <a:pos x="connsiteX9009" y="connsiteY9009"/>
              </a:cxn>
              <a:cxn ang="0">
                <a:pos x="connsiteX9010" y="connsiteY9010"/>
              </a:cxn>
              <a:cxn ang="0">
                <a:pos x="connsiteX9011" y="connsiteY9011"/>
              </a:cxn>
              <a:cxn ang="0">
                <a:pos x="connsiteX9012" y="connsiteY9012"/>
              </a:cxn>
              <a:cxn ang="0">
                <a:pos x="connsiteX9013" y="connsiteY9013"/>
              </a:cxn>
              <a:cxn ang="0">
                <a:pos x="connsiteX9014" y="connsiteY9014"/>
              </a:cxn>
              <a:cxn ang="0">
                <a:pos x="connsiteX9015" y="connsiteY9015"/>
              </a:cxn>
              <a:cxn ang="0">
                <a:pos x="connsiteX9016" y="connsiteY9016"/>
              </a:cxn>
              <a:cxn ang="0">
                <a:pos x="connsiteX9017" y="connsiteY9017"/>
              </a:cxn>
              <a:cxn ang="0">
                <a:pos x="connsiteX9018" y="connsiteY9018"/>
              </a:cxn>
              <a:cxn ang="0">
                <a:pos x="connsiteX9019" y="connsiteY9019"/>
              </a:cxn>
              <a:cxn ang="0">
                <a:pos x="connsiteX9020" y="connsiteY9020"/>
              </a:cxn>
              <a:cxn ang="0">
                <a:pos x="connsiteX9021" y="connsiteY9021"/>
              </a:cxn>
              <a:cxn ang="0">
                <a:pos x="connsiteX9022" y="connsiteY9022"/>
              </a:cxn>
              <a:cxn ang="0">
                <a:pos x="connsiteX9023" y="connsiteY9023"/>
              </a:cxn>
              <a:cxn ang="0">
                <a:pos x="connsiteX9024" y="connsiteY9024"/>
              </a:cxn>
              <a:cxn ang="0">
                <a:pos x="connsiteX9025" y="connsiteY9025"/>
              </a:cxn>
              <a:cxn ang="0">
                <a:pos x="connsiteX9026" y="connsiteY9026"/>
              </a:cxn>
              <a:cxn ang="0">
                <a:pos x="connsiteX9027" y="connsiteY9027"/>
              </a:cxn>
              <a:cxn ang="0">
                <a:pos x="connsiteX9028" y="connsiteY9028"/>
              </a:cxn>
              <a:cxn ang="0">
                <a:pos x="connsiteX9029" y="connsiteY9029"/>
              </a:cxn>
              <a:cxn ang="0">
                <a:pos x="connsiteX9030" y="connsiteY9030"/>
              </a:cxn>
              <a:cxn ang="0">
                <a:pos x="connsiteX9031" y="connsiteY9031"/>
              </a:cxn>
              <a:cxn ang="0">
                <a:pos x="connsiteX9032" y="connsiteY9032"/>
              </a:cxn>
              <a:cxn ang="0">
                <a:pos x="connsiteX9033" y="connsiteY9033"/>
              </a:cxn>
              <a:cxn ang="0">
                <a:pos x="connsiteX9034" y="connsiteY9034"/>
              </a:cxn>
              <a:cxn ang="0">
                <a:pos x="connsiteX9035" y="connsiteY9035"/>
              </a:cxn>
              <a:cxn ang="0">
                <a:pos x="connsiteX9036" y="connsiteY9036"/>
              </a:cxn>
              <a:cxn ang="0">
                <a:pos x="connsiteX9037" y="connsiteY9037"/>
              </a:cxn>
              <a:cxn ang="0">
                <a:pos x="connsiteX9038" y="connsiteY9038"/>
              </a:cxn>
              <a:cxn ang="0">
                <a:pos x="connsiteX9039" y="connsiteY9039"/>
              </a:cxn>
              <a:cxn ang="0">
                <a:pos x="connsiteX9040" y="connsiteY9040"/>
              </a:cxn>
              <a:cxn ang="0">
                <a:pos x="connsiteX9041" y="connsiteY9041"/>
              </a:cxn>
              <a:cxn ang="0">
                <a:pos x="connsiteX9042" y="connsiteY9042"/>
              </a:cxn>
              <a:cxn ang="0">
                <a:pos x="connsiteX9043" y="connsiteY9043"/>
              </a:cxn>
              <a:cxn ang="0">
                <a:pos x="connsiteX9044" y="connsiteY9044"/>
              </a:cxn>
              <a:cxn ang="0">
                <a:pos x="connsiteX9045" y="connsiteY9045"/>
              </a:cxn>
              <a:cxn ang="0">
                <a:pos x="connsiteX9046" y="connsiteY9046"/>
              </a:cxn>
              <a:cxn ang="0">
                <a:pos x="connsiteX9047" y="connsiteY9047"/>
              </a:cxn>
              <a:cxn ang="0">
                <a:pos x="connsiteX9048" y="connsiteY9048"/>
              </a:cxn>
              <a:cxn ang="0">
                <a:pos x="connsiteX9049" y="connsiteY9049"/>
              </a:cxn>
              <a:cxn ang="0">
                <a:pos x="connsiteX9050" y="connsiteY9050"/>
              </a:cxn>
              <a:cxn ang="0">
                <a:pos x="connsiteX9051" y="connsiteY9051"/>
              </a:cxn>
              <a:cxn ang="0">
                <a:pos x="connsiteX9052" y="connsiteY9052"/>
              </a:cxn>
              <a:cxn ang="0">
                <a:pos x="connsiteX9053" y="connsiteY9053"/>
              </a:cxn>
              <a:cxn ang="0">
                <a:pos x="connsiteX9054" y="connsiteY9054"/>
              </a:cxn>
              <a:cxn ang="0">
                <a:pos x="connsiteX9055" y="connsiteY9055"/>
              </a:cxn>
              <a:cxn ang="0">
                <a:pos x="connsiteX9056" y="connsiteY9056"/>
              </a:cxn>
              <a:cxn ang="0">
                <a:pos x="connsiteX9057" y="connsiteY9057"/>
              </a:cxn>
              <a:cxn ang="0">
                <a:pos x="connsiteX9058" y="connsiteY9058"/>
              </a:cxn>
              <a:cxn ang="0">
                <a:pos x="connsiteX9059" y="connsiteY9059"/>
              </a:cxn>
              <a:cxn ang="0">
                <a:pos x="connsiteX9060" y="connsiteY9060"/>
              </a:cxn>
              <a:cxn ang="0">
                <a:pos x="connsiteX9061" y="connsiteY9061"/>
              </a:cxn>
              <a:cxn ang="0">
                <a:pos x="connsiteX9062" y="connsiteY9062"/>
              </a:cxn>
              <a:cxn ang="0">
                <a:pos x="connsiteX9063" y="connsiteY9063"/>
              </a:cxn>
              <a:cxn ang="0">
                <a:pos x="connsiteX9064" y="connsiteY9064"/>
              </a:cxn>
              <a:cxn ang="0">
                <a:pos x="connsiteX9065" y="connsiteY9065"/>
              </a:cxn>
              <a:cxn ang="0">
                <a:pos x="connsiteX9066" y="connsiteY9066"/>
              </a:cxn>
              <a:cxn ang="0">
                <a:pos x="connsiteX9067" y="connsiteY9067"/>
              </a:cxn>
              <a:cxn ang="0">
                <a:pos x="connsiteX9068" y="connsiteY9068"/>
              </a:cxn>
              <a:cxn ang="0">
                <a:pos x="connsiteX9069" y="connsiteY9069"/>
              </a:cxn>
              <a:cxn ang="0">
                <a:pos x="connsiteX9070" y="connsiteY9070"/>
              </a:cxn>
              <a:cxn ang="0">
                <a:pos x="connsiteX9071" y="connsiteY9071"/>
              </a:cxn>
              <a:cxn ang="0">
                <a:pos x="connsiteX9072" y="connsiteY9072"/>
              </a:cxn>
              <a:cxn ang="0">
                <a:pos x="connsiteX9073" y="connsiteY9073"/>
              </a:cxn>
              <a:cxn ang="0">
                <a:pos x="connsiteX9074" y="connsiteY9074"/>
              </a:cxn>
              <a:cxn ang="0">
                <a:pos x="connsiteX9075" y="connsiteY9075"/>
              </a:cxn>
              <a:cxn ang="0">
                <a:pos x="connsiteX9076" y="connsiteY9076"/>
              </a:cxn>
              <a:cxn ang="0">
                <a:pos x="connsiteX9077" y="connsiteY9077"/>
              </a:cxn>
              <a:cxn ang="0">
                <a:pos x="connsiteX9078" y="connsiteY9078"/>
              </a:cxn>
              <a:cxn ang="0">
                <a:pos x="connsiteX9079" y="connsiteY9079"/>
              </a:cxn>
              <a:cxn ang="0">
                <a:pos x="connsiteX9080" y="connsiteY9080"/>
              </a:cxn>
              <a:cxn ang="0">
                <a:pos x="connsiteX9081" y="connsiteY9081"/>
              </a:cxn>
              <a:cxn ang="0">
                <a:pos x="connsiteX9082" y="connsiteY9082"/>
              </a:cxn>
              <a:cxn ang="0">
                <a:pos x="connsiteX9083" y="connsiteY9083"/>
              </a:cxn>
              <a:cxn ang="0">
                <a:pos x="connsiteX9084" y="connsiteY9084"/>
              </a:cxn>
              <a:cxn ang="0">
                <a:pos x="connsiteX9085" y="connsiteY9085"/>
              </a:cxn>
              <a:cxn ang="0">
                <a:pos x="connsiteX9086" y="connsiteY9086"/>
              </a:cxn>
              <a:cxn ang="0">
                <a:pos x="connsiteX9087" y="connsiteY9087"/>
              </a:cxn>
              <a:cxn ang="0">
                <a:pos x="connsiteX9088" y="connsiteY9088"/>
              </a:cxn>
              <a:cxn ang="0">
                <a:pos x="connsiteX9089" y="connsiteY9089"/>
              </a:cxn>
              <a:cxn ang="0">
                <a:pos x="connsiteX9090" y="connsiteY9090"/>
              </a:cxn>
              <a:cxn ang="0">
                <a:pos x="connsiteX9091" y="connsiteY9091"/>
              </a:cxn>
              <a:cxn ang="0">
                <a:pos x="connsiteX9092" y="connsiteY9092"/>
              </a:cxn>
              <a:cxn ang="0">
                <a:pos x="connsiteX9093" y="connsiteY9093"/>
              </a:cxn>
              <a:cxn ang="0">
                <a:pos x="connsiteX9094" y="connsiteY9094"/>
              </a:cxn>
              <a:cxn ang="0">
                <a:pos x="connsiteX9095" y="connsiteY9095"/>
              </a:cxn>
              <a:cxn ang="0">
                <a:pos x="connsiteX9096" y="connsiteY9096"/>
              </a:cxn>
              <a:cxn ang="0">
                <a:pos x="connsiteX9097" y="connsiteY9097"/>
              </a:cxn>
              <a:cxn ang="0">
                <a:pos x="connsiteX9098" y="connsiteY9098"/>
              </a:cxn>
              <a:cxn ang="0">
                <a:pos x="connsiteX9099" y="connsiteY9099"/>
              </a:cxn>
              <a:cxn ang="0">
                <a:pos x="connsiteX9100" y="connsiteY9100"/>
              </a:cxn>
              <a:cxn ang="0">
                <a:pos x="connsiteX9101" y="connsiteY9101"/>
              </a:cxn>
              <a:cxn ang="0">
                <a:pos x="connsiteX9102" y="connsiteY9102"/>
              </a:cxn>
              <a:cxn ang="0">
                <a:pos x="connsiteX9103" y="connsiteY9103"/>
              </a:cxn>
              <a:cxn ang="0">
                <a:pos x="connsiteX9104" y="connsiteY9104"/>
              </a:cxn>
              <a:cxn ang="0">
                <a:pos x="connsiteX9105" y="connsiteY9105"/>
              </a:cxn>
              <a:cxn ang="0">
                <a:pos x="connsiteX9106" y="connsiteY9106"/>
              </a:cxn>
              <a:cxn ang="0">
                <a:pos x="connsiteX9107" y="connsiteY9107"/>
              </a:cxn>
              <a:cxn ang="0">
                <a:pos x="connsiteX9108" y="connsiteY9108"/>
              </a:cxn>
              <a:cxn ang="0">
                <a:pos x="connsiteX9109" y="connsiteY9109"/>
              </a:cxn>
              <a:cxn ang="0">
                <a:pos x="connsiteX9110" y="connsiteY9110"/>
              </a:cxn>
              <a:cxn ang="0">
                <a:pos x="connsiteX9111" y="connsiteY9111"/>
              </a:cxn>
              <a:cxn ang="0">
                <a:pos x="connsiteX9112" y="connsiteY9112"/>
              </a:cxn>
              <a:cxn ang="0">
                <a:pos x="connsiteX9113" y="connsiteY9113"/>
              </a:cxn>
              <a:cxn ang="0">
                <a:pos x="connsiteX9114" y="connsiteY9114"/>
              </a:cxn>
              <a:cxn ang="0">
                <a:pos x="connsiteX9115" y="connsiteY9115"/>
              </a:cxn>
              <a:cxn ang="0">
                <a:pos x="connsiteX9116" y="connsiteY9116"/>
              </a:cxn>
              <a:cxn ang="0">
                <a:pos x="connsiteX9117" y="connsiteY9117"/>
              </a:cxn>
              <a:cxn ang="0">
                <a:pos x="connsiteX9118" y="connsiteY9118"/>
              </a:cxn>
              <a:cxn ang="0">
                <a:pos x="connsiteX9119" y="connsiteY9119"/>
              </a:cxn>
              <a:cxn ang="0">
                <a:pos x="connsiteX9120" y="connsiteY9120"/>
              </a:cxn>
              <a:cxn ang="0">
                <a:pos x="connsiteX9121" y="connsiteY9121"/>
              </a:cxn>
              <a:cxn ang="0">
                <a:pos x="connsiteX9122" y="connsiteY9122"/>
              </a:cxn>
              <a:cxn ang="0">
                <a:pos x="connsiteX9123" y="connsiteY9123"/>
              </a:cxn>
              <a:cxn ang="0">
                <a:pos x="connsiteX9124" y="connsiteY9124"/>
              </a:cxn>
              <a:cxn ang="0">
                <a:pos x="connsiteX9125" y="connsiteY9125"/>
              </a:cxn>
              <a:cxn ang="0">
                <a:pos x="connsiteX9126" y="connsiteY9126"/>
              </a:cxn>
              <a:cxn ang="0">
                <a:pos x="connsiteX9127" y="connsiteY9127"/>
              </a:cxn>
              <a:cxn ang="0">
                <a:pos x="connsiteX9128" y="connsiteY9128"/>
              </a:cxn>
              <a:cxn ang="0">
                <a:pos x="connsiteX9129" y="connsiteY9129"/>
              </a:cxn>
              <a:cxn ang="0">
                <a:pos x="connsiteX9130" y="connsiteY9130"/>
              </a:cxn>
              <a:cxn ang="0">
                <a:pos x="connsiteX9131" y="connsiteY9131"/>
              </a:cxn>
              <a:cxn ang="0">
                <a:pos x="connsiteX9132" y="connsiteY9132"/>
              </a:cxn>
              <a:cxn ang="0">
                <a:pos x="connsiteX9133" y="connsiteY9133"/>
              </a:cxn>
              <a:cxn ang="0">
                <a:pos x="connsiteX9134" y="connsiteY9134"/>
              </a:cxn>
              <a:cxn ang="0">
                <a:pos x="connsiteX9135" y="connsiteY9135"/>
              </a:cxn>
              <a:cxn ang="0">
                <a:pos x="connsiteX9136" y="connsiteY9136"/>
              </a:cxn>
              <a:cxn ang="0">
                <a:pos x="connsiteX9137" y="connsiteY9137"/>
              </a:cxn>
              <a:cxn ang="0">
                <a:pos x="connsiteX9138" y="connsiteY9138"/>
              </a:cxn>
              <a:cxn ang="0">
                <a:pos x="connsiteX9139" y="connsiteY9139"/>
              </a:cxn>
              <a:cxn ang="0">
                <a:pos x="connsiteX9140" y="connsiteY9140"/>
              </a:cxn>
              <a:cxn ang="0">
                <a:pos x="connsiteX9141" y="connsiteY9141"/>
              </a:cxn>
              <a:cxn ang="0">
                <a:pos x="connsiteX9142" y="connsiteY9142"/>
              </a:cxn>
              <a:cxn ang="0">
                <a:pos x="connsiteX9143" y="connsiteY9143"/>
              </a:cxn>
              <a:cxn ang="0">
                <a:pos x="connsiteX9144" y="connsiteY9144"/>
              </a:cxn>
              <a:cxn ang="0">
                <a:pos x="connsiteX9145" y="connsiteY9145"/>
              </a:cxn>
              <a:cxn ang="0">
                <a:pos x="connsiteX9146" y="connsiteY9146"/>
              </a:cxn>
              <a:cxn ang="0">
                <a:pos x="connsiteX9147" y="connsiteY9147"/>
              </a:cxn>
              <a:cxn ang="0">
                <a:pos x="connsiteX9148" y="connsiteY9148"/>
              </a:cxn>
              <a:cxn ang="0">
                <a:pos x="connsiteX9149" y="connsiteY9149"/>
              </a:cxn>
              <a:cxn ang="0">
                <a:pos x="connsiteX9150" y="connsiteY9150"/>
              </a:cxn>
              <a:cxn ang="0">
                <a:pos x="connsiteX9151" y="connsiteY9151"/>
              </a:cxn>
              <a:cxn ang="0">
                <a:pos x="connsiteX9152" y="connsiteY9152"/>
              </a:cxn>
              <a:cxn ang="0">
                <a:pos x="connsiteX9153" y="connsiteY9153"/>
              </a:cxn>
              <a:cxn ang="0">
                <a:pos x="connsiteX9154" y="connsiteY9154"/>
              </a:cxn>
              <a:cxn ang="0">
                <a:pos x="connsiteX9155" y="connsiteY9155"/>
              </a:cxn>
              <a:cxn ang="0">
                <a:pos x="connsiteX9156" y="connsiteY9156"/>
              </a:cxn>
              <a:cxn ang="0">
                <a:pos x="connsiteX9157" y="connsiteY9157"/>
              </a:cxn>
              <a:cxn ang="0">
                <a:pos x="connsiteX9158" y="connsiteY9158"/>
              </a:cxn>
              <a:cxn ang="0">
                <a:pos x="connsiteX9159" y="connsiteY9159"/>
              </a:cxn>
              <a:cxn ang="0">
                <a:pos x="connsiteX9160" y="connsiteY9160"/>
              </a:cxn>
              <a:cxn ang="0">
                <a:pos x="connsiteX9161" y="connsiteY9161"/>
              </a:cxn>
              <a:cxn ang="0">
                <a:pos x="connsiteX9162" y="connsiteY9162"/>
              </a:cxn>
              <a:cxn ang="0">
                <a:pos x="connsiteX9163" y="connsiteY9163"/>
              </a:cxn>
              <a:cxn ang="0">
                <a:pos x="connsiteX9164" y="connsiteY9164"/>
              </a:cxn>
              <a:cxn ang="0">
                <a:pos x="connsiteX9165" y="connsiteY9165"/>
              </a:cxn>
              <a:cxn ang="0">
                <a:pos x="connsiteX9166" y="connsiteY9166"/>
              </a:cxn>
              <a:cxn ang="0">
                <a:pos x="connsiteX9167" y="connsiteY9167"/>
              </a:cxn>
              <a:cxn ang="0">
                <a:pos x="connsiteX9168" y="connsiteY9168"/>
              </a:cxn>
              <a:cxn ang="0">
                <a:pos x="connsiteX9169" y="connsiteY9169"/>
              </a:cxn>
              <a:cxn ang="0">
                <a:pos x="connsiteX9170" y="connsiteY9170"/>
              </a:cxn>
              <a:cxn ang="0">
                <a:pos x="connsiteX9171" y="connsiteY9171"/>
              </a:cxn>
              <a:cxn ang="0">
                <a:pos x="connsiteX9172" y="connsiteY9172"/>
              </a:cxn>
              <a:cxn ang="0">
                <a:pos x="connsiteX9173" y="connsiteY9173"/>
              </a:cxn>
              <a:cxn ang="0">
                <a:pos x="connsiteX9174" y="connsiteY9174"/>
              </a:cxn>
              <a:cxn ang="0">
                <a:pos x="connsiteX9175" y="connsiteY9175"/>
              </a:cxn>
              <a:cxn ang="0">
                <a:pos x="connsiteX9176" y="connsiteY9176"/>
              </a:cxn>
              <a:cxn ang="0">
                <a:pos x="connsiteX9177" y="connsiteY9177"/>
              </a:cxn>
              <a:cxn ang="0">
                <a:pos x="connsiteX9178" y="connsiteY9178"/>
              </a:cxn>
              <a:cxn ang="0">
                <a:pos x="connsiteX9179" y="connsiteY9179"/>
              </a:cxn>
              <a:cxn ang="0">
                <a:pos x="connsiteX9180" y="connsiteY9180"/>
              </a:cxn>
              <a:cxn ang="0">
                <a:pos x="connsiteX9181" y="connsiteY9181"/>
              </a:cxn>
              <a:cxn ang="0">
                <a:pos x="connsiteX9182" y="connsiteY9182"/>
              </a:cxn>
              <a:cxn ang="0">
                <a:pos x="connsiteX9183" y="connsiteY9183"/>
              </a:cxn>
            </a:cxnLst>
            <a:rect l="l" t="t" r="r" b="b"/>
            <a:pathLst>
              <a:path w="9586368" h="6479439">
                <a:moveTo>
                  <a:pt x="2157895" y="6461491"/>
                </a:moveTo>
                <a:lnTo>
                  <a:pt x="2167802" y="6461491"/>
                </a:lnTo>
                <a:lnTo>
                  <a:pt x="2171820" y="6465529"/>
                </a:lnTo>
                <a:lnTo>
                  <a:pt x="2171820" y="6475400"/>
                </a:lnTo>
                <a:lnTo>
                  <a:pt x="2167802" y="6479439"/>
                </a:lnTo>
                <a:lnTo>
                  <a:pt x="2157895" y="6479439"/>
                </a:lnTo>
                <a:lnTo>
                  <a:pt x="2153871" y="6475400"/>
                </a:lnTo>
                <a:lnTo>
                  <a:pt x="2153871" y="6465529"/>
                </a:lnTo>
                <a:close/>
                <a:moveTo>
                  <a:pt x="1918509" y="6461491"/>
                </a:moveTo>
                <a:lnTo>
                  <a:pt x="1928419" y="6461491"/>
                </a:lnTo>
                <a:lnTo>
                  <a:pt x="1932437" y="6465529"/>
                </a:lnTo>
                <a:lnTo>
                  <a:pt x="1932437" y="6475400"/>
                </a:lnTo>
                <a:lnTo>
                  <a:pt x="1928419" y="6479439"/>
                </a:lnTo>
                <a:lnTo>
                  <a:pt x="1918509" y="6479439"/>
                </a:lnTo>
                <a:lnTo>
                  <a:pt x="1914490" y="6475400"/>
                </a:lnTo>
                <a:lnTo>
                  <a:pt x="1914490" y="6465529"/>
                </a:lnTo>
                <a:close/>
                <a:moveTo>
                  <a:pt x="1679200" y="6461491"/>
                </a:moveTo>
                <a:lnTo>
                  <a:pt x="1689110" y="6461491"/>
                </a:lnTo>
                <a:lnTo>
                  <a:pt x="1693128" y="6465529"/>
                </a:lnTo>
                <a:lnTo>
                  <a:pt x="1693128" y="6475400"/>
                </a:lnTo>
                <a:lnTo>
                  <a:pt x="1689110" y="6479439"/>
                </a:lnTo>
                <a:lnTo>
                  <a:pt x="1679200" y="6479439"/>
                </a:lnTo>
                <a:lnTo>
                  <a:pt x="1675180" y="6475400"/>
                </a:lnTo>
                <a:lnTo>
                  <a:pt x="1675180" y="6465529"/>
                </a:lnTo>
                <a:close/>
                <a:moveTo>
                  <a:pt x="1439885" y="6461491"/>
                </a:moveTo>
                <a:lnTo>
                  <a:pt x="1449795" y="6461491"/>
                </a:lnTo>
                <a:lnTo>
                  <a:pt x="1453813" y="6465529"/>
                </a:lnTo>
                <a:lnTo>
                  <a:pt x="1453813" y="6475400"/>
                </a:lnTo>
                <a:lnTo>
                  <a:pt x="1449795" y="6479439"/>
                </a:lnTo>
                <a:lnTo>
                  <a:pt x="1439885" y="6479439"/>
                </a:lnTo>
                <a:lnTo>
                  <a:pt x="1435865" y="6475400"/>
                </a:lnTo>
                <a:lnTo>
                  <a:pt x="1435865" y="6465529"/>
                </a:lnTo>
                <a:close/>
                <a:moveTo>
                  <a:pt x="1200570" y="6461491"/>
                </a:moveTo>
                <a:lnTo>
                  <a:pt x="1210480" y="6461491"/>
                </a:lnTo>
                <a:lnTo>
                  <a:pt x="1214498" y="6465529"/>
                </a:lnTo>
                <a:lnTo>
                  <a:pt x="1214498" y="6475400"/>
                </a:lnTo>
                <a:lnTo>
                  <a:pt x="1210480" y="6479439"/>
                </a:lnTo>
                <a:lnTo>
                  <a:pt x="1200570" y="6479439"/>
                </a:lnTo>
                <a:lnTo>
                  <a:pt x="1196551" y="6475400"/>
                </a:lnTo>
                <a:lnTo>
                  <a:pt x="1196551" y="6465529"/>
                </a:lnTo>
                <a:close/>
                <a:moveTo>
                  <a:pt x="961257" y="6461491"/>
                </a:moveTo>
                <a:lnTo>
                  <a:pt x="971167" y="6461491"/>
                </a:lnTo>
                <a:lnTo>
                  <a:pt x="975186" y="6465529"/>
                </a:lnTo>
                <a:lnTo>
                  <a:pt x="975186" y="6475400"/>
                </a:lnTo>
                <a:lnTo>
                  <a:pt x="971167" y="6479439"/>
                </a:lnTo>
                <a:lnTo>
                  <a:pt x="961257" y="6479439"/>
                </a:lnTo>
                <a:lnTo>
                  <a:pt x="957238" y="6475400"/>
                </a:lnTo>
                <a:lnTo>
                  <a:pt x="957238" y="6465529"/>
                </a:lnTo>
                <a:close/>
                <a:moveTo>
                  <a:pt x="9572438" y="6461440"/>
                </a:moveTo>
                <a:lnTo>
                  <a:pt x="9582349" y="6461440"/>
                </a:lnTo>
                <a:lnTo>
                  <a:pt x="9586368" y="6465478"/>
                </a:lnTo>
                <a:lnTo>
                  <a:pt x="9586368" y="6475349"/>
                </a:lnTo>
                <a:lnTo>
                  <a:pt x="9582349" y="6479388"/>
                </a:lnTo>
                <a:lnTo>
                  <a:pt x="9572438" y="6479388"/>
                </a:lnTo>
                <a:lnTo>
                  <a:pt x="9568419" y="6475349"/>
                </a:lnTo>
                <a:lnTo>
                  <a:pt x="9568419" y="6465478"/>
                </a:lnTo>
                <a:close/>
                <a:moveTo>
                  <a:pt x="9333125" y="6461440"/>
                </a:moveTo>
                <a:lnTo>
                  <a:pt x="9343036" y="6461440"/>
                </a:lnTo>
                <a:lnTo>
                  <a:pt x="9347055" y="6465478"/>
                </a:lnTo>
                <a:lnTo>
                  <a:pt x="9347055" y="6475349"/>
                </a:lnTo>
                <a:lnTo>
                  <a:pt x="9343036" y="6479388"/>
                </a:lnTo>
                <a:lnTo>
                  <a:pt x="9333125" y="6479388"/>
                </a:lnTo>
                <a:lnTo>
                  <a:pt x="9329106" y="6475349"/>
                </a:lnTo>
                <a:lnTo>
                  <a:pt x="9329106" y="6465478"/>
                </a:lnTo>
                <a:close/>
                <a:moveTo>
                  <a:pt x="9093811" y="6461440"/>
                </a:moveTo>
                <a:lnTo>
                  <a:pt x="9103722" y="6461440"/>
                </a:lnTo>
                <a:lnTo>
                  <a:pt x="9107741" y="6465478"/>
                </a:lnTo>
                <a:lnTo>
                  <a:pt x="9107741" y="6475349"/>
                </a:lnTo>
                <a:lnTo>
                  <a:pt x="9103722" y="6479388"/>
                </a:lnTo>
                <a:lnTo>
                  <a:pt x="9093811" y="6479388"/>
                </a:lnTo>
                <a:lnTo>
                  <a:pt x="9089792" y="6475349"/>
                </a:lnTo>
                <a:lnTo>
                  <a:pt x="9089792" y="6465478"/>
                </a:lnTo>
                <a:close/>
                <a:moveTo>
                  <a:pt x="8854496" y="6461440"/>
                </a:moveTo>
                <a:lnTo>
                  <a:pt x="8864407" y="6461440"/>
                </a:lnTo>
                <a:lnTo>
                  <a:pt x="8868426" y="6465478"/>
                </a:lnTo>
                <a:lnTo>
                  <a:pt x="8868426" y="6475349"/>
                </a:lnTo>
                <a:lnTo>
                  <a:pt x="8864407" y="6479388"/>
                </a:lnTo>
                <a:lnTo>
                  <a:pt x="8854496" y="6479388"/>
                </a:lnTo>
                <a:lnTo>
                  <a:pt x="8850477" y="6475349"/>
                </a:lnTo>
                <a:lnTo>
                  <a:pt x="8850477" y="6465478"/>
                </a:lnTo>
                <a:close/>
                <a:moveTo>
                  <a:pt x="8615184" y="6461440"/>
                </a:moveTo>
                <a:lnTo>
                  <a:pt x="8625095" y="6461440"/>
                </a:lnTo>
                <a:lnTo>
                  <a:pt x="8629114" y="6465478"/>
                </a:lnTo>
                <a:lnTo>
                  <a:pt x="8629114" y="6475349"/>
                </a:lnTo>
                <a:lnTo>
                  <a:pt x="8625095" y="6479388"/>
                </a:lnTo>
                <a:lnTo>
                  <a:pt x="8615184" y="6479388"/>
                </a:lnTo>
                <a:lnTo>
                  <a:pt x="8611165" y="6475349"/>
                </a:lnTo>
                <a:lnTo>
                  <a:pt x="8611165" y="6465478"/>
                </a:lnTo>
                <a:close/>
                <a:moveTo>
                  <a:pt x="8375869" y="6461440"/>
                </a:moveTo>
                <a:lnTo>
                  <a:pt x="8385779" y="6461440"/>
                </a:lnTo>
                <a:lnTo>
                  <a:pt x="8389799" y="6465478"/>
                </a:lnTo>
                <a:lnTo>
                  <a:pt x="8389799" y="6475349"/>
                </a:lnTo>
                <a:lnTo>
                  <a:pt x="8385779" y="6479388"/>
                </a:lnTo>
                <a:lnTo>
                  <a:pt x="8375869" y="6479388"/>
                </a:lnTo>
                <a:lnTo>
                  <a:pt x="8371850" y="6475349"/>
                </a:lnTo>
                <a:lnTo>
                  <a:pt x="8371850" y="6465478"/>
                </a:lnTo>
                <a:close/>
                <a:moveTo>
                  <a:pt x="8136553" y="6461440"/>
                </a:moveTo>
                <a:lnTo>
                  <a:pt x="8146464" y="6461440"/>
                </a:lnTo>
                <a:lnTo>
                  <a:pt x="8150483" y="6465478"/>
                </a:lnTo>
                <a:lnTo>
                  <a:pt x="8150483" y="6475349"/>
                </a:lnTo>
                <a:lnTo>
                  <a:pt x="8146464" y="6479388"/>
                </a:lnTo>
                <a:lnTo>
                  <a:pt x="8136553" y="6479388"/>
                </a:lnTo>
                <a:lnTo>
                  <a:pt x="8132534" y="6475349"/>
                </a:lnTo>
                <a:lnTo>
                  <a:pt x="8132534" y="6465478"/>
                </a:lnTo>
                <a:close/>
                <a:moveTo>
                  <a:pt x="7897241" y="6461440"/>
                </a:moveTo>
                <a:lnTo>
                  <a:pt x="7907151" y="6461440"/>
                </a:lnTo>
                <a:lnTo>
                  <a:pt x="7911170" y="6465478"/>
                </a:lnTo>
                <a:lnTo>
                  <a:pt x="7911170" y="6475349"/>
                </a:lnTo>
                <a:lnTo>
                  <a:pt x="7907151" y="6479388"/>
                </a:lnTo>
                <a:lnTo>
                  <a:pt x="7897241" y="6479388"/>
                </a:lnTo>
                <a:lnTo>
                  <a:pt x="7893222" y="6475349"/>
                </a:lnTo>
                <a:lnTo>
                  <a:pt x="7893222" y="6465478"/>
                </a:lnTo>
                <a:close/>
                <a:moveTo>
                  <a:pt x="7657926" y="6461440"/>
                </a:moveTo>
                <a:lnTo>
                  <a:pt x="7667836" y="6461440"/>
                </a:lnTo>
                <a:lnTo>
                  <a:pt x="7671855" y="6465478"/>
                </a:lnTo>
                <a:lnTo>
                  <a:pt x="7671855" y="6475349"/>
                </a:lnTo>
                <a:lnTo>
                  <a:pt x="7667836" y="6479388"/>
                </a:lnTo>
                <a:lnTo>
                  <a:pt x="7657926" y="6479388"/>
                </a:lnTo>
                <a:lnTo>
                  <a:pt x="7653906" y="6475349"/>
                </a:lnTo>
                <a:lnTo>
                  <a:pt x="7653906" y="6465478"/>
                </a:lnTo>
                <a:close/>
                <a:moveTo>
                  <a:pt x="7418611" y="6461440"/>
                </a:moveTo>
                <a:lnTo>
                  <a:pt x="7428521" y="6461440"/>
                </a:lnTo>
                <a:lnTo>
                  <a:pt x="7432540" y="6465478"/>
                </a:lnTo>
                <a:lnTo>
                  <a:pt x="7432540" y="6475349"/>
                </a:lnTo>
                <a:lnTo>
                  <a:pt x="7428521" y="6479388"/>
                </a:lnTo>
                <a:lnTo>
                  <a:pt x="7418611" y="6479388"/>
                </a:lnTo>
                <a:lnTo>
                  <a:pt x="7414592" y="6475349"/>
                </a:lnTo>
                <a:lnTo>
                  <a:pt x="7414592" y="6465478"/>
                </a:lnTo>
                <a:close/>
                <a:moveTo>
                  <a:pt x="7179298" y="6461440"/>
                </a:moveTo>
                <a:lnTo>
                  <a:pt x="7189209" y="6461440"/>
                </a:lnTo>
                <a:lnTo>
                  <a:pt x="7193228" y="6465478"/>
                </a:lnTo>
                <a:lnTo>
                  <a:pt x="7193228" y="6475349"/>
                </a:lnTo>
                <a:lnTo>
                  <a:pt x="7189209" y="6479388"/>
                </a:lnTo>
                <a:lnTo>
                  <a:pt x="7179298" y="6479388"/>
                </a:lnTo>
                <a:lnTo>
                  <a:pt x="7175279" y="6475349"/>
                </a:lnTo>
                <a:lnTo>
                  <a:pt x="7175279" y="6465478"/>
                </a:lnTo>
                <a:close/>
                <a:moveTo>
                  <a:pt x="6939983" y="6461440"/>
                </a:moveTo>
                <a:lnTo>
                  <a:pt x="6949894" y="6461440"/>
                </a:lnTo>
                <a:lnTo>
                  <a:pt x="6953913" y="6465478"/>
                </a:lnTo>
                <a:lnTo>
                  <a:pt x="6953913" y="6475349"/>
                </a:lnTo>
                <a:lnTo>
                  <a:pt x="6949894" y="6479388"/>
                </a:lnTo>
                <a:lnTo>
                  <a:pt x="6939983" y="6479388"/>
                </a:lnTo>
                <a:lnTo>
                  <a:pt x="6935964" y="6475349"/>
                </a:lnTo>
                <a:lnTo>
                  <a:pt x="6935964" y="6465478"/>
                </a:lnTo>
                <a:close/>
                <a:moveTo>
                  <a:pt x="6700670" y="6461440"/>
                </a:moveTo>
                <a:lnTo>
                  <a:pt x="6710581" y="6461440"/>
                </a:lnTo>
                <a:lnTo>
                  <a:pt x="6714600" y="6465478"/>
                </a:lnTo>
                <a:lnTo>
                  <a:pt x="6714600" y="6475349"/>
                </a:lnTo>
                <a:lnTo>
                  <a:pt x="6710581" y="6479388"/>
                </a:lnTo>
                <a:lnTo>
                  <a:pt x="6700670" y="6479388"/>
                </a:lnTo>
                <a:lnTo>
                  <a:pt x="6696651" y="6475349"/>
                </a:lnTo>
                <a:lnTo>
                  <a:pt x="6696651" y="6465478"/>
                </a:lnTo>
                <a:close/>
                <a:moveTo>
                  <a:pt x="6461356" y="6461440"/>
                </a:moveTo>
                <a:lnTo>
                  <a:pt x="6471266" y="6461440"/>
                </a:lnTo>
                <a:lnTo>
                  <a:pt x="6475285" y="6465478"/>
                </a:lnTo>
                <a:lnTo>
                  <a:pt x="6475285" y="6475349"/>
                </a:lnTo>
                <a:lnTo>
                  <a:pt x="6471266" y="6479388"/>
                </a:lnTo>
                <a:lnTo>
                  <a:pt x="6461356" y="6479388"/>
                </a:lnTo>
                <a:lnTo>
                  <a:pt x="6457337" y="6475349"/>
                </a:lnTo>
                <a:lnTo>
                  <a:pt x="6457337" y="6465478"/>
                </a:lnTo>
                <a:close/>
                <a:moveTo>
                  <a:pt x="6222042" y="6461440"/>
                </a:moveTo>
                <a:lnTo>
                  <a:pt x="6231952" y="6461440"/>
                </a:lnTo>
                <a:lnTo>
                  <a:pt x="6235971" y="6465478"/>
                </a:lnTo>
                <a:lnTo>
                  <a:pt x="6235971" y="6475349"/>
                </a:lnTo>
                <a:lnTo>
                  <a:pt x="6231952" y="6479388"/>
                </a:lnTo>
                <a:lnTo>
                  <a:pt x="6222042" y="6479388"/>
                </a:lnTo>
                <a:lnTo>
                  <a:pt x="6218023" y="6475349"/>
                </a:lnTo>
                <a:lnTo>
                  <a:pt x="6218023" y="6465478"/>
                </a:lnTo>
                <a:close/>
                <a:moveTo>
                  <a:pt x="5982729" y="6461440"/>
                </a:moveTo>
                <a:lnTo>
                  <a:pt x="5992639" y="6461440"/>
                </a:lnTo>
                <a:lnTo>
                  <a:pt x="5996658" y="6465478"/>
                </a:lnTo>
                <a:lnTo>
                  <a:pt x="5996658" y="6475349"/>
                </a:lnTo>
                <a:lnTo>
                  <a:pt x="5992639" y="6479388"/>
                </a:lnTo>
                <a:lnTo>
                  <a:pt x="5982729" y="6479388"/>
                </a:lnTo>
                <a:lnTo>
                  <a:pt x="5978710" y="6475349"/>
                </a:lnTo>
                <a:lnTo>
                  <a:pt x="5978710" y="6465478"/>
                </a:lnTo>
                <a:close/>
                <a:moveTo>
                  <a:pt x="5743412" y="6461440"/>
                </a:moveTo>
                <a:lnTo>
                  <a:pt x="5753323" y="6461440"/>
                </a:lnTo>
                <a:lnTo>
                  <a:pt x="5757342" y="6465478"/>
                </a:lnTo>
                <a:lnTo>
                  <a:pt x="5757342" y="6475349"/>
                </a:lnTo>
                <a:lnTo>
                  <a:pt x="5753323" y="6479388"/>
                </a:lnTo>
                <a:lnTo>
                  <a:pt x="5743412" y="6479388"/>
                </a:lnTo>
                <a:lnTo>
                  <a:pt x="5739393" y="6475349"/>
                </a:lnTo>
                <a:lnTo>
                  <a:pt x="5739393" y="6465478"/>
                </a:lnTo>
                <a:close/>
                <a:moveTo>
                  <a:pt x="5504099" y="6461440"/>
                </a:moveTo>
                <a:lnTo>
                  <a:pt x="5514010" y="6461440"/>
                </a:lnTo>
                <a:lnTo>
                  <a:pt x="5518029" y="6465478"/>
                </a:lnTo>
                <a:lnTo>
                  <a:pt x="5518029" y="6475349"/>
                </a:lnTo>
                <a:lnTo>
                  <a:pt x="5514010" y="6479388"/>
                </a:lnTo>
                <a:lnTo>
                  <a:pt x="5504099" y="6479388"/>
                </a:lnTo>
                <a:lnTo>
                  <a:pt x="5500080" y="6475349"/>
                </a:lnTo>
                <a:lnTo>
                  <a:pt x="5500080" y="6465478"/>
                </a:lnTo>
                <a:close/>
                <a:moveTo>
                  <a:pt x="5264784" y="6461440"/>
                </a:moveTo>
                <a:lnTo>
                  <a:pt x="5274694" y="6461440"/>
                </a:lnTo>
                <a:lnTo>
                  <a:pt x="5278713" y="6465478"/>
                </a:lnTo>
                <a:lnTo>
                  <a:pt x="5278713" y="6475349"/>
                </a:lnTo>
                <a:lnTo>
                  <a:pt x="5274694" y="6479388"/>
                </a:lnTo>
                <a:lnTo>
                  <a:pt x="5264784" y="6479388"/>
                </a:lnTo>
                <a:lnTo>
                  <a:pt x="5260765" y="6475349"/>
                </a:lnTo>
                <a:lnTo>
                  <a:pt x="5260765" y="6465478"/>
                </a:lnTo>
                <a:close/>
                <a:moveTo>
                  <a:pt x="5025470" y="6461440"/>
                </a:moveTo>
                <a:lnTo>
                  <a:pt x="5035381" y="6461440"/>
                </a:lnTo>
                <a:lnTo>
                  <a:pt x="5039400" y="6465478"/>
                </a:lnTo>
                <a:lnTo>
                  <a:pt x="5039400" y="6475349"/>
                </a:lnTo>
                <a:lnTo>
                  <a:pt x="5035381" y="6479388"/>
                </a:lnTo>
                <a:lnTo>
                  <a:pt x="5025470" y="6479388"/>
                </a:lnTo>
                <a:lnTo>
                  <a:pt x="5021451" y="6475349"/>
                </a:lnTo>
                <a:lnTo>
                  <a:pt x="5021451" y="6465478"/>
                </a:lnTo>
                <a:close/>
                <a:moveTo>
                  <a:pt x="4786241" y="6461440"/>
                </a:moveTo>
                <a:lnTo>
                  <a:pt x="4796152" y="6461440"/>
                </a:lnTo>
                <a:lnTo>
                  <a:pt x="4800171" y="6465478"/>
                </a:lnTo>
                <a:lnTo>
                  <a:pt x="4800171" y="6475349"/>
                </a:lnTo>
                <a:lnTo>
                  <a:pt x="4796152" y="6479388"/>
                </a:lnTo>
                <a:lnTo>
                  <a:pt x="4786241" y="6479388"/>
                </a:lnTo>
                <a:lnTo>
                  <a:pt x="4782224" y="6475349"/>
                </a:lnTo>
                <a:lnTo>
                  <a:pt x="4782224" y="6465478"/>
                </a:lnTo>
                <a:close/>
                <a:moveTo>
                  <a:pt x="4546929" y="6461440"/>
                </a:moveTo>
                <a:lnTo>
                  <a:pt x="4556840" y="6461440"/>
                </a:lnTo>
                <a:lnTo>
                  <a:pt x="4560859" y="6465478"/>
                </a:lnTo>
                <a:lnTo>
                  <a:pt x="4560859" y="6475349"/>
                </a:lnTo>
                <a:lnTo>
                  <a:pt x="4556840" y="6479388"/>
                </a:lnTo>
                <a:lnTo>
                  <a:pt x="4546929" y="6479388"/>
                </a:lnTo>
                <a:lnTo>
                  <a:pt x="4542910" y="6475349"/>
                </a:lnTo>
                <a:lnTo>
                  <a:pt x="4542910" y="6465478"/>
                </a:lnTo>
                <a:close/>
                <a:moveTo>
                  <a:pt x="4307612" y="6461440"/>
                </a:moveTo>
                <a:lnTo>
                  <a:pt x="4317523" y="6461440"/>
                </a:lnTo>
                <a:lnTo>
                  <a:pt x="4321543" y="6465478"/>
                </a:lnTo>
                <a:lnTo>
                  <a:pt x="4321543" y="6475349"/>
                </a:lnTo>
                <a:lnTo>
                  <a:pt x="4317523" y="6479388"/>
                </a:lnTo>
                <a:lnTo>
                  <a:pt x="4307612" y="6479388"/>
                </a:lnTo>
                <a:lnTo>
                  <a:pt x="4303595" y="6475349"/>
                </a:lnTo>
                <a:lnTo>
                  <a:pt x="4303595" y="6465478"/>
                </a:lnTo>
                <a:close/>
                <a:moveTo>
                  <a:pt x="4068297" y="6461440"/>
                </a:moveTo>
                <a:lnTo>
                  <a:pt x="4078210" y="6461440"/>
                </a:lnTo>
                <a:lnTo>
                  <a:pt x="4082229" y="6465478"/>
                </a:lnTo>
                <a:lnTo>
                  <a:pt x="4082229" y="6475349"/>
                </a:lnTo>
                <a:lnTo>
                  <a:pt x="4078210" y="6479388"/>
                </a:lnTo>
                <a:lnTo>
                  <a:pt x="4068297" y="6479388"/>
                </a:lnTo>
                <a:lnTo>
                  <a:pt x="4064278" y="6475349"/>
                </a:lnTo>
                <a:lnTo>
                  <a:pt x="4064278" y="6465478"/>
                </a:lnTo>
                <a:close/>
                <a:moveTo>
                  <a:pt x="3828990" y="6461440"/>
                </a:moveTo>
                <a:lnTo>
                  <a:pt x="3838899" y="6461440"/>
                </a:lnTo>
                <a:lnTo>
                  <a:pt x="3842917" y="6465478"/>
                </a:lnTo>
                <a:lnTo>
                  <a:pt x="3842917" y="6475349"/>
                </a:lnTo>
                <a:lnTo>
                  <a:pt x="3838899" y="6479388"/>
                </a:lnTo>
                <a:lnTo>
                  <a:pt x="3828990" y="6479388"/>
                </a:lnTo>
                <a:lnTo>
                  <a:pt x="3824971" y="6475349"/>
                </a:lnTo>
                <a:lnTo>
                  <a:pt x="3824971" y="6465478"/>
                </a:lnTo>
                <a:close/>
                <a:moveTo>
                  <a:pt x="3589676" y="6461440"/>
                </a:moveTo>
                <a:lnTo>
                  <a:pt x="3599585" y="6461440"/>
                </a:lnTo>
                <a:lnTo>
                  <a:pt x="3603604" y="6465478"/>
                </a:lnTo>
                <a:lnTo>
                  <a:pt x="3603604" y="6475349"/>
                </a:lnTo>
                <a:lnTo>
                  <a:pt x="3599585" y="6479388"/>
                </a:lnTo>
                <a:lnTo>
                  <a:pt x="3589676" y="6479388"/>
                </a:lnTo>
                <a:lnTo>
                  <a:pt x="3585657" y="6475349"/>
                </a:lnTo>
                <a:lnTo>
                  <a:pt x="3585657" y="6465478"/>
                </a:lnTo>
                <a:close/>
                <a:moveTo>
                  <a:pt x="3350359" y="6461440"/>
                </a:moveTo>
                <a:lnTo>
                  <a:pt x="3360268" y="6461440"/>
                </a:lnTo>
                <a:lnTo>
                  <a:pt x="3364287" y="6465478"/>
                </a:lnTo>
                <a:lnTo>
                  <a:pt x="3364287" y="6475349"/>
                </a:lnTo>
                <a:lnTo>
                  <a:pt x="3360268" y="6479388"/>
                </a:lnTo>
                <a:lnTo>
                  <a:pt x="3350359" y="6479388"/>
                </a:lnTo>
                <a:lnTo>
                  <a:pt x="3346340" y="6475349"/>
                </a:lnTo>
                <a:lnTo>
                  <a:pt x="3346340" y="6465478"/>
                </a:lnTo>
                <a:close/>
                <a:moveTo>
                  <a:pt x="3111048" y="6461440"/>
                </a:moveTo>
                <a:lnTo>
                  <a:pt x="3120959" y="6461440"/>
                </a:lnTo>
                <a:lnTo>
                  <a:pt x="3124977" y="6465478"/>
                </a:lnTo>
                <a:lnTo>
                  <a:pt x="3124977" y="6475349"/>
                </a:lnTo>
                <a:lnTo>
                  <a:pt x="3120959" y="6479388"/>
                </a:lnTo>
                <a:lnTo>
                  <a:pt x="3111048" y="6479388"/>
                </a:lnTo>
                <a:lnTo>
                  <a:pt x="3107029" y="6475349"/>
                </a:lnTo>
                <a:lnTo>
                  <a:pt x="3107029" y="6465478"/>
                </a:lnTo>
                <a:close/>
                <a:moveTo>
                  <a:pt x="2871737" y="6461440"/>
                </a:moveTo>
                <a:lnTo>
                  <a:pt x="2881646" y="6461440"/>
                </a:lnTo>
                <a:lnTo>
                  <a:pt x="2885666" y="6465478"/>
                </a:lnTo>
                <a:lnTo>
                  <a:pt x="2885666" y="6475349"/>
                </a:lnTo>
                <a:lnTo>
                  <a:pt x="2881646" y="6479388"/>
                </a:lnTo>
                <a:lnTo>
                  <a:pt x="2871737" y="6479388"/>
                </a:lnTo>
                <a:lnTo>
                  <a:pt x="2867717" y="6475349"/>
                </a:lnTo>
                <a:lnTo>
                  <a:pt x="2867717" y="6465478"/>
                </a:lnTo>
                <a:close/>
                <a:moveTo>
                  <a:pt x="2632423" y="6461440"/>
                </a:moveTo>
                <a:lnTo>
                  <a:pt x="2642334" y="6461440"/>
                </a:lnTo>
                <a:lnTo>
                  <a:pt x="2646352" y="6465478"/>
                </a:lnTo>
                <a:lnTo>
                  <a:pt x="2646352" y="6475349"/>
                </a:lnTo>
                <a:lnTo>
                  <a:pt x="2642334" y="6479388"/>
                </a:lnTo>
                <a:lnTo>
                  <a:pt x="2632423" y="6479388"/>
                </a:lnTo>
                <a:lnTo>
                  <a:pt x="2628404" y="6475349"/>
                </a:lnTo>
                <a:lnTo>
                  <a:pt x="2628404" y="6465478"/>
                </a:lnTo>
                <a:close/>
                <a:moveTo>
                  <a:pt x="2393104" y="6461440"/>
                </a:moveTo>
                <a:lnTo>
                  <a:pt x="2403015" y="6461440"/>
                </a:lnTo>
                <a:lnTo>
                  <a:pt x="2407034" y="6465478"/>
                </a:lnTo>
                <a:lnTo>
                  <a:pt x="2407034" y="6475349"/>
                </a:lnTo>
                <a:lnTo>
                  <a:pt x="2403015" y="6479388"/>
                </a:lnTo>
                <a:lnTo>
                  <a:pt x="2393104" y="6479388"/>
                </a:lnTo>
                <a:lnTo>
                  <a:pt x="2389087" y="6475349"/>
                </a:lnTo>
                <a:lnTo>
                  <a:pt x="2389087" y="6465478"/>
                </a:lnTo>
                <a:close/>
                <a:moveTo>
                  <a:pt x="721958" y="6461440"/>
                </a:moveTo>
                <a:lnTo>
                  <a:pt x="731868" y="6461440"/>
                </a:lnTo>
                <a:lnTo>
                  <a:pt x="735887" y="6465478"/>
                </a:lnTo>
                <a:lnTo>
                  <a:pt x="735887" y="6475349"/>
                </a:lnTo>
                <a:lnTo>
                  <a:pt x="731868" y="6479388"/>
                </a:lnTo>
                <a:lnTo>
                  <a:pt x="721958" y="6479388"/>
                </a:lnTo>
                <a:lnTo>
                  <a:pt x="717939" y="6475349"/>
                </a:lnTo>
                <a:lnTo>
                  <a:pt x="717939" y="6465478"/>
                </a:lnTo>
                <a:close/>
                <a:moveTo>
                  <a:pt x="482646" y="6461440"/>
                </a:moveTo>
                <a:lnTo>
                  <a:pt x="492556" y="6461440"/>
                </a:lnTo>
                <a:lnTo>
                  <a:pt x="496575" y="6465478"/>
                </a:lnTo>
                <a:lnTo>
                  <a:pt x="496575" y="6475349"/>
                </a:lnTo>
                <a:lnTo>
                  <a:pt x="492556" y="6479388"/>
                </a:lnTo>
                <a:lnTo>
                  <a:pt x="482646" y="6479388"/>
                </a:lnTo>
                <a:lnTo>
                  <a:pt x="478627" y="6475349"/>
                </a:lnTo>
                <a:lnTo>
                  <a:pt x="478627" y="6465478"/>
                </a:lnTo>
                <a:close/>
                <a:moveTo>
                  <a:pt x="243332" y="6461440"/>
                </a:moveTo>
                <a:lnTo>
                  <a:pt x="253242" y="6461440"/>
                </a:lnTo>
                <a:lnTo>
                  <a:pt x="257261" y="6465478"/>
                </a:lnTo>
                <a:lnTo>
                  <a:pt x="257261" y="6475349"/>
                </a:lnTo>
                <a:lnTo>
                  <a:pt x="253242" y="6479388"/>
                </a:lnTo>
                <a:lnTo>
                  <a:pt x="243332" y="6479388"/>
                </a:lnTo>
                <a:lnTo>
                  <a:pt x="239313" y="6475349"/>
                </a:lnTo>
                <a:lnTo>
                  <a:pt x="239313" y="6465478"/>
                </a:lnTo>
                <a:close/>
                <a:moveTo>
                  <a:pt x="4019" y="6461440"/>
                </a:moveTo>
                <a:lnTo>
                  <a:pt x="13929" y="6461440"/>
                </a:lnTo>
                <a:lnTo>
                  <a:pt x="17949" y="6465478"/>
                </a:lnTo>
                <a:lnTo>
                  <a:pt x="17949" y="6475349"/>
                </a:lnTo>
                <a:lnTo>
                  <a:pt x="13929" y="6479388"/>
                </a:lnTo>
                <a:lnTo>
                  <a:pt x="4019" y="6479388"/>
                </a:lnTo>
                <a:lnTo>
                  <a:pt x="0" y="6475349"/>
                </a:lnTo>
                <a:lnTo>
                  <a:pt x="0" y="6465478"/>
                </a:lnTo>
                <a:close/>
                <a:moveTo>
                  <a:pt x="9572438" y="6222160"/>
                </a:moveTo>
                <a:lnTo>
                  <a:pt x="9582349" y="6222160"/>
                </a:lnTo>
                <a:lnTo>
                  <a:pt x="9586368" y="6226198"/>
                </a:lnTo>
                <a:lnTo>
                  <a:pt x="9586368" y="6236069"/>
                </a:lnTo>
                <a:lnTo>
                  <a:pt x="9582349" y="6240109"/>
                </a:lnTo>
                <a:lnTo>
                  <a:pt x="9572438" y="6240109"/>
                </a:lnTo>
                <a:lnTo>
                  <a:pt x="9568419" y="6236069"/>
                </a:lnTo>
                <a:lnTo>
                  <a:pt x="9568419" y="6226198"/>
                </a:lnTo>
                <a:close/>
                <a:moveTo>
                  <a:pt x="9333125" y="6222160"/>
                </a:moveTo>
                <a:lnTo>
                  <a:pt x="9343036" y="6222160"/>
                </a:lnTo>
                <a:lnTo>
                  <a:pt x="9347055" y="6226198"/>
                </a:lnTo>
                <a:lnTo>
                  <a:pt x="9347055" y="6236069"/>
                </a:lnTo>
                <a:lnTo>
                  <a:pt x="9343036" y="6240109"/>
                </a:lnTo>
                <a:lnTo>
                  <a:pt x="9333125" y="6240109"/>
                </a:lnTo>
                <a:lnTo>
                  <a:pt x="9329106" y="6236069"/>
                </a:lnTo>
                <a:lnTo>
                  <a:pt x="9329106" y="6226198"/>
                </a:lnTo>
                <a:close/>
                <a:moveTo>
                  <a:pt x="9093811" y="6222160"/>
                </a:moveTo>
                <a:lnTo>
                  <a:pt x="9103722" y="6222160"/>
                </a:lnTo>
                <a:lnTo>
                  <a:pt x="9107741" y="6226198"/>
                </a:lnTo>
                <a:lnTo>
                  <a:pt x="9107741" y="6236069"/>
                </a:lnTo>
                <a:lnTo>
                  <a:pt x="9103722" y="6240109"/>
                </a:lnTo>
                <a:lnTo>
                  <a:pt x="9093811" y="6240109"/>
                </a:lnTo>
                <a:lnTo>
                  <a:pt x="9089792" y="6236069"/>
                </a:lnTo>
                <a:lnTo>
                  <a:pt x="9089792" y="6226198"/>
                </a:lnTo>
                <a:close/>
                <a:moveTo>
                  <a:pt x="8854496" y="6222160"/>
                </a:moveTo>
                <a:lnTo>
                  <a:pt x="8864407" y="6222160"/>
                </a:lnTo>
                <a:lnTo>
                  <a:pt x="8868426" y="6226198"/>
                </a:lnTo>
                <a:lnTo>
                  <a:pt x="8868426" y="6236069"/>
                </a:lnTo>
                <a:lnTo>
                  <a:pt x="8864407" y="6240109"/>
                </a:lnTo>
                <a:lnTo>
                  <a:pt x="8854496" y="6240109"/>
                </a:lnTo>
                <a:lnTo>
                  <a:pt x="8850477" y="6236069"/>
                </a:lnTo>
                <a:lnTo>
                  <a:pt x="8850477" y="6226198"/>
                </a:lnTo>
                <a:close/>
                <a:moveTo>
                  <a:pt x="8615184" y="6222160"/>
                </a:moveTo>
                <a:lnTo>
                  <a:pt x="8625095" y="6222160"/>
                </a:lnTo>
                <a:lnTo>
                  <a:pt x="8629114" y="6226198"/>
                </a:lnTo>
                <a:lnTo>
                  <a:pt x="8629114" y="6236069"/>
                </a:lnTo>
                <a:lnTo>
                  <a:pt x="8625095" y="6240109"/>
                </a:lnTo>
                <a:lnTo>
                  <a:pt x="8615184" y="6240109"/>
                </a:lnTo>
                <a:lnTo>
                  <a:pt x="8611165" y="6236069"/>
                </a:lnTo>
                <a:lnTo>
                  <a:pt x="8611165" y="6226198"/>
                </a:lnTo>
                <a:close/>
                <a:moveTo>
                  <a:pt x="8375869" y="6222160"/>
                </a:moveTo>
                <a:lnTo>
                  <a:pt x="8385779" y="6222160"/>
                </a:lnTo>
                <a:lnTo>
                  <a:pt x="8389799" y="6226198"/>
                </a:lnTo>
                <a:lnTo>
                  <a:pt x="8389799" y="6236069"/>
                </a:lnTo>
                <a:lnTo>
                  <a:pt x="8385779" y="6240109"/>
                </a:lnTo>
                <a:lnTo>
                  <a:pt x="8375869" y="6240109"/>
                </a:lnTo>
                <a:lnTo>
                  <a:pt x="8371850" y="6236069"/>
                </a:lnTo>
                <a:lnTo>
                  <a:pt x="8371850" y="6226198"/>
                </a:lnTo>
                <a:close/>
                <a:moveTo>
                  <a:pt x="8136553" y="6222160"/>
                </a:moveTo>
                <a:lnTo>
                  <a:pt x="8146464" y="6222160"/>
                </a:lnTo>
                <a:lnTo>
                  <a:pt x="8150483" y="6226198"/>
                </a:lnTo>
                <a:lnTo>
                  <a:pt x="8150483" y="6236069"/>
                </a:lnTo>
                <a:lnTo>
                  <a:pt x="8146464" y="6240109"/>
                </a:lnTo>
                <a:lnTo>
                  <a:pt x="8136553" y="6240109"/>
                </a:lnTo>
                <a:lnTo>
                  <a:pt x="8132534" y="6236069"/>
                </a:lnTo>
                <a:lnTo>
                  <a:pt x="8132534" y="6226198"/>
                </a:lnTo>
                <a:close/>
                <a:moveTo>
                  <a:pt x="7897241" y="6222160"/>
                </a:moveTo>
                <a:lnTo>
                  <a:pt x="7907151" y="6222160"/>
                </a:lnTo>
                <a:lnTo>
                  <a:pt x="7911170" y="6226198"/>
                </a:lnTo>
                <a:lnTo>
                  <a:pt x="7911170" y="6236069"/>
                </a:lnTo>
                <a:lnTo>
                  <a:pt x="7907151" y="6240109"/>
                </a:lnTo>
                <a:lnTo>
                  <a:pt x="7897241" y="6240109"/>
                </a:lnTo>
                <a:lnTo>
                  <a:pt x="7893222" y="6236069"/>
                </a:lnTo>
                <a:lnTo>
                  <a:pt x="7893222" y="6226198"/>
                </a:lnTo>
                <a:close/>
                <a:moveTo>
                  <a:pt x="7657926" y="6222160"/>
                </a:moveTo>
                <a:lnTo>
                  <a:pt x="7667836" y="6222160"/>
                </a:lnTo>
                <a:lnTo>
                  <a:pt x="7671855" y="6226198"/>
                </a:lnTo>
                <a:lnTo>
                  <a:pt x="7671855" y="6236069"/>
                </a:lnTo>
                <a:lnTo>
                  <a:pt x="7667836" y="6240109"/>
                </a:lnTo>
                <a:lnTo>
                  <a:pt x="7657926" y="6240109"/>
                </a:lnTo>
                <a:lnTo>
                  <a:pt x="7653906" y="6236069"/>
                </a:lnTo>
                <a:lnTo>
                  <a:pt x="7653906" y="6226198"/>
                </a:lnTo>
                <a:close/>
                <a:moveTo>
                  <a:pt x="7418611" y="6222160"/>
                </a:moveTo>
                <a:lnTo>
                  <a:pt x="7428521" y="6222160"/>
                </a:lnTo>
                <a:lnTo>
                  <a:pt x="7432540" y="6226198"/>
                </a:lnTo>
                <a:lnTo>
                  <a:pt x="7432540" y="6236069"/>
                </a:lnTo>
                <a:lnTo>
                  <a:pt x="7428521" y="6240109"/>
                </a:lnTo>
                <a:lnTo>
                  <a:pt x="7418611" y="6240109"/>
                </a:lnTo>
                <a:lnTo>
                  <a:pt x="7414592" y="6236069"/>
                </a:lnTo>
                <a:lnTo>
                  <a:pt x="7414592" y="6226198"/>
                </a:lnTo>
                <a:close/>
                <a:moveTo>
                  <a:pt x="7179298" y="6222160"/>
                </a:moveTo>
                <a:lnTo>
                  <a:pt x="7189209" y="6222160"/>
                </a:lnTo>
                <a:lnTo>
                  <a:pt x="7193228" y="6226198"/>
                </a:lnTo>
                <a:lnTo>
                  <a:pt x="7193228" y="6236069"/>
                </a:lnTo>
                <a:lnTo>
                  <a:pt x="7189209" y="6240109"/>
                </a:lnTo>
                <a:lnTo>
                  <a:pt x="7179298" y="6240109"/>
                </a:lnTo>
                <a:lnTo>
                  <a:pt x="7175279" y="6236069"/>
                </a:lnTo>
                <a:lnTo>
                  <a:pt x="7175279" y="6226198"/>
                </a:lnTo>
                <a:close/>
                <a:moveTo>
                  <a:pt x="6939983" y="6222160"/>
                </a:moveTo>
                <a:lnTo>
                  <a:pt x="6949894" y="6222160"/>
                </a:lnTo>
                <a:lnTo>
                  <a:pt x="6953913" y="6226198"/>
                </a:lnTo>
                <a:lnTo>
                  <a:pt x="6953913" y="6236069"/>
                </a:lnTo>
                <a:lnTo>
                  <a:pt x="6949894" y="6240109"/>
                </a:lnTo>
                <a:lnTo>
                  <a:pt x="6939983" y="6240109"/>
                </a:lnTo>
                <a:lnTo>
                  <a:pt x="6935964" y="6236069"/>
                </a:lnTo>
                <a:lnTo>
                  <a:pt x="6935964" y="6226198"/>
                </a:lnTo>
                <a:close/>
                <a:moveTo>
                  <a:pt x="6700670" y="6222160"/>
                </a:moveTo>
                <a:lnTo>
                  <a:pt x="6710581" y="6222160"/>
                </a:lnTo>
                <a:lnTo>
                  <a:pt x="6714600" y="6226198"/>
                </a:lnTo>
                <a:lnTo>
                  <a:pt x="6714600" y="6236069"/>
                </a:lnTo>
                <a:lnTo>
                  <a:pt x="6710581" y="6240109"/>
                </a:lnTo>
                <a:lnTo>
                  <a:pt x="6700670" y="6240109"/>
                </a:lnTo>
                <a:lnTo>
                  <a:pt x="6696651" y="6236069"/>
                </a:lnTo>
                <a:lnTo>
                  <a:pt x="6696651" y="6226198"/>
                </a:lnTo>
                <a:close/>
                <a:moveTo>
                  <a:pt x="6461356" y="6222160"/>
                </a:moveTo>
                <a:lnTo>
                  <a:pt x="6471266" y="6222160"/>
                </a:lnTo>
                <a:lnTo>
                  <a:pt x="6475285" y="6226198"/>
                </a:lnTo>
                <a:lnTo>
                  <a:pt x="6475285" y="6236069"/>
                </a:lnTo>
                <a:lnTo>
                  <a:pt x="6471266" y="6240109"/>
                </a:lnTo>
                <a:lnTo>
                  <a:pt x="6461356" y="6240109"/>
                </a:lnTo>
                <a:lnTo>
                  <a:pt x="6457337" y="6236069"/>
                </a:lnTo>
                <a:lnTo>
                  <a:pt x="6457337" y="6226198"/>
                </a:lnTo>
                <a:close/>
                <a:moveTo>
                  <a:pt x="6222042" y="6222160"/>
                </a:moveTo>
                <a:lnTo>
                  <a:pt x="6231952" y="6222160"/>
                </a:lnTo>
                <a:lnTo>
                  <a:pt x="6235971" y="6226198"/>
                </a:lnTo>
                <a:lnTo>
                  <a:pt x="6235971" y="6236069"/>
                </a:lnTo>
                <a:lnTo>
                  <a:pt x="6231952" y="6240109"/>
                </a:lnTo>
                <a:lnTo>
                  <a:pt x="6222042" y="6240109"/>
                </a:lnTo>
                <a:lnTo>
                  <a:pt x="6218023" y="6236069"/>
                </a:lnTo>
                <a:lnTo>
                  <a:pt x="6218023" y="6226198"/>
                </a:lnTo>
                <a:close/>
                <a:moveTo>
                  <a:pt x="5982729" y="6222160"/>
                </a:moveTo>
                <a:lnTo>
                  <a:pt x="5992639" y="6222160"/>
                </a:lnTo>
                <a:lnTo>
                  <a:pt x="5996658" y="6226198"/>
                </a:lnTo>
                <a:lnTo>
                  <a:pt x="5996658" y="6236069"/>
                </a:lnTo>
                <a:lnTo>
                  <a:pt x="5992639" y="6240109"/>
                </a:lnTo>
                <a:lnTo>
                  <a:pt x="5982729" y="6240109"/>
                </a:lnTo>
                <a:lnTo>
                  <a:pt x="5978710" y="6236069"/>
                </a:lnTo>
                <a:lnTo>
                  <a:pt x="5978710" y="6226198"/>
                </a:lnTo>
                <a:close/>
                <a:moveTo>
                  <a:pt x="5743412" y="6222160"/>
                </a:moveTo>
                <a:lnTo>
                  <a:pt x="5753323" y="6222160"/>
                </a:lnTo>
                <a:lnTo>
                  <a:pt x="5757342" y="6226198"/>
                </a:lnTo>
                <a:lnTo>
                  <a:pt x="5757342" y="6236069"/>
                </a:lnTo>
                <a:lnTo>
                  <a:pt x="5753323" y="6240109"/>
                </a:lnTo>
                <a:lnTo>
                  <a:pt x="5743412" y="6240109"/>
                </a:lnTo>
                <a:lnTo>
                  <a:pt x="5739393" y="6236069"/>
                </a:lnTo>
                <a:lnTo>
                  <a:pt x="5739393" y="6226198"/>
                </a:lnTo>
                <a:close/>
                <a:moveTo>
                  <a:pt x="5504099" y="6222160"/>
                </a:moveTo>
                <a:lnTo>
                  <a:pt x="5514010" y="6222160"/>
                </a:lnTo>
                <a:lnTo>
                  <a:pt x="5518029" y="6226198"/>
                </a:lnTo>
                <a:lnTo>
                  <a:pt x="5518029" y="6236069"/>
                </a:lnTo>
                <a:lnTo>
                  <a:pt x="5514010" y="6240109"/>
                </a:lnTo>
                <a:lnTo>
                  <a:pt x="5504099" y="6240109"/>
                </a:lnTo>
                <a:lnTo>
                  <a:pt x="5500080" y="6236069"/>
                </a:lnTo>
                <a:lnTo>
                  <a:pt x="5500080" y="6226198"/>
                </a:lnTo>
                <a:close/>
                <a:moveTo>
                  <a:pt x="5264784" y="6222160"/>
                </a:moveTo>
                <a:lnTo>
                  <a:pt x="5274694" y="6222160"/>
                </a:lnTo>
                <a:lnTo>
                  <a:pt x="5278713" y="6226198"/>
                </a:lnTo>
                <a:lnTo>
                  <a:pt x="5278713" y="6236069"/>
                </a:lnTo>
                <a:lnTo>
                  <a:pt x="5274694" y="6240109"/>
                </a:lnTo>
                <a:lnTo>
                  <a:pt x="5264784" y="6240109"/>
                </a:lnTo>
                <a:lnTo>
                  <a:pt x="5260765" y="6236069"/>
                </a:lnTo>
                <a:lnTo>
                  <a:pt x="5260765" y="6226198"/>
                </a:lnTo>
                <a:close/>
                <a:moveTo>
                  <a:pt x="5025470" y="6222160"/>
                </a:moveTo>
                <a:lnTo>
                  <a:pt x="5035381" y="6222160"/>
                </a:lnTo>
                <a:lnTo>
                  <a:pt x="5039400" y="6226198"/>
                </a:lnTo>
                <a:lnTo>
                  <a:pt x="5039400" y="6236069"/>
                </a:lnTo>
                <a:lnTo>
                  <a:pt x="5035381" y="6240109"/>
                </a:lnTo>
                <a:lnTo>
                  <a:pt x="5025470" y="6240109"/>
                </a:lnTo>
                <a:lnTo>
                  <a:pt x="5021451" y="6236069"/>
                </a:lnTo>
                <a:lnTo>
                  <a:pt x="5021451" y="6226198"/>
                </a:lnTo>
                <a:close/>
                <a:moveTo>
                  <a:pt x="4786241" y="6222160"/>
                </a:moveTo>
                <a:lnTo>
                  <a:pt x="4796152" y="6222160"/>
                </a:lnTo>
                <a:lnTo>
                  <a:pt x="4800171" y="6226198"/>
                </a:lnTo>
                <a:lnTo>
                  <a:pt x="4800171" y="6236069"/>
                </a:lnTo>
                <a:lnTo>
                  <a:pt x="4796152" y="6240109"/>
                </a:lnTo>
                <a:lnTo>
                  <a:pt x="4786241" y="6240109"/>
                </a:lnTo>
                <a:lnTo>
                  <a:pt x="4782224" y="6236069"/>
                </a:lnTo>
                <a:lnTo>
                  <a:pt x="4782224" y="6226198"/>
                </a:lnTo>
                <a:close/>
                <a:moveTo>
                  <a:pt x="4546929" y="6222160"/>
                </a:moveTo>
                <a:lnTo>
                  <a:pt x="4556840" y="6222160"/>
                </a:lnTo>
                <a:lnTo>
                  <a:pt x="4560859" y="6226198"/>
                </a:lnTo>
                <a:lnTo>
                  <a:pt x="4560859" y="6236069"/>
                </a:lnTo>
                <a:lnTo>
                  <a:pt x="4556840" y="6240109"/>
                </a:lnTo>
                <a:lnTo>
                  <a:pt x="4546929" y="6240109"/>
                </a:lnTo>
                <a:lnTo>
                  <a:pt x="4542910" y="6236069"/>
                </a:lnTo>
                <a:lnTo>
                  <a:pt x="4542910" y="6226198"/>
                </a:lnTo>
                <a:close/>
                <a:moveTo>
                  <a:pt x="4307612" y="6222160"/>
                </a:moveTo>
                <a:lnTo>
                  <a:pt x="4317523" y="6222160"/>
                </a:lnTo>
                <a:lnTo>
                  <a:pt x="4321543" y="6226198"/>
                </a:lnTo>
                <a:lnTo>
                  <a:pt x="4321543" y="6236069"/>
                </a:lnTo>
                <a:lnTo>
                  <a:pt x="4317523" y="6240109"/>
                </a:lnTo>
                <a:lnTo>
                  <a:pt x="4307612" y="6240109"/>
                </a:lnTo>
                <a:lnTo>
                  <a:pt x="4303595" y="6236069"/>
                </a:lnTo>
                <a:lnTo>
                  <a:pt x="4303595" y="6226198"/>
                </a:lnTo>
                <a:close/>
                <a:moveTo>
                  <a:pt x="4068297" y="6222160"/>
                </a:moveTo>
                <a:lnTo>
                  <a:pt x="4078210" y="6222160"/>
                </a:lnTo>
                <a:lnTo>
                  <a:pt x="4082229" y="6226198"/>
                </a:lnTo>
                <a:lnTo>
                  <a:pt x="4082229" y="6236069"/>
                </a:lnTo>
                <a:lnTo>
                  <a:pt x="4078210" y="6240109"/>
                </a:lnTo>
                <a:lnTo>
                  <a:pt x="4068297" y="6240109"/>
                </a:lnTo>
                <a:lnTo>
                  <a:pt x="4064278" y="6236069"/>
                </a:lnTo>
                <a:lnTo>
                  <a:pt x="4064278" y="6226198"/>
                </a:lnTo>
                <a:close/>
                <a:moveTo>
                  <a:pt x="3828990" y="6222160"/>
                </a:moveTo>
                <a:lnTo>
                  <a:pt x="3838899" y="6222160"/>
                </a:lnTo>
                <a:lnTo>
                  <a:pt x="3842917" y="6226198"/>
                </a:lnTo>
                <a:lnTo>
                  <a:pt x="3842917" y="6236069"/>
                </a:lnTo>
                <a:lnTo>
                  <a:pt x="3838899" y="6240109"/>
                </a:lnTo>
                <a:lnTo>
                  <a:pt x="3828990" y="6240109"/>
                </a:lnTo>
                <a:lnTo>
                  <a:pt x="3824971" y="6236069"/>
                </a:lnTo>
                <a:lnTo>
                  <a:pt x="3824971" y="6226198"/>
                </a:lnTo>
                <a:close/>
                <a:moveTo>
                  <a:pt x="3589676" y="6222160"/>
                </a:moveTo>
                <a:lnTo>
                  <a:pt x="3599585" y="6222160"/>
                </a:lnTo>
                <a:lnTo>
                  <a:pt x="3603604" y="6226198"/>
                </a:lnTo>
                <a:lnTo>
                  <a:pt x="3603604" y="6236069"/>
                </a:lnTo>
                <a:lnTo>
                  <a:pt x="3599585" y="6240109"/>
                </a:lnTo>
                <a:lnTo>
                  <a:pt x="3589676" y="6240109"/>
                </a:lnTo>
                <a:lnTo>
                  <a:pt x="3585657" y="6236069"/>
                </a:lnTo>
                <a:lnTo>
                  <a:pt x="3585657" y="6226198"/>
                </a:lnTo>
                <a:close/>
                <a:moveTo>
                  <a:pt x="3350359" y="6222160"/>
                </a:moveTo>
                <a:lnTo>
                  <a:pt x="3360268" y="6222160"/>
                </a:lnTo>
                <a:lnTo>
                  <a:pt x="3364287" y="6226198"/>
                </a:lnTo>
                <a:lnTo>
                  <a:pt x="3364287" y="6236069"/>
                </a:lnTo>
                <a:lnTo>
                  <a:pt x="3360268" y="6240109"/>
                </a:lnTo>
                <a:lnTo>
                  <a:pt x="3350359" y="6240109"/>
                </a:lnTo>
                <a:lnTo>
                  <a:pt x="3346340" y="6236069"/>
                </a:lnTo>
                <a:lnTo>
                  <a:pt x="3346340" y="6226198"/>
                </a:lnTo>
                <a:close/>
                <a:moveTo>
                  <a:pt x="3111048" y="6222160"/>
                </a:moveTo>
                <a:lnTo>
                  <a:pt x="3120959" y="6222160"/>
                </a:lnTo>
                <a:lnTo>
                  <a:pt x="3124977" y="6226198"/>
                </a:lnTo>
                <a:lnTo>
                  <a:pt x="3124977" y="6236069"/>
                </a:lnTo>
                <a:lnTo>
                  <a:pt x="3120959" y="6240109"/>
                </a:lnTo>
                <a:lnTo>
                  <a:pt x="3111048" y="6240109"/>
                </a:lnTo>
                <a:lnTo>
                  <a:pt x="3107029" y="6236069"/>
                </a:lnTo>
                <a:lnTo>
                  <a:pt x="3107029" y="6226198"/>
                </a:lnTo>
                <a:close/>
                <a:moveTo>
                  <a:pt x="2871737" y="6222160"/>
                </a:moveTo>
                <a:lnTo>
                  <a:pt x="2881646" y="6222160"/>
                </a:lnTo>
                <a:lnTo>
                  <a:pt x="2885666" y="6226198"/>
                </a:lnTo>
                <a:lnTo>
                  <a:pt x="2885666" y="6236069"/>
                </a:lnTo>
                <a:lnTo>
                  <a:pt x="2881646" y="6240109"/>
                </a:lnTo>
                <a:lnTo>
                  <a:pt x="2871737" y="6240109"/>
                </a:lnTo>
                <a:lnTo>
                  <a:pt x="2867717" y="6236069"/>
                </a:lnTo>
                <a:lnTo>
                  <a:pt x="2867717" y="6226198"/>
                </a:lnTo>
                <a:close/>
                <a:moveTo>
                  <a:pt x="2632423" y="6222160"/>
                </a:moveTo>
                <a:lnTo>
                  <a:pt x="2642334" y="6222160"/>
                </a:lnTo>
                <a:lnTo>
                  <a:pt x="2646352" y="6226198"/>
                </a:lnTo>
                <a:lnTo>
                  <a:pt x="2646352" y="6236069"/>
                </a:lnTo>
                <a:lnTo>
                  <a:pt x="2642334" y="6240109"/>
                </a:lnTo>
                <a:lnTo>
                  <a:pt x="2632423" y="6240109"/>
                </a:lnTo>
                <a:lnTo>
                  <a:pt x="2628404" y="6236069"/>
                </a:lnTo>
                <a:lnTo>
                  <a:pt x="2628404" y="6226198"/>
                </a:lnTo>
                <a:close/>
                <a:moveTo>
                  <a:pt x="2393104" y="6222160"/>
                </a:moveTo>
                <a:lnTo>
                  <a:pt x="2403015" y="6222160"/>
                </a:lnTo>
                <a:lnTo>
                  <a:pt x="2407034" y="6226198"/>
                </a:lnTo>
                <a:lnTo>
                  <a:pt x="2407034" y="6236069"/>
                </a:lnTo>
                <a:lnTo>
                  <a:pt x="2403015" y="6240109"/>
                </a:lnTo>
                <a:lnTo>
                  <a:pt x="2393104" y="6240109"/>
                </a:lnTo>
                <a:lnTo>
                  <a:pt x="2389087" y="6236069"/>
                </a:lnTo>
                <a:lnTo>
                  <a:pt x="2389087" y="6226198"/>
                </a:lnTo>
                <a:close/>
                <a:moveTo>
                  <a:pt x="2157818" y="6222160"/>
                </a:moveTo>
                <a:lnTo>
                  <a:pt x="2167728" y="6222160"/>
                </a:lnTo>
                <a:lnTo>
                  <a:pt x="2171746" y="6226198"/>
                </a:lnTo>
                <a:lnTo>
                  <a:pt x="2171746" y="6236069"/>
                </a:lnTo>
                <a:lnTo>
                  <a:pt x="2167728" y="6240109"/>
                </a:lnTo>
                <a:lnTo>
                  <a:pt x="2157818" y="6240109"/>
                </a:lnTo>
                <a:lnTo>
                  <a:pt x="2153799" y="6236069"/>
                </a:lnTo>
                <a:lnTo>
                  <a:pt x="2153799" y="6226198"/>
                </a:lnTo>
                <a:close/>
                <a:moveTo>
                  <a:pt x="1918509" y="6222160"/>
                </a:moveTo>
                <a:lnTo>
                  <a:pt x="1928419" y="6222160"/>
                </a:lnTo>
                <a:lnTo>
                  <a:pt x="1932438" y="6226198"/>
                </a:lnTo>
                <a:lnTo>
                  <a:pt x="1932438" y="6236069"/>
                </a:lnTo>
                <a:lnTo>
                  <a:pt x="1928419" y="6240109"/>
                </a:lnTo>
                <a:lnTo>
                  <a:pt x="1918509" y="6240109"/>
                </a:lnTo>
                <a:lnTo>
                  <a:pt x="1914490" y="6236069"/>
                </a:lnTo>
                <a:lnTo>
                  <a:pt x="1914490" y="6226198"/>
                </a:lnTo>
                <a:close/>
                <a:moveTo>
                  <a:pt x="1679200" y="6222160"/>
                </a:moveTo>
                <a:lnTo>
                  <a:pt x="1689110" y="6222160"/>
                </a:lnTo>
                <a:lnTo>
                  <a:pt x="1693129" y="6226198"/>
                </a:lnTo>
                <a:lnTo>
                  <a:pt x="1693129" y="6236069"/>
                </a:lnTo>
                <a:lnTo>
                  <a:pt x="1689110" y="6240109"/>
                </a:lnTo>
                <a:lnTo>
                  <a:pt x="1679200" y="6240109"/>
                </a:lnTo>
                <a:lnTo>
                  <a:pt x="1675182" y="6236069"/>
                </a:lnTo>
                <a:lnTo>
                  <a:pt x="1675182" y="6226198"/>
                </a:lnTo>
                <a:close/>
                <a:moveTo>
                  <a:pt x="1439885" y="6222160"/>
                </a:moveTo>
                <a:lnTo>
                  <a:pt x="1449795" y="6222160"/>
                </a:lnTo>
                <a:lnTo>
                  <a:pt x="1453814" y="6226198"/>
                </a:lnTo>
                <a:lnTo>
                  <a:pt x="1453814" y="6236069"/>
                </a:lnTo>
                <a:lnTo>
                  <a:pt x="1449795" y="6240109"/>
                </a:lnTo>
                <a:lnTo>
                  <a:pt x="1439885" y="6240109"/>
                </a:lnTo>
                <a:lnTo>
                  <a:pt x="1435866" y="6236069"/>
                </a:lnTo>
                <a:lnTo>
                  <a:pt x="1435866" y="6226198"/>
                </a:lnTo>
                <a:close/>
                <a:moveTo>
                  <a:pt x="1200570" y="6222160"/>
                </a:moveTo>
                <a:lnTo>
                  <a:pt x="1210481" y="6222160"/>
                </a:lnTo>
                <a:lnTo>
                  <a:pt x="1214499" y="6226198"/>
                </a:lnTo>
                <a:lnTo>
                  <a:pt x="1214499" y="6236069"/>
                </a:lnTo>
                <a:lnTo>
                  <a:pt x="1210481" y="6240109"/>
                </a:lnTo>
                <a:lnTo>
                  <a:pt x="1200570" y="6240109"/>
                </a:lnTo>
                <a:lnTo>
                  <a:pt x="1196551" y="6236069"/>
                </a:lnTo>
                <a:lnTo>
                  <a:pt x="1196551" y="6226198"/>
                </a:lnTo>
                <a:close/>
                <a:moveTo>
                  <a:pt x="961258" y="6222160"/>
                </a:moveTo>
                <a:lnTo>
                  <a:pt x="971167" y="6222160"/>
                </a:lnTo>
                <a:lnTo>
                  <a:pt x="975186" y="6226198"/>
                </a:lnTo>
                <a:lnTo>
                  <a:pt x="975186" y="6236069"/>
                </a:lnTo>
                <a:lnTo>
                  <a:pt x="971167" y="6240109"/>
                </a:lnTo>
                <a:lnTo>
                  <a:pt x="961258" y="6240109"/>
                </a:lnTo>
                <a:lnTo>
                  <a:pt x="957239" y="6236069"/>
                </a:lnTo>
                <a:lnTo>
                  <a:pt x="957239" y="6226198"/>
                </a:lnTo>
                <a:close/>
                <a:moveTo>
                  <a:pt x="721959" y="6222160"/>
                </a:moveTo>
                <a:lnTo>
                  <a:pt x="731869" y="6222160"/>
                </a:lnTo>
                <a:lnTo>
                  <a:pt x="735888" y="6226198"/>
                </a:lnTo>
                <a:lnTo>
                  <a:pt x="735888" y="6236069"/>
                </a:lnTo>
                <a:lnTo>
                  <a:pt x="731869" y="6240109"/>
                </a:lnTo>
                <a:lnTo>
                  <a:pt x="721959" y="6240109"/>
                </a:lnTo>
                <a:lnTo>
                  <a:pt x="717940" y="6236069"/>
                </a:lnTo>
                <a:lnTo>
                  <a:pt x="717940" y="6226198"/>
                </a:lnTo>
                <a:close/>
                <a:moveTo>
                  <a:pt x="482646" y="6222160"/>
                </a:moveTo>
                <a:lnTo>
                  <a:pt x="492557" y="6222160"/>
                </a:lnTo>
                <a:lnTo>
                  <a:pt x="496576" y="6226198"/>
                </a:lnTo>
                <a:lnTo>
                  <a:pt x="496576" y="6236069"/>
                </a:lnTo>
                <a:lnTo>
                  <a:pt x="492557" y="6240109"/>
                </a:lnTo>
                <a:lnTo>
                  <a:pt x="482646" y="6240109"/>
                </a:lnTo>
                <a:lnTo>
                  <a:pt x="478627" y="6236069"/>
                </a:lnTo>
                <a:lnTo>
                  <a:pt x="478627" y="6226198"/>
                </a:lnTo>
                <a:close/>
                <a:moveTo>
                  <a:pt x="243333" y="6222160"/>
                </a:moveTo>
                <a:lnTo>
                  <a:pt x="253243" y="6222160"/>
                </a:lnTo>
                <a:lnTo>
                  <a:pt x="257263" y="6226198"/>
                </a:lnTo>
                <a:lnTo>
                  <a:pt x="257263" y="6236069"/>
                </a:lnTo>
                <a:lnTo>
                  <a:pt x="253243" y="6240109"/>
                </a:lnTo>
                <a:lnTo>
                  <a:pt x="243333" y="6240109"/>
                </a:lnTo>
                <a:lnTo>
                  <a:pt x="239314" y="6236069"/>
                </a:lnTo>
                <a:lnTo>
                  <a:pt x="239314" y="6226198"/>
                </a:lnTo>
                <a:close/>
                <a:moveTo>
                  <a:pt x="4020" y="6222160"/>
                </a:moveTo>
                <a:lnTo>
                  <a:pt x="13930" y="6222160"/>
                </a:lnTo>
                <a:lnTo>
                  <a:pt x="17949" y="6226198"/>
                </a:lnTo>
                <a:lnTo>
                  <a:pt x="17949" y="6236069"/>
                </a:lnTo>
                <a:lnTo>
                  <a:pt x="13930" y="6240109"/>
                </a:lnTo>
                <a:lnTo>
                  <a:pt x="4020" y="6240109"/>
                </a:lnTo>
                <a:lnTo>
                  <a:pt x="1" y="6236069"/>
                </a:lnTo>
                <a:lnTo>
                  <a:pt x="1" y="6226198"/>
                </a:lnTo>
                <a:close/>
                <a:moveTo>
                  <a:pt x="2157818" y="5982881"/>
                </a:moveTo>
                <a:lnTo>
                  <a:pt x="2167728" y="5982881"/>
                </a:lnTo>
                <a:lnTo>
                  <a:pt x="2171747" y="5986919"/>
                </a:lnTo>
                <a:lnTo>
                  <a:pt x="2171747" y="5996790"/>
                </a:lnTo>
                <a:lnTo>
                  <a:pt x="2167728" y="6000829"/>
                </a:lnTo>
                <a:lnTo>
                  <a:pt x="2157818" y="6000829"/>
                </a:lnTo>
                <a:lnTo>
                  <a:pt x="2153799" y="5996790"/>
                </a:lnTo>
                <a:lnTo>
                  <a:pt x="2153799" y="5986919"/>
                </a:lnTo>
                <a:close/>
                <a:moveTo>
                  <a:pt x="1918509" y="5982881"/>
                </a:moveTo>
                <a:lnTo>
                  <a:pt x="1928420" y="5982881"/>
                </a:lnTo>
                <a:lnTo>
                  <a:pt x="1932438" y="5986919"/>
                </a:lnTo>
                <a:lnTo>
                  <a:pt x="1932438" y="5996790"/>
                </a:lnTo>
                <a:lnTo>
                  <a:pt x="1928420" y="6000829"/>
                </a:lnTo>
                <a:lnTo>
                  <a:pt x="1918509" y="6000829"/>
                </a:lnTo>
                <a:lnTo>
                  <a:pt x="1914490" y="5996790"/>
                </a:lnTo>
                <a:lnTo>
                  <a:pt x="1914490" y="5986919"/>
                </a:lnTo>
                <a:close/>
                <a:moveTo>
                  <a:pt x="1679201" y="5982881"/>
                </a:moveTo>
                <a:lnTo>
                  <a:pt x="1689111" y="5982881"/>
                </a:lnTo>
                <a:lnTo>
                  <a:pt x="1693129" y="5986919"/>
                </a:lnTo>
                <a:lnTo>
                  <a:pt x="1693129" y="5996790"/>
                </a:lnTo>
                <a:lnTo>
                  <a:pt x="1689111" y="6000829"/>
                </a:lnTo>
                <a:lnTo>
                  <a:pt x="1679201" y="6000829"/>
                </a:lnTo>
                <a:lnTo>
                  <a:pt x="1675182" y="5996790"/>
                </a:lnTo>
                <a:lnTo>
                  <a:pt x="1675182" y="5986919"/>
                </a:lnTo>
                <a:close/>
                <a:moveTo>
                  <a:pt x="1439886" y="5982881"/>
                </a:moveTo>
                <a:lnTo>
                  <a:pt x="1449796" y="5982881"/>
                </a:lnTo>
                <a:lnTo>
                  <a:pt x="1453814" y="5986919"/>
                </a:lnTo>
                <a:lnTo>
                  <a:pt x="1453814" y="5996790"/>
                </a:lnTo>
                <a:lnTo>
                  <a:pt x="1449796" y="6000829"/>
                </a:lnTo>
                <a:lnTo>
                  <a:pt x="1439886" y="6000829"/>
                </a:lnTo>
                <a:lnTo>
                  <a:pt x="1435866" y="5996790"/>
                </a:lnTo>
                <a:lnTo>
                  <a:pt x="1435866" y="5986919"/>
                </a:lnTo>
                <a:close/>
                <a:moveTo>
                  <a:pt x="1200571" y="5982881"/>
                </a:moveTo>
                <a:lnTo>
                  <a:pt x="1210481" y="5982881"/>
                </a:lnTo>
                <a:lnTo>
                  <a:pt x="1214500" y="5986919"/>
                </a:lnTo>
                <a:lnTo>
                  <a:pt x="1214500" y="5996790"/>
                </a:lnTo>
                <a:lnTo>
                  <a:pt x="1210481" y="6000829"/>
                </a:lnTo>
                <a:lnTo>
                  <a:pt x="1200571" y="6000829"/>
                </a:lnTo>
                <a:lnTo>
                  <a:pt x="1196553" y="5996790"/>
                </a:lnTo>
                <a:lnTo>
                  <a:pt x="1196553" y="5986919"/>
                </a:lnTo>
                <a:close/>
                <a:moveTo>
                  <a:pt x="961258" y="5982881"/>
                </a:moveTo>
                <a:lnTo>
                  <a:pt x="971168" y="5982881"/>
                </a:lnTo>
                <a:lnTo>
                  <a:pt x="975187" y="5986919"/>
                </a:lnTo>
                <a:lnTo>
                  <a:pt x="975187" y="5996790"/>
                </a:lnTo>
                <a:lnTo>
                  <a:pt x="971168" y="6000829"/>
                </a:lnTo>
                <a:lnTo>
                  <a:pt x="961258" y="6000829"/>
                </a:lnTo>
                <a:lnTo>
                  <a:pt x="957239" y="5996790"/>
                </a:lnTo>
                <a:lnTo>
                  <a:pt x="957239" y="5986919"/>
                </a:lnTo>
                <a:close/>
                <a:moveTo>
                  <a:pt x="9572438" y="5982829"/>
                </a:moveTo>
                <a:lnTo>
                  <a:pt x="9582349" y="5982829"/>
                </a:lnTo>
                <a:lnTo>
                  <a:pt x="9586368" y="5986868"/>
                </a:lnTo>
                <a:lnTo>
                  <a:pt x="9586368" y="5996739"/>
                </a:lnTo>
                <a:lnTo>
                  <a:pt x="9582349" y="6000778"/>
                </a:lnTo>
                <a:lnTo>
                  <a:pt x="9572438" y="6000778"/>
                </a:lnTo>
                <a:lnTo>
                  <a:pt x="9568419" y="5996739"/>
                </a:lnTo>
                <a:lnTo>
                  <a:pt x="9568419" y="5986868"/>
                </a:lnTo>
                <a:close/>
                <a:moveTo>
                  <a:pt x="9333125" y="5982829"/>
                </a:moveTo>
                <a:lnTo>
                  <a:pt x="9343036" y="5982829"/>
                </a:lnTo>
                <a:lnTo>
                  <a:pt x="9347055" y="5986868"/>
                </a:lnTo>
                <a:lnTo>
                  <a:pt x="9347055" y="5996739"/>
                </a:lnTo>
                <a:lnTo>
                  <a:pt x="9343036" y="6000778"/>
                </a:lnTo>
                <a:lnTo>
                  <a:pt x="9333125" y="6000778"/>
                </a:lnTo>
                <a:lnTo>
                  <a:pt x="9329106" y="5996739"/>
                </a:lnTo>
                <a:lnTo>
                  <a:pt x="9329106" y="5986868"/>
                </a:lnTo>
                <a:close/>
                <a:moveTo>
                  <a:pt x="9093811" y="5982829"/>
                </a:moveTo>
                <a:lnTo>
                  <a:pt x="9103722" y="5982829"/>
                </a:lnTo>
                <a:lnTo>
                  <a:pt x="9107741" y="5986868"/>
                </a:lnTo>
                <a:lnTo>
                  <a:pt x="9107741" y="5996739"/>
                </a:lnTo>
                <a:lnTo>
                  <a:pt x="9103722" y="6000778"/>
                </a:lnTo>
                <a:lnTo>
                  <a:pt x="9093811" y="6000778"/>
                </a:lnTo>
                <a:lnTo>
                  <a:pt x="9089792" y="5996739"/>
                </a:lnTo>
                <a:lnTo>
                  <a:pt x="9089792" y="5986868"/>
                </a:lnTo>
                <a:close/>
                <a:moveTo>
                  <a:pt x="8854496" y="5982829"/>
                </a:moveTo>
                <a:lnTo>
                  <a:pt x="8864407" y="5982829"/>
                </a:lnTo>
                <a:lnTo>
                  <a:pt x="8868426" y="5986868"/>
                </a:lnTo>
                <a:lnTo>
                  <a:pt x="8868426" y="5996739"/>
                </a:lnTo>
                <a:lnTo>
                  <a:pt x="8864407" y="6000778"/>
                </a:lnTo>
                <a:lnTo>
                  <a:pt x="8854496" y="6000778"/>
                </a:lnTo>
                <a:lnTo>
                  <a:pt x="8850477" y="5996739"/>
                </a:lnTo>
                <a:lnTo>
                  <a:pt x="8850477" y="5986868"/>
                </a:lnTo>
                <a:close/>
                <a:moveTo>
                  <a:pt x="8615184" y="5982829"/>
                </a:moveTo>
                <a:lnTo>
                  <a:pt x="8625095" y="5982829"/>
                </a:lnTo>
                <a:lnTo>
                  <a:pt x="8629114" y="5986868"/>
                </a:lnTo>
                <a:lnTo>
                  <a:pt x="8629114" y="5996739"/>
                </a:lnTo>
                <a:lnTo>
                  <a:pt x="8625095" y="6000778"/>
                </a:lnTo>
                <a:lnTo>
                  <a:pt x="8615184" y="6000778"/>
                </a:lnTo>
                <a:lnTo>
                  <a:pt x="8611165" y="5996739"/>
                </a:lnTo>
                <a:lnTo>
                  <a:pt x="8611165" y="5986868"/>
                </a:lnTo>
                <a:close/>
                <a:moveTo>
                  <a:pt x="8375869" y="5982829"/>
                </a:moveTo>
                <a:lnTo>
                  <a:pt x="8385779" y="5982829"/>
                </a:lnTo>
                <a:lnTo>
                  <a:pt x="8389799" y="5986868"/>
                </a:lnTo>
                <a:lnTo>
                  <a:pt x="8389799" y="5996739"/>
                </a:lnTo>
                <a:lnTo>
                  <a:pt x="8385779" y="6000778"/>
                </a:lnTo>
                <a:lnTo>
                  <a:pt x="8375869" y="6000778"/>
                </a:lnTo>
                <a:lnTo>
                  <a:pt x="8371850" y="5996739"/>
                </a:lnTo>
                <a:lnTo>
                  <a:pt x="8371850" y="5986868"/>
                </a:lnTo>
                <a:close/>
                <a:moveTo>
                  <a:pt x="8136553" y="5982829"/>
                </a:moveTo>
                <a:lnTo>
                  <a:pt x="8146464" y="5982829"/>
                </a:lnTo>
                <a:lnTo>
                  <a:pt x="8150483" y="5986868"/>
                </a:lnTo>
                <a:lnTo>
                  <a:pt x="8150483" y="5996739"/>
                </a:lnTo>
                <a:lnTo>
                  <a:pt x="8146464" y="6000778"/>
                </a:lnTo>
                <a:lnTo>
                  <a:pt x="8136553" y="6000778"/>
                </a:lnTo>
                <a:lnTo>
                  <a:pt x="8132534" y="5996739"/>
                </a:lnTo>
                <a:lnTo>
                  <a:pt x="8132534" y="5986868"/>
                </a:lnTo>
                <a:close/>
                <a:moveTo>
                  <a:pt x="7897241" y="5982829"/>
                </a:moveTo>
                <a:lnTo>
                  <a:pt x="7907151" y="5982829"/>
                </a:lnTo>
                <a:lnTo>
                  <a:pt x="7911170" y="5986868"/>
                </a:lnTo>
                <a:lnTo>
                  <a:pt x="7911170" y="5996739"/>
                </a:lnTo>
                <a:lnTo>
                  <a:pt x="7907151" y="6000778"/>
                </a:lnTo>
                <a:lnTo>
                  <a:pt x="7897241" y="6000778"/>
                </a:lnTo>
                <a:lnTo>
                  <a:pt x="7893222" y="5996739"/>
                </a:lnTo>
                <a:lnTo>
                  <a:pt x="7893222" y="5986868"/>
                </a:lnTo>
                <a:close/>
                <a:moveTo>
                  <a:pt x="7657926" y="5982829"/>
                </a:moveTo>
                <a:lnTo>
                  <a:pt x="7667836" y="5982829"/>
                </a:lnTo>
                <a:lnTo>
                  <a:pt x="7671855" y="5986868"/>
                </a:lnTo>
                <a:lnTo>
                  <a:pt x="7671855" y="5996739"/>
                </a:lnTo>
                <a:lnTo>
                  <a:pt x="7667836" y="6000778"/>
                </a:lnTo>
                <a:lnTo>
                  <a:pt x="7657926" y="6000778"/>
                </a:lnTo>
                <a:lnTo>
                  <a:pt x="7653906" y="5996739"/>
                </a:lnTo>
                <a:lnTo>
                  <a:pt x="7653906" y="5986868"/>
                </a:lnTo>
                <a:close/>
                <a:moveTo>
                  <a:pt x="7418611" y="5982829"/>
                </a:moveTo>
                <a:lnTo>
                  <a:pt x="7428521" y="5982829"/>
                </a:lnTo>
                <a:lnTo>
                  <a:pt x="7432540" y="5986868"/>
                </a:lnTo>
                <a:lnTo>
                  <a:pt x="7432540" y="5996739"/>
                </a:lnTo>
                <a:lnTo>
                  <a:pt x="7428521" y="6000778"/>
                </a:lnTo>
                <a:lnTo>
                  <a:pt x="7418611" y="6000778"/>
                </a:lnTo>
                <a:lnTo>
                  <a:pt x="7414592" y="5996739"/>
                </a:lnTo>
                <a:lnTo>
                  <a:pt x="7414592" y="5986868"/>
                </a:lnTo>
                <a:close/>
                <a:moveTo>
                  <a:pt x="7179298" y="5982829"/>
                </a:moveTo>
                <a:lnTo>
                  <a:pt x="7189209" y="5982829"/>
                </a:lnTo>
                <a:lnTo>
                  <a:pt x="7193228" y="5986868"/>
                </a:lnTo>
                <a:lnTo>
                  <a:pt x="7193228" y="5996739"/>
                </a:lnTo>
                <a:lnTo>
                  <a:pt x="7189209" y="6000778"/>
                </a:lnTo>
                <a:lnTo>
                  <a:pt x="7179298" y="6000778"/>
                </a:lnTo>
                <a:lnTo>
                  <a:pt x="7175279" y="5996739"/>
                </a:lnTo>
                <a:lnTo>
                  <a:pt x="7175279" y="5986868"/>
                </a:lnTo>
                <a:close/>
                <a:moveTo>
                  <a:pt x="6939983" y="5982829"/>
                </a:moveTo>
                <a:lnTo>
                  <a:pt x="6949894" y="5982829"/>
                </a:lnTo>
                <a:lnTo>
                  <a:pt x="6953913" y="5986868"/>
                </a:lnTo>
                <a:lnTo>
                  <a:pt x="6953913" y="5996739"/>
                </a:lnTo>
                <a:lnTo>
                  <a:pt x="6949894" y="6000778"/>
                </a:lnTo>
                <a:lnTo>
                  <a:pt x="6939983" y="6000778"/>
                </a:lnTo>
                <a:lnTo>
                  <a:pt x="6935964" y="5996739"/>
                </a:lnTo>
                <a:lnTo>
                  <a:pt x="6935964" y="5986868"/>
                </a:lnTo>
                <a:close/>
                <a:moveTo>
                  <a:pt x="6700670" y="5982829"/>
                </a:moveTo>
                <a:lnTo>
                  <a:pt x="6710581" y="5982829"/>
                </a:lnTo>
                <a:lnTo>
                  <a:pt x="6714600" y="5986868"/>
                </a:lnTo>
                <a:lnTo>
                  <a:pt x="6714600" y="5996739"/>
                </a:lnTo>
                <a:lnTo>
                  <a:pt x="6710581" y="6000778"/>
                </a:lnTo>
                <a:lnTo>
                  <a:pt x="6700670" y="6000778"/>
                </a:lnTo>
                <a:lnTo>
                  <a:pt x="6696651" y="5996739"/>
                </a:lnTo>
                <a:lnTo>
                  <a:pt x="6696651" y="5986868"/>
                </a:lnTo>
                <a:close/>
                <a:moveTo>
                  <a:pt x="6461356" y="5982829"/>
                </a:moveTo>
                <a:lnTo>
                  <a:pt x="6471266" y="5982829"/>
                </a:lnTo>
                <a:lnTo>
                  <a:pt x="6475285" y="5986868"/>
                </a:lnTo>
                <a:lnTo>
                  <a:pt x="6475285" y="5996739"/>
                </a:lnTo>
                <a:lnTo>
                  <a:pt x="6471266" y="6000778"/>
                </a:lnTo>
                <a:lnTo>
                  <a:pt x="6461356" y="6000778"/>
                </a:lnTo>
                <a:lnTo>
                  <a:pt x="6457337" y="5996739"/>
                </a:lnTo>
                <a:lnTo>
                  <a:pt x="6457337" y="5986868"/>
                </a:lnTo>
                <a:close/>
                <a:moveTo>
                  <a:pt x="6222042" y="5982829"/>
                </a:moveTo>
                <a:lnTo>
                  <a:pt x="6231952" y="5982829"/>
                </a:lnTo>
                <a:lnTo>
                  <a:pt x="6235971" y="5986868"/>
                </a:lnTo>
                <a:lnTo>
                  <a:pt x="6235971" y="5996739"/>
                </a:lnTo>
                <a:lnTo>
                  <a:pt x="6231952" y="6000778"/>
                </a:lnTo>
                <a:lnTo>
                  <a:pt x="6222042" y="6000778"/>
                </a:lnTo>
                <a:lnTo>
                  <a:pt x="6218023" y="5996739"/>
                </a:lnTo>
                <a:lnTo>
                  <a:pt x="6218023" y="5986868"/>
                </a:lnTo>
                <a:close/>
                <a:moveTo>
                  <a:pt x="5982729" y="5982829"/>
                </a:moveTo>
                <a:lnTo>
                  <a:pt x="5992639" y="5982829"/>
                </a:lnTo>
                <a:lnTo>
                  <a:pt x="5996658" y="5986868"/>
                </a:lnTo>
                <a:lnTo>
                  <a:pt x="5996658" y="5996739"/>
                </a:lnTo>
                <a:lnTo>
                  <a:pt x="5992639" y="6000778"/>
                </a:lnTo>
                <a:lnTo>
                  <a:pt x="5982729" y="6000778"/>
                </a:lnTo>
                <a:lnTo>
                  <a:pt x="5978710" y="5996739"/>
                </a:lnTo>
                <a:lnTo>
                  <a:pt x="5978710" y="5986868"/>
                </a:lnTo>
                <a:close/>
                <a:moveTo>
                  <a:pt x="5743412" y="5982829"/>
                </a:moveTo>
                <a:lnTo>
                  <a:pt x="5753323" y="5982829"/>
                </a:lnTo>
                <a:lnTo>
                  <a:pt x="5757342" y="5986868"/>
                </a:lnTo>
                <a:lnTo>
                  <a:pt x="5757342" y="5996739"/>
                </a:lnTo>
                <a:lnTo>
                  <a:pt x="5753323" y="6000778"/>
                </a:lnTo>
                <a:lnTo>
                  <a:pt x="5743412" y="6000778"/>
                </a:lnTo>
                <a:lnTo>
                  <a:pt x="5739393" y="5996739"/>
                </a:lnTo>
                <a:lnTo>
                  <a:pt x="5739393" y="5986868"/>
                </a:lnTo>
                <a:close/>
                <a:moveTo>
                  <a:pt x="5504099" y="5982829"/>
                </a:moveTo>
                <a:lnTo>
                  <a:pt x="5514010" y="5982829"/>
                </a:lnTo>
                <a:lnTo>
                  <a:pt x="5518029" y="5986868"/>
                </a:lnTo>
                <a:lnTo>
                  <a:pt x="5518029" y="5996739"/>
                </a:lnTo>
                <a:lnTo>
                  <a:pt x="5514010" y="6000778"/>
                </a:lnTo>
                <a:lnTo>
                  <a:pt x="5504099" y="6000778"/>
                </a:lnTo>
                <a:lnTo>
                  <a:pt x="5500080" y="5996739"/>
                </a:lnTo>
                <a:lnTo>
                  <a:pt x="5500080" y="5986868"/>
                </a:lnTo>
                <a:close/>
                <a:moveTo>
                  <a:pt x="5264784" y="5982829"/>
                </a:moveTo>
                <a:lnTo>
                  <a:pt x="5274694" y="5982829"/>
                </a:lnTo>
                <a:lnTo>
                  <a:pt x="5278713" y="5986868"/>
                </a:lnTo>
                <a:lnTo>
                  <a:pt x="5278713" y="5996739"/>
                </a:lnTo>
                <a:lnTo>
                  <a:pt x="5274694" y="6000778"/>
                </a:lnTo>
                <a:lnTo>
                  <a:pt x="5264784" y="6000778"/>
                </a:lnTo>
                <a:lnTo>
                  <a:pt x="5260765" y="5996739"/>
                </a:lnTo>
                <a:lnTo>
                  <a:pt x="5260765" y="5986868"/>
                </a:lnTo>
                <a:close/>
                <a:moveTo>
                  <a:pt x="5025470" y="5982829"/>
                </a:moveTo>
                <a:lnTo>
                  <a:pt x="5035381" y="5982829"/>
                </a:lnTo>
                <a:lnTo>
                  <a:pt x="5039400" y="5986868"/>
                </a:lnTo>
                <a:lnTo>
                  <a:pt x="5039400" y="5996739"/>
                </a:lnTo>
                <a:lnTo>
                  <a:pt x="5035381" y="6000778"/>
                </a:lnTo>
                <a:lnTo>
                  <a:pt x="5025470" y="6000778"/>
                </a:lnTo>
                <a:lnTo>
                  <a:pt x="5021451" y="5996739"/>
                </a:lnTo>
                <a:lnTo>
                  <a:pt x="5021451" y="5986868"/>
                </a:lnTo>
                <a:close/>
                <a:moveTo>
                  <a:pt x="4786241" y="5982829"/>
                </a:moveTo>
                <a:lnTo>
                  <a:pt x="4796152" y="5982829"/>
                </a:lnTo>
                <a:lnTo>
                  <a:pt x="4800171" y="5986868"/>
                </a:lnTo>
                <a:lnTo>
                  <a:pt x="4800171" y="5996739"/>
                </a:lnTo>
                <a:lnTo>
                  <a:pt x="4796152" y="6000778"/>
                </a:lnTo>
                <a:lnTo>
                  <a:pt x="4786241" y="6000778"/>
                </a:lnTo>
                <a:lnTo>
                  <a:pt x="4782224" y="5996739"/>
                </a:lnTo>
                <a:lnTo>
                  <a:pt x="4782224" y="5986868"/>
                </a:lnTo>
                <a:close/>
                <a:moveTo>
                  <a:pt x="4546929" y="5982829"/>
                </a:moveTo>
                <a:lnTo>
                  <a:pt x="4556840" y="5982829"/>
                </a:lnTo>
                <a:lnTo>
                  <a:pt x="4560859" y="5986868"/>
                </a:lnTo>
                <a:lnTo>
                  <a:pt x="4560859" y="5996739"/>
                </a:lnTo>
                <a:lnTo>
                  <a:pt x="4556840" y="6000778"/>
                </a:lnTo>
                <a:lnTo>
                  <a:pt x="4546929" y="6000778"/>
                </a:lnTo>
                <a:lnTo>
                  <a:pt x="4542910" y="5996739"/>
                </a:lnTo>
                <a:lnTo>
                  <a:pt x="4542910" y="5986868"/>
                </a:lnTo>
                <a:close/>
                <a:moveTo>
                  <a:pt x="4307612" y="5982829"/>
                </a:moveTo>
                <a:lnTo>
                  <a:pt x="4317523" y="5982829"/>
                </a:lnTo>
                <a:lnTo>
                  <a:pt x="4321543" y="5986868"/>
                </a:lnTo>
                <a:lnTo>
                  <a:pt x="4321543" y="5996739"/>
                </a:lnTo>
                <a:lnTo>
                  <a:pt x="4317523" y="6000778"/>
                </a:lnTo>
                <a:lnTo>
                  <a:pt x="4307612" y="6000778"/>
                </a:lnTo>
                <a:lnTo>
                  <a:pt x="4303595" y="5996739"/>
                </a:lnTo>
                <a:lnTo>
                  <a:pt x="4303595" y="5986868"/>
                </a:lnTo>
                <a:close/>
                <a:moveTo>
                  <a:pt x="4068297" y="5982829"/>
                </a:moveTo>
                <a:lnTo>
                  <a:pt x="4078210" y="5982829"/>
                </a:lnTo>
                <a:lnTo>
                  <a:pt x="4082229" y="5986868"/>
                </a:lnTo>
                <a:lnTo>
                  <a:pt x="4082229" y="5996739"/>
                </a:lnTo>
                <a:lnTo>
                  <a:pt x="4078210" y="6000778"/>
                </a:lnTo>
                <a:lnTo>
                  <a:pt x="4068297" y="6000778"/>
                </a:lnTo>
                <a:lnTo>
                  <a:pt x="4064278" y="5996739"/>
                </a:lnTo>
                <a:lnTo>
                  <a:pt x="4064278" y="5986868"/>
                </a:lnTo>
                <a:close/>
                <a:moveTo>
                  <a:pt x="3828990" y="5982829"/>
                </a:moveTo>
                <a:lnTo>
                  <a:pt x="3838899" y="5982829"/>
                </a:lnTo>
                <a:lnTo>
                  <a:pt x="3842917" y="5986868"/>
                </a:lnTo>
                <a:lnTo>
                  <a:pt x="3842917" y="5996739"/>
                </a:lnTo>
                <a:lnTo>
                  <a:pt x="3838899" y="6000778"/>
                </a:lnTo>
                <a:lnTo>
                  <a:pt x="3828990" y="6000778"/>
                </a:lnTo>
                <a:lnTo>
                  <a:pt x="3824971" y="5996739"/>
                </a:lnTo>
                <a:lnTo>
                  <a:pt x="3824971" y="5986868"/>
                </a:lnTo>
                <a:close/>
                <a:moveTo>
                  <a:pt x="3589676" y="5982829"/>
                </a:moveTo>
                <a:lnTo>
                  <a:pt x="3599585" y="5982829"/>
                </a:lnTo>
                <a:lnTo>
                  <a:pt x="3603604" y="5986868"/>
                </a:lnTo>
                <a:lnTo>
                  <a:pt x="3603604" y="5996739"/>
                </a:lnTo>
                <a:lnTo>
                  <a:pt x="3599585" y="6000778"/>
                </a:lnTo>
                <a:lnTo>
                  <a:pt x="3589676" y="6000778"/>
                </a:lnTo>
                <a:lnTo>
                  <a:pt x="3585657" y="5996739"/>
                </a:lnTo>
                <a:lnTo>
                  <a:pt x="3585657" y="5986868"/>
                </a:lnTo>
                <a:close/>
                <a:moveTo>
                  <a:pt x="3350359" y="5982829"/>
                </a:moveTo>
                <a:lnTo>
                  <a:pt x="3360268" y="5982829"/>
                </a:lnTo>
                <a:lnTo>
                  <a:pt x="3364287" y="5986868"/>
                </a:lnTo>
                <a:lnTo>
                  <a:pt x="3364287" y="5996739"/>
                </a:lnTo>
                <a:lnTo>
                  <a:pt x="3360268" y="6000778"/>
                </a:lnTo>
                <a:lnTo>
                  <a:pt x="3350359" y="6000778"/>
                </a:lnTo>
                <a:lnTo>
                  <a:pt x="3346340" y="5996739"/>
                </a:lnTo>
                <a:lnTo>
                  <a:pt x="3346340" y="5986868"/>
                </a:lnTo>
                <a:close/>
                <a:moveTo>
                  <a:pt x="3111048" y="5982829"/>
                </a:moveTo>
                <a:lnTo>
                  <a:pt x="3120959" y="5982829"/>
                </a:lnTo>
                <a:lnTo>
                  <a:pt x="3124977" y="5986868"/>
                </a:lnTo>
                <a:lnTo>
                  <a:pt x="3124977" y="5996739"/>
                </a:lnTo>
                <a:lnTo>
                  <a:pt x="3120959" y="6000778"/>
                </a:lnTo>
                <a:lnTo>
                  <a:pt x="3111048" y="6000778"/>
                </a:lnTo>
                <a:lnTo>
                  <a:pt x="3107029" y="5996739"/>
                </a:lnTo>
                <a:lnTo>
                  <a:pt x="3107029" y="5986868"/>
                </a:lnTo>
                <a:close/>
                <a:moveTo>
                  <a:pt x="2871737" y="5982829"/>
                </a:moveTo>
                <a:lnTo>
                  <a:pt x="2881646" y="5982829"/>
                </a:lnTo>
                <a:lnTo>
                  <a:pt x="2885666" y="5986868"/>
                </a:lnTo>
                <a:lnTo>
                  <a:pt x="2885666" y="5996739"/>
                </a:lnTo>
                <a:lnTo>
                  <a:pt x="2881646" y="6000778"/>
                </a:lnTo>
                <a:lnTo>
                  <a:pt x="2871737" y="6000778"/>
                </a:lnTo>
                <a:lnTo>
                  <a:pt x="2867717" y="5996739"/>
                </a:lnTo>
                <a:lnTo>
                  <a:pt x="2867717" y="5986868"/>
                </a:lnTo>
                <a:close/>
                <a:moveTo>
                  <a:pt x="2632423" y="5982829"/>
                </a:moveTo>
                <a:lnTo>
                  <a:pt x="2642334" y="5982829"/>
                </a:lnTo>
                <a:lnTo>
                  <a:pt x="2646352" y="5986868"/>
                </a:lnTo>
                <a:lnTo>
                  <a:pt x="2646352" y="5996739"/>
                </a:lnTo>
                <a:lnTo>
                  <a:pt x="2642334" y="6000778"/>
                </a:lnTo>
                <a:lnTo>
                  <a:pt x="2632423" y="6000778"/>
                </a:lnTo>
                <a:lnTo>
                  <a:pt x="2628404" y="5996739"/>
                </a:lnTo>
                <a:lnTo>
                  <a:pt x="2628404" y="5986868"/>
                </a:lnTo>
                <a:close/>
                <a:moveTo>
                  <a:pt x="2393104" y="5982829"/>
                </a:moveTo>
                <a:lnTo>
                  <a:pt x="2403015" y="5982829"/>
                </a:lnTo>
                <a:lnTo>
                  <a:pt x="2407034" y="5986868"/>
                </a:lnTo>
                <a:lnTo>
                  <a:pt x="2407034" y="5996739"/>
                </a:lnTo>
                <a:lnTo>
                  <a:pt x="2403015" y="6000778"/>
                </a:lnTo>
                <a:lnTo>
                  <a:pt x="2393104" y="6000778"/>
                </a:lnTo>
                <a:lnTo>
                  <a:pt x="2389087" y="5996739"/>
                </a:lnTo>
                <a:lnTo>
                  <a:pt x="2389087" y="5986868"/>
                </a:lnTo>
                <a:close/>
                <a:moveTo>
                  <a:pt x="721960" y="5982829"/>
                </a:moveTo>
                <a:lnTo>
                  <a:pt x="731869" y="5982829"/>
                </a:lnTo>
                <a:lnTo>
                  <a:pt x="735888" y="5986868"/>
                </a:lnTo>
                <a:lnTo>
                  <a:pt x="735888" y="5996739"/>
                </a:lnTo>
                <a:lnTo>
                  <a:pt x="731869" y="6000778"/>
                </a:lnTo>
                <a:lnTo>
                  <a:pt x="721960" y="6000778"/>
                </a:lnTo>
                <a:lnTo>
                  <a:pt x="717940" y="5996739"/>
                </a:lnTo>
                <a:lnTo>
                  <a:pt x="717940" y="5986868"/>
                </a:lnTo>
                <a:close/>
                <a:moveTo>
                  <a:pt x="482647" y="5982829"/>
                </a:moveTo>
                <a:lnTo>
                  <a:pt x="492557" y="5982829"/>
                </a:lnTo>
                <a:lnTo>
                  <a:pt x="496576" y="5986868"/>
                </a:lnTo>
                <a:lnTo>
                  <a:pt x="496576" y="5996739"/>
                </a:lnTo>
                <a:lnTo>
                  <a:pt x="492557" y="6000778"/>
                </a:lnTo>
                <a:lnTo>
                  <a:pt x="482647" y="6000778"/>
                </a:lnTo>
                <a:lnTo>
                  <a:pt x="478628" y="5996739"/>
                </a:lnTo>
                <a:lnTo>
                  <a:pt x="478628" y="5986868"/>
                </a:lnTo>
                <a:close/>
                <a:moveTo>
                  <a:pt x="243334" y="5982829"/>
                </a:moveTo>
                <a:lnTo>
                  <a:pt x="253244" y="5982829"/>
                </a:lnTo>
                <a:lnTo>
                  <a:pt x="257263" y="5986868"/>
                </a:lnTo>
                <a:lnTo>
                  <a:pt x="257263" y="5996739"/>
                </a:lnTo>
                <a:lnTo>
                  <a:pt x="253244" y="6000778"/>
                </a:lnTo>
                <a:lnTo>
                  <a:pt x="243334" y="6000778"/>
                </a:lnTo>
                <a:lnTo>
                  <a:pt x="239315" y="5996739"/>
                </a:lnTo>
                <a:lnTo>
                  <a:pt x="239315" y="5986868"/>
                </a:lnTo>
                <a:close/>
                <a:moveTo>
                  <a:pt x="4021" y="5982829"/>
                </a:moveTo>
                <a:lnTo>
                  <a:pt x="13931" y="5982829"/>
                </a:lnTo>
                <a:lnTo>
                  <a:pt x="17950" y="5986868"/>
                </a:lnTo>
                <a:lnTo>
                  <a:pt x="17950" y="5996739"/>
                </a:lnTo>
                <a:lnTo>
                  <a:pt x="13931" y="6000778"/>
                </a:lnTo>
                <a:lnTo>
                  <a:pt x="4021" y="6000778"/>
                </a:lnTo>
                <a:lnTo>
                  <a:pt x="1" y="5996739"/>
                </a:lnTo>
                <a:lnTo>
                  <a:pt x="1" y="5986868"/>
                </a:lnTo>
                <a:close/>
                <a:moveTo>
                  <a:pt x="2157818" y="5743551"/>
                </a:moveTo>
                <a:lnTo>
                  <a:pt x="2167728" y="5743551"/>
                </a:lnTo>
                <a:lnTo>
                  <a:pt x="2171747" y="5747589"/>
                </a:lnTo>
                <a:lnTo>
                  <a:pt x="2171747" y="5757460"/>
                </a:lnTo>
                <a:lnTo>
                  <a:pt x="2167728" y="5761499"/>
                </a:lnTo>
                <a:lnTo>
                  <a:pt x="2157818" y="5761499"/>
                </a:lnTo>
                <a:lnTo>
                  <a:pt x="2153799" y="5757460"/>
                </a:lnTo>
                <a:lnTo>
                  <a:pt x="2153799" y="5747589"/>
                </a:lnTo>
                <a:close/>
                <a:moveTo>
                  <a:pt x="1918510" y="5743551"/>
                </a:moveTo>
                <a:lnTo>
                  <a:pt x="1928420" y="5743551"/>
                </a:lnTo>
                <a:lnTo>
                  <a:pt x="1932438" y="5747589"/>
                </a:lnTo>
                <a:lnTo>
                  <a:pt x="1932438" y="5757460"/>
                </a:lnTo>
                <a:lnTo>
                  <a:pt x="1928420" y="5761499"/>
                </a:lnTo>
                <a:lnTo>
                  <a:pt x="1918510" y="5761499"/>
                </a:lnTo>
                <a:lnTo>
                  <a:pt x="1914490" y="5757460"/>
                </a:lnTo>
                <a:lnTo>
                  <a:pt x="1914490" y="5747589"/>
                </a:lnTo>
                <a:close/>
                <a:moveTo>
                  <a:pt x="1679201" y="5743551"/>
                </a:moveTo>
                <a:lnTo>
                  <a:pt x="1689112" y="5743551"/>
                </a:lnTo>
                <a:lnTo>
                  <a:pt x="1693131" y="5747589"/>
                </a:lnTo>
                <a:lnTo>
                  <a:pt x="1693131" y="5757460"/>
                </a:lnTo>
                <a:lnTo>
                  <a:pt x="1689112" y="5761499"/>
                </a:lnTo>
                <a:lnTo>
                  <a:pt x="1679201" y="5761499"/>
                </a:lnTo>
                <a:lnTo>
                  <a:pt x="1675183" y="5757460"/>
                </a:lnTo>
                <a:lnTo>
                  <a:pt x="1675183" y="5747589"/>
                </a:lnTo>
                <a:close/>
                <a:moveTo>
                  <a:pt x="1439886" y="5743551"/>
                </a:moveTo>
                <a:lnTo>
                  <a:pt x="1449797" y="5743551"/>
                </a:lnTo>
                <a:lnTo>
                  <a:pt x="1453815" y="5747589"/>
                </a:lnTo>
                <a:lnTo>
                  <a:pt x="1453815" y="5757460"/>
                </a:lnTo>
                <a:lnTo>
                  <a:pt x="1449797" y="5761499"/>
                </a:lnTo>
                <a:lnTo>
                  <a:pt x="1439886" y="5761499"/>
                </a:lnTo>
                <a:lnTo>
                  <a:pt x="1435868" y="5757460"/>
                </a:lnTo>
                <a:lnTo>
                  <a:pt x="1435868" y="5747589"/>
                </a:lnTo>
                <a:close/>
                <a:moveTo>
                  <a:pt x="1200572" y="5743551"/>
                </a:moveTo>
                <a:lnTo>
                  <a:pt x="1210482" y="5743551"/>
                </a:lnTo>
                <a:lnTo>
                  <a:pt x="1214500" y="5747589"/>
                </a:lnTo>
                <a:lnTo>
                  <a:pt x="1214500" y="5757460"/>
                </a:lnTo>
                <a:lnTo>
                  <a:pt x="1210482" y="5761499"/>
                </a:lnTo>
                <a:lnTo>
                  <a:pt x="1200572" y="5761499"/>
                </a:lnTo>
                <a:lnTo>
                  <a:pt x="1196553" y="5757460"/>
                </a:lnTo>
                <a:lnTo>
                  <a:pt x="1196553" y="5747589"/>
                </a:lnTo>
                <a:close/>
                <a:moveTo>
                  <a:pt x="961259" y="5743551"/>
                </a:moveTo>
                <a:lnTo>
                  <a:pt x="971169" y="5743551"/>
                </a:lnTo>
                <a:lnTo>
                  <a:pt x="975188" y="5747589"/>
                </a:lnTo>
                <a:lnTo>
                  <a:pt x="975188" y="5757460"/>
                </a:lnTo>
                <a:lnTo>
                  <a:pt x="971169" y="5761499"/>
                </a:lnTo>
                <a:lnTo>
                  <a:pt x="961259" y="5761499"/>
                </a:lnTo>
                <a:lnTo>
                  <a:pt x="957240" y="5757460"/>
                </a:lnTo>
                <a:lnTo>
                  <a:pt x="957240" y="5747589"/>
                </a:lnTo>
                <a:close/>
                <a:moveTo>
                  <a:pt x="9572438" y="5743499"/>
                </a:moveTo>
                <a:lnTo>
                  <a:pt x="9582349" y="5743499"/>
                </a:lnTo>
                <a:lnTo>
                  <a:pt x="9586368" y="5747537"/>
                </a:lnTo>
                <a:lnTo>
                  <a:pt x="9586368" y="5757408"/>
                </a:lnTo>
                <a:lnTo>
                  <a:pt x="9582349" y="5761447"/>
                </a:lnTo>
                <a:lnTo>
                  <a:pt x="9572438" y="5761447"/>
                </a:lnTo>
                <a:lnTo>
                  <a:pt x="9568419" y="5757408"/>
                </a:lnTo>
                <a:lnTo>
                  <a:pt x="9568419" y="5747537"/>
                </a:lnTo>
                <a:close/>
                <a:moveTo>
                  <a:pt x="9333125" y="5743499"/>
                </a:moveTo>
                <a:lnTo>
                  <a:pt x="9343036" y="5743499"/>
                </a:lnTo>
                <a:lnTo>
                  <a:pt x="9347055" y="5747537"/>
                </a:lnTo>
                <a:lnTo>
                  <a:pt x="9347055" y="5757408"/>
                </a:lnTo>
                <a:lnTo>
                  <a:pt x="9343036" y="5761447"/>
                </a:lnTo>
                <a:lnTo>
                  <a:pt x="9333125" y="5761447"/>
                </a:lnTo>
                <a:lnTo>
                  <a:pt x="9329106" y="5757408"/>
                </a:lnTo>
                <a:lnTo>
                  <a:pt x="9329106" y="5747537"/>
                </a:lnTo>
                <a:close/>
                <a:moveTo>
                  <a:pt x="9093811" y="5743499"/>
                </a:moveTo>
                <a:lnTo>
                  <a:pt x="9103722" y="5743499"/>
                </a:lnTo>
                <a:lnTo>
                  <a:pt x="9107741" y="5747537"/>
                </a:lnTo>
                <a:lnTo>
                  <a:pt x="9107741" y="5757408"/>
                </a:lnTo>
                <a:lnTo>
                  <a:pt x="9103722" y="5761447"/>
                </a:lnTo>
                <a:lnTo>
                  <a:pt x="9093811" y="5761447"/>
                </a:lnTo>
                <a:lnTo>
                  <a:pt x="9089792" y="5757408"/>
                </a:lnTo>
                <a:lnTo>
                  <a:pt x="9089792" y="5747537"/>
                </a:lnTo>
                <a:close/>
                <a:moveTo>
                  <a:pt x="8854496" y="5743499"/>
                </a:moveTo>
                <a:lnTo>
                  <a:pt x="8864407" y="5743499"/>
                </a:lnTo>
                <a:lnTo>
                  <a:pt x="8868426" y="5747537"/>
                </a:lnTo>
                <a:lnTo>
                  <a:pt x="8868426" y="5757408"/>
                </a:lnTo>
                <a:lnTo>
                  <a:pt x="8864407" y="5761447"/>
                </a:lnTo>
                <a:lnTo>
                  <a:pt x="8854496" y="5761447"/>
                </a:lnTo>
                <a:lnTo>
                  <a:pt x="8850477" y="5757408"/>
                </a:lnTo>
                <a:lnTo>
                  <a:pt x="8850477" y="5747537"/>
                </a:lnTo>
                <a:close/>
                <a:moveTo>
                  <a:pt x="8615184" y="5743499"/>
                </a:moveTo>
                <a:lnTo>
                  <a:pt x="8625095" y="5743499"/>
                </a:lnTo>
                <a:lnTo>
                  <a:pt x="8629114" y="5747537"/>
                </a:lnTo>
                <a:lnTo>
                  <a:pt x="8629114" y="5757408"/>
                </a:lnTo>
                <a:lnTo>
                  <a:pt x="8625095" y="5761447"/>
                </a:lnTo>
                <a:lnTo>
                  <a:pt x="8615184" y="5761447"/>
                </a:lnTo>
                <a:lnTo>
                  <a:pt x="8611165" y="5757408"/>
                </a:lnTo>
                <a:lnTo>
                  <a:pt x="8611165" y="5747537"/>
                </a:lnTo>
                <a:close/>
                <a:moveTo>
                  <a:pt x="8375869" y="5743499"/>
                </a:moveTo>
                <a:lnTo>
                  <a:pt x="8385779" y="5743499"/>
                </a:lnTo>
                <a:lnTo>
                  <a:pt x="8389799" y="5747537"/>
                </a:lnTo>
                <a:lnTo>
                  <a:pt x="8389799" y="5757408"/>
                </a:lnTo>
                <a:lnTo>
                  <a:pt x="8385779" y="5761447"/>
                </a:lnTo>
                <a:lnTo>
                  <a:pt x="8375869" y="5761447"/>
                </a:lnTo>
                <a:lnTo>
                  <a:pt x="8371850" y="5757408"/>
                </a:lnTo>
                <a:lnTo>
                  <a:pt x="8371850" y="5747537"/>
                </a:lnTo>
                <a:close/>
                <a:moveTo>
                  <a:pt x="8136553" y="5743499"/>
                </a:moveTo>
                <a:lnTo>
                  <a:pt x="8146464" y="5743499"/>
                </a:lnTo>
                <a:lnTo>
                  <a:pt x="8150483" y="5747537"/>
                </a:lnTo>
                <a:lnTo>
                  <a:pt x="8150483" y="5757408"/>
                </a:lnTo>
                <a:lnTo>
                  <a:pt x="8146464" y="5761447"/>
                </a:lnTo>
                <a:lnTo>
                  <a:pt x="8136553" y="5761447"/>
                </a:lnTo>
                <a:lnTo>
                  <a:pt x="8132534" y="5757408"/>
                </a:lnTo>
                <a:lnTo>
                  <a:pt x="8132534" y="5747537"/>
                </a:lnTo>
                <a:close/>
                <a:moveTo>
                  <a:pt x="7897241" y="5743499"/>
                </a:moveTo>
                <a:lnTo>
                  <a:pt x="7907151" y="5743499"/>
                </a:lnTo>
                <a:lnTo>
                  <a:pt x="7911170" y="5747537"/>
                </a:lnTo>
                <a:lnTo>
                  <a:pt x="7911170" y="5757408"/>
                </a:lnTo>
                <a:lnTo>
                  <a:pt x="7907151" y="5761447"/>
                </a:lnTo>
                <a:lnTo>
                  <a:pt x="7897241" y="5761447"/>
                </a:lnTo>
                <a:lnTo>
                  <a:pt x="7893222" y="5757408"/>
                </a:lnTo>
                <a:lnTo>
                  <a:pt x="7893222" y="5747537"/>
                </a:lnTo>
                <a:close/>
                <a:moveTo>
                  <a:pt x="7657926" y="5743499"/>
                </a:moveTo>
                <a:lnTo>
                  <a:pt x="7667836" y="5743499"/>
                </a:lnTo>
                <a:lnTo>
                  <a:pt x="7671855" y="5747537"/>
                </a:lnTo>
                <a:lnTo>
                  <a:pt x="7671855" y="5757408"/>
                </a:lnTo>
                <a:lnTo>
                  <a:pt x="7667836" y="5761447"/>
                </a:lnTo>
                <a:lnTo>
                  <a:pt x="7657926" y="5761447"/>
                </a:lnTo>
                <a:lnTo>
                  <a:pt x="7653906" y="5757408"/>
                </a:lnTo>
                <a:lnTo>
                  <a:pt x="7653906" y="5747537"/>
                </a:lnTo>
                <a:close/>
                <a:moveTo>
                  <a:pt x="7418611" y="5743499"/>
                </a:moveTo>
                <a:lnTo>
                  <a:pt x="7428521" y="5743499"/>
                </a:lnTo>
                <a:lnTo>
                  <a:pt x="7432540" y="5747537"/>
                </a:lnTo>
                <a:lnTo>
                  <a:pt x="7432540" y="5757408"/>
                </a:lnTo>
                <a:lnTo>
                  <a:pt x="7428521" y="5761447"/>
                </a:lnTo>
                <a:lnTo>
                  <a:pt x="7418611" y="5761447"/>
                </a:lnTo>
                <a:lnTo>
                  <a:pt x="7414592" y="5757408"/>
                </a:lnTo>
                <a:lnTo>
                  <a:pt x="7414592" y="5747537"/>
                </a:lnTo>
                <a:close/>
                <a:moveTo>
                  <a:pt x="7179298" y="5743499"/>
                </a:moveTo>
                <a:lnTo>
                  <a:pt x="7189209" y="5743499"/>
                </a:lnTo>
                <a:lnTo>
                  <a:pt x="7193228" y="5747537"/>
                </a:lnTo>
                <a:lnTo>
                  <a:pt x="7193228" y="5757408"/>
                </a:lnTo>
                <a:lnTo>
                  <a:pt x="7189209" y="5761447"/>
                </a:lnTo>
                <a:lnTo>
                  <a:pt x="7179298" y="5761447"/>
                </a:lnTo>
                <a:lnTo>
                  <a:pt x="7175279" y="5757408"/>
                </a:lnTo>
                <a:lnTo>
                  <a:pt x="7175279" y="5747537"/>
                </a:lnTo>
                <a:close/>
                <a:moveTo>
                  <a:pt x="6939983" y="5743499"/>
                </a:moveTo>
                <a:lnTo>
                  <a:pt x="6949894" y="5743499"/>
                </a:lnTo>
                <a:lnTo>
                  <a:pt x="6953913" y="5747537"/>
                </a:lnTo>
                <a:lnTo>
                  <a:pt x="6953913" y="5757408"/>
                </a:lnTo>
                <a:lnTo>
                  <a:pt x="6949894" y="5761447"/>
                </a:lnTo>
                <a:lnTo>
                  <a:pt x="6939983" y="5761447"/>
                </a:lnTo>
                <a:lnTo>
                  <a:pt x="6935964" y="5757408"/>
                </a:lnTo>
                <a:lnTo>
                  <a:pt x="6935964" y="5747537"/>
                </a:lnTo>
                <a:close/>
                <a:moveTo>
                  <a:pt x="6700670" y="5743499"/>
                </a:moveTo>
                <a:lnTo>
                  <a:pt x="6710581" y="5743499"/>
                </a:lnTo>
                <a:lnTo>
                  <a:pt x="6714600" y="5747537"/>
                </a:lnTo>
                <a:lnTo>
                  <a:pt x="6714600" y="5757408"/>
                </a:lnTo>
                <a:lnTo>
                  <a:pt x="6710581" y="5761447"/>
                </a:lnTo>
                <a:lnTo>
                  <a:pt x="6700670" y="5761447"/>
                </a:lnTo>
                <a:lnTo>
                  <a:pt x="6696651" y="5757408"/>
                </a:lnTo>
                <a:lnTo>
                  <a:pt x="6696651" y="5747537"/>
                </a:lnTo>
                <a:close/>
                <a:moveTo>
                  <a:pt x="6461356" y="5743499"/>
                </a:moveTo>
                <a:lnTo>
                  <a:pt x="6471266" y="5743499"/>
                </a:lnTo>
                <a:lnTo>
                  <a:pt x="6475285" y="5747537"/>
                </a:lnTo>
                <a:lnTo>
                  <a:pt x="6475285" y="5757408"/>
                </a:lnTo>
                <a:lnTo>
                  <a:pt x="6471266" y="5761447"/>
                </a:lnTo>
                <a:lnTo>
                  <a:pt x="6461356" y="5761447"/>
                </a:lnTo>
                <a:lnTo>
                  <a:pt x="6457337" y="5757408"/>
                </a:lnTo>
                <a:lnTo>
                  <a:pt x="6457337" y="5747537"/>
                </a:lnTo>
                <a:close/>
                <a:moveTo>
                  <a:pt x="6222042" y="5743499"/>
                </a:moveTo>
                <a:lnTo>
                  <a:pt x="6231952" y="5743499"/>
                </a:lnTo>
                <a:lnTo>
                  <a:pt x="6235971" y="5747537"/>
                </a:lnTo>
                <a:lnTo>
                  <a:pt x="6235971" y="5757408"/>
                </a:lnTo>
                <a:lnTo>
                  <a:pt x="6231952" y="5761447"/>
                </a:lnTo>
                <a:lnTo>
                  <a:pt x="6222042" y="5761447"/>
                </a:lnTo>
                <a:lnTo>
                  <a:pt x="6218023" y="5757408"/>
                </a:lnTo>
                <a:lnTo>
                  <a:pt x="6218023" y="5747537"/>
                </a:lnTo>
                <a:close/>
                <a:moveTo>
                  <a:pt x="5982729" y="5743499"/>
                </a:moveTo>
                <a:lnTo>
                  <a:pt x="5992639" y="5743499"/>
                </a:lnTo>
                <a:lnTo>
                  <a:pt x="5996658" y="5747537"/>
                </a:lnTo>
                <a:lnTo>
                  <a:pt x="5996658" y="5757408"/>
                </a:lnTo>
                <a:lnTo>
                  <a:pt x="5992639" y="5761447"/>
                </a:lnTo>
                <a:lnTo>
                  <a:pt x="5982729" y="5761447"/>
                </a:lnTo>
                <a:lnTo>
                  <a:pt x="5978710" y="5757408"/>
                </a:lnTo>
                <a:lnTo>
                  <a:pt x="5978710" y="5747537"/>
                </a:lnTo>
                <a:close/>
                <a:moveTo>
                  <a:pt x="5743412" y="5743499"/>
                </a:moveTo>
                <a:lnTo>
                  <a:pt x="5753323" y="5743499"/>
                </a:lnTo>
                <a:lnTo>
                  <a:pt x="5757342" y="5747537"/>
                </a:lnTo>
                <a:lnTo>
                  <a:pt x="5757342" y="5757408"/>
                </a:lnTo>
                <a:lnTo>
                  <a:pt x="5753323" y="5761447"/>
                </a:lnTo>
                <a:lnTo>
                  <a:pt x="5743412" y="5761447"/>
                </a:lnTo>
                <a:lnTo>
                  <a:pt x="5739393" y="5757408"/>
                </a:lnTo>
                <a:lnTo>
                  <a:pt x="5739393" y="5747537"/>
                </a:lnTo>
                <a:close/>
                <a:moveTo>
                  <a:pt x="5504099" y="5743499"/>
                </a:moveTo>
                <a:lnTo>
                  <a:pt x="5514010" y="5743499"/>
                </a:lnTo>
                <a:lnTo>
                  <a:pt x="5518029" y="5747537"/>
                </a:lnTo>
                <a:lnTo>
                  <a:pt x="5518029" y="5757408"/>
                </a:lnTo>
                <a:lnTo>
                  <a:pt x="5514010" y="5761447"/>
                </a:lnTo>
                <a:lnTo>
                  <a:pt x="5504099" y="5761447"/>
                </a:lnTo>
                <a:lnTo>
                  <a:pt x="5500080" y="5757408"/>
                </a:lnTo>
                <a:lnTo>
                  <a:pt x="5500080" y="5747537"/>
                </a:lnTo>
                <a:close/>
                <a:moveTo>
                  <a:pt x="5264784" y="5743499"/>
                </a:moveTo>
                <a:lnTo>
                  <a:pt x="5274694" y="5743499"/>
                </a:lnTo>
                <a:lnTo>
                  <a:pt x="5278713" y="5747537"/>
                </a:lnTo>
                <a:lnTo>
                  <a:pt x="5278713" y="5757408"/>
                </a:lnTo>
                <a:lnTo>
                  <a:pt x="5274694" y="5761447"/>
                </a:lnTo>
                <a:lnTo>
                  <a:pt x="5264784" y="5761447"/>
                </a:lnTo>
                <a:lnTo>
                  <a:pt x="5260765" y="5757408"/>
                </a:lnTo>
                <a:lnTo>
                  <a:pt x="5260765" y="5747537"/>
                </a:lnTo>
                <a:close/>
                <a:moveTo>
                  <a:pt x="5025470" y="5743499"/>
                </a:moveTo>
                <a:lnTo>
                  <a:pt x="5035381" y="5743499"/>
                </a:lnTo>
                <a:lnTo>
                  <a:pt x="5039400" y="5747537"/>
                </a:lnTo>
                <a:lnTo>
                  <a:pt x="5039400" y="5757408"/>
                </a:lnTo>
                <a:lnTo>
                  <a:pt x="5035381" y="5761447"/>
                </a:lnTo>
                <a:lnTo>
                  <a:pt x="5025470" y="5761447"/>
                </a:lnTo>
                <a:lnTo>
                  <a:pt x="5021451" y="5757408"/>
                </a:lnTo>
                <a:lnTo>
                  <a:pt x="5021451" y="5747537"/>
                </a:lnTo>
                <a:close/>
                <a:moveTo>
                  <a:pt x="4786241" y="5743499"/>
                </a:moveTo>
                <a:lnTo>
                  <a:pt x="4796152" y="5743499"/>
                </a:lnTo>
                <a:lnTo>
                  <a:pt x="4800171" y="5747537"/>
                </a:lnTo>
                <a:lnTo>
                  <a:pt x="4800171" y="5757408"/>
                </a:lnTo>
                <a:lnTo>
                  <a:pt x="4796152" y="5761447"/>
                </a:lnTo>
                <a:lnTo>
                  <a:pt x="4786241" y="5761447"/>
                </a:lnTo>
                <a:lnTo>
                  <a:pt x="4782224" y="5757408"/>
                </a:lnTo>
                <a:lnTo>
                  <a:pt x="4782224" y="5747537"/>
                </a:lnTo>
                <a:close/>
                <a:moveTo>
                  <a:pt x="4546929" y="5743499"/>
                </a:moveTo>
                <a:lnTo>
                  <a:pt x="4556840" y="5743499"/>
                </a:lnTo>
                <a:lnTo>
                  <a:pt x="4560859" y="5747537"/>
                </a:lnTo>
                <a:lnTo>
                  <a:pt x="4560859" y="5757408"/>
                </a:lnTo>
                <a:lnTo>
                  <a:pt x="4556840" y="5761447"/>
                </a:lnTo>
                <a:lnTo>
                  <a:pt x="4546929" y="5761447"/>
                </a:lnTo>
                <a:lnTo>
                  <a:pt x="4542910" y="5757408"/>
                </a:lnTo>
                <a:lnTo>
                  <a:pt x="4542910" y="5747537"/>
                </a:lnTo>
                <a:close/>
                <a:moveTo>
                  <a:pt x="4307612" y="5743499"/>
                </a:moveTo>
                <a:lnTo>
                  <a:pt x="4317523" y="5743499"/>
                </a:lnTo>
                <a:lnTo>
                  <a:pt x="4321543" y="5747537"/>
                </a:lnTo>
                <a:lnTo>
                  <a:pt x="4321543" y="5757408"/>
                </a:lnTo>
                <a:lnTo>
                  <a:pt x="4317523" y="5761447"/>
                </a:lnTo>
                <a:lnTo>
                  <a:pt x="4307612" y="5761447"/>
                </a:lnTo>
                <a:lnTo>
                  <a:pt x="4303595" y="5757408"/>
                </a:lnTo>
                <a:lnTo>
                  <a:pt x="4303595" y="5747537"/>
                </a:lnTo>
                <a:close/>
                <a:moveTo>
                  <a:pt x="4068297" y="5743499"/>
                </a:moveTo>
                <a:lnTo>
                  <a:pt x="4078210" y="5743499"/>
                </a:lnTo>
                <a:lnTo>
                  <a:pt x="4082229" y="5747537"/>
                </a:lnTo>
                <a:lnTo>
                  <a:pt x="4082229" y="5757408"/>
                </a:lnTo>
                <a:lnTo>
                  <a:pt x="4078210" y="5761447"/>
                </a:lnTo>
                <a:lnTo>
                  <a:pt x="4068297" y="5761447"/>
                </a:lnTo>
                <a:lnTo>
                  <a:pt x="4064278" y="5757408"/>
                </a:lnTo>
                <a:lnTo>
                  <a:pt x="4064278" y="5747537"/>
                </a:lnTo>
                <a:close/>
                <a:moveTo>
                  <a:pt x="3828990" y="5743499"/>
                </a:moveTo>
                <a:lnTo>
                  <a:pt x="3838899" y="5743499"/>
                </a:lnTo>
                <a:lnTo>
                  <a:pt x="3842917" y="5747537"/>
                </a:lnTo>
                <a:lnTo>
                  <a:pt x="3842917" y="5757408"/>
                </a:lnTo>
                <a:lnTo>
                  <a:pt x="3838899" y="5761447"/>
                </a:lnTo>
                <a:lnTo>
                  <a:pt x="3828990" y="5761447"/>
                </a:lnTo>
                <a:lnTo>
                  <a:pt x="3824971" y="5757408"/>
                </a:lnTo>
                <a:lnTo>
                  <a:pt x="3824971" y="5747537"/>
                </a:lnTo>
                <a:close/>
                <a:moveTo>
                  <a:pt x="3589676" y="5743499"/>
                </a:moveTo>
                <a:lnTo>
                  <a:pt x="3599585" y="5743499"/>
                </a:lnTo>
                <a:lnTo>
                  <a:pt x="3603604" y="5747537"/>
                </a:lnTo>
                <a:lnTo>
                  <a:pt x="3603604" y="5757408"/>
                </a:lnTo>
                <a:lnTo>
                  <a:pt x="3599585" y="5761447"/>
                </a:lnTo>
                <a:lnTo>
                  <a:pt x="3589676" y="5761447"/>
                </a:lnTo>
                <a:lnTo>
                  <a:pt x="3585657" y="5757408"/>
                </a:lnTo>
                <a:lnTo>
                  <a:pt x="3585657" y="5747537"/>
                </a:lnTo>
                <a:close/>
                <a:moveTo>
                  <a:pt x="3350359" y="5743499"/>
                </a:moveTo>
                <a:lnTo>
                  <a:pt x="3360268" y="5743499"/>
                </a:lnTo>
                <a:lnTo>
                  <a:pt x="3364287" y="5747537"/>
                </a:lnTo>
                <a:lnTo>
                  <a:pt x="3364287" y="5757408"/>
                </a:lnTo>
                <a:lnTo>
                  <a:pt x="3360268" y="5761447"/>
                </a:lnTo>
                <a:lnTo>
                  <a:pt x="3350359" y="5761447"/>
                </a:lnTo>
                <a:lnTo>
                  <a:pt x="3346340" y="5757408"/>
                </a:lnTo>
                <a:lnTo>
                  <a:pt x="3346340" y="5747537"/>
                </a:lnTo>
                <a:close/>
                <a:moveTo>
                  <a:pt x="3111048" y="5743499"/>
                </a:moveTo>
                <a:lnTo>
                  <a:pt x="3120959" y="5743499"/>
                </a:lnTo>
                <a:lnTo>
                  <a:pt x="3124977" y="5747537"/>
                </a:lnTo>
                <a:lnTo>
                  <a:pt x="3124977" y="5757408"/>
                </a:lnTo>
                <a:lnTo>
                  <a:pt x="3120959" y="5761447"/>
                </a:lnTo>
                <a:lnTo>
                  <a:pt x="3111048" y="5761447"/>
                </a:lnTo>
                <a:lnTo>
                  <a:pt x="3107029" y="5757408"/>
                </a:lnTo>
                <a:lnTo>
                  <a:pt x="3107029" y="5747537"/>
                </a:lnTo>
                <a:close/>
                <a:moveTo>
                  <a:pt x="2871737" y="5743499"/>
                </a:moveTo>
                <a:lnTo>
                  <a:pt x="2881646" y="5743499"/>
                </a:lnTo>
                <a:lnTo>
                  <a:pt x="2885666" y="5747537"/>
                </a:lnTo>
                <a:lnTo>
                  <a:pt x="2885666" y="5757408"/>
                </a:lnTo>
                <a:lnTo>
                  <a:pt x="2881646" y="5761447"/>
                </a:lnTo>
                <a:lnTo>
                  <a:pt x="2871737" y="5761447"/>
                </a:lnTo>
                <a:lnTo>
                  <a:pt x="2867717" y="5757408"/>
                </a:lnTo>
                <a:lnTo>
                  <a:pt x="2867717" y="5747537"/>
                </a:lnTo>
                <a:close/>
                <a:moveTo>
                  <a:pt x="2632423" y="5743499"/>
                </a:moveTo>
                <a:lnTo>
                  <a:pt x="2642334" y="5743499"/>
                </a:lnTo>
                <a:lnTo>
                  <a:pt x="2646352" y="5747537"/>
                </a:lnTo>
                <a:lnTo>
                  <a:pt x="2646352" y="5757408"/>
                </a:lnTo>
                <a:lnTo>
                  <a:pt x="2642334" y="5761447"/>
                </a:lnTo>
                <a:lnTo>
                  <a:pt x="2632423" y="5761447"/>
                </a:lnTo>
                <a:lnTo>
                  <a:pt x="2628404" y="5757408"/>
                </a:lnTo>
                <a:lnTo>
                  <a:pt x="2628404" y="5747537"/>
                </a:lnTo>
                <a:close/>
                <a:moveTo>
                  <a:pt x="2393104" y="5743499"/>
                </a:moveTo>
                <a:lnTo>
                  <a:pt x="2403015" y="5743499"/>
                </a:lnTo>
                <a:lnTo>
                  <a:pt x="2407034" y="5747537"/>
                </a:lnTo>
                <a:lnTo>
                  <a:pt x="2407034" y="5757408"/>
                </a:lnTo>
                <a:lnTo>
                  <a:pt x="2403015" y="5761447"/>
                </a:lnTo>
                <a:lnTo>
                  <a:pt x="2393104" y="5761447"/>
                </a:lnTo>
                <a:lnTo>
                  <a:pt x="2389087" y="5757408"/>
                </a:lnTo>
                <a:lnTo>
                  <a:pt x="2389087" y="5747537"/>
                </a:lnTo>
                <a:close/>
                <a:moveTo>
                  <a:pt x="721960" y="5743499"/>
                </a:moveTo>
                <a:lnTo>
                  <a:pt x="731871" y="5743499"/>
                </a:lnTo>
                <a:lnTo>
                  <a:pt x="735889" y="5747537"/>
                </a:lnTo>
                <a:lnTo>
                  <a:pt x="735889" y="5757408"/>
                </a:lnTo>
                <a:lnTo>
                  <a:pt x="731871" y="5761447"/>
                </a:lnTo>
                <a:lnTo>
                  <a:pt x="721960" y="5761447"/>
                </a:lnTo>
                <a:lnTo>
                  <a:pt x="717941" y="5757408"/>
                </a:lnTo>
                <a:lnTo>
                  <a:pt x="717941" y="5747537"/>
                </a:lnTo>
                <a:close/>
                <a:moveTo>
                  <a:pt x="482648" y="5743499"/>
                </a:moveTo>
                <a:lnTo>
                  <a:pt x="492558" y="5743499"/>
                </a:lnTo>
                <a:lnTo>
                  <a:pt x="496578" y="5747537"/>
                </a:lnTo>
                <a:lnTo>
                  <a:pt x="496578" y="5757408"/>
                </a:lnTo>
                <a:lnTo>
                  <a:pt x="492558" y="5761447"/>
                </a:lnTo>
                <a:lnTo>
                  <a:pt x="482648" y="5761447"/>
                </a:lnTo>
                <a:lnTo>
                  <a:pt x="478629" y="5757408"/>
                </a:lnTo>
                <a:lnTo>
                  <a:pt x="478629" y="5747537"/>
                </a:lnTo>
                <a:close/>
                <a:moveTo>
                  <a:pt x="243334" y="5743499"/>
                </a:moveTo>
                <a:lnTo>
                  <a:pt x="253245" y="5743499"/>
                </a:lnTo>
                <a:lnTo>
                  <a:pt x="257264" y="5747537"/>
                </a:lnTo>
                <a:lnTo>
                  <a:pt x="257264" y="5757408"/>
                </a:lnTo>
                <a:lnTo>
                  <a:pt x="253245" y="5761447"/>
                </a:lnTo>
                <a:lnTo>
                  <a:pt x="243334" y="5761447"/>
                </a:lnTo>
                <a:lnTo>
                  <a:pt x="239315" y="5757408"/>
                </a:lnTo>
                <a:lnTo>
                  <a:pt x="239315" y="5747537"/>
                </a:lnTo>
                <a:close/>
                <a:moveTo>
                  <a:pt x="4021" y="5743499"/>
                </a:moveTo>
                <a:lnTo>
                  <a:pt x="13932" y="5743499"/>
                </a:lnTo>
                <a:lnTo>
                  <a:pt x="17950" y="5747537"/>
                </a:lnTo>
                <a:lnTo>
                  <a:pt x="17950" y="5757408"/>
                </a:lnTo>
                <a:lnTo>
                  <a:pt x="13932" y="5761447"/>
                </a:lnTo>
                <a:lnTo>
                  <a:pt x="4021" y="5761447"/>
                </a:lnTo>
                <a:lnTo>
                  <a:pt x="2" y="5757408"/>
                </a:lnTo>
                <a:lnTo>
                  <a:pt x="2" y="5747537"/>
                </a:lnTo>
                <a:close/>
                <a:moveTo>
                  <a:pt x="9572438" y="5504220"/>
                </a:moveTo>
                <a:lnTo>
                  <a:pt x="9582349" y="5504220"/>
                </a:lnTo>
                <a:lnTo>
                  <a:pt x="9586368" y="5508258"/>
                </a:lnTo>
                <a:lnTo>
                  <a:pt x="9586368" y="5518129"/>
                </a:lnTo>
                <a:lnTo>
                  <a:pt x="9582349" y="5522168"/>
                </a:lnTo>
                <a:lnTo>
                  <a:pt x="9572438" y="5522168"/>
                </a:lnTo>
                <a:lnTo>
                  <a:pt x="9568419" y="5518129"/>
                </a:lnTo>
                <a:lnTo>
                  <a:pt x="9568419" y="5508258"/>
                </a:lnTo>
                <a:close/>
                <a:moveTo>
                  <a:pt x="9333125" y="5504220"/>
                </a:moveTo>
                <a:lnTo>
                  <a:pt x="9343036" y="5504220"/>
                </a:lnTo>
                <a:lnTo>
                  <a:pt x="9347055" y="5508258"/>
                </a:lnTo>
                <a:lnTo>
                  <a:pt x="9347055" y="5518129"/>
                </a:lnTo>
                <a:lnTo>
                  <a:pt x="9343036" y="5522168"/>
                </a:lnTo>
                <a:lnTo>
                  <a:pt x="9333125" y="5522168"/>
                </a:lnTo>
                <a:lnTo>
                  <a:pt x="9329106" y="5518129"/>
                </a:lnTo>
                <a:lnTo>
                  <a:pt x="9329106" y="5508258"/>
                </a:lnTo>
                <a:close/>
                <a:moveTo>
                  <a:pt x="9093811" y="5504220"/>
                </a:moveTo>
                <a:lnTo>
                  <a:pt x="9103722" y="5504220"/>
                </a:lnTo>
                <a:lnTo>
                  <a:pt x="9107741" y="5508258"/>
                </a:lnTo>
                <a:lnTo>
                  <a:pt x="9107741" y="5518129"/>
                </a:lnTo>
                <a:lnTo>
                  <a:pt x="9103722" y="5522168"/>
                </a:lnTo>
                <a:lnTo>
                  <a:pt x="9093811" y="5522168"/>
                </a:lnTo>
                <a:lnTo>
                  <a:pt x="9089792" y="5518129"/>
                </a:lnTo>
                <a:lnTo>
                  <a:pt x="9089792" y="5508258"/>
                </a:lnTo>
                <a:close/>
                <a:moveTo>
                  <a:pt x="8854496" y="5504220"/>
                </a:moveTo>
                <a:lnTo>
                  <a:pt x="8864407" y="5504220"/>
                </a:lnTo>
                <a:lnTo>
                  <a:pt x="8868426" y="5508258"/>
                </a:lnTo>
                <a:lnTo>
                  <a:pt x="8868426" y="5518129"/>
                </a:lnTo>
                <a:lnTo>
                  <a:pt x="8864407" y="5522168"/>
                </a:lnTo>
                <a:lnTo>
                  <a:pt x="8854496" y="5522168"/>
                </a:lnTo>
                <a:lnTo>
                  <a:pt x="8850477" y="5518129"/>
                </a:lnTo>
                <a:lnTo>
                  <a:pt x="8850477" y="5508258"/>
                </a:lnTo>
                <a:close/>
                <a:moveTo>
                  <a:pt x="8615184" y="5504220"/>
                </a:moveTo>
                <a:lnTo>
                  <a:pt x="8625095" y="5504220"/>
                </a:lnTo>
                <a:lnTo>
                  <a:pt x="8629114" y="5508258"/>
                </a:lnTo>
                <a:lnTo>
                  <a:pt x="8629114" y="5518129"/>
                </a:lnTo>
                <a:lnTo>
                  <a:pt x="8625095" y="5522168"/>
                </a:lnTo>
                <a:lnTo>
                  <a:pt x="8615184" y="5522168"/>
                </a:lnTo>
                <a:lnTo>
                  <a:pt x="8611165" y="5518129"/>
                </a:lnTo>
                <a:lnTo>
                  <a:pt x="8611165" y="5508258"/>
                </a:lnTo>
                <a:close/>
                <a:moveTo>
                  <a:pt x="8375869" y="5504220"/>
                </a:moveTo>
                <a:lnTo>
                  <a:pt x="8385779" y="5504220"/>
                </a:lnTo>
                <a:lnTo>
                  <a:pt x="8389799" y="5508258"/>
                </a:lnTo>
                <a:lnTo>
                  <a:pt x="8389799" y="5518129"/>
                </a:lnTo>
                <a:lnTo>
                  <a:pt x="8385779" y="5522168"/>
                </a:lnTo>
                <a:lnTo>
                  <a:pt x="8375869" y="5522168"/>
                </a:lnTo>
                <a:lnTo>
                  <a:pt x="8371850" y="5518129"/>
                </a:lnTo>
                <a:lnTo>
                  <a:pt x="8371850" y="5508258"/>
                </a:lnTo>
                <a:close/>
                <a:moveTo>
                  <a:pt x="8136553" y="5504220"/>
                </a:moveTo>
                <a:lnTo>
                  <a:pt x="8146464" y="5504220"/>
                </a:lnTo>
                <a:lnTo>
                  <a:pt x="8150483" y="5508258"/>
                </a:lnTo>
                <a:lnTo>
                  <a:pt x="8150483" y="5518129"/>
                </a:lnTo>
                <a:lnTo>
                  <a:pt x="8146464" y="5522168"/>
                </a:lnTo>
                <a:lnTo>
                  <a:pt x="8136553" y="5522168"/>
                </a:lnTo>
                <a:lnTo>
                  <a:pt x="8132534" y="5518129"/>
                </a:lnTo>
                <a:lnTo>
                  <a:pt x="8132534" y="5508258"/>
                </a:lnTo>
                <a:close/>
                <a:moveTo>
                  <a:pt x="7897241" y="5504220"/>
                </a:moveTo>
                <a:lnTo>
                  <a:pt x="7907151" y="5504220"/>
                </a:lnTo>
                <a:lnTo>
                  <a:pt x="7911170" y="5508258"/>
                </a:lnTo>
                <a:lnTo>
                  <a:pt x="7911170" y="5518129"/>
                </a:lnTo>
                <a:lnTo>
                  <a:pt x="7907151" y="5522168"/>
                </a:lnTo>
                <a:lnTo>
                  <a:pt x="7897241" y="5522168"/>
                </a:lnTo>
                <a:lnTo>
                  <a:pt x="7893222" y="5518129"/>
                </a:lnTo>
                <a:lnTo>
                  <a:pt x="7893222" y="5508258"/>
                </a:lnTo>
                <a:close/>
                <a:moveTo>
                  <a:pt x="7657926" y="5504220"/>
                </a:moveTo>
                <a:lnTo>
                  <a:pt x="7667836" y="5504220"/>
                </a:lnTo>
                <a:lnTo>
                  <a:pt x="7671855" y="5508258"/>
                </a:lnTo>
                <a:lnTo>
                  <a:pt x="7671855" y="5518129"/>
                </a:lnTo>
                <a:lnTo>
                  <a:pt x="7667836" y="5522168"/>
                </a:lnTo>
                <a:lnTo>
                  <a:pt x="7657926" y="5522168"/>
                </a:lnTo>
                <a:lnTo>
                  <a:pt x="7653906" y="5518129"/>
                </a:lnTo>
                <a:lnTo>
                  <a:pt x="7653906" y="5508258"/>
                </a:lnTo>
                <a:close/>
                <a:moveTo>
                  <a:pt x="7418611" y="5504220"/>
                </a:moveTo>
                <a:lnTo>
                  <a:pt x="7428521" y="5504220"/>
                </a:lnTo>
                <a:lnTo>
                  <a:pt x="7432540" y="5508258"/>
                </a:lnTo>
                <a:lnTo>
                  <a:pt x="7432540" y="5518129"/>
                </a:lnTo>
                <a:lnTo>
                  <a:pt x="7428521" y="5522168"/>
                </a:lnTo>
                <a:lnTo>
                  <a:pt x="7418611" y="5522168"/>
                </a:lnTo>
                <a:lnTo>
                  <a:pt x="7414592" y="5518129"/>
                </a:lnTo>
                <a:lnTo>
                  <a:pt x="7414592" y="5508258"/>
                </a:lnTo>
                <a:close/>
                <a:moveTo>
                  <a:pt x="7179298" y="5504220"/>
                </a:moveTo>
                <a:lnTo>
                  <a:pt x="7189209" y="5504220"/>
                </a:lnTo>
                <a:lnTo>
                  <a:pt x="7193228" y="5508258"/>
                </a:lnTo>
                <a:lnTo>
                  <a:pt x="7193228" y="5518129"/>
                </a:lnTo>
                <a:lnTo>
                  <a:pt x="7189209" y="5522168"/>
                </a:lnTo>
                <a:lnTo>
                  <a:pt x="7179298" y="5522168"/>
                </a:lnTo>
                <a:lnTo>
                  <a:pt x="7175279" y="5518129"/>
                </a:lnTo>
                <a:lnTo>
                  <a:pt x="7175279" y="5508258"/>
                </a:lnTo>
                <a:close/>
                <a:moveTo>
                  <a:pt x="6939983" y="5504220"/>
                </a:moveTo>
                <a:lnTo>
                  <a:pt x="6949894" y="5504220"/>
                </a:lnTo>
                <a:lnTo>
                  <a:pt x="6953913" y="5508258"/>
                </a:lnTo>
                <a:lnTo>
                  <a:pt x="6953913" y="5518129"/>
                </a:lnTo>
                <a:lnTo>
                  <a:pt x="6949894" y="5522168"/>
                </a:lnTo>
                <a:lnTo>
                  <a:pt x="6939983" y="5522168"/>
                </a:lnTo>
                <a:lnTo>
                  <a:pt x="6935964" y="5518129"/>
                </a:lnTo>
                <a:lnTo>
                  <a:pt x="6935964" y="5508258"/>
                </a:lnTo>
                <a:close/>
                <a:moveTo>
                  <a:pt x="6700670" y="5504220"/>
                </a:moveTo>
                <a:lnTo>
                  <a:pt x="6710581" y="5504220"/>
                </a:lnTo>
                <a:lnTo>
                  <a:pt x="6714600" y="5508258"/>
                </a:lnTo>
                <a:lnTo>
                  <a:pt x="6714600" y="5518129"/>
                </a:lnTo>
                <a:lnTo>
                  <a:pt x="6710581" y="5522168"/>
                </a:lnTo>
                <a:lnTo>
                  <a:pt x="6700670" y="5522168"/>
                </a:lnTo>
                <a:lnTo>
                  <a:pt x="6696651" y="5518129"/>
                </a:lnTo>
                <a:lnTo>
                  <a:pt x="6696651" y="5508258"/>
                </a:lnTo>
                <a:close/>
                <a:moveTo>
                  <a:pt x="6461356" y="5504220"/>
                </a:moveTo>
                <a:lnTo>
                  <a:pt x="6471266" y="5504220"/>
                </a:lnTo>
                <a:lnTo>
                  <a:pt x="6475285" y="5508258"/>
                </a:lnTo>
                <a:lnTo>
                  <a:pt x="6475285" y="5518129"/>
                </a:lnTo>
                <a:lnTo>
                  <a:pt x="6471266" y="5522168"/>
                </a:lnTo>
                <a:lnTo>
                  <a:pt x="6461356" y="5522168"/>
                </a:lnTo>
                <a:lnTo>
                  <a:pt x="6457337" y="5518129"/>
                </a:lnTo>
                <a:lnTo>
                  <a:pt x="6457337" y="5508258"/>
                </a:lnTo>
                <a:close/>
                <a:moveTo>
                  <a:pt x="6222042" y="5504220"/>
                </a:moveTo>
                <a:lnTo>
                  <a:pt x="6231952" y="5504220"/>
                </a:lnTo>
                <a:lnTo>
                  <a:pt x="6235971" y="5508258"/>
                </a:lnTo>
                <a:lnTo>
                  <a:pt x="6235971" y="5518129"/>
                </a:lnTo>
                <a:lnTo>
                  <a:pt x="6231952" y="5522168"/>
                </a:lnTo>
                <a:lnTo>
                  <a:pt x="6222042" y="5522168"/>
                </a:lnTo>
                <a:lnTo>
                  <a:pt x="6218023" y="5518129"/>
                </a:lnTo>
                <a:lnTo>
                  <a:pt x="6218023" y="5508258"/>
                </a:lnTo>
                <a:close/>
                <a:moveTo>
                  <a:pt x="5982729" y="5504220"/>
                </a:moveTo>
                <a:lnTo>
                  <a:pt x="5992639" y="5504220"/>
                </a:lnTo>
                <a:lnTo>
                  <a:pt x="5996658" y="5508258"/>
                </a:lnTo>
                <a:lnTo>
                  <a:pt x="5996658" y="5518129"/>
                </a:lnTo>
                <a:lnTo>
                  <a:pt x="5992639" y="5522168"/>
                </a:lnTo>
                <a:lnTo>
                  <a:pt x="5982729" y="5522168"/>
                </a:lnTo>
                <a:lnTo>
                  <a:pt x="5978710" y="5518129"/>
                </a:lnTo>
                <a:lnTo>
                  <a:pt x="5978710" y="5508258"/>
                </a:lnTo>
                <a:close/>
                <a:moveTo>
                  <a:pt x="5743412" y="5504220"/>
                </a:moveTo>
                <a:lnTo>
                  <a:pt x="5753323" y="5504220"/>
                </a:lnTo>
                <a:lnTo>
                  <a:pt x="5757342" y="5508258"/>
                </a:lnTo>
                <a:lnTo>
                  <a:pt x="5757342" y="5518129"/>
                </a:lnTo>
                <a:lnTo>
                  <a:pt x="5753323" y="5522168"/>
                </a:lnTo>
                <a:lnTo>
                  <a:pt x="5743412" y="5522168"/>
                </a:lnTo>
                <a:lnTo>
                  <a:pt x="5739393" y="5518129"/>
                </a:lnTo>
                <a:lnTo>
                  <a:pt x="5739393" y="5508258"/>
                </a:lnTo>
                <a:close/>
                <a:moveTo>
                  <a:pt x="5504099" y="5504220"/>
                </a:moveTo>
                <a:lnTo>
                  <a:pt x="5514010" y="5504220"/>
                </a:lnTo>
                <a:lnTo>
                  <a:pt x="5518029" y="5508258"/>
                </a:lnTo>
                <a:lnTo>
                  <a:pt x="5518029" y="5518129"/>
                </a:lnTo>
                <a:lnTo>
                  <a:pt x="5514010" y="5522168"/>
                </a:lnTo>
                <a:lnTo>
                  <a:pt x="5504099" y="5522168"/>
                </a:lnTo>
                <a:lnTo>
                  <a:pt x="5500080" y="5518129"/>
                </a:lnTo>
                <a:lnTo>
                  <a:pt x="5500080" y="5508258"/>
                </a:lnTo>
                <a:close/>
                <a:moveTo>
                  <a:pt x="5264784" y="5504220"/>
                </a:moveTo>
                <a:lnTo>
                  <a:pt x="5274694" y="5504220"/>
                </a:lnTo>
                <a:lnTo>
                  <a:pt x="5278713" y="5508258"/>
                </a:lnTo>
                <a:lnTo>
                  <a:pt x="5278713" y="5518129"/>
                </a:lnTo>
                <a:lnTo>
                  <a:pt x="5274694" y="5522168"/>
                </a:lnTo>
                <a:lnTo>
                  <a:pt x="5264784" y="5522168"/>
                </a:lnTo>
                <a:lnTo>
                  <a:pt x="5260765" y="5518129"/>
                </a:lnTo>
                <a:lnTo>
                  <a:pt x="5260765" y="5508258"/>
                </a:lnTo>
                <a:close/>
                <a:moveTo>
                  <a:pt x="5025470" y="5504220"/>
                </a:moveTo>
                <a:lnTo>
                  <a:pt x="5035381" y="5504220"/>
                </a:lnTo>
                <a:lnTo>
                  <a:pt x="5039400" y="5508258"/>
                </a:lnTo>
                <a:lnTo>
                  <a:pt x="5039400" y="5518129"/>
                </a:lnTo>
                <a:lnTo>
                  <a:pt x="5035381" y="5522168"/>
                </a:lnTo>
                <a:lnTo>
                  <a:pt x="5025470" y="5522168"/>
                </a:lnTo>
                <a:lnTo>
                  <a:pt x="5021451" y="5518129"/>
                </a:lnTo>
                <a:lnTo>
                  <a:pt x="5021451" y="5508258"/>
                </a:lnTo>
                <a:close/>
                <a:moveTo>
                  <a:pt x="4786241" y="5504220"/>
                </a:moveTo>
                <a:lnTo>
                  <a:pt x="4796152" y="5504220"/>
                </a:lnTo>
                <a:lnTo>
                  <a:pt x="4800171" y="5508258"/>
                </a:lnTo>
                <a:lnTo>
                  <a:pt x="4800171" y="5518129"/>
                </a:lnTo>
                <a:lnTo>
                  <a:pt x="4796152" y="5522168"/>
                </a:lnTo>
                <a:lnTo>
                  <a:pt x="4786241" y="5522168"/>
                </a:lnTo>
                <a:lnTo>
                  <a:pt x="4782224" y="5518129"/>
                </a:lnTo>
                <a:lnTo>
                  <a:pt x="4782224" y="5508258"/>
                </a:lnTo>
                <a:close/>
                <a:moveTo>
                  <a:pt x="4546929" y="5504220"/>
                </a:moveTo>
                <a:lnTo>
                  <a:pt x="4556840" y="5504220"/>
                </a:lnTo>
                <a:lnTo>
                  <a:pt x="4560859" y="5508258"/>
                </a:lnTo>
                <a:lnTo>
                  <a:pt x="4560859" y="5518129"/>
                </a:lnTo>
                <a:lnTo>
                  <a:pt x="4556840" y="5522168"/>
                </a:lnTo>
                <a:lnTo>
                  <a:pt x="4546929" y="5522168"/>
                </a:lnTo>
                <a:lnTo>
                  <a:pt x="4542910" y="5518129"/>
                </a:lnTo>
                <a:lnTo>
                  <a:pt x="4542910" y="5508258"/>
                </a:lnTo>
                <a:close/>
                <a:moveTo>
                  <a:pt x="4307612" y="5504220"/>
                </a:moveTo>
                <a:lnTo>
                  <a:pt x="4317523" y="5504220"/>
                </a:lnTo>
                <a:lnTo>
                  <a:pt x="4321543" y="5508258"/>
                </a:lnTo>
                <a:lnTo>
                  <a:pt x="4321543" y="5518129"/>
                </a:lnTo>
                <a:lnTo>
                  <a:pt x="4317523" y="5522168"/>
                </a:lnTo>
                <a:lnTo>
                  <a:pt x="4307612" y="5522168"/>
                </a:lnTo>
                <a:lnTo>
                  <a:pt x="4303595" y="5518129"/>
                </a:lnTo>
                <a:lnTo>
                  <a:pt x="4303595" y="5508258"/>
                </a:lnTo>
                <a:close/>
                <a:moveTo>
                  <a:pt x="4068297" y="5504220"/>
                </a:moveTo>
                <a:lnTo>
                  <a:pt x="4078210" y="5504220"/>
                </a:lnTo>
                <a:lnTo>
                  <a:pt x="4082229" y="5508258"/>
                </a:lnTo>
                <a:lnTo>
                  <a:pt x="4082229" y="5518129"/>
                </a:lnTo>
                <a:lnTo>
                  <a:pt x="4078210" y="5522168"/>
                </a:lnTo>
                <a:lnTo>
                  <a:pt x="4068297" y="5522168"/>
                </a:lnTo>
                <a:lnTo>
                  <a:pt x="4064278" y="5518129"/>
                </a:lnTo>
                <a:lnTo>
                  <a:pt x="4064278" y="5508258"/>
                </a:lnTo>
                <a:close/>
                <a:moveTo>
                  <a:pt x="3828990" y="5504220"/>
                </a:moveTo>
                <a:lnTo>
                  <a:pt x="3838899" y="5504220"/>
                </a:lnTo>
                <a:lnTo>
                  <a:pt x="3842917" y="5508258"/>
                </a:lnTo>
                <a:lnTo>
                  <a:pt x="3842917" y="5518129"/>
                </a:lnTo>
                <a:lnTo>
                  <a:pt x="3838899" y="5522168"/>
                </a:lnTo>
                <a:lnTo>
                  <a:pt x="3828990" y="5522168"/>
                </a:lnTo>
                <a:lnTo>
                  <a:pt x="3824971" y="5518129"/>
                </a:lnTo>
                <a:lnTo>
                  <a:pt x="3824971" y="5508258"/>
                </a:lnTo>
                <a:close/>
                <a:moveTo>
                  <a:pt x="3589676" y="5504220"/>
                </a:moveTo>
                <a:lnTo>
                  <a:pt x="3599585" y="5504220"/>
                </a:lnTo>
                <a:lnTo>
                  <a:pt x="3603604" y="5508258"/>
                </a:lnTo>
                <a:lnTo>
                  <a:pt x="3603604" y="5518129"/>
                </a:lnTo>
                <a:lnTo>
                  <a:pt x="3599585" y="5522168"/>
                </a:lnTo>
                <a:lnTo>
                  <a:pt x="3589676" y="5522168"/>
                </a:lnTo>
                <a:lnTo>
                  <a:pt x="3585657" y="5518129"/>
                </a:lnTo>
                <a:lnTo>
                  <a:pt x="3585657" y="5508258"/>
                </a:lnTo>
                <a:close/>
                <a:moveTo>
                  <a:pt x="3350359" y="5504220"/>
                </a:moveTo>
                <a:lnTo>
                  <a:pt x="3360268" y="5504220"/>
                </a:lnTo>
                <a:lnTo>
                  <a:pt x="3364287" y="5508258"/>
                </a:lnTo>
                <a:lnTo>
                  <a:pt x="3364287" y="5518129"/>
                </a:lnTo>
                <a:lnTo>
                  <a:pt x="3360268" y="5522168"/>
                </a:lnTo>
                <a:lnTo>
                  <a:pt x="3350359" y="5522168"/>
                </a:lnTo>
                <a:lnTo>
                  <a:pt x="3346340" y="5518129"/>
                </a:lnTo>
                <a:lnTo>
                  <a:pt x="3346340" y="5508258"/>
                </a:lnTo>
                <a:close/>
                <a:moveTo>
                  <a:pt x="3111048" y="5504220"/>
                </a:moveTo>
                <a:lnTo>
                  <a:pt x="3120959" y="5504220"/>
                </a:lnTo>
                <a:lnTo>
                  <a:pt x="3124977" y="5508258"/>
                </a:lnTo>
                <a:lnTo>
                  <a:pt x="3124977" y="5518129"/>
                </a:lnTo>
                <a:lnTo>
                  <a:pt x="3120959" y="5522168"/>
                </a:lnTo>
                <a:lnTo>
                  <a:pt x="3111048" y="5522168"/>
                </a:lnTo>
                <a:lnTo>
                  <a:pt x="3107029" y="5518129"/>
                </a:lnTo>
                <a:lnTo>
                  <a:pt x="3107029" y="5508258"/>
                </a:lnTo>
                <a:close/>
                <a:moveTo>
                  <a:pt x="2871737" y="5504220"/>
                </a:moveTo>
                <a:lnTo>
                  <a:pt x="2881646" y="5504220"/>
                </a:lnTo>
                <a:lnTo>
                  <a:pt x="2885666" y="5508258"/>
                </a:lnTo>
                <a:lnTo>
                  <a:pt x="2885666" y="5518129"/>
                </a:lnTo>
                <a:lnTo>
                  <a:pt x="2881646" y="5522168"/>
                </a:lnTo>
                <a:lnTo>
                  <a:pt x="2871737" y="5522168"/>
                </a:lnTo>
                <a:lnTo>
                  <a:pt x="2867717" y="5518129"/>
                </a:lnTo>
                <a:lnTo>
                  <a:pt x="2867717" y="5508258"/>
                </a:lnTo>
                <a:close/>
                <a:moveTo>
                  <a:pt x="2632423" y="5504220"/>
                </a:moveTo>
                <a:lnTo>
                  <a:pt x="2642334" y="5504220"/>
                </a:lnTo>
                <a:lnTo>
                  <a:pt x="2646352" y="5508258"/>
                </a:lnTo>
                <a:lnTo>
                  <a:pt x="2646352" y="5518129"/>
                </a:lnTo>
                <a:lnTo>
                  <a:pt x="2642334" y="5522168"/>
                </a:lnTo>
                <a:lnTo>
                  <a:pt x="2632423" y="5522168"/>
                </a:lnTo>
                <a:lnTo>
                  <a:pt x="2628404" y="5518129"/>
                </a:lnTo>
                <a:lnTo>
                  <a:pt x="2628404" y="5508258"/>
                </a:lnTo>
                <a:close/>
                <a:moveTo>
                  <a:pt x="2393104" y="5504220"/>
                </a:moveTo>
                <a:lnTo>
                  <a:pt x="2403015" y="5504220"/>
                </a:lnTo>
                <a:lnTo>
                  <a:pt x="2407034" y="5508258"/>
                </a:lnTo>
                <a:lnTo>
                  <a:pt x="2407034" y="5518129"/>
                </a:lnTo>
                <a:lnTo>
                  <a:pt x="2403015" y="5522168"/>
                </a:lnTo>
                <a:lnTo>
                  <a:pt x="2393104" y="5522168"/>
                </a:lnTo>
                <a:lnTo>
                  <a:pt x="2389087" y="5518129"/>
                </a:lnTo>
                <a:lnTo>
                  <a:pt x="2389087" y="5508258"/>
                </a:lnTo>
                <a:close/>
                <a:moveTo>
                  <a:pt x="2157818" y="5504220"/>
                </a:moveTo>
                <a:lnTo>
                  <a:pt x="2167728" y="5504220"/>
                </a:lnTo>
                <a:lnTo>
                  <a:pt x="2171748" y="5508258"/>
                </a:lnTo>
                <a:lnTo>
                  <a:pt x="2171748" y="5518129"/>
                </a:lnTo>
                <a:lnTo>
                  <a:pt x="2167728" y="5522168"/>
                </a:lnTo>
                <a:lnTo>
                  <a:pt x="2157818" y="5522168"/>
                </a:lnTo>
                <a:lnTo>
                  <a:pt x="2153799" y="5518129"/>
                </a:lnTo>
                <a:lnTo>
                  <a:pt x="2153799" y="5508258"/>
                </a:lnTo>
                <a:close/>
                <a:moveTo>
                  <a:pt x="1918510" y="5504220"/>
                </a:moveTo>
                <a:lnTo>
                  <a:pt x="1928420" y="5504220"/>
                </a:lnTo>
                <a:lnTo>
                  <a:pt x="1932438" y="5508258"/>
                </a:lnTo>
                <a:lnTo>
                  <a:pt x="1932438" y="5518129"/>
                </a:lnTo>
                <a:lnTo>
                  <a:pt x="1928420" y="5522168"/>
                </a:lnTo>
                <a:lnTo>
                  <a:pt x="1918510" y="5522168"/>
                </a:lnTo>
                <a:lnTo>
                  <a:pt x="1914490" y="5518129"/>
                </a:lnTo>
                <a:lnTo>
                  <a:pt x="1914490" y="5508258"/>
                </a:lnTo>
                <a:close/>
                <a:moveTo>
                  <a:pt x="1679202" y="5504220"/>
                </a:moveTo>
                <a:lnTo>
                  <a:pt x="1689112" y="5504220"/>
                </a:lnTo>
                <a:lnTo>
                  <a:pt x="1693132" y="5508258"/>
                </a:lnTo>
                <a:lnTo>
                  <a:pt x="1693132" y="5518129"/>
                </a:lnTo>
                <a:lnTo>
                  <a:pt x="1689112" y="5522168"/>
                </a:lnTo>
                <a:lnTo>
                  <a:pt x="1679202" y="5522168"/>
                </a:lnTo>
                <a:lnTo>
                  <a:pt x="1675184" y="5518129"/>
                </a:lnTo>
                <a:lnTo>
                  <a:pt x="1675184" y="5508258"/>
                </a:lnTo>
                <a:close/>
                <a:moveTo>
                  <a:pt x="1439887" y="5504220"/>
                </a:moveTo>
                <a:lnTo>
                  <a:pt x="1449797" y="5504220"/>
                </a:lnTo>
                <a:lnTo>
                  <a:pt x="1453815" y="5508258"/>
                </a:lnTo>
                <a:lnTo>
                  <a:pt x="1453815" y="5518129"/>
                </a:lnTo>
                <a:lnTo>
                  <a:pt x="1449797" y="5522168"/>
                </a:lnTo>
                <a:lnTo>
                  <a:pt x="1439887" y="5522168"/>
                </a:lnTo>
                <a:lnTo>
                  <a:pt x="1435869" y="5518129"/>
                </a:lnTo>
                <a:lnTo>
                  <a:pt x="1435869" y="5508258"/>
                </a:lnTo>
                <a:close/>
                <a:moveTo>
                  <a:pt x="1200572" y="5504220"/>
                </a:moveTo>
                <a:lnTo>
                  <a:pt x="1210483" y="5504220"/>
                </a:lnTo>
                <a:lnTo>
                  <a:pt x="1214501" y="5508258"/>
                </a:lnTo>
                <a:lnTo>
                  <a:pt x="1214501" y="5518129"/>
                </a:lnTo>
                <a:lnTo>
                  <a:pt x="1210483" y="5522168"/>
                </a:lnTo>
                <a:lnTo>
                  <a:pt x="1200572" y="5522168"/>
                </a:lnTo>
                <a:lnTo>
                  <a:pt x="1196554" y="5518129"/>
                </a:lnTo>
                <a:lnTo>
                  <a:pt x="1196554" y="5508258"/>
                </a:lnTo>
                <a:close/>
                <a:moveTo>
                  <a:pt x="961260" y="5504220"/>
                </a:moveTo>
                <a:lnTo>
                  <a:pt x="971169" y="5504220"/>
                </a:lnTo>
                <a:lnTo>
                  <a:pt x="975189" y="5508258"/>
                </a:lnTo>
                <a:lnTo>
                  <a:pt x="975189" y="5518129"/>
                </a:lnTo>
                <a:lnTo>
                  <a:pt x="971169" y="5522168"/>
                </a:lnTo>
                <a:lnTo>
                  <a:pt x="961260" y="5522168"/>
                </a:lnTo>
                <a:lnTo>
                  <a:pt x="957241" y="5518129"/>
                </a:lnTo>
                <a:lnTo>
                  <a:pt x="957241" y="5508258"/>
                </a:lnTo>
                <a:close/>
                <a:moveTo>
                  <a:pt x="721961" y="5504220"/>
                </a:moveTo>
                <a:lnTo>
                  <a:pt x="731871" y="5504220"/>
                </a:lnTo>
                <a:lnTo>
                  <a:pt x="735890" y="5508258"/>
                </a:lnTo>
                <a:lnTo>
                  <a:pt x="735890" y="5518129"/>
                </a:lnTo>
                <a:lnTo>
                  <a:pt x="731871" y="5522168"/>
                </a:lnTo>
                <a:lnTo>
                  <a:pt x="721961" y="5522168"/>
                </a:lnTo>
                <a:lnTo>
                  <a:pt x="717942" y="5518129"/>
                </a:lnTo>
                <a:lnTo>
                  <a:pt x="717942" y="5508258"/>
                </a:lnTo>
                <a:close/>
                <a:moveTo>
                  <a:pt x="482649" y="5504220"/>
                </a:moveTo>
                <a:lnTo>
                  <a:pt x="492559" y="5504220"/>
                </a:lnTo>
                <a:lnTo>
                  <a:pt x="496578" y="5508258"/>
                </a:lnTo>
                <a:lnTo>
                  <a:pt x="496578" y="5518129"/>
                </a:lnTo>
                <a:lnTo>
                  <a:pt x="492559" y="5522168"/>
                </a:lnTo>
                <a:lnTo>
                  <a:pt x="482649" y="5522168"/>
                </a:lnTo>
                <a:lnTo>
                  <a:pt x="478630" y="5518129"/>
                </a:lnTo>
                <a:lnTo>
                  <a:pt x="478630" y="5508258"/>
                </a:lnTo>
                <a:close/>
                <a:moveTo>
                  <a:pt x="243335" y="5504220"/>
                </a:moveTo>
                <a:lnTo>
                  <a:pt x="253245" y="5504220"/>
                </a:lnTo>
                <a:lnTo>
                  <a:pt x="257264" y="5508258"/>
                </a:lnTo>
                <a:lnTo>
                  <a:pt x="257264" y="5518129"/>
                </a:lnTo>
                <a:lnTo>
                  <a:pt x="253245" y="5522168"/>
                </a:lnTo>
                <a:lnTo>
                  <a:pt x="243335" y="5522168"/>
                </a:lnTo>
                <a:lnTo>
                  <a:pt x="239316" y="5518129"/>
                </a:lnTo>
                <a:lnTo>
                  <a:pt x="239316" y="5508258"/>
                </a:lnTo>
                <a:close/>
                <a:moveTo>
                  <a:pt x="4022" y="5504220"/>
                </a:moveTo>
                <a:lnTo>
                  <a:pt x="13932" y="5504220"/>
                </a:lnTo>
                <a:lnTo>
                  <a:pt x="17951" y="5508258"/>
                </a:lnTo>
                <a:lnTo>
                  <a:pt x="17951" y="5518129"/>
                </a:lnTo>
                <a:lnTo>
                  <a:pt x="13932" y="5522168"/>
                </a:lnTo>
                <a:lnTo>
                  <a:pt x="4022" y="5522168"/>
                </a:lnTo>
                <a:lnTo>
                  <a:pt x="3" y="5518129"/>
                </a:lnTo>
                <a:lnTo>
                  <a:pt x="3" y="5508258"/>
                </a:lnTo>
                <a:close/>
                <a:moveTo>
                  <a:pt x="2157818" y="5264940"/>
                </a:moveTo>
                <a:lnTo>
                  <a:pt x="2167729" y="5264940"/>
                </a:lnTo>
                <a:lnTo>
                  <a:pt x="2171748" y="5268978"/>
                </a:lnTo>
                <a:lnTo>
                  <a:pt x="2171748" y="5278849"/>
                </a:lnTo>
                <a:lnTo>
                  <a:pt x="2167729" y="5282888"/>
                </a:lnTo>
                <a:lnTo>
                  <a:pt x="2157818" y="5282888"/>
                </a:lnTo>
                <a:lnTo>
                  <a:pt x="2153799" y="5278849"/>
                </a:lnTo>
                <a:lnTo>
                  <a:pt x="2153799" y="5268978"/>
                </a:lnTo>
                <a:close/>
                <a:moveTo>
                  <a:pt x="1918510" y="5264940"/>
                </a:moveTo>
                <a:lnTo>
                  <a:pt x="1928420" y="5264940"/>
                </a:lnTo>
                <a:lnTo>
                  <a:pt x="1932438" y="5268978"/>
                </a:lnTo>
                <a:lnTo>
                  <a:pt x="1932438" y="5278849"/>
                </a:lnTo>
                <a:lnTo>
                  <a:pt x="1928420" y="5282888"/>
                </a:lnTo>
                <a:lnTo>
                  <a:pt x="1918510" y="5282888"/>
                </a:lnTo>
                <a:lnTo>
                  <a:pt x="1914492" y="5278849"/>
                </a:lnTo>
                <a:lnTo>
                  <a:pt x="1914492" y="5268978"/>
                </a:lnTo>
                <a:close/>
                <a:moveTo>
                  <a:pt x="1679204" y="5264940"/>
                </a:moveTo>
                <a:lnTo>
                  <a:pt x="1689113" y="5264940"/>
                </a:lnTo>
                <a:lnTo>
                  <a:pt x="1693132" y="5268978"/>
                </a:lnTo>
                <a:lnTo>
                  <a:pt x="1693132" y="5278849"/>
                </a:lnTo>
                <a:lnTo>
                  <a:pt x="1689113" y="5282888"/>
                </a:lnTo>
                <a:lnTo>
                  <a:pt x="1679204" y="5282888"/>
                </a:lnTo>
                <a:lnTo>
                  <a:pt x="1675184" y="5278849"/>
                </a:lnTo>
                <a:lnTo>
                  <a:pt x="1675184" y="5268978"/>
                </a:lnTo>
                <a:close/>
                <a:moveTo>
                  <a:pt x="1439889" y="5264940"/>
                </a:moveTo>
                <a:lnTo>
                  <a:pt x="1449798" y="5264940"/>
                </a:lnTo>
                <a:lnTo>
                  <a:pt x="1453817" y="5268978"/>
                </a:lnTo>
                <a:lnTo>
                  <a:pt x="1453817" y="5278849"/>
                </a:lnTo>
                <a:lnTo>
                  <a:pt x="1449798" y="5282888"/>
                </a:lnTo>
                <a:lnTo>
                  <a:pt x="1439889" y="5282888"/>
                </a:lnTo>
                <a:lnTo>
                  <a:pt x="1435869" y="5278849"/>
                </a:lnTo>
                <a:lnTo>
                  <a:pt x="1435869" y="5268978"/>
                </a:lnTo>
                <a:close/>
                <a:moveTo>
                  <a:pt x="1200573" y="5264940"/>
                </a:moveTo>
                <a:lnTo>
                  <a:pt x="1210483" y="5264940"/>
                </a:lnTo>
                <a:lnTo>
                  <a:pt x="1214502" y="5268978"/>
                </a:lnTo>
                <a:lnTo>
                  <a:pt x="1214502" y="5278849"/>
                </a:lnTo>
                <a:lnTo>
                  <a:pt x="1210483" y="5282888"/>
                </a:lnTo>
                <a:lnTo>
                  <a:pt x="1200573" y="5282888"/>
                </a:lnTo>
                <a:lnTo>
                  <a:pt x="1196554" y="5278849"/>
                </a:lnTo>
                <a:lnTo>
                  <a:pt x="1196554" y="5268978"/>
                </a:lnTo>
                <a:close/>
                <a:moveTo>
                  <a:pt x="961260" y="5264940"/>
                </a:moveTo>
                <a:lnTo>
                  <a:pt x="971171" y="5264940"/>
                </a:lnTo>
                <a:lnTo>
                  <a:pt x="975189" y="5268978"/>
                </a:lnTo>
                <a:lnTo>
                  <a:pt x="975189" y="5278849"/>
                </a:lnTo>
                <a:lnTo>
                  <a:pt x="971171" y="5282888"/>
                </a:lnTo>
                <a:lnTo>
                  <a:pt x="961260" y="5282888"/>
                </a:lnTo>
                <a:lnTo>
                  <a:pt x="957241" y="5278849"/>
                </a:lnTo>
                <a:lnTo>
                  <a:pt x="957241" y="5268978"/>
                </a:lnTo>
                <a:close/>
                <a:moveTo>
                  <a:pt x="9572438" y="5264889"/>
                </a:moveTo>
                <a:lnTo>
                  <a:pt x="9582349" y="5264889"/>
                </a:lnTo>
                <a:lnTo>
                  <a:pt x="9586368" y="5268928"/>
                </a:lnTo>
                <a:lnTo>
                  <a:pt x="9586368" y="5278799"/>
                </a:lnTo>
                <a:lnTo>
                  <a:pt x="9582349" y="5282838"/>
                </a:lnTo>
                <a:lnTo>
                  <a:pt x="9572438" y="5282838"/>
                </a:lnTo>
                <a:lnTo>
                  <a:pt x="9568419" y="5278799"/>
                </a:lnTo>
                <a:lnTo>
                  <a:pt x="9568419" y="5268928"/>
                </a:lnTo>
                <a:close/>
                <a:moveTo>
                  <a:pt x="9333125" y="5264889"/>
                </a:moveTo>
                <a:lnTo>
                  <a:pt x="9343036" y="5264889"/>
                </a:lnTo>
                <a:lnTo>
                  <a:pt x="9347055" y="5268928"/>
                </a:lnTo>
                <a:lnTo>
                  <a:pt x="9347055" y="5278799"/>
                </a:lnTo>
                <a:lnTo>
                  <a:pt x="9343036" y="5282838"/>
                </a:lnTo>
                <a:lnTo>
                  <a:pt x="9333125" y="5282838"/>
                </a:lnTo>
                <a:lnTo>
                  <a:pt x="9329106" y="5278799"/>
                </a:lnTo>
                <a:lnTo>
                  <a:pt x="9329106" y="5268928"/>
                </a:lnTo>
                <a:close/>
                <a:moveTo>
                  <a:pt x="9093811" y="5264889"/>
                </a:moveTo>
                <a:lnTo>
                  <a:pt x="9103722" y="5264889"/>
                </a:lnTo>
                <a:lnTo>
                  <a:pt x="9107741" y="5268928"/>
                </a:lnTo>
                <a:lnTo>
                  <a:pt x="9107741" y="5278799"/>
                </a:lnTo>
                <a:lnTo>
                  <a:pt x="9103722" y="5282838"/>
                </a:lnTo>
                <a:lnTo>
                  <a:pt x="9093811" y="5282838"/>
                </a:lnTo>
                <a:lnTo>
                  <a:pt x="9089792" y="5278799"/>
                </a:lnTo>
                <a:lnTo>
                  <a:pt x="9089792" y="5268928"/>
                </a:lnTo>
                <a:close/>
                <a:moveTo>
                  <a:pt x="8854496" y="5264889"/>
                </a:moveTo>
                <a:lnTo>
                  <a:pt x="8864407" y="5264889"/>
                </a:lnTo>
                <a:lnTo>
                  <a:pt x="8868426" y="5268928"/>
                </a:lnTo>
                <a:lnTo>
                  <a:pt x="8868426" y="5278799"/>
                </a:lnTo>
                <a:lnTo>
                  <a:pt x="8864407" y="5282838"/>
                </a:lnTo>
                <a:lnTo>
                  <a:pt x="8854496" y="5282838"/>
                </a:lnTo>
                <a:lnTo>
                  <a:pt x="8850477" y="5278799"/>
                </a:lnTo>
                <a:lnTo>
                  <a:pt x="8850477" y="5268928"/>
                </a:lnTo>
                <a:close/>
                <a:moveTo>
                  <a:pt x="8615184" y="5264889"/>
                </a:moveTo>
                <a:lnTo>
                  <a:pt x="8625095" y="5264889"/>
                </a:lnTo>
                <a:lnTo>
                  <a:pt x="8629114" y="5268928"/>
                </a:lnTo>
                <a:lnTo>
                  <a:pt x="8629114" y="5278799"/>
                </a:lnTo>
                <a:lnTo>
                  <a:pt x="8625095" y="5282838"/>
                </a:lnTo>
                <a:lnTo>
                  <a:pt x="8615184" y="5282838"/>
                </a:lnTo>
                <a:lnTo>
                  <a:pt x="8611165" y="5278799"/>
                </a:lnTo>
                <a:lnTo>
                  <a:pt x="8611165" y="5268928"/>
                </a:lnTo>
                <a:close/>
                <a:moveTo>
                  <a:pt x="8375869" y="5264889"/>
                </a:moveTo>
                <a:lnTo>
                  <a:pt x="8385779" y="5264889"/>
                </a:lnTo>
                <a:lnTo>
                  <a:pt x="8389799" y="5268928"/>
                </a:lnTo>
                <a:lnTo>
                  <a:pt x="8389799" y="5278799"/>
                </a:lnTo>
                <a:lnTo>
                  <a:pt x="8385779" y="5282838"/>
                </a:lnTo>
                <a:lnTo>
                  <a:pt x="8375869" y="5282838"/>
                </a:lnTo>
                <a:lnTo>
                  <a:pt x="8371850" y="5278799"/>
                </a:lnTo>
                <a:lnTo>
                  <a:pt x="8371850" y="5268928"/>
                </a:lnTo>
                <a:close/>
                <a:moveTo>
                  <a:pt x="8136553" y="5264889"/>
                </a:moveTo>
                <a:lnTo>
                  <a:pt x="8146464" y="5264889"/>
                </a:lnTo>
                <a:lnTo>
                  <a:pt x="8150483" y="5268928"/>
                </a:lnTo>
                <a:lnTo>
                  <a:pt x="8150483" y="5278799"/>
                </a:lnTo>
                <a:lnTo>
                  <a:pt x="8146464" y="5282838"/>
                </a:lnTo>
                <a:lnTo>
                  <a:pt x="8136553" y="5282838"/>
                </a:lnTo>
                <a:lnTo>
                  <a:pt x="8132534" y="5278799"/>
                </a:lnTo>
                <a:lnTo>
                  <a:pt x="8132534" y="5268928"/>
                </a:lnTo>
                <a:close/>
                <a:moveTo>
                  <a:pt x="7897241" y="5264889"/>
                </a:moveTo>
                <a:lnTo>
                  <a:pt x="7907151" y="5264889"/>
                </a:lnTo>
                <a:lnTo>
                  <a:pt x="7911170" y="5268928"/>
                </a:lnTo>
                <a:lnTo>
                  <a:pt x="7911170" y="5278799"/>
                </a:lnTo>
                <a:lnTo>
                  <a:pt x="7907151" y="5282838"/>
                </a:lnTo>
                <a:lnTo>
                  <a:pt x="7897241" y="5282838"/>
                </a:lnTo>
                <a:lnTo>
                  <a:pt x="7893222" y="5278799"/>
                </a:lnTo>
                <a:lnTo>
                  <a:pt x="7893222" y="5268928"/>
                </a:lnTo>
                <a:close/>
                <a:moveTo>
                  <a:pt x="7657926" y="5264889"/>
                </a:moveTo>
                <a:lnTo>
                  <a:pt x="7667836" y="5264889"/>
                </a:lnTo>
                <a:lnTo>
                  <a:pt x="7671855" y="5268928"/>
                </a:lnTo>
                <a:lnTo>
                  <a:pt x="7671855" y="5278799"/>
                </a:lnTo>
                <a:lnTo>
                  <a:pt x="7667836" y="5282838"/>
                </a:lnTo>
                <a:lnTo>
                  <a:pt x="7657926" y="5282838"/>
                </a:lnTo>
                <a:lnTo>
                  <a:pt x="7653906" y="5278799"/>
                </a:lnTo>
                <a:lnTo>
                  <a:pt x="7653906" y="5268928"/>
                </a:lnTo>
                <a:close/>
                <a:moveTo>
                  <a:pt x="7418611" y="5264889"/>
                </a:moveTo>
                <a:lnTo>
                  <a:pt x="7428521" y="5264889"/>
                </a:lnTo>
                <a:lnTo>
                  <a:pt x="7432540" y="5268928"/>
                </a:lnTo>
                <a:lnTo>
                  <a:pt x="7432540" y="5278799"/>
                </a:lnTo>
                <a:lnTo>
                  <a:pt x="7428521" y="5282838"/>
                </a:lnTo>
                <a:lnTo>
                  <a:pt x="7418611" y="5282838"/>
                </a:lnTo>
                <a:lnTo>
                  <a:pt x="7414592" y="5278799"/>
                </a:lnTo>
                <a:lnTo>
                  <a:pt x="7414592" y="5268928"/>
                </a:lnTo>
                <a:close/>
                <a:moveTo>
                  <a:pt x="7179298" y="5264889"/>
                </a:moveTo>
                <a:lnTo>
                  <a:pt x="7189209" y="5264889"/>
                </a:lnTo>
                <a:lnTo>
                  <a:pt x="7193228" y="5268928"/>
                </a:lnTo>
                <a:lnTo>
                  <a:pt x="7193228" y="5278799"/>
                </a:lnTo>
                <a:lnTo>
                  <a:pt x="7189209" y="5282838"/>
                </a:lnTo>
                <a:lnTo>
                  <a:pt x="7179298" y="5282838"/>
                </a:lnTo>
                <a:lnTo>
                  <a:pt x="7175279" y="5278799"/>
                </a:lnTo>
                <a:lnTo>
                  <a:pt x="7175279" y="5268928"/>
                </a:lnTo>
                <a:close/>
                <a:moveTo>
                  <a:pt x="6939983" y="5264889"/>
                </a:moveTo>
                <a:lnTo>
                  <a:pt x="6949894" y="5264889"/>
                </a:lnTo>
                <a:lnTo>
                  <a:pt x="6953913" y="5268928"/>
                </a:lnTo>
                <a:lnTo>
                  <a:pt x="6953913" y="5278799"/>
                </a:lnTo>
                <a:lnTo>
                  <a:pt x="6949894" y="5282838"/>
                </a:lnTo>
                <a:lnTo>
                  <a:pt x="6939983" y="5282838"/>
                </a:lnTo>
                <a:lnTo>
                  <a:pt x="6935964" y="5278799"/>
                </a:lnTo>
                <a:lnTo>
                  <a:pt x="6935964" y="5268928"/>
                </a:lnTo>
                <a:close/>
                <a:moveTo>
                  <a:pt x="6700670" y="5264889"/>
                </a:moveTo>
                <a:lnTo>
                  <a:pt x="6710581" y="5264889"/>
                </a:lnTo>
                <a:lnTo>
                  <a:pt x="6714600" y="5268928"/>
                </a:lnTo>
                <a:lnTo>
                  <a:pt x="6714600" y="5278799"/>
                </a:lnTo>
                <a:lnTo>
                  <a:pt x="6710581" y="5282838"/>
                </a:lnTo>
                <a:lnTo>
                  <a:pt x="6700670" y="5282838"/>
                </a:lnTo>
                <a:lnTo>
                  <a:pt x="6696651" y="5278799"/>
                </a:lnTo>
                <a:lnTo>
                  <a:pt x="6696651" y="5268928"/>
                </a:lnTo>
                <a:close/>
                <a:moveTo>
                  <a:pt x="6461356" y="5264889"/>
                </a:moveTo>
                <a:lnTo>
                  <a:pt x="6471266" y="5264889"/>
                </a:lnTo>
                <a:lnTo>
                  <a:pt x="6475285" y="5268928"/>
                </a:lnTo>
                <a:lnTo>
                  <a:pt x="6475285" y="5278799"/>
                </a:lnTo>
                <a:lnTo>
                  <a:pt x="6471266" y="5282838"/>
                </a:lnTo>
                <a:lnTo>
                  <a:pt x="6461356" y="5282838"/>
                </a:lnTo>
                <a:lnTo>
                  <a:pt x="6457337" y="5278799"/>
                </a:lnTo>
                <a:lnTo>
                  <a:pt x="6457337" y="5268928"/>
                </a:lnTo>
                <a:close/>
                <a:moveTo>
                  <a:pt x="6222042" y="5264889"/>
                </a:moveTo>
                <a:lnTo>
                  <a:pt x="6231952" y="5264889"/>
                </a:lnTo>
                <a:lnTo>
                  <a:pt x="6235971" y="5268928"/>
                </a:lnTo>
                <a:lnTo>
                  <a:pt x="6235971" y="5278799"/>
                </a:lnTo>
                <a:lnTo>
                  <a:pt x="6231952" y="5282838"/>
                </a:lnTo>
                <a:lnTo>
                  <a:pt x="6222042" y="5282838"/>
                </a:lnTo>
                <a:lnTo>
                  <a:pt x="6218023" y="5278799"/>
                </a:lnTo>
                <a:lnTo>
                  <a:pt x="6218023" y="5268928"/>
                </a:lnTo>
                <a:close/>
                <a:moveTo>
                  <a:pt x="5982729" y="5264889"/>
                </a:moveTo>
                <a:lnTo>
                  <a:pt x="5992639" y="5264889"/>
                </a:lnTo>
                <a:lnTo>
                  <a:pt x="5996658" y="5268928"/>
                </a:lnTo>
                <a:lnTo>
                  <a:pt x="5996658" y="5278799"/>
                </a:lnTo>
                <a:lnTo>
                  <a:pt x="5992639" y="5282838"/>
                </a:lnTo>
                <a:lnTo>
                  <a:pt x="5982729" y="5282838"/>
                </a:lnTo>
                <a:lnTo>
                  <a:pt x="5978710" y="5278799"/>
                </a:lnTo>
                <a:lnTo>
                  <a:pt x="5978710" y="5268928"/>
                </a:lnTo>
                <a:close/>
                <a:moveTo>
                  <a:pt x="5743412" y="5264889"/>
                </a:moveTo>
                <a:lnTo>
                  <a:pt x="5753323" y="5264889"/>
                </a:lnTo>
                <a:lnTo>
                  <a:pt x="5757342" y="5268928"/>
                </a:lnTo>
                <a:lnTo>
                  <a:pt x="5757342" y="5278799"/>
                </a:lnTo>
                <a:lnTo>
                  <a:pt x="5753323" y="5282838"/>
                </a:lnTo>
                <a:lnTo>
                  <a:pt x="5743412" y="5282838"/>
                </a:lnTo>
                <a:lnTo>
                  <a:pt x="5739393" y="5278799"/>
                </a:lnTo>
                <a:lnTo>
                  <a:pt x="5739393" y="5268928"/>
                </a:lnTo>
                <a:close/>
                <a:moveTo>
                  <a:pt x="5504099" y="5264889"/>
                </a:moveTo>
                <a:lnTo>
                  <a:pt x="5514010" y="5264889"/>
                </a:lnTo>
                <a:lnTo>
                  <a:pt x="5518029" y="5268928"/>
                </a:lnTo>
                <a:lnTo>
                  <a:pt x="5518029" y="5278799"/>
                </a:lnTo>
                <a:lnTo>
                  <a:pt x="5514010" y="5282838"/>
                </a:lnTo>
                <a:lnTo>
                  <a:pt x="5504099" y="5282838"/>
                </a:lnTo>
                <a:lnTo>
                  <a:pt x="5500080" y="5278799"/>
                </a:lnTo>
                <a:lnTo>
                  <a:pt x="5500080" y="5268928"/>
                </a:lnTo>
                <a:close/>
                <a:moveTo>
                  <a:pt x="5264784" y="5264889"/>
                </a:moveTo>
                <a:lnTo>
                  <a:pt x="5274694" y="5264889"/>
                </a:lnTo>
                <a:lnTo>
                  <a:pt x="5278713" y="5268928"/>
                </a:lnTo>
                <a:lnTo>
                  <a:pt x="5278713" y="5278799"/>
                </a:lnTo>
                <a:lnTo>
                  <a:pt x="5274694" y="5282838"/>
                </a:lnTo>
                <a:lnTo>
                  <a:pt x="5264784" y="5282838"/>
                </a:lnTo>
                <a:lnTo>
                  <a:pt x="5260765" y="5278799"/>
                </a:lnTo>
                <a:lnTo>
                  <a:pt x="5260765" y="5268928"/>
                </a:lnTo>
                <a:close/>
                <a:moveTo>
                  <a:pt x="5025470" y="5264889"/>
                </a:moveTo>
                <a:lnTo>
                  <a:pt x="5035381" y="5264889"/>
                </a:lnTo>
                <a:lnTo>
                  <a:pt x="5039400" y="5268928"/>
                </a:lnTo>
                <a:lnTo>
                  <a:pt x="5039400" y="5278799"/>
                </a:lnTo>
                <a:lnTo>
                  <a:pt x="5035381" y="5282838"/>
                </a:lnTo>
                <a:lnTo>
                  <a:pt x="5025470" y="5282838"/>
                </a:lnTo>
                <a:lnTo>
                  <a:pt x="5021451" y="5278799"/>
                </a:lnTo>
                <a:lnTo>
                  <a:pt x="5021451" y="5268928"/>
                </a:lnTo>
                <a:close/>
                <a:moveTo>
                  <a:pt x="4786241" y="5264889"/>
                </a:moveTo>
                <a:lnTo>
                  <a:pt x="4796152" y="5264889"/>
                </a:lnTo>
                <a:lnTo>
                  <a:pt x="4800171" y="5268928"/>
                </a:lnTo>
                <a:lnTo>
                  <a:pt x="4800171" y="5278799"/>
                </a:lnTo>
                <a:lnTo>
                  <a:pt x="4796152" y="5282838"/>
                </a:lnTo>
                <a:lnTo>
                  <a:pt x="4786241" y="5282838"/>
                </a:lnTo>
                <a:lnTo>
                  <a:pt x="4782224" y="5278799"/>
                </a:lnTo>
                <a:lnTo>
                  <a:pt x="4782224" y="5268928"/>
                </a:lnTo>
                <a:close/>
                <a:moveTo>
                  <a:pt x="4546929" y="5264889"/>
                </a:moveTo>
                <a:lnTo>
                  <a:pt x="4556840" y="5264889"/>
                </a:lnTo>
                <a:lnTo>
                  <a:pt x="4560859" y="5268928"/>
                </a:lnTo>
                <a:lnTo>
                  <a:pt x="4560859" y="5278799"/>
                </a:lnTo>
                <a:lnTo>
                  <a:pt x="4556840" y="5282838"/>
                </a:lnTo>
                <a:lnTo>
                  <a:pt x="4546929" y="5282838"/>
                </a:lnTo>
                <a:lnTo>
                  <a:pt x="4542910" y="5278799"/>
                </a:lnTo>
                <a:lnTo>
                  <a:pt x="4542910" y="5268928"/>
                </a:lnTo>
                <a:close/>
                <a:moveTo>
                  <a:pt x="4307612" y="5264889"/>
                </a:moveTo>
                <a:lnTo>
                  <a:pt x="4317523" y="5264889"/>
                </a:lnTo>
                <a:lnTo>
                  <a:pt x="4321543" y="5268928"/>
                </a:lnTo>
                <a:lnTo>
                  <a:pt x="4321543" y="5278799"/>
                </a:lnTo>
                <a:lnTo>
                  <a:pt x="4317523" y="5282838"/>
                </a:lnTo>
                <a:lnTo>
                  <a:pt x="4307612" y="5282838"/>
                </a:lnTo>
                <a:lnTo>
                  <a:pt x="4303595" y="5278799"/>
                </a:lnTo>
                <a:lnTo>
                  <a:pt x="4303595" y="5268928"/>
                </a:lnTo>
                <a:close/>
                <a:moveTo>
                  <a:pt x="4068297" y="5264889"/>
                </a:moveTo>
                <a:lnTo>
                  <a:pt x="4078210" y="5264889"/>
                </a:lnTo>
                <a:lnTo>
                  <a:pt x="4082229" y="5268928"/>
                </a:lnTo>
                <a:lnTo>
                  <a:pt x="4082229" y="5278799"/>
                </a:lnTo>
                <a:lnTo>
                  <a:pt x="4078210" y="5282838"/>
                </a:lnTo>
                <a:lnTo>
                  <a:pt x="4068297" y="5282838"/>
                </a:lnTo>
                <a:lnTo>
                  <a:pt x="4064278" y="5278799"/>
                </a:lnTo>
                <a:lnTo>
                  <a:pt x="4064278" y="5268928"/>
                </a:lnTo>
                <a:close/>
                <a:moveTo>
                  <a:pt x="3828990" y="5264889"/>
                </a:moveTo>
                <a:lnTo>
                  <a:pt x="3838899" y="5264889"/>
                </a:lnTo>
                <a:lnTo>
                  <a:pt x="3842917" y="5268928"/>
                </a:lnTo>
                <a:lnTo>
                  <a:pt x="3842917" y="5278799"/>
                </a:lnTo>
                <a:lnTo>
                  <a:pt x="3838899" y="5282838"/>
                </a:lnTo>
                <a:lnTo>
                  <a:pt x="3828990" y="5282838"/>
                </a:lnTo>
                <a:lnTo>
                  <a:pt x="3824971" y="5278799"/>
                </a:lnTo>
                <a:lnTo>
                  <a:pt x="3824971" y="5268928"/>
                </a:lnTo>
                <a:close/>
                <a:moveTo>
                  <a:pt x="3589676" y="5264889"/>
                </a:moveTo>
                <a:lnTo>
                  <a:pt x="3599585" y="5264889"/>
                </a:lnTo>
                <a:lnTo>
                  <a:pt x="3603604" y="5268928"/>
                </a:lnTo>
                <a:lnTo>
                  <a:pt x="3603604" y="5278799"/>
                </a:lnTo>
                <a:lnTo>
                  <a:pt x="3599585" y="5282838"/>
                </a:lnTo>
                <a:lnTo>
                  <a:pt x="3589676" y="5282838"/>
                </a:lnTo>
                <a:lnTo>
                  <a:pt x="3585657" y="5278799"/>
                </a:lnTo>
                <a:lnTo>
                  <a:pt x="3585657" y="5268928"/>
                </a:lnTo>
                <a:close/>
                <a:moveTo>
                  <a:pt x="3350359" y="5264889"/>
                </a:moveTo>
                <a:lnTo>
                  <a:pt x="3360268" y="5264889"/>
                </a:lnTo>
                <a:lnTo>
                  <a:pt x="3364287" y="5268928"/>
                </a:lnTo>
                <a:lnTo>
                  <a:pt x="3364287" y="5278799"/>
                </a:lnTo>
                <a:lnTo>
                  <a:pt x="3360268" y="5282838"/>
                </a:lnTo>
                <a:lnTo>
                  <a:pt x="3350359" y="5282838"/>
                </a:lnTo>
                <a:lnTo>
                  <a:pt x="3346340" y="5278799"/>
                </a:lnTo>
                <a:lnTo>
                  <a:pt x="3346340" y="5268928"/>
                </a:lnTo>
                <a:close/>
                <a:moveTo>
                  <a:pt x="3111048" y="5264889"/>
                </a:moveTo>
                <a:lnTo>
                  <a:pt x="3120959" y="5264889"/>
                </a:lnTo>
                <a:lnTo>
                  <a:pt x="3124977" y="5268928"/>
                </a:lnTo>
                <a:lnTo>
                  <a:pt x="3124977" y="5278799"/>
                </a:lnTo>
                <a:lnTo>
                  <a:pt x="3120959" y="5282838"/>
                </a:lnTo>
                <a:lnTo>
                  <a:pt x="3111048" y="5282838"/>
                </a:lnTo>
                <a:lnTo>
                  <a:pt x="3107029" y="5278799"/>
                </a:lnTo>
                <a:lnTo>
                  <a:pt x="3107029" y="5268928"/>
                </a:lnTo>
                <a:close/>
                <a:moveTo>
                  <a:pt x="2871737" y="5264889"/>
                </a:moveTo>
                <a:lnTo>
                  <a:pt x="2881646" y="5264889"/>
                </a:lnTo>
                <a:lnTo>
                  <a:pt x="2885666" y="5268928"/>
                </a:lnTo>
                <a:lnTo>
                  <a:pt x="2885666" y="5278799"/>
                </a:lnTo>
                <a:lnTo>
                  <a:pt x="2881646" y="5282838"/>
                </a:lnTo>
                <a:lnTo>
                  <a:pt x="2871737" y="5282838"/>
                </a:lnTo>
                <a:lnTo>
                  <a:pt x="2867717" y="5278799"/>
                </a:lnTo>
                <a:lnTo>
                  <a:pt x="2867717" y="5268928"/>
                </a:lnTo>
                <a:close/>
                <a:moveTo>
                  <a:pt x="2632423" y="5264889"/>
                </a:moveTo>
                <a:lnTo>
                  <a:pt x="2642334" y="5264889"/>
                </a:lnTo>
                <a:lnTo>
                  <a:pt x="2646352" y="5268928"/>
                </a:lnTo>
                <a:lnTo>
                  <a:pt x="2646352" y="5278799"/>
                </a:lnTo>
                <a:lnTo>
                  <a:pt x="2642334" y="5282838"/>
                </a:lnTo>
                <a:lnTo>
                  <a:pt x="2632423" y="5282838"/>
                </a:lnTo>
                <a:lnTo>
                  <a:pt x="2628404" y="5278799"/>
                </a:lnTo>
                <a:lnTo>
                  <a:pt x="2628404" y="5268928"/>
                </a:lnTo>
                <a:close/>
                <a:moveTo>
                  <a:pt x="2393104" y="5264889"/>
                </a:moveTo>
                <a:lnTo>
                  <a:pt x="2403015" y="5264889"/>
                </a:lnTo>
                <a:lnTo>
                  <a:pt x="2407034" y="5268928"/>
                </a:lnTo>
                <a:lnTo>
                  <a:pt x="2407034" y="5278799"/>
                </a:lnTo>
                <a:lnTo>
                  <a:pt x="2403015" y="5282838"/>
                </a:lnTo>
                <a:lnTo>
                  <a:pt x="2393104" y="5282838"/>
                </a:lnTo>
                <a:lnTo>
                  <a:pt x="2389087" y="5278799"/>
                </a:lnTo>
                <a:lnTo>
                  <a:pt x="2389087" y="5268928"/>
                </a:lnTo>
                <a:close/>
                <a:moveTo>
                  <a:pt x="721961" y="5264889"/>
                </a:moveTo>
                <a:lnTo>
                  <a:pt x="731872" y="5264889"/>
                </a:lnTo>
                <a:lnTo>
                  <a:pt x="735891" y="5268928"/>
                </a:lnTo>
                <a:lnTo>
                  <a:pt x="735891" y="5278799"/>
                </a:lnTo>
                <a:lnTo>
                  <a:pt x="731872" y="5282838"/>
                </a:lnTo>
                <a:lnTo>
                  <a:pt x="721961" y="5282838"/>
                </a:lnTo>
                <a:lnTo>
                  <a:pt x="717943" y="5278799"/>
                </a:lnTo>
                <a:lnTo>
                  <a:pt x="717943" y="5268928"/>
                </a:lnTo>
                <a:close/>
                <a:moveTo>
                  <a:pt x="482649" y="5264889"/>
                </a:moveTo>
                <a:lnTo>
                  <a:pt x="492560" y="5264889"/>
                </a:lnTo>
                <a:lnTo>
                  <a:pt x="496579" y="5268928"/>
                </a:lnTo>
                <a:lnTo>
                  <a:pt x="496579" y="5278799"/>
                </a:lnTo>
                <a:lnTo>
                  <a:pt x="492560" y="5282838"/>
                </a:lnTo>
                <a:lnTo>
                  <a:pt x="482649" y="5282838"/>
                </a:lnTo>
                <a:lnTo>
                  <a:pt x="478630" y="5278799"/>
                </a:lnTo>
                <a:lnTo>
                  <a:pt x="478630" y="5268928"/>
                </a:lnTo>
                <a:close/>
                <a:moveTo>
                  <a:pt x="243336" y="5264889"/>
                </a:moveTo>
                <a:lnTo>
                  <a:pt x="253246" y="5264889"/>
                </a:lnTo>
                <a:lnTo>
                  <a:pt x="257265" y="5268928"/>
                </a:lnTo>
                <a:lnTo>
                  <a:pt x="257265" y="5278799"/>
                </a:lnTo>
                <a:lnTo>
                  <a:pt x="253246" y="5282838"/>
                </a:lnTo>
                <a:lnTo>
                  <a:pt x="243336" y="5282838"/>
                </a:lnTo>
                <a:lnTo>
                  <a:pt x="239317" y="5278799"/>
                </a:lnTo>
                <a:lnTo>
                  <a:pt x="239317" y="5268928"/>
                </a:lnTo>
                <a:close/>
                <a:moveTo>
                  <a:pt x="4022" y="5264889"/>
                </a:moveTo>
                <a:lnTo>
                  <a:pt x="13933" y="5264889"/>
                </a:lnTo>
                <a:lnTo>
                  <a:pt x="17952" y="5268928"/>
                </a:lnTo>
                <a:lnTo>
                  <a:pt x="17952" y="5278799"/>
                </a:lnTo>
                <a:lnTo>
                  <a:pt x="13933" y="5282838"/>
                </a:lnTo>
                <a:lnTo>
                  <a:pt x="4022" y="5282838"/>
                </a:lnTo>
                <a:lnTo>
                  <a:pt x="3" y="5278799"/>
                </a:lnTo>
                <a:lnTo>
                  <a:pt x="3" y="5268928"/>
                </a:lnTo>
                <a:close/>
                <a:moveTo>
                  <a:pt x="2157819" y="5025610"/>
                </a:moveTo>
                <a:lnTo>
                  <a:pt x="2167729" y="5025610"/>
                </a:lnTo>
                <a:lnTo>
                  <a:pt x="2171748" y="5029648"/>
                </a:lnTo>
                <a:lnTo>
                  <a:pt x="2171748" y="5039519"/>
                </a:lnTo>
                <a:lnTo>
                  <a:pt x="2167729" y="5043558"/>
                </a:lnTo>
                <a:lnTo>
                  <a:pt x="2157819" y="5043558"/>
                </a:lnTo>
                <a:lnTo>
                  <a:pt x="2153800" y="5039519"/>
                </a:lnTo>
                <a:lnTo>
                  <a:pt x="2153800" y="5029648"/>
                </a:lnTo>
                <a:close/>
                <a:moveTo>
                  <a:pt x="1918510" y="5025610"/>
                </a:moveTo>
                <a:lnTo>
                  <a:pt x="1928420" y="5025610"/>
                </a:lnTo>
                <a:lnTo>
                  <a:pt x="1932440" y="5029648"/>
                </a:lnTo>
                <a:lnTo>
                  <a:pt x="1932440" y="5039519"/>
                </a:lnTo>
                <a:lnTo>
                  <a:pt x="1928420" y="5043558"/>
                </a:lnTo>
                <a:lnTo>
                  <a:pt x="1918510" y="5043558"/>
                </a:lnTo>
                <a:lnTo>
                  <a:pt x="1914492" y="5039519"/>
                </a:lnTo>
                <a:lnTo>
                  <a:pt x="1914492" y="5029648"/>
                </a:lnTo>
                <a:close/>
                <a:moveTo>
                  <a:pt x="1679204" y="5025610"/>
                </a:moveTo>
                <a:lnTo>
                  <a:pt x="1689115" y="5025610"/>
                </a:lnTo>
                <a:lnTo>
                  <a:pt x="1693133" y="5029648"/>
                </a:lnTo>
                <a:lnTo>
                  <a:pt x="1693133" y="5039519"/>
                </a:lnTo>
                <a:lnTo>
                  <a:pt x="1689115" y="5043558"/>
                </a:lnTo>
                <a:lnTo>
                  <a:pt x="1679204" y="5043558"/>
                </a:lnTo>
                <a:lnTo>
                  <a:pt x="1675185" y="5039519"/>
                </a:lnTo>
                <a:lnTo>
                  <a:pt x="1675185" y="5029648"/>
                </a:lnTo>
                <a:close/>
                <a:moveTo>
                  <a:pt x="1439889" y="5025610"/>
                </a:moveTo>
                <a:lnTo>
                  <a:pt x="1449798" y="5025610"/>
                </a:lnTo>
                <a:lnTo>
                  <a:pt x="1453818" y="5029648"/>
                </a:lnTo>
                <a:lnTo>
                  <a:pt x="1453818" y="5039519"/>
                </a:lnTo>
                <a:lnTo>
                  <a:pt x="1449798" y="5043558"/>
                </a:lnTo>
                <a:lnTo>
                  <a:pt x="1439889" y="5043558"/>
                </a:lnTo>
                <a:lnTo>
                  <a:pt x="1435870" y="5039519"/>
                </a:lnTo>
                <a:lnTo>
                  <a:pt x="1435870" y="5029648"/>
                </a:lnTo>
                <a:close/>
                <a:moveTo>
                  <a:pt x="1200573" y="5025610"/>
                </a:moveTo>
                <a:lnTo>
                  <a:pt x="1210484" y="5025610"/>
                </a:lnTo>
                <a:lnTo>
                  <a:pt x="1214502" y="5029648"/>
                </a:lnTo>
                <a:lnTo>
                  <a:pt x="1214502" y="5039519"/>
                </a:lnTo>
                <a:lnTo>
                  <a:pt x="1210484" y="5043558"/>
                </a:lnTo>
                <a:lnTo>
                  <a:pt x="1200573" y="5043558"/>
                </a:lnTo>
                <a:lnTo>
                  <a:pt x="1196555" y="5039519"/>
                </a:lnTo>
                <a:lnTo>
                  <a:pt x="1196555" y="5029648"/>
                </a:lnTo>
                <a:close/>
                <a:moveTo>
                  <a:pt x="961261" y="5025610"/>
                </a:moveTo>
                <a:lnTo>
                  <a:pt x="971171" y="5025610"/>
                </a:lnTo>
                <a:lnTo>
                  <a:pt x="975190" y="5029648"/>
                </a:lnTo>
                <a:lnTo>
                  <a:pt x="975190" y="5039519"/>
                </a:lnTo>
                <a:lnTo>
                  <a:pt x="971171" y="5043558"/>
                </a:lnTo>
                <a:lnTo>
                  <a:pt x="961261" y="5043558"/>
                </a:lnTo>
                <a:lnTo>
                  <a:pt x="957242" y="5039519"/>
                </a:lnTo>
                <a:lnTo>
                  <a:pt x="957242" y="5029648"/>
                </a:lnTo>
                <a:close/>
                <a:moveTo>
                  <a:pt x="9572438" y="5025558"/>
                </a:moveTo>
                <a:lnTo>
                  <a:pt x="9582349" y="5025558"/>
                </a:lnTo>
                <a:lnTo>
                  <a:pt x="9586368" y="5029597"/>
                </a:lnTo>
                <a:lnTo>
                  <a:pt x="9586368" y="5039468"/>
                </a:lnTo>
                <a:lnTo>
                  <a:pt x="9582349" y="5043507"/>
                </a:lnTo>
                <a:lnTo>
                  <a:pt x="9572438" y="5043507"/>
                </a:lnTo>
                <a:lnTo>
                  <a:pt x="9568419" y="5039468"/>
                </a:lnTo>
                <a:lnTo>
                  <a:pt x="9568419" y="5029597"/>
                </a:lnTo>
                <a:close/>
                <a:moveTo>
                  <a:pt x="9333125" y="5025558"/>
                </a:moveTo>
                <a:lnTo>
                  <a:pt x="9343036" y="5025558"/>
                </a:lnTo>
                <a:lnTo>
                  <a:pt x="9347055" y="5029597"/>
                </a:lnTo>
                <a:lnTo>
                  <a:pt x="9347055" y="5039468"/>
                </a:lnTo>
                <a:lnTo>
                  <a:pt x="9343036" y="5043507"/>
                </a:lnTo>
                <a:lnTo>
                  <a:pt x="9333125" y="5043507"/>
                </a:lnTo>
                <a:lnTo>
                  <a:pt x="9329106" y="5039468"/>
                </a:lnTo>
                <a:lnTo>
                  <a:pt x="9329106" y="5029597"/>
                </a:lnTo>
                <a:close/>
                <a:moveTo>
                  <a:pt x="9093811" y="5025558"/>
                </a:moveTo>
                <a:lnTo>
                  <a:pt x="9103722" y="5025558"/>
                </a:lnTo>
                <a:lnTo>
                  <a:pt x="9107741" y="5029597"/>
                </a:lnTo>
                <a:lnTo>
                  <a:pt x="9107741" y="5039468"/>
                </a:lnTo>
                <a:lnTo>
                  <a:pt x="9103722" y="5043507"/>
                </a:lnTo>
                <a:lnTo>
                  <a:pt x="9093811" y="5043507"/>
                </a:lnTo>
                <a:lnTo>
                  <a:pt x="9089792" y="5039468"/>
                </a:lnTo>
                <a:lnTo>
                  <a:pt x="9089792" y="5029597"/>
                </a:lnTo>
                <a:close/>
                <a:moveTo>
                  <a:pt x="8854496" y="5025558"/>
                </a:moveTo>
                <a:lnTo>
                  <a:pt x="8864407" y="5025558"/>
                </a:lnTo>
                <a:lnTo>
                  <a:pt x="8868426" y="5029597"/>
                </a:lnTo>
                <a:lnTo>
                  <a:pt x="8868426" y="5039468"/>
                </a:lnTo>
                <a:lnTo>
                  <a:pt x="8864407" y="5043507"/>
                </a:lnTo>
                <a:lnTo>
                  <a:pt x="8854496" y="5043507"/>
                </a:lnTo>
                <a:lnTo>
                  <a:pt x="8850477" y="5039468"/>
                </a:lnTo>
                <a:lnTo>
                  <a:pt x="8850477" y="5029597"/>
                </a:lnTo>
                <a:close/>
                <a:moveTo>
                  <a:pt x="8615184" y="5025558"/>
                </a:moveTo>
                <a:lnTo>
                  <a:pt x="8625095" y="5025558"/>
                </a:lnTo>
                <a:lnTo>
                  <a:pt x="8629114" y="5029597"/>
                </a:lnTo>
                <a:lnTo>
                  <a:pt x="8629114" y="5039468"/>
                </a:lnTo>
                <a:lnTo>
                  <a:pt x="8625095" y="5043507"/>
                </a:lnTo>
                <a:lnTo>
                  <a:pt x="8615184" y="5043507"/>
                </a:lnTo>
                <a:lnTo>
                  <a:pt x="8611165" y="5039468"/>
                </a:lnTo>
                <a:lnTo>
                  <a:pt x="8611165" y="5029597"/>
                </a:lnTo>
                <a:close/>
                <a:moveTo>
                  <a:pt x="8375869" y="5025558"/>
                </a:moveTo>
                <a:lnTo>
                  <a:pt x="8385779" y="5025558"/>
                </a:lnTo>
                <a:lnTo>
                  <a:pt x="8389799" y="5029597"/>
                </a:lnTo>
                <a:lnTo>
                  <a:pt x="8389799" y="5039468"/>
                </a:lnTo>
                <a:lnTo>
                  <a:pt x="8385779" y="5043507"/>
                </a:lnTo>
                <a:lnTo>
                  <a:pt x="8375869" y="5043507"/>
                </a:lnTo>
                <a:lnTo>
                  <a:pt x="8371850" y="5039468"/>
                </a:lnTo>
                <a:lnTo>
                  <a:pt x="8371850" y="5029597"/>
                </a:lnTo>
                <a:close/>
                <a:moveTo>
                  <a:pt x="8136553" y="5025558"/>
                </a:moveTo>
                <a:lnTo>
                  <a:pt x="8146464" y="5025558"/>
                </a:lnTo>
                <a:lnTo>
                  <a:pt x="8150483" y="5029597"/>
                </a:lnTo>
                <a:lnTo>
                  <a:pt x="8150483" y="5039468"/>
                </a:lnTo>
                <a:lnTo>
                  <a:pt x="8146464" y="5043507"/>
                </a:lnTo>
                <a:lnTo>
                  <a:pt x="8136553" y="5043507"/>
                </a:lnTo>
                <a:lnTo>
                  <a:pt x="8132534" y="5039468"/>
                </a:lnTo>
                <a:lnTo>
                  <a:pt x="8132534" y="5029597"/>
                </a:lnTo>
                <a:close/>
                <a:moveTo>
                  <a:pt x="7897241" y="5025558"/>
                </a:moveTo>
                <a:lnTo>
                  <a:pt x="7907151" y="5025558"/>
                </a:lnTo>
                <a:lnTo>
                  <a:pt x="7911170" y="5029597"/>
                </a:lnTo>
                <a:lnTo>
                  <a:pt x="7911170" y="5039468"/>
                </a:lnTo>
                <a:lnTo>
                  <a:pt x="7907151" y="5043507"/>
                </a:lnTo>
                <a:lnTo>
                  <a:pt x="7897241" y="5043507"/>
                </a:lnTo>
                <a:lnTo>
                  <a:pt x="7893222" y="5039468"/>
                </a:lnTo>
                <a:lnTo>
                  <a:pt x="7893222" y="5029597"/>
                </a:lnTo>
                <a:close/>
                <a:moveTo>
                  <a:pt x="7657926" y="5025558"/>
                </a:moveTo>
                <a:lnTo>
                  <a:pt x="7667836" y="5025558"/>
                </a:lnTo>
                <a:lnTo>
                  <a:pt x="7671855" y="5029597"/>
                </a:lnTo>
                <a:lnTo>
                  <a:pt x="7671855" y="5039468"/>
                </a:lnTo>
                <a:lnTo>
                  <a:pt x="7667836" y="5043507"/>
                </a:lnTo>
                <a:lnTo>
                  <a:pt x="7657926" y="5043507"/>
                </a:lnTo>
                <a:lnTo>
                  <a:pt x="7653906" y="5039468"/>
                </a:lnTo>
                <a:lnTo>
                  <a:pt x="7653906" y="5029597"/>
                </a:lnTo>
                <a:close/>
                <a:moveTo>
                  <a:pt x="7418611" y="5025558"/>
                </a:moveTo>
                <a:lnTo>
                  <a:pt x="7428521" y="5025558"/>
                </a:lnTo>
                <a:lnTo>
                  <a:pt x="7432540" y="5029597"/>
                </a:lnTo>
                <a:lnTo>
                  <a:pt x="7432540" y="5039468"/>
                </a:lnTo>
                <a:lnTo>
                  <a:pt x="7428521" y="5043507"/>
                </a:lnTo>
                <a:lnTo>
                  <a:pt x="7418611" y="5043507"/>
                </a:lnTo>
                <a:lnTo>
                  <a:pt x="7414592" y="5039468"/>
                </a:lnTo>
                <a:lnTo>
                  <a:pt x="7414592" y="5029597"/>
                </a:lnTo>
                <a:close/>
                <a:moveTo>
                  <a:pt x="7179298" y="5025558"/>
                </a:moveTo>
                <a:lnTo>
                  <a:pt x="7189209" y="5025558"/>
                </a:lnTo>
                <a:lnTo>
                  <a:pt x="7193228" y="5029597"/>
                </a:lnTo>
                <a:lnTo>
                  <a:pt x="7193228" y="5039468"/>
                </a:lnTo>
                <a:lnTo>
                  <a:pt x="7189209" y="5043507"/>
                </a:lnTo>
                <a:lnTo>
                  <a:pt x="7179298" y="5043507"/>
                </a:lnTo>
                <a:lnTo>
                  <a:pt x="7175279" y="5039468"/>
                </a:lnTo>
                <a:lnTo>
                  <a:pt x="7175279" y="5029597"/>
                </a:lnTo>
                <a:close/>
                <a:moveTo>
                  <a:pt x="6939983" y="5025558"/>
                </a:moveTo>
                <a:lnTo>
                  <a:pt x="6949894" y="5025558"/>
                </a:lnTo>
                <a:lnTo>
                  <a:pt x="6953913" y="5029597"/>
                </a:lnTo>
                <a:lnTo>
                  <a:pt x="6953913" y="5039468"/>
                </a:lnTo>
                <a:lnTo>
                  <a:pt x="6949894" y="5043507"/>
                </a:lnTo>
                <a:lnTo>
                  <a:pt x="6939983" y="5043507"/>
                </a:lnTo>
                <a:lnTo>
                  <a:pt x="6935964" y="5039468"/>
                </a:lnTo>
                <a:lnTo>
                  <a:pt x="6935964" y="5029597"/>
                </a:lnTo>
                <a:close/>
                <a:moveTo>
                  <a:pt x="6700670" y="5025558"/>
                </a:moveTo>
                <a:lnTo>
                  <a:pt x="6710581" y="5025558"/>
                </a:lnTo>
                <a:lnTo>
                  <a:pt x="6714600" y="5029597"/>
                </a:lnTo>
                <a:lnTo>
                  <a:pt x="6714600" y="5039468"/>
                </a:lnTo>
                <a:lnTo>
                  <a:pt x="6710581" y="5043507"/>
                </a:lnTo>
                <a:lnTo>
                  <a:pt x="6700670" y="5043507"/>
                </a:lnTo>
                <a:lnTo>
                  <a:pt x="6696651" y="5039468"/>
                </a:lnTo>
                <a:lnTo>
                  <a:pt x="6696651" y="5029597"/>
                </a:lnTo>
                <a:close/>
                <a:moveTo>
                  <a:pt x="6461356" y="5025558"/>
                </a:moveTo>
                <a:lnTo>
                  <a:pt x="6471266" y="5025558"/>
                </a:lnTo>
                <a:lnTo>
                  <a:pt x="6475285" y="5029597"/>
                </a:lnTo>
                <a:lnTo>
                  <a:pt x="6475285" y="5039468"/>
                </a:lnTo>
                <a:lnTo>
                  <a:pt x="6471266" y="5043507"/>
                </a:lnTo>
                <a:lnTo>
                  <a:pt x="6461356" y="5043507"/>
                </a:lnTo>
                <a:lnTo>
                  <a:pt x="6457337" y="5039468"/>
                </a:lnTo>
                <a:lnTo>
                  <a:pt x="6457337" y="5029597"/>
                </a:lnTo>
                <a:close/>
                <a:moveTo>
                  <a:pt x="6222042" y="5025558"/>
                </a:moveTo>
                <a:lnTo>
                  <a:pt x="6231952" y="5025558"/>
                </a:lnTo>
                <a:lnTo>
                  <a:pt x="6235971" y="5029597"/>
                </a:lnTo>
                <a:lnTo>
                  <a:pt x="6235971" y="5039468"/>
                </a:lnTo>
                <a:lnTo>
                  <a:pt x="6231952" y="5043507"/>
                </a:lnTo>
                <a:lnTo>
                  <a:pt x="6222042" y="5043507"/>
                </a:lnTo>
                <a:lnTo>
                  <a:pt x="6218023" y="5039468"/>
                </a:lnTo>
                <a:lnTo>
                  <a:pt x="6218023" y="5029597"/>
                </a:lnTo>
                <a:close/>
                <a:moveTo>
                  <a:pt x="5982729" y="5025558"/>
                </a:moveTo>
                <a:lnTo>
                  <a:pt x="5992639" y="5025558"/>
                </a:lnTo>
                <a:lnTo>
                  <a:pt x="5996658" y="5029597"/>
                </a:lnTo>
                <a:lnTo>
                  <a:pt x="5996658" y="5039468"/>
                </a:lnTo>
                <a:lnTo>
                  <a:pt x="5992639" y="5043507"/>
                </a:lnTo>
                <a:lnTo>
                  <a:pt x="5982729" y="5043507"/>
                </a:lnTo>
                <a:lnTo>
                  <a:pt x="5978710" y="5039468"/>
                </a:lnTo>
                <a:lnTo>
                  <a:pt x="5978710" y="5029597"/>
                </a:lnTo>
                <a:close/>
                <a:moveTo>
                  <a:pt x="5743412" y="5025558"/>
                </a:moveTo>
                <a:lnTo>
                  <a:pt x="5753323" y="5025558"/>
                </a:lnTo>
                <a:lnTo>
                  <a:pt x="5757342" y="5029597"/>
                </a:lnTo>
                <a:lnTo>
                  <a:pt x="5757342" y="5039468"/>
                </a:lnTo>
                <a:lnTo>
                  <a:pt x="5753323" y="5043507"/>
                </a:lnTo>
                <a:lnTo>
                  <a:pt x="5743412" y="5043507"/>
                </a:lnTo>
                <a:lnTo>
                  <a:pt x="5739393" y="5039468"/>
                </a:lnTo>
                <a:lnTo>
                  <a:pt x="5739393" y="5029597"/>
                </a:lnTo>
                <a:close/>
                <a:moveTo>
                  <a:pt x="5504099" y="5025558"/>
                </a:moveTo>
                <a:lnTo>
                  <a:pt x="5514010" y="5025558"/>
                </a:lnTo>
                <a:lnTo>
                  <a:pt x="5518029" y="5029597"/>
                </a:lnTo>
                <a:lnTo>
                  <a:pt x="5518029" y="5039468"/>
                </a:lnTo>
                <a:lnTo>
                  <a:pt x="5514010" y="5043507"/>
                </a:lnTo>
                <a:lnTo>
                  <a:pt x="5504099" y="5043507"/>
                </a:lnTo>
                <a:lnTo>
                  <a:pt x="5500080" y="5039468"/>
                </a:lnTo>
                <a:lnTo>
                  <a:pt x="5500080" y="5029597"/>
                </a:lnTo>
                <a:close/>
                <a:moveTo>
                  <a:pt x="5264784" y="5025558"/>
                </a:moveTo>
                <a:lnTo>
                  <a:pt x="5274694" y="5025558"/>
                </a:lnTo>
                <a:lnTo>
                  <a:pt x="5278713" y="5029597"/>
                </a:lnTo>
                <a:lnTo>
                  <a:pt x="5278713" y="5039468"/>
                </a:lnTo>
                <a:lnTo>
                  <a:pt x="5274694" y="5043507"/>
                </a:lnTo>
                <a:lnTo>
                  <a:pt x="5264784" y="5043507"/>
                </a:lnTo>
                <a:lnTo>
                  <a:pt x="5260765" y="5039468"/>
                </a:lnTo>
                <a:lnTo>
                  <a:pt x="5260765" y="5029597"/>
                </a:lnTo>
                <a:close/>
                <a:moveTo>
                  <a:pt x="5025470" y="5025558"/>
                </a:moveTo>
                <a:lnTo>
                  <a:pt x="5035381" y="5025558"/>
                </a:lnTo>
                <a:lnTo>
                  <a:pt x="5039400" y="5029597"/>
                </a:lnTo>
                <a:lnTo>
                  <a:pt x="5039400" y="5039468"/>
                </a:lnTo>
                <a:lnTo>
                  <a:pt x="5035381" y="5043507"/>
                </a:lnTo>
                <a:lnTo>
                  <a:pt x="5025470" y="5043507"/>
                </a:lnTo>
                <a:lnTo>
                  <a:pt x="5021451" y="5039468"/>
                </a:lnTo>
                <a:lnTo>
                  <a:pt x="5021451" y="5029597"/>
                </a:lnTo>
                <a:close/>
                <a:moveTo>
                  <a:pt x="4786241" y="5025558"/>
                </a:moveTo>
                <a:lnTo>
                  <a:pt x="4796152" y="5025558"/>
                </a:lnTo>
                <a:lnTo>
                  <a:pt x="4800171" y="5029597"/>
                </a:lnTo>
                <a:lnTo>
                  <a:pt x="4800171" y="5039468"/>
                </a:lnTo>
                <a:lnTo>
                  <a:pt x="4796152" y="5043507"/>
                </a:lnTo>
                <a:lnTo>
                  <a:pt x="4786241" y="5043507"/>
                </a:lnTo>
                <a:lnTo>
                  <a:pt x="4782224" y="5039468"/>
                </a:lnTo>
                <a:lnTo>
                  <a:pt x="4782224" y="5029597"/>
                </a:lnTo>
                <a:close/>
                <a:moveTo>
                  <a:pt x="4546929" y="5025558"/>
                </a:moveTo>
                <a:lnTo>
                  <a:pt x="4556840" y="5025558"/>
                </a:lnTo>
                <a:lnTo>
                  <a:pt x="4560859" y="5029597"/>
                </a:lnTo>
                <a:lnTo>
                  <a:pt x="4560859" y="5039468"/>
                </a:lnTo>
                <a:lnTo>
                  <a:pt x="4556840" y="5043507"/>
                </a:lnTo>
                <a:lnTo>
                  <a:pt x="4546929" y="5043507"/>
                </a:lnTo>
                <a:lnTo>
                  <a:pt x="4542910" y="5039468"/>
                </a:lnTo>
                <a:lnTo>
                  <a:pt x="4542910" y="5029597"/>
                </a:lnTo>
                <a:close/>
                <a:moveTo>
                  <a:pt x="4307612" y="5025558"/>
                </a:moveTo>
                <a:lnTo>
                  <a:pt x="4317523" y="5025558"/>
                </a:lnTo>
                <a:lnTo>
                  <a:pt x="4321543" y="5029597"/>
                </a:lnTo>
                <a:lnTo>
                  <a:pt x="4321543" y="5039468"/>
                </a:lnTo>
                <a:lnTo>
                  <a:pt x="4317523" y="5043507"/>
                </a:lnTo>
                <a:lnTo>
                  <a:pt x="4307612" y="5043507"/>
                </a:lnTo>
                <a:lnTo>
                  <a:pt x="4303595" y="5039468"/>
                </a:lnTo>
                <a:lnTo>
                  <a:pt x="4303595" y="5029597"/>
                </a:lnTo>
                <a:close/>
                <a:moveTo>
                  <a:pt x="4068297" y="5025558"/>
                </a:moveTo>
                <a:lnTo>
                  <a:pt x="4078210" y="5025558"/>
                </a:lnTo>
                <a:lnTo>
                  <a:pt x="4082229" y="5029597"/>
                </a:lnTo>
                <a:lnTo>
                  <a:pt x="4082229" y="5039468"/>
                </a:lnTo>
                <a:lnTo>
                  <a:pt x="4078210" y="5043507"/>
                </a:lnTo>
                <a:lnTo>
                  <a:pt x="4068297" y="5043507"/>
                </a:lnTo>
                <a:lnTo>
                  <a:pt x="4064278" y="5039468"/>
                </a:lnTo>
                <a:lnTo>
                  <a:pt x="4064278" y="5029597"/>
                </a:lnTo>
                <a:close/>
                <a:moveTo>
                  <a:pt x="3828990" y="5025558"/>
                </a:moveTo>
                <a:lnTo>
                  <a:pt x="3838899" y="5025558"/>
                </a:lnTo>
                <a:lnTo>
                  <a:pt x="3842917" y="5029597"/>
                </a:lnTo>
                <a:lnTo>
                  <a:pt x="3842917" y="5039468"/>
                </a:lnTo>
                <a:lnTo>
                  <a:pt x="3838899" y="5043507"/>
                </a:lnTo>
                <a:lnTo>
                  <a:pt x="3828990" y="5043507"/>
                </a:lnTo>
                <a:lnTo>
                  <a:pt x="3824971" y="5039468"/>
                </a:lnTo>
                <a:lnTo>
                  <a:pt x="3824971" y="5029597"/>
                </a:lnTo>
                <a:close/>
                <a:moveTo>
                  <a:pt x="3589676" y="5025558"/>
                </a:moveTo>
                <a:lnTo>
                  <a:pt x="3599585" y="5025558"/>
                </a:lnTo>
                <a:lnTo>
                  <a:pt x="3603604" y="5029597"/>
                </a:lnTo>
                <a:lnTo>
                  <a:pt x="3603604" y="5039468"/>
                </a:lnTo>
                <a:lnTo>
                  <a:pt x="3599585" y="5043507"/>
                </a:lnTo>
                <a:lnTo>
                  <a:pt x="3589676" y="5043507"/>
                </a:lnTo>
                <a:lnTo>
                  <a:pt x="3585657" y="5039468"/>
                </a:lnTo>
                <a:lnTo>
                  <a:pt x="3585657" y="5029597"/>
                </a:lnTo>
                <a:close/>
                <a:moveTo>
                  <a:pt x="3350359" y="5025558"/>
                </a:moveTo>
                <a:lnTo>
                  <a:pt x="3360268" y="5025558"/>
                </a:lnTo>
                <a:lnTo>
                  <a:pt x="3364287" y="5029597"/>
                </a:lnTo>
                <a:lnTo>
                  <a:pt x="3364287" y="5039468"/>
                </a:lnTo>
                <a:lnTo>
                  <a:pt x="3360268" y="5043507"/>
                </a:lnTo>
                <a:lnTo>
                  <a:pt x="3350359" y="5043507"/>
                </a:lnTo>
                <a:lnTo>
                  <a:pt x="3346340" y="5039468"/>
                </a:lnTo>
                <a:lnTo>
                  <a:pt x="3346340" y="5029597"/>
                </a:lnTo>
                <a:close/>
                <a:moveTo>
                  <a:pt x="3111048" y="5025558"/>
                </a:moveTo>
                <a:lnTo>
                  <a:pt x="3120959" y="5025558"/>
                </a:lnTo>
                <a:lnTo>
                  <a:pt x="3124977" y="5029597"/>
                </a:lnTo>
                <a:lnTo>
                  <a:pt x="3124977" y="5039468"/>
                </a:lnTo>
                <a:lnTo>
                  <a:pt x="3120959" y="5043507"/>
                </a:lnTo>
                <a:lnTo>
                  <a:pt x="3111048" y="5043507"/>
                </a:lnTo>
                <a:lnTo>
                  <a:pt x="3107029" y="5039468"/>
                </a:lnTo>
                <a:lnTo>
                  <a:pt x="3107029" y="5029597"/>
                </a:lnTo>
                <a:close/>
                <a:moveTo>
                  <a:pt x="2871737" y="5025558"/>
                </a:moveTo>
                <a:lnTo>
                  <a:pt x="2881646" y="5025558"/>
                </a:lnTo>
                <a:lnTo>
                  <a:pt x="2885666" y="5029597"/>
                </a:lnTo>
                <a:lnTo>
                  <a:pt x="2885666" y="5039468"/>
                </a:lnTo>
                <a:lnTo>
                  <a:pt x="2881646" y="5043507"/>
                </a:lnTo>
                <a:lnTo>
                  <a:pt x="2871737" y="5043507"/>
                </a:lnTo>
                <a:lnTo>
                  <a:pt x="2867717" y="5039468"/>
                </a:lnTo>
                <a:lnTo>
                  <a:pt x="2867717" y="5029597"/>
                </a:lnTo>
                <a:close/>
                <a:moveTo>
                  <a:pt x="2632423" y="5025558"/>
                </a:moveTo>
                <a:lnTo>
                  <a:pt x="2642334" y="5025558"/>
                </a:lnTo>
                <a:lnTo>
                  <a:pt x="2646352" y="5029597"/>
                </a:lnTo>
                <a:lnTo>
                  <a:pt x="2646352" y="5039468"/>
                </a:lnTo>
                <a:lnTo>
                  <a:pt x="2642334" y="5043507"/>
                </a:lnTo>
                <a:lnTo>
                  <a:pt x="2632423" y="5043507"/>
                </a:lnTo>
                <a:lnTo>
                  <a:pt x="2628404" y="5039468"/>
                </a:lnTo>
                <a:lnTo>
                  <a:pt x="2628404" y="5029597"/>
                </a:lnTo>
                <a:close/>
                <a:moveTo>
                  <a:pt x="2393104" y="5025558"/>
                </a:moveTo>
                <a:lnTo>
                  <a:pt x="2403015" y="5025558"/>
                </a:lnTo>
                <a:lnTo>
                  <a:pt x="2407034" y="5029597"/>
                </a:lnTo>
                <a:lnTo>
                  <a:pt x="2407034" y="5039468"/>
                </a:lnTo>
                <a:lnTo>
                  <a:pt x="2403015" y="5043507"/>
                </a:lnTo>
                <a:lnTo>
                  <a:pt x="2393104" y="5043507"/>
                </a:lnTo>
                <a:lnTo>
                  <a:pt x="2389087" y="5039468"/>
                </a:lnTo>
                <a:lnTo>
                  <a:pt x="2389087" y="5029597"/>
                </a:lnTo>
                <a:close/>
                <a:moveTo>
                  <a:pt x="721962" y="5025558"/>
                </a:moveTo>
                <a:lnTo>
                  <a:pt x="731872" y="5025558"/>
                </a:lnTo>
                <a:lnTo>
                  <a:pt x="735891" y="5029597"/>
                </a:lnTo>
                <a:lnTo>
                  <a:pt x="735891" y="5039468"/>
                </a:lnTo>
                <a:lnTo>
                  <a:pt x="731872" y="5043507"/>
                </a:lnTo>
                <a:lnTo>
                  <a:pt x="721962" y="5043507"/>
                </a:lnTo>
                <a:lnTo>
                  <a:pt x="717944" y="5039468"/>
                </a:lnTo>
                <a:lnTo>
                  <a:pt x="717944" y="5029597"/>
                </a:lnTo>
                <a:close/>
                <a:moveTo>
                  <a:pt x="482650" y="5025558"/>
                </a:moveTo>
                <a:lnTo>
                  <a:pt x="492560" y="5025558"/>
                </a:lnTo>
                <a:lnTo>
                  <a:pt x="496580" y="5029597"/>
                </a:lnTo>
                <a:lnTo>
                  <a:pt x="496580" y="5039468"/>
                </a:lnTo>
                <a:lnTo>
                  <a:pt x="492560" y="5043507"/>
                </a:lnTo>
                <a:lnTo>
                  <a:pt x="482650" y="5043507"/>
                </a:lnTo>
                <a:lnTo>
                  <a:pt x="478631" y="5039468"/>
                </a:lnTo>
                <a:lnTo>
                  <a:pt x="478631" y="5029597"/>
                </a:lnTo>
                <a:close/>
                <a:moveTo>
                  <a:pt x="243336" y="5025558"/>
                </a:moveTo>
                <a:lnTo>
                  <a:pt x="253247" y="5025558"/>
                </a:lnTo>
                <a:lnTo>
                  <a:pt x="257266" y="5029597"/>
                </a:lnTo>
                <a:lnTo>
                  <a:pt x="257266" y="5039468"/>
                </a:lnTo>
                <a:lnTo>
                  <a:pt x="253247" y="5043507"/>
                </a:lnTo>
                <a:lnTo>
                  <a:pt x="243336" y="5043507"/>
                </a:lnTo>
                <a:lnTo>
                  <a:pt x="239317" y="5039468"/>
                </a:lnTo>
                <a:lnTo>
                  <a:pt x="239317" y="5029597"/>
                </a:lnTo>
                <a:close/>
                <a:moveTo>
                  <a:pt x="4024" y="5025558"/>
                </a:moveTo>
                <a:lnTo>
                  <a:pt x="13933" y="5025558"/>
                </a:lnTo>
                <a:lnTo>
                  <a:pt x="17952" y="5029597"/>
                </a:lnTo>
                <a:lnTo>
                  <a:pt x="17952" y="5039468"/>
                </a:lnTo>
                <a:lnTo>
                  <a:pt x="13933" y="5043507"/>
                </a:lnTo>
                <a:lnTo>
                  <a:pt x="4024" y="5043507"/>
                </a:lnTo>
                <a:lnTo>
                  <a:pt x="4" y="5039468"/>
                </a:lnTo>
                <a:lnTo>
                  <a:pt x="4" y="5029597"/>
                </a:lnTo>
                <a:close/>
                <a:moveTo>
                  <a:pt x="9572438" y="4786279"/>
                </a:moveTo>
                <a:lnTo>
                  <a:pt x="9582349" y="4786279"/>
                </a:lnTo>
                <a:lnTo>
                  <a:pt x="9586368" y="4790317"/>
                </a:lnTo>
                <a:lnTo>
                  <a:pt x="9586368" y="4800188"/>
                </a:lnTo>
                <a:lnTo>
                  <a:pt x="9582349" y="4804227"/>
                </a:lnTo>
                <a:lnTo>
                  <a:pt x="9572438" y="4804227"/>
                </a:lnTo>
                <a:lnTo>
                  <a:pt x="9568419" y="4800188"/>
                </a:lnTo>
                <a:lnTo>
                  <a:pt x="9568419" y="4790317"/>
                </a:lnTo>
                <a:close/>
                <a:moveTo>
                  <a:pt x="9333125" y="4786279"/>
                </a:moveTo>
                <a:lnTo>
                  <a:pt x="9343036" y="4786279"/>
                </a:lnTo>
                <a:lnTo>
                  <a:pt x="9347055" y="4790317"/>
                </a:lnTo>
                <a:lnTo>
                  <a:pt x="9347055" y="4800188"/>
                </a:lnTo>
                <a:lnTo>
                  <a:pt x="9343036" y="4804227"/>
                </a:lnTo>
                <a:lnTo>
                  <a:pt x="9333125" y="4804227"/>
                </a:lnTo>
                <a:lnTo>
                  <a:pt x="9329106" y="4800188"/>
                </a:lnTo>
                <a:lnTo>
                  <a:pt x="9329106" y="4790317"/>
                </a:lnTo>
                <a:close/>
                <a:moveTo>
                  <a:pt x="9093811" y="4786279"/>
                </a:moveTo>
                <a:lnTo>
                  <a:pt x="9103722" y="4786279"/>
                </a:lnTo>
                <a:lnTo>
                  <a:pt x="9107741" y="4790317"/>
                </a:lnTo>
                <a:lnTo>
                  <a:pt x="9107741" y="4800188"/>
                </a:lnTo>
                <a:lnTo>
                  <a:pt x="9103722" y="4804227"/>
                </a:lnTo>
                <a:lnTo>
                  <a:pt x="9093811" y="4804227"/>
                </a:lnTo>
                <a:lnTo>
                  <a:pt x="9089792" y="4800188"/>
                </a:lnTo>
                <a:lnTo>
                  <a:pt x="9089792" y="4790317"/>
                </a:lnTo>
                <a:close/>
                <a:moveTo>
                  <a:pt x="8854496" y="4786279"/>
                </a:moveTo>
                <a:lnTo>
                  <a:pt x="8864407" y="4786279"/>
                </a:lnTo>
                <a:lnTo>
                  <a:pt x="8868426" y="4790317"/>
                </a:lnTo>
                <a:lnTo>
                  <a:pt x="8868426" y="4800188"/>
                </a:lnTo>
                <a:lnTo>
                  <a:pt x="8864407" y="4804227"/>
                </a:lnTo>
                <a:lnTo>
                  <a:pt x="8854496" y="4804227"/>
                </a:lnTo>
                <a:lnTo>
                  <a:pt x="8850477" y="4800188"/>
                </a:lnTo>
                <a:lnTo>
                  <a:pt x="8850477" y="4790317"/>
                </a:lnTo>
                <a:close/>
                <a:moveTo>
                  <a:pt x="8615184" y="4786279"/>
                </a:moveTo>
                <a:lnTo>
                  <a:pt x="8625095" y="4786279"/>
                </a:lnTo>
                <a:lnTo>
                  <a:pt x="8629114" y="4790317"/>
                </a:lnTo>
                <a:lnTo>
                  <a:pt x="8629114" y="4800188"/>
                </a:lnTo>
                <a:lnTo>
                  <a:pt x="8625095" y="4804227"/>
                </a:lnTo>
                <a:lnTo>
                  <a:pt x="8615184" y="4804227"/>
                </a:lnTo>
                <a:lnTo>
                  <a:pt x="8611165" y="4800188"/>
                </a:lnTo>
                <a:lnTo>
                  <a:pt x="8611165" y="4790317"/>
                </a:lnTo>
                <a:close/>
                <a:moveTo>
                  <a:pt x="8375869" y="4786279"/>
                </a:moveTo>
                <a:lnTo>
                  <a:pt x="8385779" y="4786279"/>
                </a:lnTo>
                <a:lnTo>
                  <a:pt x="8389799" y="4790317"/>
                </a:lnTo>
                <a:lnTo>
                  <a:pt x="8389799" y="4800188"/>
                </a:lnTo>
                <a:lnTo>
                  <a:pt x="8385779" y="4804227"/>
                </a:lnTo>
                <a:lnTo>
                  <a:pt x="8375869" y="4804227"/>
                </a:lnTo>
                <a:lnTo>
                  <a:pt x="8371850" y="4800188"/>
                </a:lnTo>
                <a:lnTo>
                  <a:pt x="8371850" y="4790317"/>
                </a:lnTo>
                <a:close/>
                <a:moveTo>
                  <a:pt x="8136553" y="4786279"/>
                </a:moveTo>
                <a:lnTo>
                  <a:pt x="8146464" y="4786279"/>
                </a:lnTo>
                <a:lnTo>
                  <a:pt x="8150483" y="4790317"/>
                </a:lnTo>
                <a:lnTo>
                  <a:pt x="8150483" y="4800188"/>
                </a:lnTo>
                <a:lnTo>
                  <a:pt x="8146464" y="4804227"/>
                </a:lnTo>
                <a:lnTo>
                  <a:pt x="8136553" y="4804227"/>
                </a:lnTo>
                <a:lnTo>
                  <a:pt x="8132534" y="4800188"/>
                </a:lnTo>
                <a:lnTo>
                  <a:pt x="8132534" y="4790317"/>
                </a:lnTo>
                <a:close/>
                <a:moveTo>
                  <a:pt x="7897241" y="4786279"/>
                </a:moveTo>
                <a:lnTo>
                  <a:pt x="7907151" y="4786279"/>
                </a:lnTo>
                <a:lnTo>
                  <a:pt x="7911170" y="4790317"/>
                </a:lnTo>
                <a:lnTo>
                  <a:pt x="7911170" y="4800188"/>
                </a:lnTo>
                <a:lnTo>
                  <a:pt x="7907151" y="4804227"/>
                </a:lnTo>
                <a:lnTo>
                  <a:pt x="7897241" y="4804227"/>
                </a:lnTo>
                <a:lnTo>
                  <a:pt x="7893222" y="4800188"/>
                </a:lnTo>
                <a:lnTo>
                  <a:pt x="7893222" y="4790317"/>
                </a:lnTo>
                <a:close/>
                <a:moveTo>
                  <a:pt x="7657926" y="4786279"/>
                </a:moveTo>
                <a:lnTo>
                  <a:pt x="7667836" y="4786279"/>
                </a:lnTo>
                <a:lnTo>
                  <a:pt x="7671855" y="4790317"/>
                </a:lnTo>
                <a:lnTo>
                  <a:pt x="7671855" y="4800188"/>
                </a:lnTo>
                <a:lnTo>
                  <a:pt x="7667836" y="4804227"/>
                </a:lnTo>
                <a:lnTo>
                  <a:pt x="7657926" y="4804227"/>
                </a:lnTo>
                <a:lnTo>
                  <a:pt x="7653906" y="4800188"/>
                </a:lnTo>
                <a:lnTo>
                  <a:pt x="7653906" y="4790317"/>
                </a:lnTo>
                <a:close/>
                <a:moveTo>
                  <a:pt x="7418611" y="4786279"/>
                </a:moveTo>
                <a:lnTo>
                  <a:pt x="7428521" y="4786279"/>
                </a:lnTo>
                <a:lnTo>
                  <a:pt x="7432540" y="4790317"/>
                </a:lnTo>
                <a:lnTo>
                  <a:pt x="7432540" y="4800188"/>
                </a:lnTo>
                <a:lnTo>
                  <a:pt x="7428521" y="4804227"/>
                </a:lnTo>
                <a:lnTo>
                  <a:pt x="7418611" y="4804227"/>
                </a:lnTo>
                <a:lnTo>
                  <a:pt x="7414592" y="4800188"/>
                </a:lnTo>
                <a:lnTo>
                  <a:pt x="7414592" y="4790317"/>
                </a:lnTo>
                <a:close/>
                <a:moveTo>
                  <a:pt x="7179298" y="4786279"/>
                </a:moveTo>
                <a:lnTo>
                  <a:pt x="7189209" y="4786279"/>
                </a:lnTo>
                <a:lnTo>
                  <a:pt x="7193228" y="4790317"/>
                </a:lnTo>
                <a:lnTo>
                  <a:pt x="7193228" y="4800188"/>
                </a:lnTo>
                <a:lnTo>
                  <a:pt x="7189209" y="4804227"/>
                </a:lnTo>
                <a:lnTo>
                  <a:pt x="7179298" y="4804227"/>
                </a:lnTo>
                <a:lnTo>
                  <a:pt x="7175279" y="4800188"/>
                </a:lnTo>
                <a:lnTo>
                  <a:pt x="7175279" y="4790317"/>
                </a:lnTo>
                <a:close/>
                <a:moveTo>
                  <a:pt x="6939983" y="4786279"/>
                </a:moveTo>
                <a:lnTo>
                  <a:pt x="6949894" y="4786279"/>
                </a:lnTo>
                <a:lnTo>
                  <a:pt x="6953913" y="4790317"/>
                </a:lnTo>
                <a:lnTo>
                  <a:pt x="6953913" y="4800188"/>
                </a:lnTo>
                <a:lnTo>
                  <a:pt x="6949894" y="4804227"/>
                </a:lnTo>
                <a:lnTo>
                  <a:pt x="6939983" y="4804227"/>
                </a:lnTo>
                <a:lnTo>
                  <a:pt x="6935964" y="4800188"/>
                </a:lnTo>
                <a:lnTo>
                  <a:pt x="6935964" y="4790317"/>
                </a:lnTo>
                <a:close/>
                <a:moveTo>
                  <a:pt x="6700670" y="4786279"/>
                </a:moveTo>
                <a:lnTo>
                  <a:pt x="6710581" y="4786279"/>
                </a:lnTo>
                <a:lnTo>
                  <a:pt x="6714600" y="4790317"/>
                </a:lnTo>
                <a:lnTo>
                  <a:pt x="6714600" y="4800188"/>
                </a:lnTo>
                <a:lnTo>
                  <a:pt x="6710581" y="4804227"/>
                </a:lnTo>
                <a:lnTo>
                  <a:pt x="6700670" y="4804227"/>
                </a:lnTo>
                <a:lnTo>
                  <a:pt x="6696651" y="4800188"/>
                </a:lnTo>
                <a:lnTo>
                  <a:pt x="6696651" y="4790317"/>
                </a:lnTo>
                <a:close/>
                <a:moveTo>
                  <a:pt x="6461356" y="4786279"/>
                </a:moveTo>
                <a:lnTo>
                  <a:pt x="6471266" y="4786279"/>
                </a:lnTo>
                <a:lnTo>
                  <a:pt x="6475285" y="4790317"/>
                </a:lnTo>
                <a:lnTo>
                  <a:pt x="6475285" y="4800188"/>
                </a:lnTo>
                <a:lnTo>
                  <a:pt x="6471266" y="4804227"/>
                </a:lnTo>
                <a:lnTo>
                  <a:pt x="6461356" y="4804227"/>
                </a:lnTo>
                <a:lnTo>
                  <a:pt x="6457337" y="4800188"/>
                </a:lnTo>
                <a:lnTo>
                  <a:pt x="6457337" y="4790317"/>
                </a:lnTo>
                <a:close/>
                <a:moveTo>
                  <a:pt x="6222042" y="4786279"/>
                </a:moveTo>
                <a:lnTo>
                  <a:pt x="6231952" y="4786279"/>
                </a:lnTo>
                <a:lnTo>
                  <a:pt x="6235971" y="4790317"/>
                </a:lnTo>
                <a:lnTo>
                  <a:pt x="6235971" y="4800188"/>
                </a:lnTo>
                <a:lnTo>
                  <a:pt x="6231952" y="4804227"/>
                </a:lnTo>
                <a:lnTo>
                  <a:pt x="6222042" y="4804227"/>
                </a:lnTo>
                <a:lnTo>
                  <a:pt x="6218023" y="4800188"/>
                </a:lnTo>
                <a:lnTo>
                  <a:pt x="6218023" y="4790317"/>
                </a:lnTo>
                <a:close/>
                <a:moveTo>
                  <a:pt x="5982729" y="4786279"/>
                </a:moveTo>
                <a:lnTo>
                  <a:pt x="5992639" y="4786279"/>
                </a:lnTo>
                <a:lnTo>
                  <a:pt x="5996658" y="4790317"/>
                </a:lnTo>
                <a:lnTo>
                  <a:pt x="5996658" y="4800188"/>
                </a:lnTo>
                <a:lnTo>
                  <a:pt x="5992639" y="4804227"/>
                </a:lnTo>
                <a:lnTo>
                  <a:pt x="5982729" y="4804227"/>
                </a:lnTo>
                <a:lnTo>
                  <a:pt x="5978710" y="4800188"/>
                </a:lnTo>
                <a:lnTo>
                  <a:pt x="5978710" y="4790317"/>
                </a:lnTo>
                <a:close/>
                <a:moveTo>
                  <a:pt x="5743412" y="4786279"/>
                </a:moveTo>
                <a:lnTo>
                  <a:pt x="5753323" y="4786279"/>
                </a:lnTo>
                <a:lnTo>
                  <a:pt x="5757342" y="4790317"/>
                </a:lnTo>
                <a:lnTo>
                  <a:pt x="5757342" y="4800188"/>
                </a:lnTo>
                <a:lnTo>
                  <a:pt x="5753323" y="4804227"/>
                </a:lnTo>
                <a:lnTo>
                  <a:pt x="5743412" y="4804227"/>
                </a:lnTo>
                <a:lnTo>
                  <a:pt x="5739393" y="4800188"/>
                </a:lnTo>
                <a:lnTo>
                  <a:pt x="5739393" y="4790317"/>
                </a:lnTo>
                <a:close/>
                <a:moveTo>
                  <a:pt x="5504099" y="4786279"/>
                </a:moveTo>
                <a:lnTo>
                  <a:pt x="5514010" y="4786279"/>
                </a:lnTo>
                <a:lnTo>
                  <a:pt x="5518029" y="4790317"/>
                </a:lnTo>
                <a:lnTo>
                  <a:pt x="5518029" y="4800188"/>
                </a:lnTo>
                <a:lnTo>
                  <a:pt x="5514010" y="4804227"/>
                </a:lnTo>
                <a:lnTo>
                  <a:pt x="5504099" y="4804227"/>
                </a:lnTo>
                <a:lnTo>
                  <a:pt x="5500080" y="4800188"/>
                </a:lnTo>
                <a:lnTo>
                  <a:pt x="5500080" y="4790317"/>
                </a:lnTo>
                <a:close/>
                <a:moveTo>
                  <a:pt x="5264784" y="4786279"/>
                </a:moveTo>
                <a:lnTo>
                  <a:pt x="5274694" y="4786279"/>
                </a:lnTo>
                <a:lnTo>
                  <a:pt x="5278713" y="4790317"/>
                </a:lnTo>
                <a:lnTo>
                  <a:pt x="5278713" y="4800188"/>
                </a:lnTo>
                <a:lnTo>
                  <a:pt x="5274694" y="4804227"/>
                </a:lnTo>
                <a:lnTo>
                  <a:pt x="5264784" y="4804227"/>
                </a:lnTo>
                <a:lnTo>
                  <a:pt x="5260765" y="4800188"/>
                </a:lnTo>
                <a:lnTo>
                  <a:pt x="5260765" y="4790317"/>
                </a:lnTo>
                <a:close/>
                <a:moveTo>
                  <a:pt x="5025470" y="4786279"/>
                </a:moveTo>
                <a:lnTo>
                  <a:pt x="5035381" y="4786279"/>
                </a:lnTo>
                <a:lnTo>
                  <a:pt x="5039400" y="4790317"/>
                </a:lnTo>
                <a:lnTo>
                  <a:pt x="5039400" y="4800188"/>
                </a:lnTo>
                <a:lnTo>
                  <a:pt x="5035381" y="4804227"/>
                </a:lnTo>
                <a:lnTo>
                  <a:pt x="5025470" y="4804227"/>
                </a:lnTo>
                <a:lnTo>
                  <a:pt x="5021451" y="4800188"/>
                </a:lnTo>
                <a:lnTo>
                  <a:pt x="5021451" y="4790317"/>
                </a:lnTo>
                <a:close/>
                <a:moveTo>
                  <a:pt x="4786241" y="4786279"/>
                </a:moveTo>
                <a:lnTo>
                  <a:pt x="4796152" y="4786279"/>
                </a:lnTo>
                <a:lnTo>
                  <a:pt x="4800171" y="4790317"/>
                </a:lnTo>
                <a:lnTo>
                  <a:pt x="4800171" y="4800188"/>
                </a:lnTo>
                <a:lnTo>
                  <a:pt x="4796152" y="4804227"/>
                </a:lnTo>
                <a:lnTo>
                  <a:pt x="4786241" y="4804227"/>
                </a:lnTo>
                <a:lnTo>
                  <a:pt x="4782224" y="4800188"/>
                </a:lnTo>
                <a:lnTo>
                  <a:pt x="4782224" y="4790317"/>
                </a:lnTo>
                <a:close/>
                <a:moveTo>
                  <a:pt x="4546929" y="4786279"/>
                </a:moveTo>
                <a:lnTo>
                  <a:pt x="4556840" y="4786279"/>
                </a:lnTo>
                <a:lnTo>
                  <a:pt x="4560859" y="4790317"/>
                </a:lnTo>
                <a:lnTo>
                  <a:pt x="4560859" y="4800188"/>
                </a:lnTo>
                <a:lnTo>
                  <a:pt x="4556840" y="4804227"/>
                </a:lnTo>
                <a:lnTo>
                  <a:pt x="4546929" y="4804227"/>
                </a:lnTo>
                <a:lnTo>
                  <a:pt x="4542910" y="4800188"/>
                </a:lnTo>
                <a:lnTo>
                  <a:pt x="4542910" y="4790317"/>
                </a:lnTo>
                <a:close/>
                <a:moveTo>
                  <a:pt x="4307612" y="4786279"/>
                </a:moveTo>
                <a:lnTo>
                  <a:pt x="4317523" y="4786279"/>
                </a:lnTo>
                <a:lnTo>
                  <a:pt x="4321543" y="4790317"/>
                </a:lnTo>
                <a:lnTo>
                  <a:pt x="4321543" y="4800188"/>
                </a:lnTo>
                <a:lnTo>
                  <a:pt x="4317523" y="4804227"/>
                </a:lnTo>
                <a:lnTo>
                  <a:pt x="4307612" y="4804227"/>
                </a:lnTo>
                <a:lnTo>
                  <a:pt x="4303595" y="4800188"/>
                </a:lnTo>
                <a:lnTo>
                  <a:pt x="4303595" y="4790317"/>
                </a:lnTo>
                <a:close/>
                <a:moveTo>
                  <a:pt x="4068297" y="4786279"/>
                </a:moveTo>
                <a:lnTo>
                  <a:pt x="4078210" y="4786279"/>
                </a:lnTo>
                <a:lnTo>
                  <a:pt x="4082229" y="4790317"/>
                </a:lnTo>
                <a:lnTo>
                  <a:pt x="4082229" y="4800188"/>
                </a:lnTo>
                <a:lnTo>
                  <a:pt x="4078210" y="4804227"/>
                </a:lnTo>
                <a:lnTo>
                  <a:pt x="4068297" y="4804227"/>
                </a:lnTo>
                <a:lnTo>
                  <a:pt x="4064278" y="4800188"/>
                </a:lnTo>
                <a:lnTo>
                  <a:pt x="4064278" y="4790317"/>
                </a:lnTo>
                <a:close/>
                <a:moveTo>
                  <a:pt x="3828990" y="4786279"/>
                </a:moveTo>
                <a:lnTo>
                  <a:pt x="3838899" y="4786279"/>
                </a:lnTo>
                <a:lnTo>
                  <a:pt x="3842917" y="4790317"/>
                </a:lnTo>
                <a:lnTo>
                  <a:pt x="3842917" y="4800188"/>
                </a:lnTo>
                <a:lnTo>
                  <a:pt x="3838899" y="4804227"/>
                </a:lnTo>
                <a:lnTo>
                  <a:pt x="3828990" y="4804227"/>
                </a:lnTo>
                <a:lnTo>
                  <a:pt x="3824971" y="4800188"/>
                </a:lnTo>
                <a:lnTo>
                  <a:pt x="3824971" y="4790317"/>
                </a:lnTo>
                <a:close/>
                <a:moveTo>
                  <a:pt x="3589676" y="4786279"/>
                </a:moveTo>
                <a:lnTo>
                  <a:pt x="3599585" y="4786279"/>
                </a:lnTo>
                <a:lnTo>
                  <a:pt x="3603604" y="4790317"/>
                </a:lnTo>
                <a:lnTo>
                  <a:pt x="3603604" y="4800188"/>
                </a:lnTo>
                <a:lnTo>
                  <a:pt x="3599585" y="4804227"/>
                </a:lnTo>
                <a:lnTo>
                  <a:pt x="3589676" y="4804227"/>
                </a:lnTo>
                <a:lnTo>
                  <a:pt x="3585657" y="4800188"/>
                </a:lnTo>
                <a:lnTo>
                  <a:pt x="3585657" y="4790317"/>
                </a:lnTo>
                <a:close/>
                <a:moveTo>
                  <a:pt x="3350359" y="4786279"/>
                </a:moveTo>
                <a:lnTo>
                  <a:pt x="3360268" y="4786279"/>
                </a:lnTo>
                <a:lnTo>
                  <a:pt x="3364287" y="4790317"/>
                </a:lnTo>
                <a:lnTo>
                  <a:pt x="3364287" y="4800188"/>
                </a:lnTo>
                <a:lnTo>
                  <a:pt x="3360268" y="4804227"/>
                </a:lnTo>
                <a:lnTo>
                  <a:pt x="3350359" y="4804227"/>
                </a:lnTo>
                <a:lnTo>
                  <a:pt x="3346340" y="4800188"/>
                </a:lnTo>
                <a:lnTo>
                  <a:pt x="3346340" y="4790317"/>
                </a:lnTo>
                <a:close/>
                <a:moveTo>
                  <a:pt x="3111048" y="4786279"/>
                </a:moveTo>
                <a:lnTo>
                  <a:pt x="3120959" y="4786279"/>
                </a:lnTo>
                <a:lnTo>
                  <a:pt x="3124977" y="4790317"/>
                </a:lnTo>
                <a:lnTo>
                  <a:pt x="3124977" y="4800188"/>
                </a:lnTo>
                <a:lnTo>
                  <a:pt x="3120959" y="4804227"/>
                </a:lnTo>
                <a:lnTo>
                  <a:pt x="3111048" y="4804227"/>
                </a:lnTo>
                <a:lnTo>
                  <a:pt x="3107029" y="4800188"/>
                </a:lnTo>
                <a:lnTo>
                  <a:pt x="3107029" y="4790317"/>
                </a:lnTo>
                <a:close/>
                <a:moveTo>
                  <a:pt x="2871737" y="4786279"/>
                </a:moveTo>
                <a:lnTo>
                  <a:pt x="2881646" y="4786279"/>
                </a:lnTo>
                <a:lnTo>
                  <a:pt x="2885666" y="4790317"/>
                </a:lnTo>
                <a:lnTo>
                  <a:pt x="2885666" y="4800188"/>
                </a:lnTo>
                <a:lnTo>
                  <a:pt x="2881646" y="4804227"/>
                </a:lnTo>
                <a:lnTo>
                  <a:pt x="2871737" y="4804227"/>
                </a:lnTo>
                <a:lnTo>
                  <a:pt x="2867717" y="4800188"/>
                </a:lnTo>
                <a:lnTo>
                  <a:pt x="2867717" y="4790317"/>
                </a:lnTo>
                <a:close/>
                <a:moveTo>
                  <a:pt x="2632423" y="4786279"/>
                </a:moveTo>
                <a:lnTo>
                  <a:pt x="2642334" y="4786279"/>
                </a:lnTo>
                <a:lnTo>
                  <a:pt x="2646352" y="4790317"/>
                </a:lnTo>
                <a:lnTo>
                  <a:pt x="2646352" y="4800188"/>
                </a:lnTo>
                <a:lnTo>
                  <a:pt x="2642334" y="4804227"/>
                </a:lnTo>
                <a:lnTo>
                  <a:pt x="2632423" y="4804227"/>
                </a:lnTo>
                <a:lnTo>
                  <a:pt x="2628404" y="4800188"/>
                </a:lnTo>
                <a:lnTo>
                  <a:pt x="2628404" y="4790317"/>
                </a:lnTo>
                <a:close/>
                <a:moveTo>
                  <a:pt x="2393104" y="4786279"/>
                </a:moveTo>
                <a:lnTo>
                  <a:pt x="2403015" y="4786279"/>
                </a:lnTo>
                <a:lnTo>
                  <a:pt x="2407034" y="4790317"/>
                </a:lnTo>
                <a:lnTo>
                  <a:pt x="2407034" y="4800188"/>
                </a:lnTo>
                <a:lnTo>
                  <a:pt x="2403015" y="4804227"/>
                </a:lnTo>
                <a:lnTo>
                  <a:pt x="2393104" y="4804227"/>
                </a:lnTo>
                <a:lnTo>
                  <a:pt x="2389087" y="4800188"/>
                </a:lnTo>
                <a:lnTo>
                  <a:pt x="2389087" y="4790317"/>
                </a:lnTo>
                <a:close/>
                <a:moveTo>
                  <a:pt x="2157819" y="4786279"/>
                </a:moveTo>
                <a:lnTo>
                  <a:pt x="2167729" y="4786279"/>
                </a:lnTo>
                <a:lnTo>
                  <a:pt x="2171748" y="4790317"/>
                </a:lnTo>
                <a:lnTo>
                  <a:pt x="2171748" y="4800188"/>
                </a:lnTo>
                <a:lnTo>
                  <a:pt x="2167729" y="4804227"/>
                </a:lnTo>
                <a:lnTo>
                  <a:pt x="2157819" y="4804227"/>
                </a:lnTo>
                <a:lnTo>
                  <a:pt x="2153800" y="4800188"/>
                </a:lnTo>
                <a:lnTo>
                  <a:pt x="2153800" y="4790317"/>
                </a:lnTo>
                <a:close/>
                <a:moveTo>
                  <a:pt x="1918510" y="4786279"/>
                </a:moveTo>
                <a:lnTo>
                  <a:pt x="1928420" y="4786279"/>
                </a:lnTo>
                <a:lnTo>
                  <a:pt x="1932440" y="4790317"/>
                </a:lnTo>
                <a:lnTo>
                  <a:pt x="1932440" y="4800188"/>
                </a:lnTo>
                <a:lnTo>
                  <a:pt x="1928420" y="4804227"/>
                </a:lnTo>
                <a:lnTo>
                  <a:pt x="1918510" y="4804227"/>
                </a:lnTo>
                <a:lnTo>
                  <a:pt x="1914492" y="4800188"/>
                </a:lnTo>
                <a:lnTo>
                  <a:pt x="1914492" y="4790317"/>
                </a:lnTo>
                <a:close/>
                <a:moveTo>
                  <a:pt x="1679205" y="4786279"/>
                </a:moveTo>
                <a:lnTo>
                  <a:pt x="1689115" y="4786279"/>
                </a:lnTo>
                <a:lnTo>
                  <a:pt x="1693134" y="4790317"/>
                </a:lnTo>
                <a:lnTo>
                  <a:pt x="1693134" y="4800188"/>
                </a:lnTo>
                <a:lnTo>
                  <a:pt x="1689115" y="4804227"/>
                </a:lnTo>
                <a:lnTo>
                  <a:pt x="1679205" y="4804227"/>
                </a:lnTo>
                <a:lnTo>
                  <a:pt x="1675187" y="4800188"/>
                </a:lnTo>
                <a:lnTo>
                  <a:pt x="1675187" y="4790317"/>
                </a:lnTo>
                <a:close/>
                <a:moveTo>
                  <a:pt x="1439890" y="4786279"/>
                </a:moveTo>
                <a:lnTo>
                  <a:pt x="1449800" y="4786279"/>
                </a:lnTo>
                <a:lnTo>
                  <a:pt x="1453818" y="4790317"/>
                </a:lnTo>
                <a:lnTo>
                  <a:pt x="1453818" y="4800188"/>
                </a:lnTo>
                <a:lnTo>
                  <a:pt x="1449800" y="4804227"/>
                </a:lnTo>
                <a:lnTo>
                  <a:pt x="1439890" y="4804227"/>
                </a:lnTo>
                <a:lnTo>
                  <a:pt x="1435870" y="4800188"/>
                </a:lnTo>
                <a:lnTo>
                  <a:pt x="1435870" y="4790317"/>
                </a:lnTo>
                <a:close/>
                <a:moveTo>
                  <a:pt x="1200574" y="4786279"/>
                </a:moveTo>
                <a:lnTo>
                  <a:pt x="1210484" y="4786279"/>
                </a:lnTo>
                <a:lnTo>
                  <a:pt x="1214503" y="4790317"/>
                </a:lnTo>
                <a:lnTo>
                  <a:pt x="1214503" y="4800188"/>
                </a:lnTo>
                <a:lnTo>
                  <a:pt x="1210484" y="4804227"/>
                </a:lnTo>
                <a:lnTo>
                  <a:pt x="1200574" y="4804227"/>
                </a:lnTo>
                <a:lnTo>
                  <a:pt x="1196555" y="4800188"/>
                </a:lnTo>
                <a:lnTo>
                  <a:pt x="1196555" y="4790317"/>
                </a:lnTo>
                <a:close/>
                <a:moveTo>
                  <a:pt x="961262" y="4786279"/>
                </a:moveTo>
                <a:lnTo>
                  <a:pt x="971172" y="4786279"/>
                </a:lnTo>
                <a:lnTo>
                  <a:pt x="975190" y="4790317"/>
                </a:lnTo>
                <a:lnTo>
                  <a:pt x="975190" y="4800188"/>
                </a:lnTo>
                <a:lnTo>
                  <a:pt x="971172" y="4804227"/>
                </a:lnTo>
                <a:lnTo>
                  <a:pt x="961262" y="4804227"/>
                </a:lnTo>
                <a:lnTo>
                  <a:pt x="957242" y="4800188"/>
                </a:lnTo>
                <a:lnTo>
                  <a:pt x="957242" y="4790317"/>
                </a:lnTo>
                <a:close/>
                <a:moveTo>
                  <a:pt x="721963" y="4786279"/>
                </a:moveTo>
                <a:lnTo>
                  <a:pt x="731873" y="4786279"/>
                </a:lnTo>
                <a:lnTo>
                  <a:pt x="735892" y="4790317"/>
                </a:lnTo>
                <a:lnTo>
                  <a:pt x="735892" y="4800188"/>
                </a:lnTo>
                <a:lnTo>
                  <a:pt x="731873" y="4804227"/>
                </a:lnTo>
                <a:lnTo>
                  <a:pt x="721963" y="4804227"/>
                </a:lnTo>
                <a:lnTo>
                  <a:pt x="717944" y="4800188"/>
                </a:lnTo>
                <a:lnTo>
                  <a:pt x="717944" y="4790317"/>
                </a:lnTo>
                <a:close/>
                <a:moveTo>
                  <a:pt x="482651" y="4786279"/>
                </a:moveTo>
                <a:lnTo>
                  <a:pt x="492561" y="4786279"/>
                </a:lnTo>
                <a:lnTo>
                  <a:pt x="496580" y="4790317"/>
                </a:lnTo>
                <a:lnTo>
                  <a:pt x="496580" y="4800188"/>
                </a:lnTo>
                <a:lnTo>
                  <a:pt x="492561" y="4804227"/>
                </a:lnTo>
                <a:lnTo>
                  <a:pt x="482651" y="4804227"/>
                </a:lnTo>
                <a:lnTo>
                  <a:pt x="478632" y="4800188"/>
                </a:lnTo>
                <a:lnTo>
                  <a:pt x="478632" y="4790317"/>
                </a:lnTo>
                <a:close/>
                <a:moveTo>
                  <a:pt x="243338" y="4786279"/>
                </a:moveTo>
                <a:lnTo>
                  <a:pt x="253247" y="4786279"/>
                </a:lnTo>
                <a:lnTo>
                  <a:pt x="257266" y="4790317"/>
                </a:lnTo>
                <a:lnTo>
                  <a:pt x="257266" y="4800188"/>
                </a:lnTo>
                <a:lnTo>
                  <a:pt x="253247" y="4804227"/>
                </a:lnTo>
                <a:lnTo>
                  <a:pt x="243338" y="4804227"/>
                </a:lnTo>
                <a:lnTo>
                  <a:pt x="239318" y="4800188"/>
                </a:lnTo>
                <a:lnTo>
                  <a:pt x="239318" y="4790317"/>
                </a:lnTo>
                <a:close/>
                <a:moveTo>
                  <a:pt x="4024" y="4786279"/>
                </a:moveTo>
                <a:lnTo>
                  <a:pt x="13934" y="4786279"/>
                </a:lnTo>
                <a:lnTo>
                  <a:pt x="17954" y="4790317"/>
                </a:lnTo>
                <a:lnTo>
                  <a:pt x="17954" y="4800188"/>
                </a:lnTo>
                <a:lnTo>
                  <a:pt x="13934" y="4804227"/>
                </a:lnTo>
                <a:lnTo>
                  <a:pt x="4024" y="4804227"/>
                </a:lnTo>
                <a:lnTo>
                  <a:pt x="5" y="4800188"/>
                </a:lnTo>
                <a:lnTo>
                  <a:pt x="5" y="4790317"/>
                </a:lnTo>
                <a:close/>
                <a:moveTo>
                  <a:pt x="2157819" y="4546999"/>
                </a:moveTo>
                <a:lnTo>
                  <a:pt x="2167729" y="4546999"/>
                </a:lnTo>
                <a:lnTo>
                  <a:pt x="2171748" y="4551038"/>
                </a:lnTo>
                <a:lnTo>
                  <a:pt x="2171748" y="4560909"/>
                </a:lnTo>
                <a:lnTo>
                  <a:pt x="2167729" y="4564948"/>
                </a:lnTo>
                <a:lnTo>
                  <a:pt x="2157819" y="4564948"/>
                </a:lnTo>
                <a:lnTo>
                  <a:pt x="2153801" y="4560909"/>
                </a:lnTo>
                <a:lnTo>
                  <a:pt x="2153801" y="4551038"/>
                </a:lnTo>
                <a:close/>
                <a:moveTo>
                  <a:pt x="1918510" y="4546999"/>
                </a:moveTo>
                <a:lnTo>
                  <a:pt x="1928421" y="4546999"/>
                </a:lnTo>
                <a:lnTo>
                  <a:pt x="1932440" y="4551038"/>
                </a:lnTo>
                <a:lnTo>
                  <a:pt x="1932440" y="4560909"/>
                </a:lnTo>
                <a:lnTo>
                  <a:pt x="1928421" y="4564948"/>
                </a:lnTo>
                <a:lnTo>
                  <a:pt x="1918510" y="4564948"/>
                </a:lnTo>
                <a:lnTo>
                  <a:pt x="1914492" y="4560909"/>
                </a:lnTo>
                <a:lnTo>
                  <a:pt x="1914492" y="4551038"/>
                </a:lnTo>
                <a:close/>
                <a:moveTo>
                  <a:pt x="1679206" y="4546999"/>
                </a:moveTo>
                <a:lnTo>
                  <a:pt x="1689116" y="4546999"/>
                </a:lnTo>
                <a:lnTo>
                  <a:pt x="1693134" y="4551038"/>
                </a:lnTo>
                <a:lnTo>
                  <a:pt x="1693134" y="4560909"/>
                </a:lnTo>
                <a:lnTo>
                  <a:pt x="1689116" y="4564948"/>
                </a:lnTo>
                <a:lnTo>
                  <a:pt x="1679206" y="4564948"/>
                </a:lnTo>
                <a:lnTo>
                  <a:pt x="1675187" y="4560909"/>
                </a:lnTo>
                <a:lnTo>
                  <a:pt x="1675187" y="4551038"/>
                </a:lnTo>
                <a:close/>
                <a:moveTo>
                  <a:pt x="1439890" y="4546999"/>
                </a:moveTo>
                <a:lnTo>
                  <a:pt x="1449800" y="4546999"/>
                </a:lnTo>
                <a:lnTo>
                  <a:pt x="1453819" y="4551038"/>
                </a:lnTo>
                <a:lnTo>
                  <a:pt x="1453819" y="4560909"/>
                </a:lnTo>
                <a:lnTo>
                  <a:pt x="1449800" y="4564948"/>
                </a:lnTo>
                <a:lnTo>
                  <a:pt x="1439890" y="4564948"/>
                </a:lnTo>
                <a:lnTo>
                  <a:pt x="1435871" y="4560909"/>
                </a:lnTo>
                <a:lnTo>
                  <a:pt x="1435871" y="4551038"/>
                </a:lnTo>
                <a:close/>
                <a:moveTo>
                  <a:pt x="1200575" y="4546999"/>
                </a:moveTo>
                <a:lnTo>
                  <a:pt x="1210485" y="4546999"/>
                </a:lnTo>
                <a:lnTo>
                  <a:pt x="1214504" y="4551038"/>
                </a:lnTo>
                <a:lnTo>
                  <a:pt x="1214504" y="4560909"/>
                </a:lnTo>
                <a:lnTo>
                  <a:pt x="1210485" y="4564948"/>
                </a:lnTo>
                <a:lnTo>
                  <a:pt x="1200575" y="4564948"/>
                </a:lnTo>
                <a:lnTo>
                  <a:pt x="1196556" y="4560909"/>
                </a:lnTo>
                <a:lnTo>
                  <a:pt x="1196556" y="4551038"/>
                </a:lnTo>
                <a:close/>
                <a:moveTo>
                  <a:pt x="961262" y="4546999"/>
                </a:moveTo>
                <a:lnTo>
                  <a:pt x="971172" y="4546999"/>
                </a:lnTo>
                <a:lnTo>
                  <a:pt x="975191" y="4551038"/>
                </a:lnTo>
                <a:lnTo>
                  <a:pt x="975191" y="4560909"/>
                </a:lnTo>
                <a:lnTo>
                  <a:pt x="971172" y="4564948"/>
                </a:lnTo>
                <a:lnTo>
                  <a:pt x="961262" y="4564948"/>
                </a:lnTo>
                <a:lnTo>
                  <a:pt x="957243" y="4560909"/>
                </a:lnTo>
                <a:lnTo>
                  <a:pt x="957243" y="4551038"/>
                </a:lnTo>
                <a:close/>
                <a:moveTo>
                  <a:pt x="9572438" y="4546948"/>
                </a:moveTo>
                <a:lnTo>
                  <a:pt x="9582349" y="4546948"/>
                </a:lnTo>
                <a:lnTo>
                  <a:pt x="9586368" y="4550987"/>
                </a:lnTo>
                <a:lnTo>
                  <a:pt x="9586368" y="4560858"/>
                </a:lnTo>
                <a:lnTo>
                  <a:pt x="9582349" y="4564897"/>
                </a:lnTo>
                <a:lnTo>
                  <a:pt x="9572438" y="4564897"/>
                </a:lnTo>
                <a:lnTo>
                  <a:pt x="9568419" y="4560858"/>
                </a:lnTo>
                <a:lnTo>
                  <a:pt x="9568419" y="4550987"/>
                </a:lnTo>
                <a:close/>
                <a:moveTo>
                  <a:pt x="9333125" y="4546948"/>
                </a:moveTo>
                <a:lnTo>
                  <a:pt x="9343036" y="4546948"/>
                </a:lnTo>
                <a:lnTo>
                  <a:pt x="9347055" y="4550987"/>
                </a:lnTo>
                <a:lnTo>
                  <a:pt x="9347055" y="4560858"/>
                </a:lnTo>
                <a:lnTo>
                  <a:pt x="9343036" y="4564897"/>
                </a:lnTo>
                <a:lnTo>
                  <a:pt x="9333125" y="4564897"/>
                </a:lnTo>
                <a:lnTo>
                  <a:pt x="9329106" y="4560858"/>
                </a:lnTo>
                <a:lnTo>
                  <a:pt x="9329106" y="4550987"/>
                </a:lnTo>
                <a:close/>
                <a:moveTo>
                  <a:pt x="9093811" y="4546948"/>
                </a:moveTo>
                <a:lnTo>
                  <a:pt x="9103722" y="4546948"/>
                </a:lnTo>
                <a:lnTo>
                  <a:pt x="9107741" y="4550987"/>
                </a:lnTo>
                <a:lnTo>
                  <a:pt x="9107741" y="4560858"/>
                </a:lnTo>
                <a:lnTo>
                  <a:pt x="9103722" y="4564897"/>
                </a:lnTo>
                <a:lnTo>
                  <a:pt x="9093811" y="4564897"/>
                </a:lnTo>
                <a:lnTo>
                  <a:pt x="9089792" y="4560858"/>
                </a:lnTo>
                <a:lnTo>
                  <a:pt x="9089792" y="4550987"/>
                </a:lnTo>
                <a:close/>
                <a:moveTo>
                  <a:pt x="8854496" y="4546948"/>
                </a:moveTo>
                <a:lnTo>
                  <a:pt x="8864407" y="4546948"/>
                </a:lnTo>
                <a:lnTo>
                  <a:pt x="8868426" y="4550987"/>
                </a:lnTo>
                <a:lnTo>
                  <a:pt x="8868426" y="4560858"/>
                </a:lnTo>
                <a:lnTo>
                  <a:pt x="8864407" y="4564897"/>
                </a:lnTo>
                <a:lnTo>
                  <a:pt x="8854496" y="4564897"/>
                </a:lnTo>
                <a:lnTo>
                  <a:pt x="8850477" y="4560858"/>
                </a:lnTo>
                <a:lnTo>
                  <a:pt x="8850477" y="4550987"/>
                </a:lnTo>
                <a:close/>
                <a:moveTo>
                  <a:pt x="8615184" y="4546948"/>
                </a:moveTo>
                <a:lnTo>
                  <a:pt x="8625095" y="4546948"/>
                </a:lnTo>
                <a:lnTo>
                  <a:pt x="8629114" y="4550987"/>
                </a:lnTo>
                <a:lnTo>
                  <a:pt x="8629114" y="4560858"/>
                </a:lnTo>
                <a:lnTo>
                  <a:pt x="8625095" y="4564897"/>
                </a:lnTo>
                <a:lnTo>
                  <a:pt x="8615184" y="4564897"/>
                </a:lnTo>
                <a:lnTo>
                  <a:pt x="8611165" y="4560858"/>
                </a:lnTo>
                <a:lnTo>
                  <a:pt x="8611165" y="4550987"/>
                </a:lnTo>
                <a:close/>
                <a:moveTo>
                  <a:pt x="8375869" y="4546948"/>
                </a:moveTo>
                <a:lnTo>
                  <a:pt x="8385779" y="4546948"/>
                </a:lnTo>
                <a:lnTo>
                  <a:pt x="8389799" y="4550987"/>
                </a:lnTo>
                <a:lnTo>
                  <a:pt x="8389799" y="4560858"/>
                </a:lnTo>
                <a:lnTo>
                  <a:pt x="8385779" y="4564897"/>
                </a:lnTo>
                <a:lnTo>
                  <a:pt x="8375869" y="4564897"/>
                </a:lnTo>
                <a:lnTo>
                  <a:pt x="8371850" y="4560858"/>
                </a:lnTo>
                <a:lnTo>
                  <a:pt x="8371850" y="4550987"/>
                </a:lnTo>
                <a:close/>
                <a:moveTo>
                  <a:pt x="8136553" y="4546948"/>
                </a:moveTo>
                <a:lnTo>
                  <a:pt x="8146464" y="4546948"/>
                </a:lnTo>
                <a:lnTo>
                  <a:pt x="8150483" y="4550987"/>
                </a:lnTo>
                <a:lnTo>
                  <a:pt x="8150483" y="4560858"/>
                </a:lnTo>
                <a:lnTo>
                  <a:pt x="8146464" y="4564897"/>
                </a:lnTo>
                <a:lnTo>
                  <a:pt x="8136553" y="4564897"/>
                </a:lnTo>
                <a:lnTo>
                  <a:pt x="8132534" y="4560858"/>
                </a:lnTo>
                <a:lnTo>
                  <a:pt x="8132534" y="4550987"/>
                </a:lnTo>
                <a:close/>
                <a:moveTo>
                  <a:pt x="7897241" y="4546948"/>
                </a:moveTo>
                <a:lnTo>
                  <a:pt x="7907151" y="4546948"/>
                </a:lnTo>
                <a:lnTo>
                  <a:pt x="7911170" y="4550987"/>
                </a:lnTo>
                <a:lnTo>
                  <a:pt x="7911170" y="4560858"/>
                </a:lnTo>
                <a:lnTo>
                  <a:pt x="7907151" y="4564897"/>
                </a:lnTo>
                <a:lnTo>
                  <a:pt x="7897241" y="4564897"/>
                </a:lnTo>
                <a:lnTo>
                  <a:pt x="7893222" y="4560858"/>
                </a:lnTo>
                <a:lnTo>
                  <a:pt x="7893222" y="4550987"/>
                </a:lnTo>
                <a:close/>
                <a:moveTo>
                  <a:pt x="7657926" y="4546948"/>
                </a:moveTo>
                <a:lnTo>
                  <a:pt x="7667836" y="4546948"/>
                </a:lnTo>
                <a:lnTo>
                  <a:pt x="7671855" y="4550987"/>
                </a:lnTo>
                <a:lnTo>
                  <a:pt x="7671855" y="4560858"/>
                </a:lnTo>
                <a:lnTo>
                  <a:pt x="7667836" y="4564897"/>
                </a:lnTo>
                <a:lnTo>
                  <a:pt x="7657926" y="4564897"/>
                </a:lnTo>
                <a:lnTo>
                  <a:pt x="7653906" y="4560858"/>
                </a:lnTo>
                <a:lnTo>
                  <a:pt x="7653906" y="4550987"/>
                </a:lnTo>
                <a:close/>
                <a:moveTo>
                  <a:pt x="7418611" y="4546948"/>
                </a:moveTo>
                <a:lnTo>
                  <a:pt x="7428521" y="4546948"/>
                </a:lnTo>
                <a:lnTo>
                  <a:pt x="7432540" y="4550987"/>
                </a:lnTo>
                <a:lnTo>
                  <a:pt x="7432540" y="4560858"/>
                </a:lnTo>
                <a:lnTo>
                  <a:pt x="7428521" y="4564897"/>
                </a:lnTo>
                <a:lnTo>
                  <a:pt x="7418611" y="4564897"/>
                </a:lnTo>
                <a:lnTo>
                  <a:pt x="7414592" y="4560858"/>
                </a:lnTo>
                <a:lnTo>
                  <a:pt x="7414592" y="4550987"/>
                </a:lnTo>
                <a:close/>
                <a:moveTo>
                  <a:pt x="7179298" y="4546948"/>
                </a:moveTo>
                <a:lnTo>
                  <a:pt x="7189209" y="4546948"/>
                </a:lnTo>
                <a:lnTo>
                  <a:pt x="7193228" y="4550987"/>
                </a:lnTo>
                <a:lnTo>
                  <a:pt x="7193228" y="4560858"/>
                </a:lnTo>
                <a:lnTo>
                  <a:pt x="7189209" y="4564897"/>
                </a:lnTo>
                <a:lnTo>
                  <a:pt x="7179298" y="4564897"/>
                </a:lnTo>
                <a:lnTo>
                  <a:pt x="7175279" y="4560858"/>
                </a:lnTo>
                <a:lnTo>
                  <a:pt x="7175279" y="4550987"/>
                </a:lnTo>
                <a:close/>
                <a:moveTo>
                  <a:pt x="6939983" y="4546948"/>
                </a:moveTo>
                <a:lnTo>
                  <a:pt x="6949894" y="4546948"/>
                </a:lnTo>
                <a:lnTo>
                  <a:pt x="6953913" y="4550987"/>
                </a:lnTo>
                <a:lnTo>
                  <a:pt x="6953913" y="4560858"/>
                </a:lnTo>
                <a:lnTo>
                  <a:pt x="6949894" y="4564897"/>
                </a:lnTo>
                <a:lnTo>
                  <a:pt x="6939983" y="4564897"/>
                </a:lnTo>
                <a:lnTo>
                  <a:pt x="6935964" y="4560858"/>
                </a:lnTo>
                <a:lnTo>
                  <a:pt x="6935964" y="4550987"/>
                </a:lnTo>
                <a:close/>
                <a:moveTo>
                  <a:pt x="6700670" y="4546948"/>
                </a:moveTo>
                <a:lnTo>
                  <a:pt x="6710581" y="4546948"/>
                </a:lnTo>
                <a:lnTo>
                  <a:pt x="6714600" y="4550987"/>
                </a:lnTo>
                <a:lnTo>
                  <a:pt x="6714600" y="4560858"/>
                </a:lnTo>
                <a:lnTo>
                  <a:pt x="6710581" y="4564897"/>
                </a:lnTo>
                <a:lnTo>
                  <a:pt x="6700670" y="4564897"/>
                </a:lnTo>
                <a:lnTo>
                  <a:pt x="6696651" y="4560858"/>
                </a:lnTo>
                <a:lnTo>
                  <a:pt x="6696651" y="4550987"/>
                </a:lnTo>
                <a:close/>
                <a:moveTo>
                  <a:pt x="6461356" y="4546948"/>
                </a:moveTo>
                <a:lnTo>
                  <a:pt x="6471266" y="4546948"/>
                </a:lnTo>
                <a:lnTo>
                  <a:pt x="6475285" y="4550987"/>
                </a:lnTo>
                <a:lnTo>
                  <a:pt x="6475285" y="4560858"/>
                </a:lnTo>
                <a:lnTo>
                  <a:pt x="6471266" y="4564897"/>
                </a:lnTo>
                <a:lnTo>
                  <a:pt x="6461356" y="4564897"/>
                </a:lnTo>
                <a:lnTo>
                  <a:pt x="6457337" y="4560858"/>
                </a:lnTo>
                <a:lnTo>
                  <a:pt x="6457337" y="4550987"/>
                </a:lnTo>
                <a:close/>
                <a:moveTo>
                  <a:pt x="6222042" y="4546948"/>
                </a:moveTo>
                <a:lnTo>
                  <a:pt x="6231952" y="4546948"/>
                </a:lnTo>
                <a:lnTo>
                  <a:pt x="6235971" y="4550987"/>
                </a:lnTo>
                <a:lnTo>
                  <a:pt x="6235971" y="4560858"/>
                </a:lnTo>
                <a:lnTo>
                  <a:pt x="6231952" y="4564897"/>
                </a:lnTo>
                <a:lnTo>
                  <a:pt x="6222042" y="4564897"/>
                </a:lnTo>
                <a:lnTo>
                  <a:pt x="6218023" y="4560858"/>
                </a:lnTo>
                <a:lnTo>
                  <a:pt x="6218023" y="4550987"/>
                </a:lnTo>
                <a:close/>
                <a:moveTo>
                  <a:pt x="5982729" y="4546948"/>
                </a:moveTo>
                <a:lnTo>
                  <a:pt x="5992639" y="4546948"/>
                </a:lnTo>
                <a:lnTo>
                  <a:pt x="5996658" y="4550987"/>
                </a:lnTo>
                <a:lnTo>
                  <a:pt x="5996658" y="4560858"/>
                </a:lnTo>
                <a:lnTo>
                  <a:pt x="5992639" y="4564897"/>
                </a:lnTo>
                <a:lnTo>
                  <a:pt x="5982729" y="4564897"/>
                </a:lnTo>
                <a:lnTo>
                  <a:pt x="5978710" y="4560858"/>
                </a:lnTo>
                <a:lnTo>
                  <a:pt x="5978710" y="4550987"/>
                </a:lnTo>
                <a:close/>
                <a:moveTo>
                  <a:pt x="5743412" y="4546948"/>
                </a:moveTo>
                <a:lnTo>
                  <a:pt x="5753323" y="4546948"/>
                </a:lnTo>
                <a:lnTo>
                  <a:pt x="5757342" y="4550987"/>
                </a:lnTo>
                <a:lnTo>
                  <a:pt x="5757342" y="4560858"/>
                </a:lnTo>
                <a:lnTo>
                  <a:pt x="5753323" y="4564897"/>
                </a:lnTo>
                <a:lnTo>
                  <a:pt x="5743412" y="4564897"/>
                </a:lnTo>
                <a:lnTo>
                  <a:pt x="5739393" y="4560858"/>
                </a:lnTo>
                <a:lnTo>
                  <a:pt x="5739393" y="4550987"/>
                </a:lnTo>
                <a:close/>
                <a:moveTo>
                  <a:pt x="5504099" y="4546948"/>
                </a:moveTo>
                <a:lnTo>
                  <a:pt x="5514010" y="4546948"/>
                </a:lnTo>
                <a:lnTo>
                  <a:pt x="5518029" y="4550987"/>
                </a:lnTo>
                <a:lnTo>
                  <a:pt x="5518029" y="4560858"/>
                </a:lnTo>
                <a:lnTo>
                  <a:pt x="5514010" y="4564897"/>
                </a:lnTo>
                <a:lnTo>
                  <a:pt x="5504099" y="4564897"/>
                </a:lnTo>
                <a:lnTo>
                  <a:pt x="5500080" y="4560858"/>
                </a:lnTo>
                <a:lnTo>
                  <a:pt x="5500080" y="4550987"/>
                </a:lnTo>
                <a:close/>
                <a:moveTo>
                  <a:pt x="5264784" y="4546948"/>
                </a:moveTo>
                <a:lnTo>
                  <a:pt x="5274694" y="4546948"/>
                </a:lnTo>
                <a:lnTo>
                  <a:pt x="5278713" y="4550987"/>
                </a:lnTo>
                <a:lnTo>
                  <a:pt x="5278713" y="4560858"/>
                </a:lnTo>
                <a:lnTo>
                  <a:pt x="5274694" y="4564897"/>
                </a:lnTo>
                <a:lnTo>
                  <a:pt x="5264784" y="4564897"/>
                </a:lnTo>
                <a:lnTo>
                  <a:pt x="5260765" y="4560858"/>
                </a:lnTo>
                <a:lnTo>
                  <a:pt x="5260765" y="4550987"/>
                </a:lnTo>
                <a:close/>
                <a:moveTo>
                  <a:pt x="5025470" y="4546948"/>
                </a:moveTo>
                <a:lnTo>
                  <a:pt x="5035381" y="4546948"/>
                </a:lnTo>
                <a:lnTo>
                  <a:pt x="5039400" y="4550987"/>
                </a:lnTo>
                <a:lnTo>
                  <a:pt x="5039400" y="4560858"/>
                </a:lnTo>
                <a:lnTo>
                  <a:pt x="5035381" y="4564897"/>
                </a:lnTo>
                <a:lnTo>
                  <a:pt x="5025470" y="4564897"/>
                </a:lnTo>
                <a:lnTo>
                  <a:pt x="5021451" y="4560858"/>
                </a:lnTo>
                <a:lnTo>
                  <a:pt x="5021451" y="4550987"/>
                </a:lnTo>
                <a:close/>
                <a:moveTo>
                  <a:pt x="4786241" y="4546948"/>
                </a:moveTo>
                <a:lnTo>
                  <a:pt x="4796152" y="4546948"/>
                </a:lnTo>
                <a:lnTo>
                  <a:pt x="4800171" y="4550987"/>
                </a:lnTo>
                <a:lnTo>
                  <a:pt x="4800171" y="4560858"/>
                </a:lnTo>
                <a:lnTo>
                  <a:pt x="4796152" y="4564897"/>
                </a:lnTo>
                <a:lnTo>
                  <a:pt x="4786241" y="4564897"/>
                </a:lnTo>
                <a:lnTo>
                  <a:pt x="4782224" y="4560858"/>
                </a:lnTo>
                <a:lnTo>
                  <a:pt x="4782224" y="4550987"/>
                </a:lnTo>
                <a:close/>
                <a:moveTo>
                  <a:pt x="4546929" y="4546948"/>
                </a:moveTo>
                <a:lnTo>
                  <a:pt x="4556840" y="4546948"/>
                </a:lnTo>
                <a:lnTo>
                  <a:pt x="4560859" y="4550987"/>
                </a:lnTo>
                <a:lnTo>
                  <a:pt x="4560859" y="4560858"/>
                </a:lnTo>
                <a:lnTo>
                  <a:pt x="4556840" y="4564897"/>
                </a:lnTo>
                <a:lnTo>
                  <a:pt x="4546929" y="4564897"/>
                </a:lnTo>
                <a:lnTo>
                  <a:pt x="4542910" y="4560858"/>
                </a:lnTo>
                <a:lnTo>
                  <a:pt x="4542910" y="4550987"/>
                </a:lnTo>
                <a:close/>
                <a:moveTo>
                  <a:pt x="4307612" y="4546948"/>
                </a:moveTo>
                <a:lnTo>
                  <a:pt x="4317523" y="4546948"/>
                </a:lnTo>
                <a:lnTo>
                  <a:pt x="4321543" y="4550987"/>
                </a:lnTo>
                <a:lnTo>
                  <a:pt x="4321543" y="4560858"/>
                </a:lnTo>
                <a:lnTo>
                  <a:pt x="4317523" y="4564897"/>
                </a:lnTo>
                <a:lnTo>
                  <a:pt x="4307612" y="4564897"/>
                </a:lnTo>
                <a:lnTo>
                  <a:pt x="4303595" y="4560858"/>
                </a:lnTo>
                <a:lnTo>
                  <a:pt x="4303595" y="4550987"/>
                </a:lnTo>
                <a:close/>
                <a:moveTo>
                  <a:pt x="4068297" y="4546948"/>
                </a:moveTo>
                <a:lnTo>
                  <a:pt x="4078210" y="4546948"/>
                </a:lnTo>
                <a:lnTo>
                  <a:pt x="4082229" y="4550987"/>
                </a:lnTo>
                <a:lnTo>
                  <a:pt x="4082229" y="4560858"/>
                </a:lnTo>
                <a:lnTo>
                  <a:pt x="4078210" y="4564897"/>
                </a:lnTo>
                <a:lnTo>
                  <a:pt x="4068297" y="4564897"/>
                </a:lnTo>
                <a:lnTo>
                  <a:pt x="4064278" y="4560858"/>
                </a:lnTo>
                <a:lnTo>
                  <a:pt x="4064278" y="4550987"/>
                </a:lnTo>
                <a:close/>
                <a:moveTo>
                  <a:pt x="3828990" y="4546948"/>
                </a:moveTo>
                <a:lnTo>
                  <a:pt x="3838899" y="4546948"/>
                </a:lnTo>
                <a:lnTo>
                  <a:pt x="3842917" y="4550987"/>
                </a:lnTo>
                <a:lnTo>
                  <a:pt x="3842917" y="4560858"/>
                </a:lnTo>
                <a:lnTo>
                  <a:pt x="3838899" y="4564897"/>
                </a:lnTo>
                <a:lnTo>
                  <a:pt x="3828990" y="4564897"/>
                </a:lnTo>
                <a:lnTo>
                  <a:pt x="3824971" y="4560858"/>
                </a:lnTo>
                <a:lnTo>
                  <a:pt x="3824971" y="4550987"/>
                </a:lnTo>
                <a:close/>
                <a:moveTo>
                  <a:pt x="3589676" y="4546948"/>
                </a:moveTo>
                <a:lnTo>
                  <a:pt x="3599585" y="4546948"/>
                </a:lnTo>
                <a:lnTo>
                  <a:pt x="3603604" y="4550987"/>
                </a:lnTo>
                <a:lnTo>
                  <a:pt x="3603604" y="4560858"/>
                </a:lnTo>
                <a:lnTo>
                  <a:pt x="3599585" y="4564897"/>
                </a:lnTo>
                <a:lnTo>
                  <a:pt x="3589676" y="4564897"/>
                </a:lnTo>
                <a:lnTo>
                  <a:pt x="3585657" y="4560858"/>
                </a:lnTo>
                <a:lnTo>
                  <a:pt x="3585657" y="4550987"/>
                </a:lnTo>
                <a:close/>
                <a:moveTo>
                  <a:pt x="3350359" y="4546948"/>
                </a:moveTo>
                <a:lnTo>
                  <a:pt x="3360268" y="4546948"/>
                </a:lnTo>
                <a:lnTo>
                  <a:pt x="3364287" y="4550987"/>
                </a:lnTo>
                <a:lnTo>
                  <a:pt x="3364287" y="4560858"/>
                </a:lnTo>
                <a:lnTo>
                  <a:pt x="3360268" y="4564897"/>
                </a:lnTo>
                <a:lnTo>
                  <a:pt x="3350359" y="4564897"/>
                </a:lnTo>
                <a:lnTo>
                  <a:pt x="3346340" y="4560858"/>
                </a:lnTo>
                <a:lnTo>
                  <a:pt x="3346340" y="4550987"/>
                </a:lnTo>
                <a:close/>
                <a:moveTo>
                  <a:pt x="3111048" y="4546948"/>
                </a:moveTo>
                <a:lnTo>
                  <a:pt x="3120959" y="4546948"/>
                </a:lnTo>
                <a:lnTo>
                  <a:pt x="3124977" y="4550987"/>
                </a:lnTo>
                <a:lnTo>
                  <a:pt x="3124977" y="4560858"/>
                </a:lnTo>
                <a:lnTo>
                  <a:pt x="3120959" y="4564897"/>
                </a:lnTo>
                <a:lnTo>
                  <a:pt x="3111048" y="4564897"/>
                </a:lnTo>
                <a:lnTo>
                  <a:pt x="3107029" y="4560858"/>
                </a:lnTo>
                <a:lnTo>
                  <a:pt x="3107029" y="4550987"/>
                </a:lnTo>
                <a:close/>
                <a:moveTo>
                  <a:pt x="2871737" y="4546948"/>
                </a:moveTo>
                <a:lnTo>
                  <a:pt x="2881646" y="4546948"/>
                </a:lnTo>
                <a:lnTo>
                  <a:pt x="2885666" y="4550987"/>
                </a:lnTo>
                <a:lnTo>
                  <a:pt x="2885666" y="4560858"/>
                </a:lnTo>
                <a:lnTo>
                  <a:pt x="2881646" y="4564897"/>
                </a:lnTo>
                <a:lnTo>
                  <a:pt x="2871737" y="4564897"/>
                </a:lnTo>
                <a:lnTo>
                  <a:pt x="2867717" y="4560858"/>
                </a:lnTo>
                <a:lnTo>
                  <a:pt x="2867717" y="4550987"/>
                </a:lnTo>
                <a:close/>
                <a:moveTo>
                  <a:pt x="2632423" y="4546948"/>
                </a:moveTo>
                <a:lnTo>
                  <a:pt x="2642334" y="4546948"/>
                </a:lnTo>
                <a:lnTo>
                  <a:pt x="2646352" y="4550987"/>
                </a:lnTo>
                <a:lnTo>
                  <a:pt x="2646352" y="4560858"/>
                </a:lnTo>
                <a:lnTo>
                  <a:pt x="2642334" y="4564897"/>
                </a:lnTo>
                <a:lnTo>
                  <a:pt x="2632423" y="4564897"/>
                </a:lnTo>
                <a:lnTo>
                  <a:pt x="2628404" y="4560858"/>
                </a:lnTo>
                <a:lnTo>
                  <a:pt x="2628404" y="4550987"/>
                </a:lnTo>
                <a:close/>
                <a:moveTo>
                  <a:pt x="2393104" y="4546948"/>
                </a:moveTo>
                <a:lnTo>
                  <a:pt x="2403015" y="4546948"/>
                </a:lnTo>
                <a:lnTo>
                  <a:pt x="2407034" y="4550987"/>
                </a:lnTo>
                <a:lnTo>
                  <a:pt x="2407034" y="4560858"/>
                </a:lnTo>
                <a:lnTo>
                  <a:pt x="2403015" y="4564897"/>
                </a:lnTo>
                <a:lnTo>
                  <a:pt x="2393104" y="4564897"/>
                </a:lnTo>
                <a:lnTo>
                  <a:pt x="2389087" y="4560858"/>
                </a:lnTo>
                <a:lnTo>
                  <a:pt x="2389087" y="4550987"/>
                </a:lnTo>
                <a:close/>
                <a:moveTo>
                  <a:pt x="721964" y="4546948"/>
                </a:moveTo>
                <a:lnTo>
                  <a:pt x="731874" y="4546948"/>
                </a:lnTo>
                <a:lnTo>
                  <a:pt x="735893" y="4550987"/>
                </a:lnTo>
                <a:lnTo>
                  <a:pt x="735893" y="4560858"/>
                </a:lnTo>
                <a:lnTo>
                  <a:pt x="731874" y="4564897"/>
                </a:lnTo>
                <a:lnTo>
                  <a:pt x="721964" y="4564897"/>
                </a:lnTo>
                <a:lnTo>
                  <a:pt x="717945" y="4560858"/>
                </a:lnTo>
                <a:lnTo>
                  <a:pt x="717945" y="4550987"/>
                </a:lnTo>
                <a:close/>
                <a:moveTo>
                  <a:pt x="482651" y="4546948"/>
                </a:moveTo>
                <a:lnTo>
                  <a:pt x="492562" y="4546948"/>
                </a:lnTo>
                <a:lnTo>
                  <a:pt x="496581" y="4550987"/>
                </a:lnTo>
                <a:lnTo>
                  <a:pt x="496581" y="4560858"/>
                </a:lnTo>
                <a:lnTo>
                  <a:pt x="492562" y="4564897"/>
                </a:lnTo>
                <a:lnTo>
                  <a:pt x="482651" y="4564897"/>
                </a:lnTo>
                <a:lnTo>
                  <a:pt x="478632" y="4560858"/>
                </a:lnTo>
                <a:lnTo>
                  <a:pt x="478632" y="4550987"/>
                </a:lnTo>
                <a:close/>
                <a:moveTo>
                  <a:pt x="243338" y="4546948"/>
                </a:moveTo>
                <a:lnTo>
                  <a:pt x="253248" y="4546948"/>
                </a:lnTo>
                <a:lnTo>
                  <a:pt x="257267" y="4550987"/>
                </a:lnTo>
                <a:lnTo>
                  <a:pt x="257267" y="4560858"/>
                </a:lnTo>
                <a:lnTo>
                  <a:pt x="253248" y="4564897"/>
                </a:lnTo>
                <a:lnTo>
                  <a:pt x="243338" y="4564897"/>
                </a:lnTo>
                <a:lnTo>
                  <a:pt x="239319" y="4560858"/>
                </a:lnTo>
                <a:lnTo>
                  <a:pt x="239319" y="4550987"/>
                </a:lnTo>
                <a:close/>
                <a:moveTo>
                  <a:pt x="4025" y="4546948"/>
                </a:moveTo>
                <a:lnTo>
                  <a:pt x="13935" y="4546948"/>
                </a:lnTo>
                <a:lnTo>
                  <a:pt x="17954" y="4550987"/>
                </a:lnTo>
                <a:lnTo>
                  <a:pt x="17954" y="4560858"/>
                </a:lnTo>
                <a:lnTo>
                  <a:pt x="13935" y="4564897"/>
                </a:lnTo>
                <a:lnTo>
                  <a:pt x="4025" y="4564897"/>
                </a:lnTo>
                <a:lnTo>
                  <a:pt x="6" y="4560858"/>
                </a:lnTo>
                <a:lnTo>
                  <a:pt x="6" y="4550987"/>
                </a:lnTo>
                <a:close/>
                <a:moveTo>
                  <a:pt x="2157819" y="4307669"/>
                </a:moveTo>
                <a:lnTo>
                  <a:pt x="2167729" y="4307669"/>
                </a:lnTo>
                <a:lnTo>
                  <a:pt x="2171749" y="4311708"/>
                </a:lnTo>
                <a:lnTo>
                  <a:pt x="2171749" y="4321579"/>
                </a:lnTo>
                <a:lnTo>
                  <a:pt x="2167729" y="4325618"/>
                </a:lnTo>
                <a:lnTo>
                  <a:pt x="2157819" y="4325618"/>
                </a:lnTo>
                <a:lnTo>
                  <a:pt x="2153801" y="4321579"/>
                </a:lnTo>
                <a:lnTo>
                  <a:pt x="2153801" y="4311708"/>
                </a:lnTo>
                <a:close/>
                <a:moveTo>
                  <a:pt x="1918511" y="4307669"/>
                </a:moveTo>
                <a:lnTo>
                  <a:pt x="1928421" y="4307669"/>
                </a:lnTo>
                <a:lnTo>
                  <a:pt x="1932440" y="4311708"/>
                </a:lnTo>
                <a:lnTo>
                  <a:pt x="1932440" y="4321579"/>
                </a:lnTo>
                <a:lnTo>
                  <a:pt x="1928421" y="4325618"/>
                </a:lnTo>
                <a:lnTo>
                  <a:pt x="1918511" y="4325618"/>
                </a:lnTo>
                <a:lnTo>
                  <a:pt x="1914492" y="4321579"/>
                </a:lnTo>
                <a:lnTo>
                  <a:pt x="1914492" y="4311708"/>
                </a:lnTo>
                <a:close/>
                <a:moveTo>
                  <a:pt x="1679206" y="4307669"/>
                </a:moveTo>
                <a:lnTo>
                  <a:pt x="1689117" y="4307669"/>
                </a:lnTo>
                <a:lnTo>
                  <a:pt x="1693136" y="4311708"/>
                </a:lnTo>
                <a:lnTo>
                  <a:pt x="1693136" y="4321579"/>
                </a:lnTo>
                <a:lnTo>
                  <a:pt x="1689117" y="4325618"/>
                </a:lnTo>
                <a:lnTo>
                  <a:pt x="1679206" y="4325618"/>
                </a:lnTo>
                <a:lnTo>
                  <a:pt x="1675188" y="4321579"/>
                </a:lnTo>
                <a:lnTo>
                  <a:pt x="1675188" y="4311708"/>
                </a:lnTo>
                <a:close/>
                <a:moveTo>
                  <a:pt x="1439891" y="4307669"/>
                </a:moveTo>
                <a:lnTo>
                  <a:pt x="1449801" y="4307669"/>
                </a:lnTo>
                <a:lnTo>
                  <a:pt x="1453819" y="4311708"/>
                </a:lnTo>
                <a:lnTo>
                  <a:pt x="1453819" y="4321579"/>
                </a:lnTo>
                <a:lnTo>
                  <a:pt x="1449801" y="4325618"/>
                </a:lnTo>
                <a:lnTo>
                  <a:pt x="1439891" y="4325618"/>
                </a:lnTo>
                <a:lnTo>
                  <a:pt x="1435871" y="4321579"/>
                </a:lnTo>
                <a:lnTo>
                  <a:pt x="1435871" y="4311708"/>
                </a:lnTo>
                <a:close/>
                <a:moveTo>
                  <a:pt x="1200575" y="4307669"/>
                </a:moveTo>
                <a:lnTo>
                  <a:pt x="1210486" y="4307669"/>
                </a:lnTo>
                <a:lnTo>
                  <a:pt x="1214505" y="4311708"/>
                </a:lnTo>
                <a:lnTo>
                  <a:pt x="1214505" y="4321579"/>
                </a:lnTo>
                <a:lnTo>
                  <a:pt x="1210486" y="4325618"/>
                </a:lnTo>
                <a:lnTo>
                  <a:pt x="1200575" y="4325618"/>
                </a:lnTo>
                <a:lnTo>
                  <a:pt x="1196556" y="4321579"/>
                </a:lnTo>
                <a:lnTo>
                  <a:pt x="1196556" y="4311708"/>
                </a:lnTo>
                <a:close/>
                <a:moveTo>
                  <a:pt x="961263" y="4307669"/>
                </a:moveTo>
                <a:lnTo>
                  <a:pt x="971173" y="4307669"/>
                </a:lnTo>
                <a:lnTo>
                  <a:pt x="975191" y="4311708"/>
                </a:lnTo>
                <a:lnTo>
                  <a:pt x="975191" y="4321579"/>
                </a:lnTo>
                <a:lnTo>
                  <a:pt x="971173" y="4325618"/>
                </a:lnTo>
                <a:lnTo>
                  <a:pt x="961263" y="4325618"/>
                </a:lnTo>
                <a:lnTo>
                  <a:pt x="957244" y="4321579"/>
                </a:lnTo>
                <a:lnTo>
                  <a:pt x="957244" y="4311708"/>
                </a:lnTo>
                <a:close/>
                <a:moveTo>
                  <a:pt x="9572438" y="4307617"/>
                </a:moveTo>
                <a:lnTo>
                  <a:pt x="9582349" y="4307617"/>
                </a:lnTo>
                <a:lnTo>
                  <a:pt x="9586368" y="4311656"/>
                </a:lnTo>
                <a:lnTo>
                  <a:pt x="9586368" y="4321527"/>
                </a:lnTo>
                <a:lnTo>
                  <a:pt x="9582349" y="4325566"/>
                </a:lnTo>
                <a:lnTo>
                  <a:pt x="9572438" y="4325566"/>
                </a:lnTo>
                <a:lnTo>
                  <a:pt x="9568419" y="4321527"/>
                </a:lnTo>
                <a:lnTo>
                  <a:pt x="9568419" y="4311656"/>
                </a:lnTo>
                <a:close/>
                <a:moveTo>
                  <a:pt x="9333125" y="4307617"/>
                </a:moveTo>
                <a:lnTo>
                  <a:pt x="9343036" y="4307617"/>
                </a:lnTo>
                <a:lnTo>
                  <a:pt x="9347055" y="4311656"/>
                </a:lnTo>
                <a:lnTo>
                  <a:pt x="9347055" y="4321527"/>
                </a:lnTo>
                <a:lnTo>
                  <a:pt x="9343036" y="4325566"/>
                </a:lnTo>
                <a:lnTo>
                  <a:pt x="9333125" y="4325566"/>
                </a:lnTo>
                <a:lnTo>
                  <a:pt x="9329106" y="4321527"/>
                </a:lnTo>
                <a:lnTo>
                  <a:pt x="9329106" y="4311656"/>
                </a:lnTo>
                <a:close/>
                <a:moveTo>
                  <a:pt x="9093811" y="4307617"/>
                </a:moveTo>
                <a:lnTo>
                  <a:pt x="9103722" y="4307617"/>
                </a:lnTo>
                <a:lnTo>
                  <a:pt x="9107741" y="4311656"/>
                </a:lnTo>
                <a:lnTo>
                  <a:pt x="9107741" y="4321527"/>
                </a:lnTo>
                <a:lnTo>
                  <a:pt x="9103722" y="4325566"/>
                </a:lnTo>
                <a:lnTo>
                  <a:pt x="9093811" y="4325566"/>
                </a:lnTo>
                <a:lnTo>
                  <a:pt x="9089792" y="4321527"/>
                </a:lnTo>
                <a:lnTo>
                  <a:pt x="9089792" y="4311656"/>
                </a:lnTo>
                <a:close/>
                <a:moveTo>
                  <a:pt x="8854496" y="4307617"/>
                </a:moveTo>
                <a:lnTo>
                  <a:pt x="8864407" y="4307617"/>
                </a:lnTo>
                <a:lnTo>
                  <a:pt x="8868426" y="4311656"/>
                </a:lnTo>
                <a:lnTo>
                  <a:pt x="8868426" y="4321527"/>
                </a:lnTo>
                <a:lnTo>
                  <a:pt x="8864407" y="4325566"/>
                </a:lnTo>
                <a:lnTo>
                  <a:pt x="8854496" y="4325566"/>
                </a:lnTo>
                <a:lnTo>
                  <a:pt x="8850477" y="4321527"/>
                </a:lnTo>
                <a:lnTo>
                  <a:pt x="8850477" y="4311656"/>
                </a:lnTo>
                <a:close/>
                <a:moveTo>
                  <a:pt x="8615184" y="4307617"/>
                </a:moveTo>
                <a:lnTo>
                  <a:pt x="8625095" y="4307617"/>
                </a:lnTo>
                <a:lnTo>
                  <a:pt x="8629114" y="4311656"/>
                </a:lnTo>
                <a:lnTo>
                  <a:pt x="8629114" y="4321527"/>
                </a:lnTo>
                <a:lnTo>
                  <a:pt x="8625095" y="4325566"/>
                </a:lnTo>
                <a:lnTo>
                  <a:pt x="8615184" y="4325566"/>
                </a:lnTo>
                <a:lnTo>
                  <a:pt x="8611165" y="4321527"/>
                </a:lnTo>
                <a:lnTo>
                  <a:pt x="8611165" y="4311656"/>
                </a:lnTo>
                <a:close/>
                <a:moveTo>
                  <a:pt x="8375869" y="4307617"/>
                </a:moveTo>
                <a:lnTo>
                  <a:pt x="8385779" y="4307617"/>
                </a:lnTo>
                <a:lnTo>
                  <a:pt x="8389799" y="4311656"/>
                </a:lnTo>
                <a:lnTo>
                  <a:pt x="8389799" y="4321527"/>
                </a:lnTo>
                <a:lnTo>
                  <a:pt x="8385779" y="4325566"/>
                </a:lnTo>
                <a:lnTo>
                  <a:pt x="8375869" y="4325566"/>
                </a:lnTo>
                <a:lnTo>
                  <a:pt x="8371850" y="4321527"/>
                </a:lnTo>
                <a:lnTo>
                  <a:pt x="8371850" y="4311656"/>
                </a:lnTo>
                <a:close/>
                <a:moveTo>
                  <a:pt x="8136553" y="4307617"/>
                </a:moveTo>
                <a:lnTo>
                  <a:pt x="8146464" y="4307617"/>
                </a:lnTo>
                <a:lnTo>
                  <a:pt x="8150483" y="4311656"/>
                </a:lnTo>
                <a:lnTo>
                  <a:pt x="8150483" y="4321527"/>
                </a:lnTo>
                <a:lnTo>
                  <a:pt x="8146464" y="4325566"/>
                </a:lnTo>
                <a:lnTo>
                  <a:pt x="8136553" y="4325566"/>
                </a:lnTo>
                <a:lnTo>
                  <a:pt x="8132534" y="4321527"/>
                </a:lnTo>
                <a:lnTo>
                  <a:pt x="8132534" y="4311656"/>
                </a:lnTo>
                <a:close/>
                <a:moveTo>
                  <a:pt x="7897241" y="4307617"/>
                </a:moveTo>
                <a:lnTo>
                  <a:pt x="7907151" y="4307617"/>
                </a:lnTo>
                <a:lnTo>
                  <a:pt x="7911170" y="4311656"/>
                </a:lnTo>
                <a:lnTo>
                  <a:pt x="7911170" y="4321527"/>
                </a:lnTo>
                <a:lnTo>
                  <a:pt x="7907151" y="4325566"/>
                </a:lnTo>
                <a:lnTo>
                  <a:pt x="7897241" y="4325566"/>
                </a:lnTo>
                <a:lnTo>
                  <a:pt x="7893222" y="4321527"/>
                </a:lnTo>
                <a:lnTo>
                  <a:pt x="7893222" y="4311656"/>
                </a:lnTo>
                <a:close/>
                <a:moveTo>
                  <a:pt x="7657926" y="4307617"/>
                </a:moveTo>
                <a:lnTo>
                  <a:pt x="7667836" y="4307617"/>
                </a:lnTo>
                <a:lnTo>
                  <a:pt x="7671855" y="4311656"/>
                </a:lnTo>
                <a:lnTo>
                  <a:pt x="7671855" y="4321527"/>
                </a:lnTo>
                <a:lnTo>
                  <a:pt x="7667836" y="4325566"/>
                </a:lnTo>
                <a:lnTo>
                  <a:pt x="7657926" y="4325566"/>
                </a:lnTo>
                <a:lnTo>
                  <a:pt x="7653906" y="4321527"/>
                </a:lnTo>
                <a:lnTo>
                  <a:pt x="7653906" y="4311656"/>
                </a:lnTo>
                <a:close/>
                <a:moveTo>
                  <a:pt x="7418611" y="4307617"/>
                </a:moveTo>
                <a:lnTo>
                  <a:pt x="7428521" y="4307617"/>
                </a:lnTo>
                <a:lnTo>
                  <a:pt x="7432540" y="4311656"/>
                </a:lnTo>
                <a:lnTo>
                  <a:pt x="7432540" y="4321527"/>
                </a:lnTo>
                <a:lnTo>
                  <a:pt x="7428521" y="4325566"/>
                </a:lnTo>
                <a:lnTo>
                  <a:pt x="7418611" y="4325566"/>
                </a:lnTo>
                <a:lnTo>
                  <a:pt x="7414592" y="4321527"/>
                </a:lnTo>
                <a:lnTo>
                  <a:pt x="7414592" y="4311656"/>
                </a:lnTo>
                <a:close/>
                <a:moveTo>
                  <a:pt x="7179298" y="4307617"/>
                </a:moveTo>
                <a:lnTo>
                  <a:pt x="7189209" y="4307617"/>
                </a:lnTo>
                <a:lnTo>
                  <a:pt x="7193228" y="4311656"/>
                </a:lnTo>
                <a:lnTo>
                  <a:pt x="7193228" y="4321527"/>
                </a:lnTo>
                <a:lnTo>
                  <a:pt x="7189209" y="4325566"/>
                </a:lnTo>
                <a:lnTo>
                  <a:pt x="7179298" y="4325566"/>
                </a:lnTo>
                <a:lnTo>
                  <a:pt x="7175279" y="4321527"/>
                </a:lnTo>
                <a:lnTo>
                  <a:pt x="7175279" y="4311656"/>
                </a:lnTo>
                <a:close/>
                <a:moveTo>
                  <a:pt x="6939983" y="4307617"/>
                </a:moveTo>
                <a:lnTo>
                  <a:pt x="6949894" y="4307617"/>
                </a:lnTo>
                <a:lnTo>
                  <a:pt x="6953913" y="4311656"/>
                </a:lnTo>
                <a:lnTo>
                  <a:pt x="6953913" y="4321527"/>
                </a:lnTo>
                <a:lnTo>
                  <a:pt x="6949894" y="4325566"/>
                </a:lnTo>
                <a:lnTo>
                  <a:pt x="6939983" y="4325566"/>
                </a:lnTo>
                <a:lnTo>
                  <a:pt x="6935964" y="4321527"/>
                </a:lnTo>
                <a:lnTo>
                  <a:pt x="6935964" y="4311656"/>
                </a:lnTo>
                <a:close/>
                <a:moveTo>
                  <a:pt x="6700670" y="4307617"/>
                </a:moveTo>
                <a:lnTo>
                  <a:pt x="6710581" y="4307617"/>
                </a:lnTo>
                <a:lnTo>
                  <a:pt x="6714600" y="4311656"/>
                </a:lnTo>
                <a:lnTo>
                  <a:pt x="6714600" y="4321527"/>
                </a:lnTo>
                <a:lnTo>
                  <a:pt x="6710581" y="4325566"/>
                </a:lnTo>
                <a:lnTo>
                  <a:pt x="6700670" y="4325566"/>
                </a:lnTo>
                <a:lnTo>
                  <a:pt x="6696651" y="4321527"/>
                </a:lnTo>
                <a:lnTo>
                  <a:pt x="6696651" y="4311656"/>
                </a:lnTo>
                <a:close/>
                <a:moveTo>
                  <a:pt x="6461356" y="4307617"/>
                </a:moveTo>
                <a:lnTo>
                  <a:pt x="6471266" y="4307617"/>
                </a:lnTo>
                <a:lnTo>
                  <a:pt x="6475285" y="4311656"/>
                </a:lnTo>
                <a:lnTo>
                  <a:pt x="6475285" y="4321527"/>
                </a:lnTo>
                <a:lnTo>
                  <a:pt x="6471266" y="4325566"/>
                </a:lnTo>
                <a:lnTo>
                  <a:pt x="6461356" y="4325566"/>
                </a:lnTo>
                <a:lnTo>
                  <a:pt x="6457337" y="4321527"/>
                </a:lnTo>
                <a:lnTo>
                  <a:pt x="6457337" y="4311656"/>
                </a:lnTo>
                <a:close/>
                <a:moveTo>
                  <a:pt x="6222042" y="4307617"/>
                </a:moveTo>
                <a:lnTo>
                  <a:pt x="6231952" y="4307617"/>
                </a:lnTo>
                <a:lnTo>
                  <a:pt x="6235971" y="4311656"/>
                </a:lnTo>
                <a:lnTo>
                  <a:pt x="6235971" y="4321527"/>
                </a:lnTo>
                <a:lnTo>
                  <a:pt x="6231952" y="4325566"/>
                </a:lnTo>
                <a:lnTo>
                  <a:pt x="6222042" y="4325566"/>
                </a:lnTo>
                <a:lnTo>
                  <a:pt x="6218023" y="4321527"/>
                </a:lnTo>
                <a:lnTo>
                  <a:pt x="6218023" y="4311656"/>
                </a:lnTo>
                <a:close/>
                <a:moveTo>
                  <a:pt x="5982729" y="4307617"/>
                </a:moveTo>
                <a:lnTo>
                  <a:pt x="5992639" y="4307617"/>
                </a:lnTo>
                <a:lnTo>
                  <a:pt x="5996658" y="4311656"/>
                </a:lnTo>
                <a:lnTo>
                  <a:pt x="5996658" y="4321527"/>
                </a:lnTo>
                <a:lnTo>
                  <a:pt x="5992639" y="4325566"/>
                </a:lnTo>
                <a:lnTo>
                  <a:pt x="5982729" y="4325566"/>
                </a:lnTo>
                <a:lnTo>
                  <a:pt x="5978710" y="4321527"/>
                </a:lnTo>
                <a:lnTo>
                  <a:pt x="5978710" y="4311656"/>
                </a:lnTo>
                <a:close/>
                <a:moveTo>
                  <a:pt x="5743412" y="4307617"/>
                </a:moveTo>
                <a:lnTo>
                  <a:pt x="5753323" y="4307617"/>
                </a:lnTo>
                <a:lnTo>
                  <a:pt x="5757342" y="4311656"/>
                </a:lnTo>
                <a:lnTo>
                  <a:pt x="5757342" y="4321527"/>
                </a:lnTo>
                <a:lnTo>
                  <a:pt x="5753323" y="4325566"/>
                </a:lnTo>
                <a:lnTo>
                  <a:pt x="5743412" y="4325566"/>
                </a:lnTo>
                <a:lnTo>
                  <a:pt x="5739393" y="4321527"/>
                </a:lnTo>
                <a:lnTo>
                  <a:pt x="5739393" y="4311656"/>
                </a:lnTo>
                <a:close/>
                <a:moveTo>
                  <a:pt x="5504099" y="4307617"/>
                </a:moveTo>
                <a:lnTo>
                  <a:pt x="5514010" y="4307617"/>
                </a:lnTo>
                <a:lnTo>
                  <a:pt x="5518029" y="4311656"/>
                </a:lnTo>
                <a:lnTo>
                  <a:pt x="5518029" y="4321527"/>
                </a:lnTo>
                <a:lnTo>
                  <a:pt x="5514010" y="4325566"/>
                </a:lnTo>
                <a:lnTo>
                  <a:pt x="5504099" y="4325566"/>
                </a:lnTo>
                <a:lnTo>
                  <a:pt x="5500080" y="4321527"/>
                </a:lnTo>
                <a:lnTo>
                  <a:pt x="5500080" y="4311656"/>
                </a:lnTo>
                <a:close/>
                <a:moveTo>
                  <a:pt x="5264784" y="4307617"/>
                </a:moveTo>
                <a:lnTo>
                  <a:pt x="5274694" y="4307617"/>
                </a:lnTo>
                <a:lnTo>
                  <a:pt x="5278713" y="4311656"/>
                </a:lnTo>
                <a:lnTo>
                  <a:pt x="5278713" y="4321527"/>
                </a:lnTo>
                <a:lnTo>
                  <a:pt x="5274694" y="4325566"/>
                </a:lnTo>
                <a:lnTo>
                  <a:pt x="5264784" y="4325566"/>
                </a:lnTo>
                <a:lnTo>
                  <a:pt x="5260765" y="4321527"/>
                </a:lnTo>
                <a:lnTo>
                  <a:pt x="5260765" y="4311656"/>
                </a:lnTo>
                <a:close/>
                <a:moveTo>
                  <a:pt x="5025470" y="4307617"/>
                </a:moveTo>
                <a:lnTo>
                  <a:pt x="5035381" y="4307617"/>
                </a:lnTo>
                <a:lnTo>
                  <a:pt x="5039400" y="4311656"/>
                </a:lnTo>
                <a:lnTo>
                  <a:pt x="5039400" y="4321527"/>
                </a:lnTo>
                <a:lnTo>
                  <a:pt x="5035381" y="4325566"/>
                </a:lnTo>
                <a:lnTo>
                  <a:pt x="5025470" y="4325566"/>
                </a:lnTo>
                <a:lnTo>
                  <a:pt x="5021451" y="4321527"/>
                </a:lnTo>
                <a:lnTo>
                  <a:pt x="5021451" y="4311656"/>
                </a:lnTo>
                <a:close/>
                <a:moveTo>
                  <a:pt x="4786241" y="4307617"/>
                </a:moveTo>
                <a:lnTo>
                  <a:pt x="4796152" y="4307617"/>
                </a:lnTo>
                <a:lnTo>
                  <a:pt x="4800171" y="4311656"/>
                </a:lnTo>
                <a:lnTo>
                  <a:pt x="4800171" y="4321527"/>
                </a:lnTo>
                <a:lnTo>
                  <a:pt x="4796152" y="4325566"/>
                </a:lnTo>
                <a:lnTo>
                  <a:pt x="4786241" y="4325566"/>
                </a:lnTo>
                <a:lnTo>
                  <a:pt x="4782224" y="4321527"/>
                </a:lnTo>
                <a:lnTo>
                  <a:pt x="4782224" y="4311656"/>
                </a:lnTo>
                <a:close/>
                <a:moveTo>
                  <a:pt x="4546929" y="4307617"/>
                </a:moveTo>
                <a:lnTo>
                  <a:pt x="4556840" y="4307617"/>
                </a:lnTo>
                <a:lnTo>
                  <a:pt x="4560859" y="4311656"/>
                </a:lnTo>
                <a:lnTo>
                  <a:pt x="4560859" y="4321527"/>
                </a:lnTo>
                <a:lnTo>
                  <a:pt x="4556840" y="4325566"/>
                </a:lnTo>
                <a:lnTo>
                  <a:pt x="4546929" y="4325566"/>
                </a:lnTo>
                <a:lnTo>
                  <a:pt x="4542910" y="4321527"/>
                </a:lnTo>
                <a:lnTo>
                  <a:pt x="4542910" y="4311656"/>
                </a:lnTo>
                <a:close/>
                <a:moveTo>
                  <a:pt x="4307612" y="4307617"/>
                </a:moveTo>
                <a:lnTo>
                  <a:pt x="4317523" y="4307617"/>
                </a:lnTo>
                <a:lnTo>
                  <a:pt x="4321543" y="4311656"/>
                </a:lnTo>
                <a:lnTo>
                  <a:pt x="4321543" y="4321527"/>
                </a:lnTo>
                <a:lnTo>
                  <a:pt x="4317523" y="4325566"/>
                </a:lnTo>
                <a:lnTo>
                  <a:pt x="4307612" y="4325566"/>
                </a:lnTo>
                <a:lnTo>
                  <a:pt x="4303595" y="4321527"/>
                </a:lnTo>
                <a:lnTo>
                  <a:pt x="4303595" y="4311656"/>
                </a:lnTo>
                <a:close/>
                <a:moveTo>
                  <a:pt x="4068297" y="4307617"/>
                </a:moveTo>
                <a:lnTo>
                  <a:pt x="4078210" y="4307617"/>
                </a:lnTo>
                <a:lnTo>
                  <a:pt x="4082229" y="4311656"/>
                </a:lnTo>
                <a:lnTo>
                  <a:pt x="4082229" y="4321527"/>
                </a:lnTo>
                <a:lnTo>
                  <a:pt x="4078210" y="4325566"/>
                </a:lnTo>
                <a:lnTo>
                  <a:pt x="4068297" y="4325566"/>
                </a:lnTo>
                <a:lnTo>
                  <a:pt x="4064278" y="4321527"/>
                </a:lnTo>
                <a:lnTo>
                  <a:pt x="4064278" y="4311656"/>
                </a:lnTo>
                <a:close/>
                <a:moveTo>
                  <a:pt x="3828990" y="4307617"/>
                </a:moveTo>
                <a:lnTo>
                  <a:pt x="3838899" y="4307617"/>
                </a:lnTo>
                <a:lnTo>
                  <a:pt x="3842917" y="4311656"/>
                </a:lnTo>
                <a:lnTo>
                  <a:pt x="3842917" y="4321527"/>
                </a:lnTo>
                <a:lnTo>
                  <a:pt x="3838899" y="4325566"/>
                </a:lnTo>
                <a:lnTo>
                  <a:pt x="3828990" y="4325566"/>
                </a:lnTo>
                <a:lnTo>
                  <a:pt x="3824971" y="4321527"/>
                </a:lnTo>
                <a:lnTo>
                  <a:pt x="3824971" y="4311656"/>
                </a:lnTo>
                <a:close/>
                <a:moveTo>
                  <a:pt x="3589676" y="4307617"/>
                </a:moveTo>
                <a:lnTo>
                  <a:pt x="3599585" y="4307617"/>
                </a:lnTo>
                <a:lnTo>
                  <a:pt x="3603604" y="4311656"/>
                </a:lnTo>
                <a:lnTo>
                  <a:pt x="3603604" y="4321527"/>
                </a:lnTo>
                <a:lnTo>
                  <a:pt x="3599585" y="4325566"/>
                </a:lnTo>
                <a:lnTo>
                  <a:pt x="3589676" y="4325566"/>
                </a:lnTo>
                <a:lnTo>
                  <a:pt x="3585657" y="4321527"/>
                </a:lnTo>
                <a:lnTo>
                  <a:pt x="3585657" y="4311656"/>
                </a:lnTo>
                <a:close/>
                <a:moveTo>
                  <a:pt x="3350359" y="4307617"/>
                </a:moveTo>
                <a:lnTo>
                  <a:pt x="3360268" y="4307617"/>
                </a:lnTo>
                <a:lnTo>
                  <a:pt x="3364287" y="4311656"/>
                </a:lnTo>
                <a:lnTo>
                  <a:pt x="3364287" y="4321527"/>
                </a:lnTo>
                <a:lnTo>
                  <a:pt x="3360268" y="4325566"/>
                </a:lnTo>
                <a:lnTo>
                  <a:pt x="3350359" y="4325566"/>
                </a:lnTo>
                <a:lnTo>
                  <a:pt x="3346340" y="4321527"/>
                </a:lnTo>
                <a:lnTo>
                  <a:pt x="3346340" y="4311656"/>
                </a:lnTo>
                <a:close/>
                <a:moveTo>
                  <a:pt x="3111048" y="4307617"/>
                </a:moveTo>
                <a:lnTo>
                  <a:pt x="3120959" y="4307617"/>
                </a:lnTo>
                <a:lnTo>
                  <a:pt x="3124977" y="4311656"/>
                </a:lnTo>
                <a:lnTo>
                  <a:pt x="3124977" y="4321527"/>
                </a:lnTo>
                <a:lnTo>
                  <a:pt x="3120959" y="4325566"/>
                </a:lnTo>
                <a:lnTo>
                  <a:pt x="3111048" y="4325566"/>
                </a:lnTo>
                <a:lnTo>
                  <a:pt x="3107029" y="4321527"/>
                </a:lnTo>
                <a:lnTo>
                  <a:pt x="3107029" y="4311656"/>
                </a:lnTo>
                <a:close/>
                <a:moveTo>
                  <a:pt x="2871737" y="4307617"/>
                </a:moveTo>
                <a:lnTo>
                  <a:pt x="2881646" y="4307617"/>
                </a:lnTo>
                <a:lnTo>
                  <a:pt x="2885666" y="4311656"/>
                </a:lnTo>
                <a:lnTo>
                  <a:pt x="2885666" y="4321527"/>
                </a:lnTo>
                <a:lnTo>
                  <a:pt x="2881646" y="4325566"/>
                </a:lnTo>
                <a:lnTo>
                  <a:pt x="2871737" y="4325566"/>
                </a:lnTo>
                <a:lnTo>
                  <a:pt x="2867717" y="4321527"/>
                </a:lnTo>
                <a:lnTo>
                  <a:pt x="2867717" y="4311656"/>
                </a:lnTo>
                <a:close/>
                <a:moveTo>
                  <a:pt x="2632423" y="4307617"/>
                </a:moveTo>
                <a:lnTo>
                  <a:pt x="2642334" y="4307617"/>
                </a:lnTo>
                <a:lnTo>
                  <a:pt x="2646352" y="4311656"/>
                </a:lnTo>
                <a:lnTo>
                  <a:pt x="2646352" y="4321527"/>
                </a:lnTo>
                <a:lnTo>
                  <a:pt x="2642334" y="4325566"/>
                </a:lnTo>
                <a:lnTo>
                  <a:pt x="2632423" y="4325566"/>
                </a:lnTo>
                <a:lnTo>
                  <a:pt x="2628404" y="4321527"/>
                </a:lnTo>
                <a:lnTo>
                  <a:pt x="2628404" y="4311656"/>
                </a:lnTo>
                <a:close/>
                <a:moveTo>
                  <a:pt x="2393104" y="4307617"/>
                </a:moveTo>
                <a:lnTo>
                  <a:pt x="2403015" y="4307617"/>
                </a:lnTo>
                <a:lnTo>
                  <a:pt x="2407034" y="4311656"/>
                </a:lnTo>
                <a:lnTo>
                  <a:pt x="2407034" y="4321527"/>
                </a:lnTo>
                <a:lnTo>
                  <a:pt x="2403015" y="4325566"/>
                </a:lnTo>
                <a:lnTo>
                  <a:pt x="2393104" y="4325566"/>
                </a:lnTo>
                <a:lnTo>
                  <a:pt x="2389087" y="4321527"/>
                </a:lnTo>
                <a:lnTo>
                  <a:pt x="2389087" y="4311656"/>
                </a:lnTo>
                <a:close/>
                <a:moveTo>
                  <a:pt x="721965" y="4307617"/>
                </a:moveTo>
                <a:lnTo>
                  <a:pt x="731874" y="4307617"/>
                </a:lnTo>
                <a:lnTo>
                  <a:pt x="735893" y="4311656"/>
                </a:lnTo>
                <a:lnTo>
                  <a:pt x="735893" y="4321527"/>
                </a:lnTo>
                <a:lnTo>
                  <a:pt x="731874" y="4325566"/>
                </a:lnTo>
                <a:lnTo>
                  <a:pt x="721965" y="4325566"/>
                </a:lnTo>
                <a:lnTo>
                  <a:pt x="717945" y="4321527"/>
                </a:lnTo>
                <a:lnTo>
                  <a:pt x="717945" y="4311656"/>
                </a:lnTo>
                <a:close/>
                <a:moveTo>
                  <a:pt x="482652" y="4307617"/>
                </a:moveTo>
                <a:lnTo>
                  <a:pt x="492562" y="4307617"/>
                </a:lnTo>
                <a:lnTo>
                  <a:pt x="496581" y="4311656"/>
                </a:lnTo>
                <a:lnTo>
                  <a:pt x="496581" y="4321527"/>
                </a:lnTo>
                <a:lnTo>
                  <a:pt x="492562" y="4325566"/>
                </a:lnTo>
                <a:lnTo>
                  <a:pt x="482652" y="4325566"/>
                </a:lnTo>
                <a:lnTo>
                  <a:pt x="478633" y="4321527"/>
                </a:lnTo>
                <a:lnTo>
                  <a:pt x="478633" y="4311656"/>
                </a:lnTo>
                <a:close/>
                <a:moveTo>
                  <a:pt x="243339" y="4307617"/>
                </a:moveTo>
                <a:lnTo>
                  <a:pt x="253249" y="4307617"/>
                </a:lnTo>
                <a:lnTo>
                  <a:pt x="257268" y="4311656"/>
                </a:lnTo>
                <a:lnTo>
                  <a:pt x="257268" y="4321527"/>
                </a:lnTo>
                <a:lnTo>
                  <a:pt x="253249" y="4325566"/>
                </a:lnTo>
                <a:lnTo>
                  <a:pt x="243339" y="4325566"/>
                </a:lnTo>
                <a:lnTo>
                  <a:pt x="239320" y="4321527"/>
                </a:lnTo>
                <a:lnTo>
                  <a:pt x="239320" y="4311656"/>
                </a:lnTo>
                <a:close/>
                <a:moveTo>
                  <a:pt x="4025" y="4307617"/>
                </a:moveTo>
                <a:lnTo>
                  <a:pt x="13936" y="4307617"/>
                </a:lnTo>
                <a:lnTo>
                  <a:pt x="17955" y="4311656"/>
                </a:lnTo>
                <a:lnTo>
                  <a:pt x="17955" y="4321527"/>
                </a:lnTo>
                <a:lnTo>
                  <a:pt x="13936" y="4325566"/>
                </a:lnTo>
                <a:lnTo>
                  <a:pt x="4025" y="4325566"/>
                </a:lnTo>
                <a:lnTo>
                  <a:pt x="7" y="4321527"/>
                </a:lnTo>
                <a:lnTo>
                  <a:pt x="7" y="4311656"/>
                </a:lnTo>
                <a:close/>
                <a:moveTo>
                  <a:pt x="9572438" y="4068339"/>
                </a:moveTo>
                <a:lnTo>
                  <a:pt x="9582349" y="4068339"/>
                </a:lnTo>
                <a:lnTo>
                  <a:pt x="9586368" y="4072377"/>
                </a:lnTo>
                <a:lnTo>
                  <a:pt x="9586368" y="4082248"/>
                </a:lnTo>
                <a:lnTo>
                  <a:pt x="9582349" y="4086287"/>
                </a:lnTo>
                <a:lnTo>
                  <a:pt x="9572438" y="4086287"/>
                </a:lnTo>
                <a:lnTo>
                  <a:pt x="9568419" y="4082248"/>
                </a:lnTo>
                <a:lnTo>
                  <a:pt x="9568419" y="4072377"/>
                </a:lnTo>
                <a:close/>
                <a:moveTo>
                  <a:pt x="9333125" y="4068339"/>
                </a:moveTo>
                <a:lnTo>
                  <a:pt x="9343036" y="4068339"/>
                </a:lnTo>
                <a:lnTo>
                  <a:pt x="9347055" y="4072377"/>
                </a:lnTo>
                <a:lnTo>
                  <a:pt x="9347055" y="4082248"/>
                </a:lnTo>
                <a:lnTo>
                  <a:pt x="9343036" y="4086287"/>
                </a:lnTo>
                <a:lnTo>
                  <a:pt x="9333125" y="4086287"/>
                </a:lnTo>
                <a:lnTo>
                  <a:pt x="9329106" y="4082248"/>
                </a:lnTo>
                <a:lnTo>
                  <a:pt x="9329106" y="4072377"/>
                </a:lnTo>
                <a:close/>
                <a:moveTo>
                  <a:pt x="9093811" y="4068339"/>
                </a:moveTo>
                <a:lnTo>
                  <a:pt x="9103722" y="4068339"/>
                </a:lnTo>
                <a:lnTo>
                  <a:pt x="9107741" y="4072377"/>
                </a:lnTo>
                <a:lnTo>
                  <a:pt x="9107741" y="4082248"/>
                </a:lnTo>
                <a:lnTo>
                  <a:pt x="9103722" y="4086287"/>
                </a:lnTo>
                <a:lnTo>
                  <a:pt x="9093811" y="4086287"/>
                </a:lnTo>
                <a:lnTo>
                  <a:pt x="9089792" y="4082248"/>
                </a:lnTo>
                <a:lnTo>
                  <a:pt x="9089792" y="4072377"/>
                </a:lnTo>
                <a:close/>
                <a:moveTo>
                  <a:pt x="8854496" y="4068339"/>
                </a:moveTo>
                <a:lnTo>
                  <a:pt x="8864407" y="4068339"/>
                </a:lnTo>
                <a:lnTo>
                  <a:pt x="8868426" y="4072377"/>
                </a:lnTo>
                <a:lnTo>
                  <a:pt x="8868426" y="4082248"/>
                </a:lnTo>
                <a:lnTo>
                  <a:pt x="8864407" y="4086287"/>
                </a:lnTo>
                <a:lnTo>
                  <a:pt x="8854496" y="4086287"/>
                </a:lnTo>
                <a:lnTo>
                  <a:pt x="8850477" y="4082248"/>
                </a:lnTo>
                <a:lnTo>
                  <a:pt x="8850477" y="4072377"/>
                </a:lnTo>
                <a:close/>
                <a:moveTo>
                  <a:pt x="8615184" y="4068339"/>
                </a:moveTo>
                <a:lnTo>
                  <a:pt x="8625095" y="4068339"/>
                </a:lnTo>
                <a:lnTo>
                  <a:pt x="8629114" y="4072377"/>
                </a:lnTo>
                <a:lnTo>
                  <a:pt x="8629114" y="4082248"/>
                </a:lnTo>
                <a:lnTo>
                  <a:pt x="8625095" y="4086287"/>
                </a:lnTo>
                <a:lnTo>
                  <a:pt x="8615184" y="4086287"/>
                </a:lnTo>
                <a:lnTo>
                  <a:pt x="8611165" y="4082248"/>
                </a:lnTo>
                <a:lnTo>
                  <a:pt x="8611165" y="4072377"/>
                </a:lnTo>
                <a:close/>
                <a:moveTo>
                  <a:pt x="8375869" y="4068339"/>
                </a:moveTo>
                <a:lnTo>
                  <a:pt x="8385779" y="4068339"/>
                </a:lnTo>
                <a:lnTo>
                  <a:pt x="8389799" y="4072377"/>
                </a:lnTo>
                <a:lnTo>
                  <a:pt x="8389799" y="4082248"/>
                </a:lnTo>
                <a:lnTo>
                  <a:pt x="8385779" y="4086287"/>
                </a:lnTo>
                <a:lnTo>
                  <a:pt x="8375869" y="4086287"/>
                </a:lnTo>
                <a:lnTo>
                  <a:pt x="8371850" y="4082248"/>
                </a:lnTo>
                <a:lnTo>
                  <a:pt x="8371850" y="4072377"/>
                </a:lnTo>
                <a:close/>
                <a:moveTo>
                  <a:pt x="8136553" y="4068339"/>
                </a:moveTo>
                <a:lnTo>
                  <a:pt x="8146464" y="4068339"/>
                </a:lnTo>
                <a:lnTo>
                  <a:pt x="8150483" y="4072377"/>
                </a:lnTo>
                <a:lnTo>
                  <a:pt x="8150483" y="4082248"/>
                </a:lnTo>
                <a:lnTo>
                  <a:pt x="8146464" y="4086287"/>
                </a:lnTo>
                <a:lnTo>
                  <a:pt x="8136553" y="4086287"/>
                </a:lnTo>
                <a:lnTo>
                  <a:pt x="8132534" y="4082248"/>
                </a:lnTo>
                <a:lnTo>
                  <a:pt x="8132534" y="4072377"/>
                </a:lnTo>
                <a:close/>
                <a:moveTo>
                  <a:pt x="7897241" y="4068339"/>
                </a:moveTo>
                <a:lnTo>
                  <a:pt x="7907151" y="4068339"/>
                </a:lnTo>
                <a:lnTo>
                  <a:pt x="7911170" y="4072377"/>
                </a:lnTo>
                <a:lnTo>
                  <a:pt x="7911170" y="4082248"/>
                </a:lnTo>
                <a:lnTo>
                  <a:pt x="7907151" y="4086287"/>
                </a:lnTo>
                <a:lnTo>
                  <a:pt x="7897241" y="4086287"/>
                </a:lnTo>
                <a:lnTo>
                  <a:pt x="7893222" y="4082248"/>
                </a:lnTo>
                <a:lnTo>
                  <a:pt x="7893222" y="4072377"/>
                </a:lnTo>
                <a:close/>
                <a:moveTo>
                  <a:pt x="7657926" y="4068339"/>
                </a:moveTo>
                <a:lnTo>
                  <a:pt x="7667836" y="4068339"/>
                </a:lnTo>
                <a:lnTo>
                  <a:pt x="7671855" y="4072377"/>
                </a:lnTo>
                <a:lnTo>
                  <a:pt x="7671855" y="4082248"/>
                </a:lnTo>
                <a:lnTo>
                  <a:pt x="7667836" y="4086287"/>
                </a:lnTo>
                <a:lnTo>
                  <a:pt x="7657926" y="4086287"/>
                </a:lnTo>
                <a:lnTo>
                  <a:pt x="7653906" y="4082248"/>
                </a:lnTo>
                <a:lnTo>
                  <a:pt x="7653906" y="4072377"/>
                </a:lnTo>
                <a:close/>
                <a:moveTo>
                  <a:pt x="7418611" y="4068339"/>
                </a:moveTo>
                <a:lnTo>
                  <a:pt x="7428521" y="4068339"/>
                </a:lnTo>
                <a:lnTo>
                  <a:pt x="7432540" y="4072377"/>
                </a:lnTo>
                <a:lnTo>
                  <a:pt x="7432540" y="4082248"/>
                </a:lnTo>
                <a:lnTo>
                  <a:pt x="7428521" y="4086287"/>
                </a:lnTo>
                <a:lnTo>
                  <a:pt x="7418611" y="4086287"/>
                </a:lnTo>
                <a:lnTo>
                  <a:pt x="7414592" y="4082248"/>
                </a:lnTo>
                <a:lnTo>
                  <a:pt x="7414592" y="4072377"/>
                </a:lnTo>
                <a:close/>
                <a:moveTo>
                  <a:pt x="7179298" y="4068339"/>
                </a:moveTo>
                <a:lnTo>
                  <a:pt x="7189209" y="4068339"/>
                </a:lnTo>
                <a:lnTo>
                  <a:pt x="7193228" y="4072377"/>
                </a:lnTo>
                <a:lnTo>
                  <a:pt x="7193228" y="4082248"/>
                </a:lnTo>
                <a:lnTo>
                  <a:pt x="7189209" y="4086287"/>
                </a:lnTo>
                <a:lnTo>
                  <a:pt x="7179298" y="4086287"/>
                </a:lnTo>
                <a:lnTo>
                  <a:pt x="7175279" y="4082248"/>
                </a:lnTo>
                <a:lnTo>
                  <a:pt x="7175279" y="4072377"/>
                </a:lnTo>
                <a:close/>
                <a:moveTo>
                  <a:pt x="6939983" y="4068339"/>
                </a:moveTo>
                <a:lnTo>
                  <a:pt x="6949894" y="4068339"/>
                </a:lnTo>
                <a:lnTo>
                  <a:pt x="6953913" y="4072377"/>
                </a:lnTo>
                <a:lnTo>
                  <a:pt x="6953913" y="4082248"/>
                </a:lnTo>
                <a:lnTo>
                  <a:pt x="6949894" y="4086287"/>
                </a:lnTo>
                <a:lnTo>
                  <a:pt x="6939983" y="4086287"/>
                </a:lnTo>
                <a:lnTo>
                  <a:pt x="6935964" y="4082248"/>
                </a:lnTo>
                <a:lnTo>
                  <a:pt x="6935964" y="4072377"/>
                </a:lnTo>
                <a:close/>
                <a:moveTo>
                  <a:pt x="6700670" y="4068339"/>
                </a:moveTo>
                <a:lnTo>
                  <a:pt x="6710581" y="4068339"/>
                </a:lnTo>
                <a:lnTo>
                  <a:pt x="6714600" y="4072377"/>
                </a:lnTo>
                <a:lnTo>
                  <a:pt x="6714600" y="4082248"/>
                </a:lnTo>
                <a:lnTo>
                  <a:pt x="6710581" y="4086287"/>
                </a:lnTo>
                <a:lnTo>
                  <a:pt x="6700670" y="4086287"/>
                </a:lnTo>
                <a:lnTo>
                  <a:pt x="6696651" y="4082248"/>
                </a:lnTo>
                <a:lnTo>
                  <a:pt x="6696651" y="4072377"/>
                </a:lnTo>
                <a:close/>
                <a:moveTo>
                  <a:pt x="6461356" y="4068339"/>
                </a:moveTo>
                <a:lnTo>
                  <a:pt x="6471266" y="4068339"/>
                </a:lnTo>
                <a:lnTo>
                  <a:pt x="6475285" y="4072377"/>
                </a:lnTo>
                <a:lnTo>
                  <a:pt x="6475285" y="4082248"/>
                </a:lnTo>
                <a:lnTo>
                  <a:pt x="6471266" y="4086287"/>
                </a:lnTo>
                <a:lnTo>
                  <a:pt x="6461356" y="4086287"/>
                </a:lnTo>
                <a:lnTo>
                  <a:pt x="6457337" y="4082248"/>
                </a:lnTo>
                <a:lnTo>
                  <a:pt x="6457337" y="4072377"/>
                </a:lnTo>
                <a:close/>
                <a:moveTo>
                  <a:pt x="6222042" y="4068339"/>
                </a:moveTo>
                <a:lnTo>
                  <a:pt x="6231952" y="4068339"/>
                </a:lnTo>
                <a:lnTo>
                  <a:pt x="6235971" y="4072377"/>
                </a:lnTo>
                <a:lnTo>
                  <a:pt x="6235971" y="4082248"/>
                </a:lnTo>
                <a:lnTo>
                  <a:pt x="6231952" y="4086287"/>
                </a:lnTo>
                <a:lnTo>
                  <a:pt x="6222042" y="4086287"/>
                </a:lnTo>
                <a:lnTo>
                  <a:pt x="6218023" y="4082248"/>
                </a:lnTo>
                <a:lnTo>
                  <a:pt x="6218023" y="4072377"/>
                </a:lnTo>
                <a:close/>
                <a:moveTo>
                  <a:pt x="5982729" y="4068339"/>
                </a:moveTo>
                <a:lnTo>
                  <a:pt x="5992639" y="4068339"/>
                </a:lnTo>
                <a:lnTo>
                  <a:pt x="5996658" y="4072377"/>
                </a:lnTo>
                <a:lnTo>
                  <a:pt x="5996658" y="4082248"/>
                </a:lnTo>
                <a:lnTo>
                  <a:pt x="5992639" y="4086287"/>
                </a:lnTo>
                <a:lnTo>
                  <a:pt x="5982729" y="4086287"/>
                </a:lnTo>
                <a:lnTo>
                  <a:pt x="5978710" y="4082248"/>
                </a:lnTo>
                <a:lnTo>
                  <a:pt x="5978710" y="4072377"/>
                </a:lnTo>
                <a:close/>
                <a:moveTo>
                  <a:pt x="5743412" y="4068339"/>
                </a:moveTo>
                <a:lnTo>
                  <a:pt x="5753323" y="4068339"/>
                </a:lnTo>
                <a:lnTo>
                  <a:pt x="5757342" y="4072377"/>
                </a:lnTo>
                <a:lnTo>
                  <a:pt x="5757342" y="4082248"/>
                </a:lnTo>
                <a:lnTo>
                  <a:pt x="5753323" y="4086287"/>
                </a:lnTo>
                <a:lnTo>
                  <a:pt x="5743412" y="4086287"/>
                </a:lnTo>
                <a:lnTo>
                  <a:pt x="5739393" y="4082248"/>
                </a:lnTo>
                <a:lnTo>
                  <a:pt x="5739393" y="4072377"/>
                </a:lnTo>
                <a:close/>
                <a:moveTo>
                  <a:pt x="5504099" y="4068339"/>
                </a:moveTo>
                <a:lnTo>
                  <a:pt x="5514010" y="4068339"/>
                </a:lnTo>
                <a:lnTo>
                  <a:pt x="5518029" y="4072377"/>
                </a:lnTo>
                <a:lnTo>
                  <a:pt x="5518029" y="4082248"/>
                </a:lnTo>
                <a:lnTo>
                  <a:pt x="5514010" y="4086287"/>
                </a:lnTo>
                <a:lnTo>
                  <a:pt x="5504099" y="4086287"/>
                </a:lnTo>
                <a:lnTo>
                  <a:pt x="5500080" y="4082248"/>
                </a:lnTo>
                <a:lnTo>
                  <a:pt x="5500080" y="4072377"/>
                </a:lnTo>
                <a:close/>
                <a:moveTo>
                  <a:pt x="5264784" y="4068339"/>
                </a:moveTo>
                <a:lnTo>
                  <a:pt x="5274694" y="4068339"/>
                </a:lnTo>
                <a:lnTo>
                  <a:pt x="5278713" y="4072377"/>
                </a:lnTo>
                <a:lnTo>
                  <a:pt x="5278713" y="4082248"/>
                </a:lnTo>
                <a:lnTo>
                  <a:pt x="5274694" y="4086287"/>
                </a:lnTo>
                <a:lnTo>
                  <a:pt x="5264784" y="4086287"/>
                </a:lnTo>
                <a:lnTo>
                  <a:pt x="5260765" y="4082248"/>
                </a:lnTo>
                <a:lnTo>
                  <a:pt x="5260765" y="4072377"/>
                </a:lnTo>
                <a:close/>
                <a:moveTo>
                  <a:pt x="5025470" y="4068339"/>
                </a:moveTo>
                <a:lnTo>
                  <a:pt x="5035381" y="4068339"/>
                </a:lnTo>
                <a:lnTo>
                  <a:pt x="5039400" y="4072377"/>
                </a:lnTo>
                <a:lnTo>
                  <a:pt x="5039400" y="4082248"/>
                </a:lnTo>
                <a:lnTo>
                  <a:pt x="5035381" y="4086287"/>
                </a:lnTo>
                <a:lnTo>
                  <a:pt x="5025470" y="4086287"/>
                </a:lnTo>
                <a:lnTo>
                  <a:pt x="5021451" y="4082248"/>
                </a:lnTo>
                <a:lnTo>
                  <a:pt x="5021451" y="4072377"/>
                </a:lnTo>
                <a:close/>
                <a:moveTo>
                  <a:pt x="4786241" y="4068339"/>
                </a:moveTo>
                <a:lnTo>
                  <a:pt x="4796152" y="4068339"/>
                </a:lnTo>
                <a:lnTo>
                  <a:pt x="4800171" y="4072377"/>
                </a:lnTo>
                <a:lnTo>
                  <a:pt x="4800171" y="4082248"/>
                </a:lnTo>
                <a:lnTo>
                  <a:pt x="4796152" y="4086287"/>
                </a:lnTo>
                <a:lnTo>
                  <a:pt x="4786241" y="4086287"/>
                </a:lnTo>
                <a:lnTo>
                  <a:pt x="4782224" y="4082248"/>
                </a:lnTo>
                <a:lnTo>
                  <a:pt x="4782224" y="4072377"/>
                </a:lnTo>
                <a:close/>
                <a:moveTo>
                  <a:pt x="4546929" y="4068339"/>
                </a:moveTo>
                <a:lnTo>
                  <a:pt x="4556840" y="4068339"/>
                </a:lnTo>
                <a:lnTo>
                  <a:pt x="4560859" y="4072377"/>
                </a:lnTo>
                <a:lnTo>
                  <a:pt x="4560859" y="4082248"/>
                </a:lnTo>
                <a:lnTo>
                  <a:pt x="4556840" y="4086287"/>
                </a:lnTo>
                <a:lnTo>
                  <a:pt x="4546929" y="4086287"/>
                </a:lnTo>
                <a:lnTo>
                  <a:pt x="4542910" y="4082248"/>
                </a:lnTo>
                <a:lnTo>
                  <a:pt x="4542910" y="4072377"/>
                </a:lnTo>
                <a:close/>
                <a:moveTo>
                  <a:pt x="4307612" y="4068339"/>
                </a:moveTo>
                <a:lnTo>
                  <a:pt x="4317523" y="4068339"/>
                </a:lnTo>
                <a:lnTo>
                  <a:pt x="4321543" y="4072377"/>
                </a:lnTo>
                <a:lnTo>
                  <a:pt x="4321543" y="4082248"/>
                </a:lnTo>
                <a:lnTo>
                  <a:pt x="4317523" y="4086287"/>
                </a:lnTo>
                <a:lnTo>
                  <a:pt x="4307612" y="4086287"/>
                </a:lnTo>
                <a:lnTo>
                  <a:pt x="4303595" y="4082248"/>
                </a:lnTo>
                <a:lnTo>
                  <a:pt x="4303595" y="4072377"/>
                </a:lnTo>
                <a:close/>
                <a:moveTo>
                  <a:pt x="4068297" y="4068339"/>
                </a:moveTo>
                <a:lnTo>
                  <a:pt x="4078210" y="4068339"/>
                </a:lnTo>
                <a:lnTo>
                  <a:pt x="4082229" y="4072377"/>
                </a:lnTo>
                <a:lnTo>
                  <a:pt x="4082229" y="4082248"/>
                </a:lnTo>
                <a:lnTo>
                  <a:pt x="4078210" y="4086287"/>
                </a:lnTo>
                <a:lnTo>
                  <a:pt x="4068297" y="4086287"/>
                </a:lnTo>
                <a:lnTo>
                  <a:pt x="4064278" y="4082248"/>
                </a:lnTo>
                <a:lnTo>
                  <a:pt x="4064278" y="4072377"/>
                </a:lnTo>
                <a:close/>
                <a:moveTo>
                  <a:pt x="3828990" y="4068339"/>
                </a:moveTo>
                <a:lnTo>
                  <a:pt x="3838899" y="4068339"/>
                </a:lnTo>
                <a:lnTo>
                  <a:pt x="3842917" y="4072377"/>
                </a:lnTo>
                <a:lnTo>
                  <a:pt x="3842917" y="4082248"/>
                </a:lnTo>
                <a:lnTo>
                  <a:pt x="3838899" y="4086287"/>
                </a:lnTo>
                <a:lnTo>
                  <a:pt x="3828990" y="4086287"/>
                </a:lnTo>
                <a:lnTo>
                  <a:pt x="3824971" y="4082248"/>
                </a:lnTo>
                <a:lnTo>
                  <a:pt x="3824971" y="4072377"/>
                </a:lnTo>
                <a:close/>
                <a:moveTo>
                  <a:pt x="3589676" y="4068339"/>
                </a:moveTo>
                <a:lnTo>
                  <a:pt x="3599585" y="4068339"/>
                </a:lnTo>
                <a:lnTo>
                  <a:pt x="3603604" y="4072377"/>
                </a:lnTo>
                <a:lnTo>
                  <a:pt x="3603604" y="4082248"/>
                </a:lnTo>
                <a:lnTo>
                  <a:pt x="3599585" y="4086287"/>
                </a:lnTo>
                <a:lnTo>
                  <a:pt x="3589676" y="4086287"/>
                </a:lnTo>
                <a:lnTo>
                  <a:pt x="3585657" y="4082248"/>
                </a:lnTo>
                <a:lnTo>
                  <a:pt x="3585657" y="4072377"/>
                </a:lnTo>
                <a:close/>
                <a:moveTo>
                  <a:pt x="3350359" y="4068339"/>
                </a:moveTo>
                <a:lnTo>
                  <a:pt x="3360268" y="4068339"/>
                </a:lnTo>
                <a:lnTo>
                  <a:pt x="3364287" y="4072377"/>
                </a:lnTo>
                <a:lnTo>
                  <a:pt x="3364287" y="4082248"/>
                </a:lnTo>
                <a:lnTo>
                  <a:pt x="3360268" y="4086287"/>
                </a:lnTo>
                <a:lnTo>
                  <a:pt x="3350359" y="4086287"/>
                </a:lnTo>
                <a:lnTo>
                  <a:pt x="3346340" y="4082248"/>
                </a:lnTo>
                <a:lnTo>
                  <a:pt x="3346340" y="4072377"/>
                </a:lnTo>
                <a:close/>
                <a:moveTo>
                  <a:pt x="3111048" y="4068339"/>
                </a:moveTo>
                <a:lnTo>
                  <a:pt x="3120959" y="4068339"/>
                </a:lnTo>
                <a:lnTo>
                  <a:pt x="3124977" y="4072377"/>
                </a:lnTo>
                <a:lnTo>
                  <a:pt x="3124977" y="4082248"/>
                </a:lnTo>
                <a:lnTo>
                  <a:pt x="3120959" y="4086287"/>
                </a:lnTo>
                <a:lnTo>
                  <a:pt x="3111048" y="4086287"/>
                </a:lnTo>
                <a:lnTo>
                  <a:pt x="3107029" y="4082248"/>
                </a:lnTo>
                <a:lnTo>
                  <a:pt x="3107029" y="4072377"/>
                </a:lnTo>
                <a:close/>
                <a:moveTo>
                  <a:pt x="2871737" y="4068339"/>
                </a:moveTo>
                <a:lnTo>
                  <a:pt x="2881646" y="4068339"/>
                </a:lnTo>
                <a:lnTo>
                  <a:pt x="2885666" y="4072377"/>
                </a:lnTo>
                <a:lnTo>
                  <a:pt x="2885666" y="4082248"/>
                </a:lnTo>
                <a:lnTo>
                  <a:pt x="2881646" y="4086287"/>
                </a:lnTo>
                <a:lnTo>
                  <a:pt x="2871737" y="4086287"/>
                </a:lnTo>
                <a:lnTo>
                  <a:pt x="2867717" y="4082248"/>
                </a:lnTo>
                <a:lnTo>
                  <a:pt x="2867717" y="4072377"/>
                </a:lnTo>
                <a:close/>
                <a:moveTo>
                  <a:pt x="2632423" y="4068339"/>
                </a:moveTo>
                <a:lnTo>
                  <a:pt x="2642334" y="4068339"/>
                </a:lnTo>
                <a:lnTo>
                  <a:pt x="2646352" y="4072377"/>
                </a:lnTo>
                <a:lnTo>
                  <a:pt x="2646352" y="4082248"/>
                </a:lnTo>
                <a:lnTo>
                  <a:pt x="2642334" y="4086287"/>
                </a:lnTo>
                <a:lnTo>
                  <a:pt x="2632423" y="4086287"/>
                </a:lnTo>
                <a:lnTo>
                  <a:pt x="2628404" y="4082248"/>
                </a:lnTo>
                <a:lnTo>
                  <a:pt x="2628404" y="4072377"/>
                </a:lnTo>
                <a:close/>
                <a:moveTo>
                  <a:pt x="2393104" y="4068339"/>
                </a:moveTo>
                <a:lnTo>
                  <a:pt x="2403015" y="4068339"/>
                </a:lnTo>
                <a:lnTo>
                  <a:pt x="2407034" y="4072377"/>
                </a:lnTo>
                <a:lnTo>
                  <a:pt x="2407034" y="4082248"/>
                </a:lnTo>
                <a:lnTo>
                  <a:pt x="2403015" y="4086287"/>
                </a:lnTo>
                <a:lnTo>
                  <a:pt x="2393104" y="4086287"/>
                </a:lnTo>
                <a:lnTo>
                  <a:pt x="2389087" y="4082248"/>
                </a:lnTo>
                <a:lnTo>
                  <a:pt x="2389087" y="4072377"/>
                </a:lnTo>
                <a:close/>
                <a:moveTo>
                  <a:pt x="2157819" y="4068339"/>
                </a:moveTo>
                <a:lnTo>
                  <a:pt x="2167729" y="4068339"/>
                </a:lnTo>
                <a:lnTo>
                  <a:pt x="2171749" y="4072377"/>
                </a:lnTo>
                <a:lnTo>
                  <a:pt x="2171749" y="4082248"/>
                </a:lnTo>
                <a:lnTo>
                  <a:pt x="2167729" y="4086287"/>
                </a:lnTo>
                <a:lnTo>
                  <a:pt x="2157819" y="4086287"/>
                </a:lnTo>
                <a:lnTo>
                  <a:pt x="2153801" y="4082248"/>
                </a:lnTo>
                <a:lnTo>
                  <a:pt x="2153801" y="4072377"/>
                </a:lnTo>
                <a:close/>
                <a:moveTo>
                  <a:pt x="1918511" y="4068339"/>
                </a:moveTo>
                <a:lnTo>
                  <a:pt x="1928421" y="4068339"/>
                </a:lnTo>
                <a:lnTo>
                  <a:pt x="1932440" y="4072377"/>
                </a:lnTo>
                <a:lnTo>
                  <a:pt x="1932440" y="4082248"/>
                </a:lnTo>
                <a:lnTo>
                  <a:pt x="1928421" y="4086287"/>
                </a:lnTo>
                <a:lnTo>
                  <a:pt x="1918511" y="4086287"/>
                </a:lnTo>
                <a:lnTo>
                  <a:pt x="1914492" y="4082248"/>
                </a:lnTo>
                <a:lnTo>
                  <a:pt x="1914492" y="4072377"/>
                </a:lnTo>
                <a:close/>
                <a:moveTo>
                  <a:pt x="1679207" y="4068339"/>
                </a:moveTo>
                <a:lnTo>
                  <a:pt x="1689117" y="4068339"/>
                </a:lnTo>
                <a:lnTo>
                  <a:pt x="1693137" y="4072377"/>
                </a:lnTo>
                <a:lnTo>
                  <a:pt x="1693137" y="4082248"/>
                </a:lnTo>
                <a:lnTo>
                  <a:pt x="1689117" y="4086287"/>
                </a:lnTo>
                <a:lnTo>
                  <a:pt x="1679207" y="4086287"/>
                </a:lnTo>
                <a:lnTo>
                  <a:pt x="1675189" y="4082248"/>
                </a:lnTo>
                <a:lnTo>
                  <a:pt x="1675189" y="4072377"/>
                </a:lnTo>
                <a:close/>
                <a:moveTo>
                  <a:pt x="1439891" y="4068339"/>
                </a:moveTo>
                <a:lnTo>
                  <a:pt x="1449802" y="4068339"/>
                </a:lnTo>
                <a:lnTo>
                  <a:pt x="1453820" y="4072377"/>
                </a:lnTo>
                <a:lnTo>
                  <a:pt x="1453820" y="4082248"/>
                </a:lnTo>
                <a:lnTo>
                  <a:pt x="1449802" y="4086287"/>
                </a:lnTo>
                <a:lnTo>
                  <a:pt x="1439891" y="4086287"/>
                </a:lnTo>
                <a:lnTo>
                  <a:pt x="1435873" y="4082248"/>
                </a:lnTo>
                <a:lnTo>
                  <a:pt x="1435873" y="4072377"/>
                </a:lnTo>
                <a:close/>
                <a:moveTo>
                  <a:pt x="1200576" y="4068339"/>
                </a:moveTo>
                <a:lnTo>
                  <a:pt x="1210486" y="4068339"/>
                </a:lnTo>
                <a:lnTo>
                  <a:pt x="1214505" y="4072377"/>
                </a:lnTo>
                <a:lnTo>
                  <a:pt x="1214505" y="4082248"/>
                </a:lnTo>
                <a:lnTo>
                  <a:pt x="1210486" y="4086287"/>
                </a:lnTo>
                <a:lnTo>
                  <a:pt x="1200576" y="4086287"/>
                </a:lnTo>
                <a:lnTo>
                  <a:pt x="1196558" y="4082248"/>
                </a:lnTo>
                <a:lnTo>
                  <a:pt x="1196558" y="4072377"/>
                </a:lnTo>
                <a:close/>
                <a:moveTo>
                  <a:pt x="961263" y="4068339"/>
                </a:moveTo>
                <a:lnTo>
                  <a:pt x="971174" y="4068339"/>
                </a:lnTo>
                <a:lnTo>
                  <a:pt x="975192" y="4072377"/>
                </a:lnTo>
                <a:lnTo>
                  <a:pt x="975192" y="4082248"/>
                </a:lnTo>
                <a:lnTo>
                  <a:pt x="971174" y="4086287"/>
                </a:lnTo>
                <a:lnTo>
                  <a:pt x="961263" y="4086287"/>
                </a:lnTo>
                <a:lnTo>
                  <a:pt x="957244" y="4082248"/>
                </a:lnTo>
                <a:lnTo>
                  <a:pt x="957244" y="4072377"/>
                </a:lnTo>
                <a:close/>
                <a:moveTo>
                  <a:pt x="721965" y="4068339"/>
                </a:moveTo>
                <a:lnTo>
                  <a:pt x="731876" y="4068339"/>
                </a:lnTo>
                <a:lnTo>
                  <a:pt x="735894" y="4072377"/>
                </a:lnTo>
                <a:lnTo>
                  <a:pt x="735894" y="4082248"/>
                </a:lnTo>
                <a:lnTo>
                  <a:pt x="731876" y="4086287"/>
                </a:lnTo>
                <a:lnTo>
                  <a:pt x="721965" y="4086287"/>
                </a:lnTo>
                <a:lnTo>
                  <a:pt x="717946" y="4082248"/>
                </a:lnTo>
                <a:lnTo>
                  <a:pt x="717946" y="4072377"/>
                </a:lnTo>
                <a:close/>
                <a:moveTo>
                  <a:pt x="482653" y="4068339"/>
                </a:moveTo>
                <a:lnTo>
                  <a:pt x="492563" y="4068339"/>
                </a:lnTo>
                <a:lnTo>
                  <a:pt x="496583" y="4072377"/>
                </a:lnTo>
                <a:lnTo>
                  <a:pt x="496583" y="4082248"/>
                </a:lnTo>
                <a:lnTo>
                  <a:pt x="492563" y="4086287"/>
                </a:lnTo>
                <a:lnTo>
                  <a:pt x="482653" y="4086287"/>
                </a:lnTo>
                <a:lnTo>
                  <a:pt x="478634" y="4082248"/>
                </a:lnTo>
                <a:lnTo>
                  <a:pt x="478634" y="4072377"/>
                </a:lnTo>
                <a:close/>
                <a:moveTo>
                  <a:pt x="243339" y="4068339"/>
                </a:moveTo>
                <a:lnTo>
                  <a:pt x="253250" y="4068339"/>
                </a:lnTo>
                <a:lnTo>
                  <a:pt x="257269" y="4072377"/>
                </a:lnTo>
                <a:lnTo>
                  <a:pt x="257269" y="4082248"/>
                </a:lnTo>
                <a:lnTo>
                  <a:pt x="253250" y="4086287"/>
                </a:lnTo>
                <a:lnTo>
                  <a:pt x="243339" y="4086287"/>
                </a:lnTo>
                <a:lnTo>
                  <a:pt x="239320" y="4082248"/>
                </a:lnTo>
                <a:lnTo>
                  <a:pt x="239320" y="4072377"/>
                </a:lnTo>
                <a:close/>
                <a:moveTo>
                  <a:pt x="4026" y="4068339"/>
                </a:moveTo>
                <a:lnTo>
                  <a:pt x="13936" y="4068339"/>
                </a:lnTo>
                <a:lnTo>
                  <a:pt x="17956" y="4072377"/>
                </a:lnTo>
                <a:lnTo>
                  <a:pt x="17956" y="4082248"/>
                </a:lnTo>
                <a:lnTo>
                  <a:pt x="13936" y="4086287"/>
                </a:lnTo>
                <a:lnTo>
                  <a:pt x="4026" y="4086287"/>
                </a:lnTo>
                <a:lnTo>
                  <a:pt x="7" y="4082248"/>
                </a:lnTo>
                <a:lnTo>
                  <a:pt x="7" y="4072377"/>
                </a:lnTo>
                <a:close/>
                <a:moveTo>
                  <a:pt x="2157820" y="3829058"/>
                </a:moveTo>
                <a:lnTo>
                  <a:pt x="2167731" y="3829058"/>
                </a:lnTo>
                <a:lnTo>
                  <a:pt x="2171749" y="3833097"/>
                </a:lnTo>
                <a:lnTo>
                  <a:pt x="2171749" y="3842968"/>
                </a:lnTo>
                <a:lnTo>
                  <a:pt x="2167731" y="3847007"/>
                </a:lnTo>
                <a:lnTo>
                  <a:pt x="2157820" y="3847007"/>
                </a:lnTo>
                <a:lnTo>
                  <a:pt x="2153801" y="3842968"/>
                </a:lnTo>
                <a:lnTo>
                  <a:pt x="2153801" y="3833097"/>
                </a:lnTo>
                <a:close/>
                <a:moveTo>
                  <a:pt x="1918511" y="3829058"/>
                </a:moveTo>
                <a:lnTo>
                  <a:pt x="1928421" y="3829058"/>
                </a:lnTo>
                <a:lnTo>
                  <a:pt x="1932440" y="3833097"/>
                </a:lnTo>
                <a:lnTo>
                  <a:pt x="1932440" y="3842968"/>
                </a:lnTo>
                <a:lnTo>
                  <a:pt x="1928421" y="3847007"/>
                </a:lnTo>
                <a:lnTo>
                  <a:pt x="1918511" y="3847007"/>
                </a:lnTo>
                <a:lnTo>
                  <a:pt x="1914493" y="3842968"/>
                </a:lnTo>
                <a:lnTo>
                  <a:pt x="1914493" y="3833097"/>
                </a:lnTo>
                <a:close/>
                <a:moveTo>
                  <a:pt x="1679209" y="3829058"/>
                </a:moveTo>
                <a:lnTo>
                  <a:pt x="1689118" y="3829058"/>
                </a:lnTo>
                <a:lnTo>
                  <a:pt x="1693137" y="3833097"/>
                </a:lnTo>
                <a:lnTo>
                  <a:pt x="1693137" y="3842968"/>
                </a:lnTo>
                <a:lnTo>
                  <a:pt x="1689118" y="3847007"/>
                </a:lnTo>
                <a:lnTo>
                  <a:pt x="1679209" y="3847007"/>
                </a:lnTo>
                <a:lnTo>
                  <a:pt x="1675189" y="3842968"/>
                </a:lnTo>
                <a:lnTo>
                  <a:pt x="1675189" y="3833097"/>
                </a:lnTo>
                <a:close/>
                <a:moveTo>
                  <a:pt x="1439892" y="3829058"/>
                </a:moveTo>
                <a:lnTo>
                  <a:pt x="1449802" y="3829058"/>
                </a:lnTo>
                <a:lnTo>
                  <a:pt x="1453820" y="3833097"/>
                </a:lnTo>
                <a:lnTo>
                  <a:pt x="1453820" y="3842968"/>
                </a:lnTo>
                <a:lnTo>
                  <a:pt x="1449802" y="3847007"/>
                </a:lnTo>
                <a:lnTo>
                  <a:pt x="1439892" y="3847007"/>
                </a:lnTo>
                <a:lnTo>
                  <a:pt x="1435874" y="3842968"/>
                </a:lnTo>
                <a:lnTo>
                  <a:pt x="1435874" y="3833097"/>
                </a:lnTo>
                <a:close/>
                <a:moveTo>
                  <a:pt x="1200577" y="3829058"/>
                </a:moveTo>
                <a:lnTo>
                  <a:pt x="1210487" y="3829058"/>
                </a:lnTo>
                <a:lnTo>
                  <a:pt x="1214506" y="3833097"/>
                </a:lnTo>
                <a:lnTo>
                  <a:pt x="1214506" y="3842968"/>
                </a:lnTo>
                <a:lnTo>
                  <a:pt x="1210487" y="3847007"/>
                </a:lnTo>
                <a:lnTo>
                  <a:pt x="1200577" y="3847007"/>
                </a:lnTo>
                <a:lnTo>
                  <a:pt x="1196558" y="3842968"/>
                </a:lnTo>
                <a:lnTo>
                  <a:pt x="1196558" y="3833097"/>
                </a:lnTo>
                <a:close/>
                <a:moveTo>
                  <a:pt x="961264" y="3829058"/>
                </a:moveTo>
                <a:lnTo>
                  <a:pt x="971174" y="3829058"/>
                </a:lnTo>
                <a:lnTo>
                  <a:pt x="975193" y="3833097"/>
                </a:lnTo>
                <a:lnTo>
                  <a:pt x="975193" y="3842968"/>
                </a:lnTo>
                <a:lnTo>
                  <a:pt x="971174" y="3847007"/>
                </a:lnTo>
                <a:lnTo>
                  <a:pt x="961264" y="3847007"/>
                </a:lnTo>
                <a:lnTo>
                  <a:pt x="957245" y="3842968"/>
                </a:lnTo>
                <a:lnTo>
                  <a:pt x="957245" y="3833097"/>
                </a:lnTo>
                <a:close/>
                <a:moveTo>
                  <a:pt x="9572438" y="3829008"/>
                </a:moveTo>
                <a:lnTo>
                  <a:pt x="9582349" y="3829008"/>
                </a:lnTo>
                <a:lnTo>
                  <a:pt x="9586368" y="3833046"/>
                </a:lnTo>
                <a:lnTo>
                  <a:pt x="9586368" y="3842917"/>
                </a:lnTo>
                <a:lnTo>
                  <a:pt x="9582349" y="3846956"/>
                </a:lnTo>
                <a:lnTo>
                  <a:pt x="9572438" y="3846956"/>
                </a:lnTo>
                <a:lnTo>
                  <a:pt x="9568419" y="3842917"/>
                </a:lnTo>
                <a:lnTo>
                  <a:pt x="9568419" y="3833046"/>
                </a:lnTo>
                <a:close/>
                <a:moveTo>
                  <a:pt x="9333125" y="3829008"/>
                </a:moveTo>
                <a:lnTo>
                  <a:pt x="9343036" y="3829008"/>
                </a:lnTo>
                <a:lnTo>
                  <a:pt x="9347055" y="3833046"/>
                </a:lnTo>
                <a:lnTo>
                  <a:pt x="9347055" y="3842917"/>
                </a:lnTo>
                <a:lnTo>
                  <a:pt x="9343036" y="3846956"/>
                </a:lnTo>
                <a:lnTo>
                  <a:pt x="9333125" y="3846956"/>
                </a:lnTo>
                <a:lnTo>
                  <a:pt x="9329106" y="3842917"/>
                </a:lnTo>
                <a:lnTo>
                  <a:pt x="9329106" y="3833046"/>
                </a:lnTo>
                <a:close/>
                <a:moveTo>
                  <a:pt x="9093811" y="3829008"/>
                </a:moveTo>
                <a:lnTo>
                  <a:pt x="9103722" y="3829008"/>
                </a:lnTo>
                <a:lnTo>
                  <a:pt x="9107741" y="3833046"/>
                </a:lnTo>
                <a:lnTo>
                  <a:pt x="9107741" y="3842917"/>
                </a:lnTo>
                <a:lnTo>
                  <a:pt x="9103722" y="3846956"/>
                </a:lnTo>
                <a:lnTo>
                  <a:pt x="9093811" y="3846956"/>
                </a:lnTo>
                <a:lnTo>
                  <a:pt x="9089792" y="3842917"/>
                </a:lnTo>
                <a:lnTo>
                  <a:pt x="9089792" y="3833046"/>
                </a:lnTo>
                <a:close/>
                <a:moveTo>
                  <a:pt x="8854496" y="3829008"/>
                </a:moveTo>
                <a:lnTo>
                  <a:pt x="8864407" y="3829008"/>
                </a:lnTo>
                <a:lnTo>
                  <a:pt x="8868426" y="3833046"/>
                </a:lnTo>
                <a:lnTo>
                  <a:pt x="8868426" y="3842917"/>
                </a:lnTo>
                <a:lnTo>
                  <a:pt x="8864407" y="3846956"/>
                </a:lnTo>
                <a:lnTo>
                  <a:pt x="8854496" y="3846956"/>
                </a:lnTo>
                <a:lnTo>
                  <a:pt x="8850477" y="3842917"/>
                </a:lnTo>
                <a:lnTo>
                  <a:pt x="8850477" y="3833046"/>
                </a:lnTo>
                <a:close/>
                <a:moveTo>
                  <a:pt x="8615184" y="3829008"/>
                </a:moveTo>
                <a:lnTo>
                  <a:pt x="8625095" y="3829008"/>
                </a:lnTo>
                <a:lnTo>
                  <a:pt x="8629114" y="3833046"/>
                </a:lnTo>
                <a:lnTo>
                  <a:pt x="8629114" y="3842917"/>
                </a:lnTo>
                <a:lnTo>
                  <a:pt x="8625095" y="3846956"/>
                </a:lnTo>
                <a:lnTo>
                  <a:pt x="8615184" y="3846956"/>
                </a:lnTo>
                <a:lnTo>
                  <a:pt x="8611165" y="3842917"/>
                </a:lnTo>
                <a:lnTo>
                  <a:pt x="8611165" y="3833046"/>
                </a:lnTo>
                <a:close/>
                <a:moveTo>
                  <a:pt x="8375869" y="3829008"/>
                </a:moveTo>
                <a:lnTo>
                  <a:pt x="8385779" y="3829008"/>
                </a:lnTo>
                <a:lnTo>
                  <a:pt x="8389799" y="3833046"/>
                </a:lnTo>
                <a:lnTo>
                  <a:pt x="8389799" y="3842917"/>
                </a:lnTo>
                <a:lnTo>
                  <a:pt x="8385779" y="3846956"/>
                </a:lnTo>
                <a:lnTo>
                  <a:pt x="8375869" y="3846956"/>
                </a:lnTo>
                <a:lnTo>
                  <a:pt x="8371850" y="3842917"/>
                </a:lnTo>
                <a:lnTo>
                  <a:pt x="8371850" y="3833046"/>
                </a:lnTo>
                <a:close/>
                <a:moveTo>
                  <a:pt x="8136553" y="3829008"/>
                </a:moveTo>
                <a:lnTo>
                  <a:pt x="8146464" y="3829008"/>
                </a:lnTo>
                <a:lnTo>
                  <a:pt x="8150483" y="3833046"/>
                </a:lnTo>
                <a:lnTo>
                  <a:pt x="8150483" y="3842917"/>
                </a:lnTo>
                <a:lnTo>
                  <a:pt x="8146464" y="3846956"/>
                </a:lnTo>
                <a:lnTo>
                  <a:pt x="8136553" y="3846956"/>
                </a:lnTo>
                <a:lnTo>
                  <a:pt x="8132534" y="3842917"/>
                </a:lnTo>
                <a:lnTo>
                  <a:pt x="8132534" y="3833046"/>
                </a:lnTo>
                <a:close/>
                <a:moveTo>
                  <a:pt x="7897241" y="3829008"/>
                </a:moveTo>
                <a:lnTo>
                  <a:pt x="7907151" y="3829008"/>
                </a:lnTo>
                <a:lnTo>
                  <a:pt x="7911170" y="3833046"/>
                </a:lnTo>
                <a:lnTo>
                  <a:pt x="7911170" y="3842917"/>
                </a:lnTo>
                <a:lnTo>
                  <a:pt x="7907151" y="3846956"/>
                </a:lnTo>
                <a:lnTo>
                  <a:pt x="7897241" y="3846956"/>
                </a:lnTo>
                <a:lnTo>
                  <a:pt x="7893222" y="3842917"/>
                </a:lnTo>
                <a:lnTo>
                  <a:pt x="7893222" y="3833046"/>
                </a:lnTo>
                <a:close/>
                <a:moveTo>
                  <a:pt x="7657926" y="3829008"/>
                </a:moveTo>
                <a:lnTo>
                  <a:pt x="7667836" y="3829008"/>
                </a:lnTo>
                <a:lnTo>
                  <a:pt x="7671855" y="3833046"/>
                </a:lnTo>
                <a:lnTo>
                  <a:pt x="7671855" y="3842917"/>
                </a:lnTo>
                <a:lnTo>
                  <a:pt x="7667836" y="3846956"/>
                </a:lnTo>
                <a:lnTo>
                  <a:pt x="7657926" y="3846956"/>
                </a:lnTo>
                <a:lnTo>
                  <a:pt x="7653906" y="3842917"/>
                </a:lnTo>
                <a:lnTo>
                  <a:pt x="7653906" y="3833046"/>
                </a:lnTo>
                <a:close/>
                <a:moveTo>
                  <a:pt x="7418611" y="3829008"/>
                </a:moveTo>
                <a:lnTo>
                  <a:pt x="7428521" y="3829008"/>
                </a:lnTo>
                <a:lnTo>
                  <a:pt x="7432540" y="3833046"/>
                </a:lnTo>
                <a:lnTo>
                  <a:pt x="7432540" y="3842917"/>
                </a:lnTo>
                <a:lnTo>
                  <a:pt x="7428521" y="3846956"/>
                </a:lnTo>
                <a:lnTo>
                  <a:pt x="7418611" y="3846956"/>
                </a:lnTo>
                <a:lnTo>
                  <a:pt x="7414592" y="3842917"/>
                </a:lnTo>
                <a:lnTo>
                  <a:pt x="7414592" y="3833046"/>
                </a:lnTo>
                <a:close/>
                <a:moveTo>
                  <a:pt x="7179298" y="3829008"/>
                </a:moveTo>
                <a:lnTo>
                  <a:pt x="7189209" y="3829008"/>
                </a:lnTo>
                <a:lnTo>
                  <a:pt x="7193228" y="3833046"/>
                </a:lnTo>
                <a:lnTo>
                  <a:pt x="7193228" y="3842917"/>
                </a:lnTo>
                <a:lnTo>
                  <a:pt x="7189209" y="3846956"/>
                </a:lnTo>
                <a:lnTo>
                  <a:pt x="7179298" y="3846956"/>
                </a:lnTo>
                <a:lnTo>
                  <a:pt x="7175279" y="3842917"/>
                </a:lnTo>
                <a:lnTo>
                  <a:pt x="7175279" y="3833046"/>
                </a:lnTo>
                <a:close/>
                <a:moveTo>
                  <a:pt x="6939983" y="3829008"/>
                </a:moveTo>
                <a:lnTo>
                  <a:pt x="6949894" y="3829008"/>
                </a:lnTo>
                <a:lnTo>
                  <a:pt x="6953913" y="3833046"/>
                </a:lnTo>
                <a:lnTo>
                  <a:pt x="6953913" y="3842917"/>
                </a:lnTo>
                <a:lnTo>
                  <a:pt x="6949894" y="3846956"/>
                </a:lnTo>
                <a:lnTo>
                  <a:pt x="6939983" y="3846956"/>
                </a:lnTo>
                <a:lnTo>
                  <a:pt x="6935964" y="3842917"/>
                </a:lnTo>
                <a:lnTo>
                  <a:pt x="6935964" y="3833046"/>
                </a:lnTo>
                <a:close/>
                <a:moveTo>
                  <a:pt x="6700670" y="3829008"/>
                </a:moveTo>
                <a:lnTo>
                  <a:pt x="6710581" y="3829008"/>
                </a:lnTo>
                <a:lnTo>
                  <a:pt x="6714600" y="3833046"/>
                </a:lnTo>
                <a:lnTo>
                  <a:pt x="6714600" y="3842917"/>
                </a:lnTo>
                <a:lnTo>
                  <a:pt x="6710581" y="3846956"/>
                </a:lnTo>
                <a:lnTo>
                  <a:pt x="6700670" y="3846956"/>
                </a:lnTo>
                <a:lnTo>
                  <a:pt x="6696651" y="3842917"/>
                </a:lnTo>
                <a:lnTo>
                  <a:pt x="6696651" y="3833046"/>
                </a:lnTo>
                <a:close/>
                <a:moveTo>
                  <a:pt x="6461356" y="3829008"/>
                </a:moveTo>
                <a:lnTo>
                  <a:pt x="6471266" y="3829008"/>
                </a:lnTo>
                <a:lnTo>
                  <a:pt x="6475285" y="3833046"/>
                </a:lnTo>
                <a:lnTo>
                  <a:pt x="6475285" y="3842917"/>
                </a:lnTo>
                <a:lnTo>
                  <a:pt x="6471266" y="3846956"/>
                </a:lnTo>
                <a:lnTo>
                  <a:pt x="6461356" y="3846956"/>
                </a:lnTo>
                <a:lnTo>
                  <a:pt x="6457337" y="3842917"/>
                </a:lnTo>
                <a:lnTo>
                  <a:pt x="6457337" y="3833046"/>
                </a:lnTo>
                <a:close/>
                <a:moveTo>
                  <a:pt x="6222042" y="3829008"/>
                </a:moveTo>
                <a:lnTo>
                  <a:pt x="6231952" y="3829008"/>
                </a:lnTo>
                <a:lnTo>
                  <a:pt x="6235971" y="3833046"/>
                </a:lnTo>
                <a:lnTo>
                  <a:pt x="6235971" y="3842917"/>
                </a:lnTo>
                <a:lnTo>
                  <a:pt x="6231952" y="3846956"/>
                </a:lnTo>
                <a:lnTo>
                  <a:pt x="6222042" y="3846956"/>
                </a:lnTo>
                <a:lnTo>
                  <a:pt x="6218023" y="3842917"/>
                </a:lnTo>
                <a:lnTo>
                  <a:pt x="6218023" y="3833046"/>
                </a:lnTo>
                <a:close/>
                <a:moveTo>
                  <a:pt x="5982729" y="3829008"/>
                </a:moveTo>
                <a:lnTo>
                  <a:pt x="5992639" y="3829008"/>
                </a:lnTo>
                <a:lnTo>
                  <a:pt x="5996658" y="3833046"/>
                </a:lnTo>
                <a:lnTo>
                  <a:pt x="5996658" y="3842917"/>
                </a:lnTo>
                <a:lnTo>
                  <a:pt x="5992639" y="3846956"/>
                </a:lnTo>
                <a:lnTo>
                  <a:pt x="5982729" y="3846956"/>
                </a:lnTo>
                <a:lnTo>
                  <a:pt x="5978710" y="3842917"/>
                </a:lnTo>
                <a:lnTo>
                  <a:pt x="5978710" y="3833046"/>
                </a:lnTo>
                <a:close/>
                <a:moveTo>
                  <a:pt x="5743412" y="3829008"/>
                </a:moveTo>
                <a:lnTo>
                  <a:pt x="5753323" y="3829008"/>
                </a:lnTo>
                <a:lnTo>
                  <a:pt x="5757342" y="3833046"/>
                </a:lnTo>
                <a:lnTo>
                  <a:pt x="5757342" y="3842917"/>
                </a:lnTo>
                <a:lnTo>
                  <a:pt x="5753323" y="3846956"/>
                </a:lnTo>
                <a:lnTo>
                  <a:pt x="5743412" y="3846956"/>
                </a:lnTo>
                <a:lnTo>
                  <a:pt x="5739393" y="3842917"/>
                </a:lnTo>
                <a:lnTo>
                  <a:pt x="5739393" y="3833046"/>
                </a:lnTo>
                <a:close/>
                <a:moveTo>
                  <a:pt x="5504099" y="3829008"/>
                </a:moveTo>
                <a:lnTo>
                  <a:pt x="5514010" y="3829008"/>
                </a:lnTo>
                <a:lnTo>
                  <a:pt x="5518029" y="3833046"/>
                </a:lnTo>
                <a:lnTo>
                  <a:pt x="5518029" y="3842917"/>
                </a:lnTo>
                <a:lnTo>
                  <a:pt x="5514010" y="3846956"/>
                </a:lnTo>
                <a:lnTo>
                  <a:pt x="5504099" y="3846956"/>
                </a:lnTo>
                <a:lnTo>
                  <a:pt x="5500080" y="3842917"/>
                </a:lnTo>
                <a:lnTo>
                  <a:pt x="5500080" y="3833046"/>
                </a:lnTo>
                <a:close/>
                <a:moveTo>
                  <a:pt x="5264784" y="3829008"/>
                </a:moveTo>
                <a:lnTo>
                  <a:pt x="5274694" y="3829008"/>
                </a:lnTo>
                <a:lnTo>
                  <a:pt x="5278713" y="3833046"/>
                </a:lnTo>
                <a:lnTo>
                  <a:pt x="5278713" y="3842917"/>
                </a:lnTo>
                <a:lnTo>
                  <a:pt x="5274694" y="3846956"/>
                </a:lnTo>
                <a:lnTo>
                  <a:pt x="5264784" y="3846956"/>
                </a:lnTo>
                <a:lnTo>
                  <a:pt x="5260765" y="3842917"/>
                </a:lnTo>
                <a:lnTo>
                  <a:pt x="5260765" y="3833046"/>
                </a:lnTo>
                <a:close/>
                <a:moveTo>
                  <a:pt x="5025470" y="3829008"/>
                </a:moveTo>
                <a:lnTo>
                  <a:pt x="5035381" y="3829008"/>
                </a:lnTo>
                <a:lnTo>
                  <a:pt x="5039400" y="3833046"/>
                </a:lnTo>
                <a:lnTo>
                  <a:pt x="5039400" y="3842917"/>
                </a:lnTo>
                <a:lnTo>
                  <a:pt x="5035381" y="3846956"/>
                </a:lnTo>
                <a:lnTo>
                  <a:pt x="5025470" y="3846956"/>
                </a:lnTo>
                <a:lnTo>
                  <a:pt x="5021451" y="3842917"/>
                </a:lnTo>
                <a:lnTo>
                  <a:pt x="5021451" y="3833046"/>
                </a:lnTo>
                <a:close/>
                <a:moveTo>
                  <a:pt x="4786241" y="3829008"/>
                </a:moveTo>
                <a:lnTo>
                  <a:pt x="4796152" y="3829008"/>
                </a:lnTo>
                <a:lnTo>
                  <a:pt x="4800171" y="3833046"/>
                </a:lnTo>
                <a:lnTo>
                  <a:pt x="4800171" y="3842917"/>
                </a:lnTo>
                <a:lnTo>
                  <a:pt x="4796152" y="3846956"/>
                </a:lnTo>
                <a:lnTo>
                  <a:pt x="4786241" y="3846956"/>
                </a:lnTo>
                <a:lnTo>
                  <a:pt x="4782224" y="3842917"/>
                </a:lnTo>
                <a:lnTo>
                  <a:pt x="4782224" y="3833046"/>
                </a:lnTo>
                <a:close/>
                <a:moveTo>
                  <a:pt x="4546929" y="3829008"/>
                </a:moveTo>
                <a:lnTo>
                  <a:pt x="4556840" y="3829008"/>
                </a:lnTo>
                <a:lnTo>
                  <a:pt x="4560859" y="3833046"/>
                </a:lnTo>
                <a:lnTo>
                  <a:pt x="4560859" y="3842917"/>
                </a:lnTo>
                <a:lnTo>
                  <a:pt x="4556840" y="3846956"/>
                </a:lnTo>
                <a:lnTo>
                  <a:pt x="4546929" y="3846956"/>
                </a:lnTo>
                <a:lnTo>
                  <a:pt x="4542910" y="3842917"/>
                </a:lnTo>
                <a:lnTo>
                  <a:pt x="4542910" y="3833046"/>
                </a:lnTo>
                <a:close/>
                <a:moveTo>
                  <a:pt x="4307612" y="3829008"/>
                </a:moveTo>
                <a:lnTo>
                  <a:pt x="4317523" y="3829008"/>
                </a:lnTo>
                <a:lnTo>
                  <a:pt x="4321543" y="3833046"/>
                </a:lnTo>
                <a:lnTo>
                  <a:pt x="4321543" y="3842917"/>
                </a:lnTo>
                <a:lnTo>
                  <a:pt x="4317523" y="3846956"/>
                </a:lnTo>
                <a:lnTo>
                  <a:pt x="4307612" y="3846956"/>
                </a:lnTo>
                <a:lnTo>
                  <a:pt x="4303595" y="3842917"/>
                </a:lnTo>
                <a:lnTo>
                  <a:pt x="4303595" y="3833046"/>
                </a:lnTo>
                <a:close/>
                <a:moveTo>
                  <a:pt x="4068297" y="3829008"/>
                </a:moveTo>
                <a:lnTo>
                  <a:pt x="4078210" y="3829008"/>
                </a:lnTo>
                <a:lnTo>
                  <a:pt x="4082229" y="3833046"/>
                </a:lnTo>
                <a:lnTo>
                  <a:pt x="4082229" y="3842917"/>
                </a:lnTo>
                <a:lnTo>
                  <a:pt x="4078210" y="3846956"/>
                </a:lnTo>
                <a:lnTo>
                  <a:pt x="4068297" y="3846956"/>
                </a:lnTo>
                <a:lnTo>
                  <a:pt x="4064278" y="3842917"/>
                </a:lnTo>
                <a:lnTo>
                  <a:pt x="4064278" y="3833046"/>
                </a:lnTo>
                <a:close/>
                <a:moveTo>
                  <a:pt x="3828990" y="3829008"/>
                </a:moveTo>
                <a:lnTo>
                  <a:pt x="3838899" y="3829008"/>
                </a:lnTo>
                <a:lnTo>
                  <a:pt x="3842917" y="3833046"/>
                </a:lnTo>
                <a:lnTo>
                  <a:pt x="3842917" y="3842917"/>
                </a:lnTo>
                <a:lnTo>
                  <a:pt x="3838899" y="3846956"/>
                </a:lnTo>
                <a:lnTo>
                  <a:pt x="3828990" y="3846956"/>
                </a:lnTo>
                <a:lnTo>
                  <a:pt x="3824971" y="3842917"/>
                </a:lnTo>
                <a:lnTo>
                  <a:pt x="3824971" y="3833046"/>
                </a:lnTo>
                <a:close/>
                <a:moveTo>
                  <a:pt x="3589676" y="3829008"/>
                </a:moveTo>
                <a:lnTo>
                  <a:pt x="3599585" y="3829008"/>
                </a:lnTo>
                <a:lnTo>
                  <a:pt x="3603604" y="3833046"/>
                </a:lnTo>
                <a:lnTo>
                  <a:pt x="3603604" y="3842917"/>
                </a:lnTo>
                <a:lnTo>
                  <a:pt x="3599585" y="3846956"/>
                </a:lnTo>
                <a:lnTo>
                  <a:pt x="3589676" y="3846956"/>
                </a:lnTo>
                <a:lnTo>
                  <a:pt x="3585657" y="3842917"/>
                </a:lnTo>
                <a:lnTo>
                  <a:pt x="3585657" y="3833046"/>
                </a:lnTo>
                <a:close/>
                <a:moveTo>
                  <a:pt x="3350359" y="3829008"/>
                </a:moveTo>
                <a:lnTo>
                  <a:pt x="3360268" y="3829008"/>
                </a:lnTo>
                <a:lnTo>
                  <a:pt x="3364287" y="3833046"/>
                </a:lnTo>
                <a:lnTo>
                  <a:pt x="3364287" y="3842917"/>
                </a:lnTo>
                <a:lnTo>
                  <a:pt x="3360268" y="3846956"/>
                </a:lnTo>
                <a:lnTo>
                  <a:pt x="3350359" y="3846956"/>
                </a:lnTo>
                <a:lnTo>
                  <a:pt x="3346340" y="3842917"/>
                </a:lnTo>
                <a:lnTo>
                  <a:pt x="3346340" y="3833046"/>
                </a:lnTo>
                <a:close/>
                <a:moveTo>
                  <a:pt x="3111048" y="3829008"/>
                </a:moveTo>
                <a:lnTo>
                  <a:pt x="3120959" y="3829008"/>
                </a:lnTo>
                <a:lnTo>
                  <a:pt x="3124977" y="3833046"/>
                </a:lnTo>
                <a:lnTo>
                  <a:pt x="3124977" y="3842917"/>
                </a:lnTo>
                <a:lnTo>
                  <a:pt x="3120959" y="3846956"/>
                </a:lnTo>
                <a:lnTo>
                  <a:pt x="3111048" y="3846956"/>
                </a:lnTo>
                <a:lnTo>
                  <a:pt x="3107029" y="3842917"/>
                </a:lnTo>
                <a:lnTo>
                  <a:pt x="3107029" y="3833046"/>
                </a:lnTo>
                <a:close/>
                <a:moveTo>
                  <a:pt x="2871737" y="3829008"/>
                </a:moveTo>
                <a:lnTo>
                  <a:pt x="2881646" y="3829008"/>
                </a:lnTo>
                <a:lnTo>
                  <a:pt x="2885666" y="3833046"/>
                </a:lnTo>
                <a:lnTo>
                  <a:pt x="2885666" y="3842917"/>
                </a:lnTo>
                <a:lnTo>
                  <a:pt x="2881646" y="3846956"/>
                </a:lnTo>
                <a:lnTo>
                  <a:pt x="2871737" y="3846956"/>
                </a:lnTo>
                <a:lnTo>
                  <a:pt x="2867717" y="3842917"/>
                </a:lnTo>
                <a:lnTo>
                  <a:pt x="2867717" y="3833046"/>
                </a:lnTo>
                <a:close/>
                <a:moveTo>
                  <a:pt x="2632423" y="3829008"/>
                </a:moveTo>
                <a:lnTo>
                  <a:pt x="2642334" y="3829008"/>
                </a:lnTo>
                <a:lnTo>
                  <a:pt x="2646352" y="3833046"/>
                </a:lnTo>
                <a:lnTo>
                  <a:pt x="2646352" y="3842917"/>
                </a:lnTo>
                <a:lnTo>
                  <a:pt x="2642334" y="3846956"/>
                </a:lnTo>
                <a:lnTo>
                  <a:pt x="2632423" y="3846956"/>
                </a:lnTo>
                <a:lnTo>
                  <a:pt x="2628404" y="3842917"/>
                </a:lnTo>
                <a:lnTo>
                  <a:pt x="2628404" y="3833046"/>
                </a:lnTo>
                <a:close/>
                <a:moveTo>
                  <a:pt x="2393104" y="3829008"/>
                </a:moveTo>
                <a:lnTo>
                  <a:pt x="2403015" y="3829008"/>
                </a:lnTo>
                <a:lnTo>
                  <a:pt x="2407034" y="3833046"/>
                </a:lnTo>
                <a:lnTo>
                  <a:pt x="2407034" y="3842917"/>
                </a:lnTo>
                <a:lnTo>
                  <a:pt x="2403015" y="3846956"/>
                </a:lnTo>
                <a:lnTo>
                  <a:pt x="2393104" y="3846956"/>
                </a:lnTo>
                <a:lnTo>
                  <a:pt x="2389087" y="3842917"/>
                </a:lnTo>
                <a:lnTo>
                  <a:pt x="2389087" y="3833046"/>
                </a:lnTo>
                <a:close/>
                <a:moveTo>
                  <a:pt x="721966" y="3829008"/>
                </a:moveTo>
                <a:lnTo>
                  <a:pt x="731876" y="3829008"/>
                </a:lnTo>
                <a:lnTo>
                  <a:pt x="735895" y="3833046"/>
                </a:lnTo>
                <a:lnTo>
                  <a:pt x="735895" y="3842917"/>
                </a:lnTo>
                <a:lnTo>
                  <a:pt x="731876" y="3846956"/>
                </a:lnTo>
                <a:lnTo>
                  <a:pt x="721966" y="3846956"/>
                </a:lnTo>
                <a:lnTo>
                  <a:pt x="717947" y="3842917"/>
                </a:lnTo>
                <a:lnTo>
                  <a:pt x="717947" y="3833046"/>
                </a:lnTo>
                <a:close/>
                <a:moveTo>
                  <a:pt x="482654" y="3829008"/>
                </a:moveTo>
                <a:lnTo>
                  <a:pt x="492564" y="3829008"/>
                </a:lnTo>
                <a:lnTo>
                  <a:pt x="496583" y="3833046"/>
                </a:lnTo>
                <a:lnTo>
                  <a:pt x="496583" y="3842917"/>
                </a:lnTo>
                <a:lnTo>
                  <a:pt x="492564" y="3846956"/>
                </a:lnTo>
                <a:lnTo>
                  <a:pt x="482654" y="3846956"/>
                </a:lnTo>
                <a:lnTo>
                  <a:pt x="478635" y="3842917"/>
                </a:lnTo>
                <a:lnTo>
                  <a:pt x="478635" y="3833046"/>
                </a:lnTo>
                <a:close/>
                <a:moveTo>
                  <a:pt x="243340" y="3829008"/>
                </a:moveTo>
                <a:lnTo>
                  <a:pt x="253250" y="3829008"/>
                </a:lnTo>
                <a:lnTo>
                  <a:pt x="257269" y="3833046"/>
                </a:lnTo>
                <a:lnTo>
                  <a:pt x="257269" y="3842917"/>
                </a:lnTo>
                <a:lnTo>
                  <a:pt x="253250" y="3846956"/>
                </a:lnTo>
                <a:lnTo>
                  <a:pt x="243340" y="3846956"/>
                </a:lnTo>
                <a:lnTo>
                  <a:pt x="239321" y="3842917"/>
                </a:lnTo>
                <a:lnTo>
                  <a:pt x="239321" y="3833046"/>
                </a:lnTo>
                <a:close/>
                <a:moveTo>
                  <a:pt x="4027" y="3829008"/>
                </a:moveTo>
                <a:lnTo>
                  <a:pt x="13937" y="3829008"/>
                </a:lnTo>
                <a:lnTo>
                  <a:pt x="17956" y="3833046"/>
                </a:lnTo>
                <a:lnTo>
                  <a:pt x="17956" y="3842917"/>
                </a:lnTo>
                <a:lnTo>
                  <a:pt x="13937" y="3846956"/>
                </a:lnTo>
                <a:lnTo>
                  <a:pt x="4027" y="3846956"/>
                </a:lnTo>
                <a:lnTo>
                  <a:pt x="8" y="3842917"/>
                </a:lnTo>
                <a:lnTo>
                  <a:pt x="8" y="3833046"/>
                </a:lnTo>
                <a:close/>
                <a:moveTo>
                  <a:pt x="2157820" y="3589728"/>
                </a:moveTo>
                <a:lnTo>
                  <a:pt x="2167731" y="3589728"/>
                </a:lnTo>
                <a:lnTo>
                  <a:pt x="2171749" y="3593767"/>
                </a:lnTo>
                <a:lnTo>
                  <a:pt x="2171749" y="3603637"/>
                </a:lnTo>
                <a:lnTo>
                  <a:pt x="2167731" y="3607676"/>
                </a:lnTo>
                <a:lnTo>
                  <a:pt x="2157820" y="3607676"/>
                </a:lnTo>
                <a:lnTo>
                  <a:pt x="2153801" y="3603637"/>
                </a:lnTo>
                <a:lnTo>
                  <a:pt x="2153801" y="3593767"/>
                </a:lnTo>
                <a:close/>
                <a:moveTo>
                  <a:pt x="1918511" y="3589728"/>
                </a:moveTo>
                <a:lnTo>
                  <a:pt x="1928421" y="3589728"/>
                </a:lnTo>
                <a:lnTo>
                  <a:pt x="1932441" y="3593767"/>
                </a:lnTo>
                <a:lnTo>
                  <a:pt x="1932441" y="3603637"/>
                </a:lnTo>
                <a:lnTo>
                  <a:pt x="1928421" y="3607676"/>
                </a:lnTo>
                <a:lnTo>
                  <a:pt x="1918511" y="3607676"/>
                </a:lnTo>
                <a:lnTo>
                  <a:pt x="1914493" y="3603637"/>
                </a:lnTo>
                <a:lnTo>
                  <a:pt x="1914493" y="3593767"/>
                </a:lnTo>
                <a:close/>
                <a:moveTo>
                  <a:pt x="1679209" y="3589728"/>
                </a:moveTo>
                <a:lnTo>
                  <a:pt x="1689118" y="3589728"/>
                </a:lnTo>
                <a:lnTo>
                  <a:pt x="1693138" y="3593767"/>
                </a:lnTo>
                <a:lnTo>
                  <a:pt x="1693138" y="3603637"/>
                </a:lnTo>
                <a:lnTo>
                  <a:pt x="1689118" y="3607676"/>
                </a:lnTo>
                <a:lnTo>
                  <a:pt x="1679209" y="3607676"/>
                </a:lnTo>
                <a:lnTo>
                  <a:pt x="1675190" y="3603637"/>
                </a:lnTo>
                <a:lnTo>
                  <a:pt x="1675190" y="3593767"/>
                </a:lnTo>
                <a:close/>
                <a:moveTo>
                  <a:pt x="1439892" y="3589728"/>
                </a:moveTo>
                <a:lnTo>
                  <a:pt x="1449803" y="3589728"/>
                </a:lnTo>
                <a:lnTo>
                  <a:pt x="1453822" y="3593767"/>
                </a:lnTo>
                <a:lnTo>
                  <a:pt x="1453822" y="3603637"/>
                </a:lnTo>
                <a:lnTo>
                  <a:pt x="1449803" y="3607676"/>
                </a:lnTo>
                <a:lnTo>
                  <a:pt x="1439892" y="3607676"/>
                </a:lnTo>
                <a:lnTo>
                  <a:pt x="1435874" y="3603637"/>
                </a:lnTo>
                <a:lnTo>
                  <a:pt x="1435874" y="3593767"/>
                </a:lnTo>
                <a:close/>
                <a:moveTo>
                  <a:pt x="1200577" y="3589728"/>
                </a:moveTo>
                <a:lnTo>
                  <a:pt x="1210488" y="3589728"/>
                </a:lnTo>
                <a:lnTo>
                  <a:pt x="1214506" y="3593767"/>
                </a:lnTo>
                <a:lnTo>
                  <a:pt x="1214506" y="3603637"/>
                </a:lnTo>
                <a:lnTo>
                  <a:pt x="1210488" y="3607676"/>
                </a:lnTo>
                <a:lnTo>
                  <a:pt x="1200577" y="3607676"/>
                </a:lnTo>
                <a:lnTo>
                  <a:pt x="1196559" y="3603637"/>
                </a:lnTo>
                <a:lnTo>
                  <a:pt x="1196559" y="3593767"/>
                </a:lnTo>
                <a:close/>
                <a:moveTo>
                  <a:pt x="961265" y="3589728"/>
                </a:moveTo>
                <a:lnTo>
                  <a:pt x="971175" y="3589728"/>
                </a:lnTo>
                <a:lnTo>
                  <a:pt x="975193" y="3593767"/>
                </a:lnTo>
                <a:lnTo>
                  <a:pt x="975193" y="3603637"/>
                </a:lnTo>
                <a:lnTo>
                  <a:pt x="971175" y="3607676"/>
                </a:lnTo>
                <a:lnTo>
                  <a:pt x="961265" y="3607676"/>
                </a:lnTo>
                <a:lnTo>
                  <a:pt x="957246" y="3603637"/>
                </a:lnTo>
                <a:lnTo>
                  <a:pt x="957246" y="3593767"/>
                </a:lnTo>
                <a:close/>
                <a:moveTo>
                  <a:pt x="9572438" y="3589677"/>
                </a:moveTo>
                <a:lnTo>
                  <a:pt x="9582349" y="3589677"/>
                </a:lnTo>
                <a:lnTo>
                  <a:pt x="9586368" y="3593716"/>
                </a:lnTo>
                <a:lnTo>
                  <a:pt x="9586368" y="3603586"/>
                </a:lnTo>
                <a:lnTo>
                  <a:pt x="9582349" y="3607625"/>
                </a:lnTo>
                <a:lnTo>
                  <a:pt x="9572438" y="3607625"/>
                </a:lnTo>
                <a:lnTo>
                  <a:pt x="9568419" y="3603586"/>
                </a:lnTo>
                <a:lnTo>
                  <a:pt x="9568419" y="3593716"/>
                </a:lnTo>
                <a:close/>
                <a:moveTo>
                  <a:pt x="9333125" y="3589677"/>
                </a:moveTo>
                <a:lnTo>
                  <a:pt x="9343036" y="3589677"/>
                </a:lnTo>
                <a:lnTo>
                  <a:pt x="9347055" y="3593716"/>
                </a:lnTo>
                <a:lnTo>
                  <a:pt x="9347055" y="3603586"/>
                </a:lnTo>
                <a:lnTo>
                  <a:pt x="9343036" y="3607625"/>
                </a:lnTo>
                <a:lnTo>
                  <a:pt x="9333125" y="3607625"/>
                </a:lnTo>
                <a:lnTo>
                  <a:pt x="9329106" y="3603586"/>
                </a:lnTo>
                <a:lnTo>
                  <a:pt x="9329106" y="3593716"/>
                </a:lnTo>
                <a:close/>
                <a:moveTo>
                  <a:pt x="9093811" y="3589677"/>
                </a:moveTo>
                <a:lnTo>
                  <a:pt x="9103722" y="3589677"/>
                </a:lnTo>
                <a:lnTo>
                  <a:pt x="9107741" y="3593716"/>
                </a:lnTo>
                <a:lnTo>
                  <a:pt x="9107741" y="3603586"/>
                </a:lnTo>
                <a:lnTo>
                  <a:pt x="9103722" y="3607625"/>
                </a:lnTo>
                <a:lnTo>
                  <a:pt x="9093811" y="3607625"/>
                </a:lnTo>
                <a:lnTo>
                  <a:pt x="9089792" y="3603586"/>
                </a:lnTo>
                <a:lnTo>
                  <a:pt x="9089792" y="3593716"/>
                </a:lnTo>
                <a:close/>
                <a:moveTo>
                  <a:pt x="8854496" y="3589677"/>
                </a:moveTo>
                <a:lnTo>
                  <a:pt x="8864407" y="3589677"/>
                </a:lnTo>
                <a:lnTo>
                  <a:pt x="8868426" y="3593716"/>
                </a:lnTo>
                <a:lnTo>
                  <a:pt x="8868426" y="3603586"/>
                </a:lnTo>
                <a:lnTo>
                  <a:pt x="8864407" y="3607625"/>
                </a:lnTo>
                <a:lnTo>
                  <a:pt x="8854496" y="3607625"/>
                </a:lnTo>
                <a:lnTo>
                  <a:pt x="8850477" y="3603586"/>
                </a:lnTo>
                <a:lnTo>
                  <a:pt x="8850477" y="3593716"/>
                </a:lnTo>
                <a:close/>
                <a:moveTo>
                  <a:pt x="8615184" y="3589677"/>
                </a:moveTo>
                <a:lnTo>
                  <a:pt x="8625095" y="3589677"/>
                </a:lnTo>
                <a:lnTo>
                  <a:pt x="8629114" y="3593716"/>
                </a:lnTo>
                <a:lnTo>
                  <a:pt x="8629114" y="3603586"/>
                </a:lnTo>
                <a:lnTo>
                  <a:pt x="8625095" y="3607625"/>
                </a:lnTo>
                <a:lnTo>
                  <a:pt x="8615184" y="3607625"/>
                </a:lnTo>
                <a:lnTo>
                  <a:pt x="8611165" y="3603586"/>
                </a:lnTo>
                <a:lnTo>
                  <a:pt x="8611165" y="3593716"/>
                </a:lnTo>
                <a:close/>
                <a:moveTo>
                  <a:pt x="8375869" y="3589677"/>
                </a:moveTo>
                <a:lnTo>
                  <a:pt x="8385779" y="3589677"/>
                </a:lnTo>
                <a:lnTo>
                  <a:pt x="8389799" y="3593716"/>
                </a:lnTo>
                <a:lnTo>
                  <a:pt x="8389799" y="3603586"/>
                </a:lnTo>
                <a:lnTo>
                  <a:pt x="8385779" y="3607625"/>
                </a:lnTo>
                <a:lnTo>
                  <a:pt x="8375869" y="3607625"/>
                </a:lnTo>
                <a:lnTo>
                  <a:pt x="8371850" y="3603586"/>
                </a:lnTo>
                <a:lnTo>
                  <a:pt x="8371850" y="3593716"/>
                </a:lnTo>
                <a:close/>
                <a:moveTo>
                  <a:pt x="8136553" y="3589677"/>
                </a:moveTo>
                <a:lnTo>
                  <a:pt x="8146464" y="3589677"/>
                </a:lnTo>
                <a:lnTo>
                  <a:pt x="8150483" y="3593716"/>
                </a:lnTo>
                <a:lnTo>
                  <a:pt x="8150483" y="3603586"/>
                </a:lnTo>
                <a:lnTo>
                  <a:pt x="8146464" y="3607625"/>
                </a:lnTo>
                <a:lnTo>
                  <a:pt x="8136553" y="3607625"/>
                </a:lnTo>
                <a:lnTo>
                  <a:pt x="8132534" y="3603586"/>
                </a:lnTo>
                <a:lnTo>
                  <a:pt x="8132534" y="3593716"/>
                </a:lnTo>
                <a:close/>
                <a:moveTo>
                  <a:pt x="7897241" y="3589677"/>
                </a:moveTo>
                <a:lnTo>
                  <a:pt x="7907151" y="3589677"/>
                </a:lnTo>
                <a:lnTo>
                  <a:pt x="7911170" y="3593716"/>
                </a:lnTo>
                <a:lnTo>
                  <a:pt x="7911170" y="3603586"/>
                </a:lnTo>
                <a:lnTo>
                  <a:pt x="7907151" y="3607625"/>
                </a:lnTo>
                <a:lnTo>
                  <a:pt x="7897241" y="3607625"/>
                </a:lnTo>
                <a:lnTo>
                  <a:pt x="7893222" y="3603586"/>
                </a:lnTo>
                <a:lnTo>
                  <a:pt x="7893222" y="3593716"/>
                </a:lnTo>
                <a:close/>
                <a:moveTo>
                  <a:pt x="7657926" y="3589677"/>
                </a:moveTo>
                <a:lnTo>
                  <a:pt x="7667836" y="3589677"/>
                </a:lnTo>
                <a:lnTo>
                  <a:pt x="7671855" y="3593716"/>
                </a:lnTo>
                <a:lnTo>
                  <a:pt x="7671855" y="3603586"/>
                </a:lnTo>
                <a:lnTo>
                  <a:pt x="7667836" y="3607625"/>
                </a:lnTo>
                <a:lnTo>
                  <a:pt x="7657926" y="3607625"/>
                </a:lnTo>
                <a:lnTo>
                  <a:pt x="7653906" y="3603586"/>
                </a:lnTo>
                <a:lnTo>
                  <a:pt x="7653906" y="3593716"/>
                </a:lnTo>
                <a:close/>
                <a:moveTo>
                  <a:pt x="7418611" y="3589677"/>
                </a:moveTo>
                <a:lnTo>
                  <a:pt x="7428521" y="3589677"/>
                </a:lnTo>
                <a:lnTo>
                  <a:pt x="7432540" y="3593716"/>
                </a:lnTo>
                <a:lnTo>
                  <a:pt x="7432540" y="3603586"/>
                </a:lnTo>
                <a:lnTo>
                  <a:pt x="7428521" y="3607625"/>
                </a:lnTo>
                <a:lnTo>
                  <a:pt x="7418611" y="3607625"/>
                </a:lnTo>
                <a:lnTo>
                  <a:pt x="7414592" y="3603586"/>
                </a:lnTo>
                <a:lnTo>
                  <a:pt x="7414592" y="3593716"/>
                </a:lnTo>
                <a:close/>
                <a:moveTo>
                  <a:pt x="7179298" y="3589677"/>
                </a:moveTo>
                <a:lnTo>
                  <a:pt x="7189209" y="3589677"/>
                </a:lnTo>
                <a:lnTo>
                  <a:pt x="7193228" y="3593716"/>
                </a:lnTo>
                <a:lnTo>
                  <a:pt x="7193228" y="3603586"/>
                </a:lnTo>
                <a:lnTo>
                  <a:pt x="7189209" y="3607625"/>
                </a:lnTo>
                <a:lnTo>
                  <a:pt x="7179298" y="3607625"/>
                </a:lnTo>
                <a:lnTo>
                  <a:pt x="7175279" y="3603586"/>
                </a:lnTo>
                <a:lnTo>
                  <a:pt x="7175279" y="3593716"/>
                </a:lnTo>
                <a:close/>
                <a:moveTo>
                  <a:pt x="6939983" y="3589677"/>
                </a:moveTo>
                <a:lnTo>
                  <a:pt x="6949894" y="3589677"/>
                </a:lnTo>
                <a:lnTo>
                  <a:pt x="6953913" y="3593716"/>
                </a:lnTo>
                <a:lnTo>
                  <a:pt x="6953913" y="3603586"/>
                </a:lnTo>
                <a:lnTo>
                  <a:pt x="6949894" y="3607625"/>
                </a:lnTo>
                <a:lnTo>
                  <a:pt x="6939983" y="3607625"/>
                </a:lnTo>
                <a:lnTo>
                  <a:pt x="6935964" y="3603586"/>
                </a:lnTo>
                <a:lnTo>
                  <a:pt x="6935964" y="3593716"/>
                </a:lnTo>
                <a:close/>
                <a:moveTo>
                  <a:pt x="6700670" y="3589677"/>
                </a:moveTo>
                <a:lnTo>
                  <a:pt x="6710581" y="3589677"/>
                </a:lnTo>
                <a:lnTo>
                  <a:pt x="6714600" y="3593716"/>
                </a:lnTo>
                <a:lnTo>
                  <a:pt x="6714600" y="3603586"/>
                </a:lnTo>
                <a:lnTo>
                  <a:pt x="6710581" y="3607625"/>
                </a:lnTo>
                <a:lnTo>
                  <a:pt x="6700670" y="3607625"/>
                </a:lnTo>
                <a:lnTo>
                  <a:pt x="6696651" y="3603586"/>
                </a:lnTo>
                <a:lnTo>
                  <a:pt x="6696651" y="3593716"/>
                </a:lnTo>
                <a:close/>
                <a:moveTo>
                  <a:pt x="6461356" y="3589677"/>
                </a:moveTo>
                <a:lnTo>
                  <a:pt x="6471266" y="3589677"/>
                </a:lnTo>
                <a:lnTo>
                  <a:pt x="6475285" y="3593716"/>
                </a:lnTo>
                <a:lnTo>
                  <a:pt x="6475285" y="3603586"/>
                </a:lnTo>
                <a:lnTo>
                  <a:pt x="6471266" y="3607625"/>
                </a:lnTo>
                <a:lnTo>
                  <a:pt x="6461356" y="3607625"/>
                </a:lnTo>
                <a:lnTo>
                  <a:pt x="6457337" y="3603586"/>
                </a:lnTo>
                <a:lnTo>
                  <a:pt x="6457337" y="3593716"/>
                </a:lnTo>
                <a:close/>
                <a:moveTo>
                  <a:pt x="6222042" y="3589677"/>
                </a:moveTo>
                <a:lnTo>
                  <a:pt x="6231952" y="3589677"/>
                </a:lnTo>
                <a:lnTo>
                  <a:pt x="6235971" y="3593716"/>
                </a:lnTo>
                <a:lnTo>
                  <a:pt x="6235971" y="3603586"/>
                </a:lnTo>
                <a:lnTo>
                  <a:pt x="6231952" y="3607625"/>
                </a:lnTo>
                <a:lnTo>
                  <a:pt x="6222042" y="3607625"/>
                </a:lnTo>
                <a:lnTo>
                  <a:pt x="6218023" y="3603586"/>
                </a:lnTo>
                <a:lnTo>
                  <a:pt x="6218023" y="3593716"/>
                </a:lnTo>
                <a:close/>
                <a:moveTo>
                  <a:pt x="5982729" y="3589677"/>
                </a:moveTo>
                <a:lnTo>
                  <a:pt x="5992639" y="3589677"/>
                </a:lnTo>
                <a:lnTo>
                  <a:pt x="5996658" y="3593716"/>
                </a:lnTo>
                <a:lnTo>
                  <a:pt x="5996658" y="3603586"/>
                </a:lnTo>
                <a:lnTo>
                  <a:pt x="5992639" y="3607625"/>
                </a:lnTo>
                <a:lnTo>
                  <a:pt x="5982729" y="3607625"/>
                </a:lnTo>
                <a:lnTo>
                  <a:pt x="5978710" y="3603586"/>
                </a:lnTo>
                <a:lnTo>
                  <a:pt x="5978710" y="3593716"/>
                </a:lnTo>
                <a:close/>
                <a:moveTo>
                  <a:pt x="5743412" y="3589677"/>
                </a:moveTo>
                <a:lnTo>
                  <a:pt x="5753323" y="3589677"/>
                </a:lnTo>
                <a:lnTo>
                  <a:pt x="5757342" y="3593716"/>
                </a:lnTo>
                <a:lnTo>
                  <a:pt x="5757342" y="3603586"/>
                </a:lnTo>
                <a:lnTo>
                  <a:pt x="5753323" y="3607625"/>
                </a:lnTo>
                <a:lnTo>
                  <a:pt x="5743412" y="3607625"/>
                </a:lnTo>
                <a:lnTo>
                  <a:pt x="5739393" y="3603586"/>
                </a:lnTo>
                <a:lnTo>
                  <a:pt x="5739393" y="3593716"/>
                </a:lnTo>
                <a:close/>
                <a:moveTo>
                  <a:pt x="5504099" y="3589677"/>
                </a:moveTo>
                <a:lnTo>
                  <a:pt x="5514010" y="3589677"/>
                </a:lnTo>
                <a:lnTo>
                  <a:pt x="5518029" y="3593716"/>
                </a:lnTo>
                <a:lnTo>
                  <a:pt x="5518029" y="3603586"/>
                </a:lnTo>
                <a:lnTo>
                  <a:pt x="5514010" y="3607625"/>
                </a:lnTo>
                <a:lnTo>
                  <a:pt x="5504099" y="3607625"/>
                </a:lnTo>
                <a:lnTo>
                  <a:pt x="5500080" y="3603586"/>
                </a:lnTo>
                <a:lnTo>
                  <a:pt x="5500080" y="3593716"/>
                </a:lnTo>
                <a:close/>
                <a:moveTo>
                  <a:pt x="5264784" y="3589677"/>
                </a:moveTo>
                <a:lnTo>
                  <a:pt x="5274694" y="3589677"/>
                </a:lnTo>
                <a:lnTo>
                  <a:pt x="5278713" y="3593716"/>
                </a:lnTo>
                <a:lnTo>
                  <a:pt x="5278713" y="3603586"/>
                </a:lnTo>
                <a:lnTo>
                  <a:pt x="5274694" y="3607625"/>
                </a:lnTo>
                <a:lnTo>
                  <a:pt x="5264784" y="3607625"/>
                </a:lnTo>
                <a:lnTo>
                  <a:pt x="5260765" y="3603586"/>
                </a:lnTo>
                <a:lnTo>
                  <a:pt x="5260765" y="3593716"/>
                </a:lnTo>
                <a:close/>
                <a:moveTo>
                  <a:pt x="5025470" y="3589677"/>
                </a:moveTo>
                <a:lnTo>
                  <a:pt x="5035381" y="3589677"/>
                </a:lnTo>
                <a:lnTo>
                  <a:pt x="5039400" y="3593716"/>
                </a:lnTo>
                <a:lnTo>
                  <a:pt x="5039400" y="3603586"/>
                </a:lnTo>
                <a:lnTo>
                  <a:pt x="5035381" y="3607625"/>
                </a:lnTo>
                <a:lnTo>
                  <a:pt x="5025470" y="3607625"/>
                </a:lnTo>
                <a:lnTo>
                  <a:pt x="5021451" y="3603586"/>
                </a:lnTo>
                <a:lnTo>
                  <a:pt x="5021451" y="3593716"/>
                </a:lnTo>
                <a:close/>
                <a:moveTo>
                  <a:pt x="4786241" y="3589677"/>
                </a:moveTo>
                <a:lnTo>
                  <a:pt x="4796152" y="3589677"/>
                </a:lnTo>
                <a:lnTo>
                  <a:pt x="4800171" y="3593716"/>
                </a:lnTo>
                <a:lnTo>
                  <a:pt x="4800171" y="3603586"/>
                </a:lnTo>
                <a:lnTo>
                  <a:pt x="4796152" y="3607625"/>
                </a:lnTo>
                <a:lnTo>
                  <a:pt x="4786241" y="3607625"/>
                </a:lnTo>
                <a:lnTo>
                  <a:pt x="4782224" y="3603586"/>
                </a:lnTo>
                <a:lnTo>
                  <a:pt x="4782224" y="3593716"/>
                </a:lnTo>
                <a:close/>
                <a:moveTo>
                  <a:pt x="4546929" y="3589677"/>
                </a:moveTo>
                <a:lnTo>
                  <a:pt x="4556840" y="3589677"/>
                </a:lnTo>
                <a:lnTo>
                  <a:pt x="4560859" y="3593716"/>
                </a:lnTo>
                <a:lnTo>
                  <a:pt x="4560859" y="3603586"/>
                </a:lnTo>
                <a:lnTo>
                  <a:pt x="4556840" y="3607625"/>
                </a:lnTo>
                <a:lnTo>
                  <a:pt x="4546929" y="3607625"/>
                </a:lnTo>
                <a:lnTo>
                  <a:pt x="4542910" y="3603586"/>
                </a:lnTo>
                <a:lnTo>
                  <a:pt x="4542910" y="3593716"/>
                </a:lnTo>
                <a:close/>
                <a:moveTo>
                  <a:pt x="4307612" y="3589677"/>
                </a:moveTo>
                <a:lnTo>
                  <a:pt x="4317523" y="3589677"/>
                </a:lnTo>
                <a:lnTo>
                  <a:pt x="4321543" y="3593716"/>
                </a:lnTo>
                <a:lnTo>
                  <a:pt x="4321543" y="3603586"/>
                </a:lnTo>
                <a:lnTo>
                  <a:pt x="4317523" y="3607625"/>
                </a:lnTo>
                <a:lnTo>
                  <a:pt x="4307612" y="3607625"/>
                </a:lnTo>
                <a:lnTo>
                  <a:pt x="4303595" y="3603586"/>
                </a:lnTo>
                <a:lnTo>
                  <a:pt x="4303595" y="3593716"/>
                </a:lnTo>
                <a:close/>
                <a:moveTo>
                  <a:pt x="4068297" y="3589677"/>
                </a:moveTo>
                <a:lnTo>
                  <a:pt x="4078210" y="3589677"/>
                </a:lnTo>
                <a:lnTo>
                  <a:pt x="4082229" y="3593716"/>
                </a:lnTo>
                <a:lnTo>
                  <a:pt x="4082229" y="3603586"/>
                </a:lnTo>
                <a:lnTo>
                  <a:pt x="4078210" y="3607625"/>
                </a:lnTo>
                <a:lnTo>
                  <a:pt x="4068297" y="3607625"/>
                </a:lnTo>
                <a:lnTo>
                  <a:pt x="4064278" y="3603586"/>
                </a:lnTo>
                <a:lnTo>
                  <a:pt x="4064278" y="3593716"/>
                </a:lnTo>
                <a:close/>
                <a:moveTo>
                  <a:pt x="3828990" y="3589677"/>
                </a:moveTo>
                <a:lnTo>
                  <a:pt x="3838899" y="3589677"/>
                </a:lnTo>
                <a:lnTo>
                  <a:pt x="3842917" y="3593716"/>
                </a:lnTo>
                <a:lnTo>
                  <a:pt x="3842917" y="3603586"/>
                </a:lnTo>
                <a:lnTo>
                  <a:pt x="3838899" y="3607625"/>
                </a:lnTo>
                <a:lnTo>
                  <a:pt x="3828990" y="3607625"/>
                </a:lnTo>
                <a:lnTo>
                  <a:pt x="3824971" y="3603586"/>
                </a:lnTo>
                <a:lnTo>
                  <a:pt x="3824971" y="3593716"/>
                </a:lnTo>
                <a:close/>
                <a:moveTo>
                  <a:pt x="3589676" y="3589677"/>
                </a:moveTo>
                <a:lnTo>
                  <a:pt x="3599585" y="3589677"/>
                </a:lnTo>
                <a:lnTo>
                  <a:pt x="3603604" y="3593716"/>
                </a:lnTo>
                <a:lnTo>
                  <a:pt x="3603604" y="3603586"/>
                </a:lnTo>
                <a:lnTo>
                  <a:pt x="3599585" y="3607625"/>
                </a:lnTo>
                <a:lnTo>
                  <a:pt x="3589676" y="3607625"/>
                </a:lnTo>
                <a:lnTo>
                  <a:pt x="3585657" y="3603586"/>
                </a:lnTo>
                <a:lnTo>
                  <a:pt x="3585657" y="3593716"/>
                </a:lnTo>
                <a:close/>
                <a:moveTo>
                  <a:pt x="3350359" y="3589677"/>
                </a:moveTo>
                <a:lnTo>
                  <a:pt x="3360268" y="3589677"/>
                </a:lnTo>
                <a:lnTo>
                  <a:pt x="3364287" y="3593716"/>
                </a:lnTo>
                <a:lnTo>
                  <a:pt x="3364287" y="3603586"/>
                </a:lnTo>
                <a:lnTo>
                  <a:pt x="3360268" y="3607625"/>
                </a:lnTo>
                <a:lnTo>
                  <a:pt x="3350359" y="3607625"/>
                </a:lnTo>
                <a:lnTo>
                  <a:pt x="3346340" y="3603586"/>
                </a:lnTo>
                <a:lnTo>
                  <a:pt x="3346340" y="3593716"/>
                </a:lnTo>
                <a:close/>
                <a:moveTo>
                  <a:pt x="3111048" y="3589677"/>
                </a:moveTo>
                <a:lnTo>
                  <a:pt x="3120959" y="3589677"/>
                </a:lnTo>
                <a:lnTo>
                  <a:pt x="3124977" y="3593716"/>
                </a:lnTo>
                <a:lnTo>
                  <a:pt x="3124977" y="3603586"/>
                </a:lnTo>
                <a:lnTo>
                  <a:pt x="3120959" y="3607625"/>
                </a:lnTo>
                <a:lnTo>
                  <a:pt x="3111048" y="3607625"/>
                </a:lnTo>
                <a:lnTo>
                  <a:pt x="3107029" y="3603586"/>
                </a:lnTo>
                <a:lnTo>
                  <a:pt x="3107029" y="3593716"/>
                </a:lnTo>
                <a:close/>
                <a:moveTo>
                  <a:pt x="2871737" y="3589677"/>
                </a:moveTo>
                <a:lnTo>
                  <a:pt x="2881646" y="3589677"/>
                </a:lnTo>
                <a:lnTo>
                  <a:pt x="2885666" y="3593716"/>
                </a:lnTo>
                <a:lnTo>
                  <a:pt x="2885666" y="3603586"/>
                </a:lnTo>
                <a:lnTo>
                  <a:pt x="2881646" y="3607625"/>
                </a:lnTo>
                <a:lnTo>
                  <a:pt x="2871737" y="3607625"/>
                </a:lnTo>
                <a:lnTo>
                  <a:pt x="2867717" y="3603586"/>
                </a:lnTo>
                <a:lnTo>
                  <a:pt x="2867717" y="3593716"/>
                </a:lnTo>
                <a:close/>
                <a:moveTo>
                  <a:pt x="2632423" y="3589677"/>
                </a:moveTo>
                <a:lnTo>
                  <a:pt x="2642334" y="3589677"/>
                </a:lnTo>
                <a:lnTo>
                  <a:pt x="2646352" y="3593716"/>
                </a:lnTo>
                <a:lnTo>
                  <a:pt x="2646352" y="3603586"/>
                </a:lnTo>
                <a:lnTo>
                  <a:pt x="2642334" y="3607625"/>
                </a:lnTo>
                <a:lnTo>
                  <a:pt x="2632423" y="3607625"/>
                </a:lnTo>
                <a:lnTo>
                  <a:pt x="2628404" y="3603586"/>
                </a:lnTo>
                <a:lnTo>
                  <a:pt x="2628404" y="3593716"/>
                </a:lnTo>
                <a:close/>
                <a:moveTo>
                  <a:pt x="2393104" y="3589677"/>
                </a:moveTo>
                <a:lnTo>
                  <a:pt x="2403015" y="3589677"/>
                </a:lnTo>
                <a:lnTo>
                  <a:pt x="2407034" y="3593716"/>
                </a:lnTo>
                <a:lnTo>
                  <a:pt x="2407034" y="3603586"/>
                </a:lnTo>
                <a:lnTo>
                  <a:pt x="2403015" y="3607625"/>
                </a:lnTo>
                <a:lnTo>
                  <a:pt x="2393104" y="3607625"/>
                </a:lnTo>
                <a:lnTo>
                  <a:pt x="2389087" y="3603586"/>
                </a:lnTo>
                <a:lnTo>
                  <a:pt x="2389087" y="3593716"/>
                </a:lnTo>
                <a:close/>
                <a:moveTo>
                  <a:pt x="721966" y="3589677"/>
                </a:moveTo>
                <a:lnTo>
                  <a:pt x="731877" y="3589677"/>
                </a:lnTo>
                <a:lnTo>
                  <a:pt x="735896" y="3593716"/>
                </a:lnTo>
                <a:lnTo>
                  <a:pt x="735896" y="3603586"/>
                </a:lnTo>
                <a:lnTo>
                  <a:pt x="731877" y="3607625"/>
                </a:lnTo>
                <a:lnTo>
                  <a:pt x="721966" y="3607625"/>
                </a:lnTo>
                <a:lnTo>
                  <a:pt x="717948" y="3603586"/>
                </a:lnTo>
                <a:lnTo>
                  <a:pt x="717948" y="3593716"/>
                </a:lnTo>
                <a:close/>
                <a:moveTo>
                  <a:pt x="482654" y="3589677"/>
                </a:moveTo>
                <a:lnTo>
                  <a:pt x="492565" y="3589677"/>
                </a:lnTo>
                <a:lnTo>
                  <a:pt x="496584" y="3593716"/>
                </a:lnTo>
                <a:lnTo>
                  <a:pt x="496584" y="3603586"/>
                </a:lnTo>
                <a:lnTo>
                  <a:pt x="492565" y="3607625"/>
                </a:lnTo>
                <a:lnTo>
                  <a:pt x="482654" y="3607625"/>
                </a:lnTo>
                <a:lnTo>
                  <a:pt x="478635" y="3603586"/>
                </a:lnTo>
                <a:lnTo>
                  <a:pt x="478635" y="3593716"/>
                </a:lnTo>
                <a:close/>
                <a:moveTo>
                  <a:pt x="243341" y="3589677"/>
                </a:moveTo>
                <a:lnTo>
                  <a:pt x="253251" y="3589677"/>
                </a:lnTo>
                <a:lnTo>
                  <a:pt x="257270" y="3593716"/>
                </a:lnTo>
                <a:lnTo>
                  <a:pt x="257270" y="3603586"/>
                </a:lnTo>
                <a:lnTo>
                  <a:pt x="253251" y="3607625"/>
                </a:lnTo>
                <a:lnTo>
                  <a:pt x="243341" y="3607625"/>
                </a:lnTo>
                <a:lnTo>
                  <a:pt x="239321" y="3603586"/>
                </a:lnTo>
                <a:lnTo>
                  <a:pt x="239321" y="3593716"/>
                </a:lnTo>
                <a:close/>
                <a:moveTo>
                  <a:pt x="4027" y="3589677"/>
                </a:moveTo>
                <a:lnTo>
                  <a:pt x="13938" y="3589677"/>
                </a:lnTo>
                <a:lnTo>
                  <a:pt x="17957" y="3593716"/>
                </a:lnTo>
                <a:lnTo>
                  <a:pt x="17957" y="3603586"/>
                </a:lnTo>
                <a:lnTo>
                  <a:pt x="13938" y="3607625"/>
                </a:lnTo>
                <a:lnTo>
                  <a:pt x="4027" y="3607625"/>
                </a:lnTo>
                <a:lnTo>
                  <a:pt x="8" y="3603586"/>
                </a:lnTo>
                <a:lnTo>
                  <a:pt x="8" y="3593716"/>
                </a:lnTo>
                <a:close/>
                <a:moveTo>
                  <a:pt x="9572438" y="3350398"/>
                </a:moveTo>
                <a:lnTo>
                  <a:pt x="9582349" y="3350398"/>
                </a:lnTo>
                <a:lnTo>
                  <a:pt x="9586368" y="3354436"/>
                </a:lnTo>
                <a:lnTo>
                  <a:pt x="9586368" y="3364306"/>
                </a:lnTo>
                <a:lnTo>
                  <a:pt x="9582349" y="3368345"/>
                </a:lnTo>
                <a:lnTo>
                  <a:pt x="9572438" y="3368345"/>
                </a:lnTo>
                <a:lnTo>
                  <a:pt x="9568419" y="3364306"/>
                </a:lnTo>
                <a:lnTo>
                  <a:pt x="9568419" y="3354436"/>
                </a:lnTo>
                <a:close/>
                <a:moveTo>
                  <a:pt x="9333125" y="3350398"/>
                </a:moveTo>
                <a:lnTo>
                  <a:pt x="9343036" y="3350398"/>
                </a:lnTo>
                <a:lnTo>
                  <a:pt x="9347055" y="3354436"/>
                </a:lnTo>
                <a:lnTo>
                  <a:pt x="9347055" y="3364306"/>
                </a:lnTo>
                <a:lnTo>
                  <a:pt x="9343036" y="3368345"/>
                </a:lnTo>
                <a:lnTo>
                  <a:pt x="9333125" y="3368345"/>
                </a:lnTo>
                <a:lnTo>
                  <a:pt x="9329106" y="3364306"/>
                </a:lnTo>
                <a:lnTo>
                  <a:pt x="9329106" y="3354436"/>
                </a:lnTo>
                <a:close/>
                <a:moveTo>
                  <a:pt x="9093811" y="3350398"/>
                </a:moveTo>
                <a:lnTo>
                  <a:pt x="9103722" y="3350398"/>
                </a:lnTo>
                <a:lnTo>
                  <a:pt x="9107741" y="3354436"/>
                </a:lnTo>
                <a:lnTo>
                  <a:pt x="9107741" y="3364306"/>
                </a:lnTo>
                <a:lnTo>
                  <a:pt x="9103722" y="3368345"/>
                </a:lnTo>
                <a:lnTo>
                  <a:pt x="9093811" y="3368345"/>
                </a:lnTo>
                <a:lnTo>
                  <a:pt x="9089792" y="3364306"/>
                </a:lnTo>
                <a:lnTo>
                  <a:pt x="9089792" y="3354436"/>
                </a:lnTo>
                <a:close/>
                <a:moveTo>
                  <a:pt x="8854496" y="3350398"/>
                </a:moveTo>
                <a:lnTo>
                  <a:pt x="8864407" y="3350398"/>
                </a:lnTo>
                <a:lnTo>
                  <a:pt x="8868426" y="3354436"/>
                </a:lnTo>
                <a:lnTo>
                  <a:pt x="8868426" y="3364306"/>
                </a:lnTo>
                <a:lnTo>
                  <a:pt x="8864407" y="3368345"/>
                </a:lnTo>
                <a:lnTo>
                  <a:pt x="8854496" y="3368345"/>
                </a:lnTo>
                <a:lnTo>
                  <a:pt x="8850477" y="3364306"/>
                </a:lnTo>
                <a:lnTo>
                  <a:pt x="8850477" y="3354436"/>
                </a:lnTo>
                <a:close/>
                <a:moveTo>
                  <a:pt x="8615184" y="3350398"/>
                </a:moveTo>
                <a:lnTo>
                  <a:pt x="8625095" y="3350398"/>
                </a:lnTo>
                <a:lnTo>
                  <a:pt x="8629114" y="3354436"/>
                </a:lnTo>
                <a:lnTo>
                  <a:pt x="8629114" y="3364306"/>
                </a:lnTo>
                <a:lnTo>
                  <a:pt x="8625095" y="3368345"/>
                </a:lnTo>
                <a:lnTo>
                  <a:pt x="8615184" y="3368345"/>
                </a:lnTo>
                <a:lnTo>
                  <a:pt x="8611165" y="3364306"/>
                </a:lnTo>
                <a:lnTo>
                  <a:pt x="8611165" y="3354436"/>
                </a:lnTo>
                <a:close/>
                <a:moveTo>
                  <a:pt x="8375869" y="3350398"/>
                </a:moveTo>
                <a:lnTo>
                  <a:pt x="8385779" y="3350398"/>
                </a:lnTo>
                <a:lnTo>
                  <a:pt x="8389799" y="3354436"/>
                </a:lnTo>
                <a:lnTo>
                  <a:pt x="8389799" y="3364306"/>
                </a:lnTo>
                <a:lnTo>
                  <a:pt x="8385779" y="3368345"/>
                </a:lnTo>
                <a:lnTo>
                  <a:pt x="8375869" y="3368345"/>
                </a:lnTo>
                <a:lnTo>
                  <a:pt x="8371850" y="3364306"/>
                </a:lnTo>
                <a:lnTo>
                  <a:pt x="8371850" y="3354436"/>
                </a:lnTo>
                <a:close/>
                <a:moveTo>
                  <a:pt x="8136553" y="3350398"/>
                </a:moveTo>
                <a:lnTo>
                  <a:pt x="8146464" y="3350398"/>
                </a:lnTo>
                <a:lnTo>
                  <a:pt x="8150483" y="3354436"/>
                </a:lnTo>
                <a:lnTo>
                  <a:pt x="8150483" y="3364306"/>
                </a:lnTo>
                <a:lnTo>
                  <a:pt x="8146464" y="3368345"/>
                </a:lnTo>
                <a:lnTo>
                  <a:pt x="8136553" y="3368345"/>
                </a:lnTo>
                <a:lnTo>
                  <a:pt x="8132534" y="3364306"/>
                </a:lnTo>
                <a:lnTo>
                  <a:pt x="8132534" y="3354436"/>
                </a:lnTo>
                <a:close/>
                <a:moveTo>
                  <a:pt x="7897241" y="3350398"/>
                </a:moveTo>
                <a:lnTo>
                  <a:pt x="7907151" y="3350398"/>
                </a:lnTo>
                <a:lnTo>
                  <a:pt x="7911170" y="3354436"/>
                </a:lnTo>
                <a:lnTo>
                  <a:pt x="7911170" y="3364306"/>
                </a:lnTo>
                <a:lnTo>
                  <a:pt x="7907151" y="3368345"/>
                </a:lnTo>
                <a:lnTo>
                  <a:pt x="7897241" y="3368345"/>
                </a:lnTo>
                <a:lnTo>
                  <a:pt x="7893222" y="3364306"/>
                </a:lnTo>
                <a:lnTo>
                  <a:pt x="7893222" y="3354436"/>
                </a:lnTo>
                <a:close/>
                <a:moveTo>
                  <a:pt x="7657926" y="3350398"/>
                </a:moveTo>
                <a:lnTo>
                  <a:pt x="7667836" y="3350398"/>
                </a:lnTo>
                <a:lnTo>
                  <a:pt x="7671855" y="3354436"/>
                </a:lnTo>
                <a:lnTo>
                  <a:pt x="7671855" y="3364306"/>
                </a:lnTo>
                <a:lnTo>
                  <a:pt x="7667836" y="3368345"/>
                </a:lnTo>
                <a:lnTo>
                  <a:pt x="7657926" y="3368345"/>
                </a:lnTo>
                <a:lnTo>
                  <a:pt x="7653906" y="3364306"/>
                </a:lnTo>
                <a:lnTo>
                  <a:pt x="7653906" y="3354436"/>
                </a:lnTo>
                <a:close/>
                <a:moveTo>
                  <a:pt x="7418611" y="3350398"/>
                </a:moveTo>
                <a:lnTo>
                  <a:pt x="7428521" y="3350398"/>
                </a:lnTo>
                <a:lnTo>
                  <a:pt x="7432540" y="3354436"/>
                </a:lnTo>
                <a:lnTo>
                  <a:pt x="7432540" y="3364306"/>
                </a:lnTo>
                <a:lnTo>
                  <a:pt x="7428521" y="3368345"/>
                </a:lnTo>
                <a:lnTo>
                  <a:pt x="7418611" y="3368345"/>
                </a:lnTo>
                <a:lnTo>
                  <a:pt x="7414592" y="3364306"/>
                </a:lnTo>
                <a:lnTo>
                  <a:pt x="7414592" y="3354436"/>
                </a:lnTo>
                <a:close/>
                <a:moveTo>
                  <a:pt x="7179298" y="3350398"/>
                </a:moveTo>
                <a:lnTo>
                  <a:pt x="7189209" y="3350398"/>
                </a:lnTo>
                <a:lnTo>
                  <a:pt x="7193228" y="3354436"/>
                </a:lnTo>
                <a:lnTo>
                  <a:pt x="7193228" y="3364306"/>
                </a:lnTo>
                <a:lnTo>
                  <a:pt x="7189209" y="3368345"/>
                </a:lnTo>
                <a:lnTo>
                  <a:pt x="7179298" y="3368345"/>
                </a:lnTo>
                <a:lnTo>
                  <a:pt x="7175279" y="3364306"/>
                </a:lnTo>
                <a:lnTo>
                  <a:pt x="7175279" y="3354436"/>
                </a:lnTo>
                <a:close/>
                <a:moveTo>
                  <a:pt x="6939983" y="3350398"/>
                </a:moveTo>
                <a:lnTo>
                  <a:pt x="6949894" y="3350398"/>
                </a:lnTo>
                <a:lnTo>
                  <a:pt x="6953913" y="3354436"/>
                </a:lnTo>
                <a:lnTo>
                  <a:pt x="6953913" y="3364306"/>
                </a:lnTo>
                <a:lnTo>
                  <a:pt x="6949894" y="3368345"/>
                </a:lnTo>
                <a:lnTo>
                  <a:pt x="6939983" y="3368345"/>
                </a:lnTo>
                <a:lnTo>
                  <a:pt x="6935964" y="3364306"/>
                </a:lnTo>
                <a:lnTo>
                  <a:pt x="6935964" y="3354436"/>
                </a:lnTo>
                <a:close/>
                <a:moveTo>
                  <a:pt x="6700670" y="3350398"/>
                </a:moveTo>
                <a:lnTo>
                  <a:pt x="6710581" y="3350398"/>
                </a:lnTo>
                <a:lnTo>
                  <a:pt x="6714600" y="3354436"/>
                </a:lnTo>
                <a:lnTo>
                  <a:pt x="6714600" y="3364306"/>
                </a:lnTo>
                <a:lnTo>
                  <a:pt x="6710581" y="3368345"/>
                </a:lnTo>
                <a:lnTo>
                  <a:pt x="6700670" y="3368345"/>
                </a:lnTo>
                <a:lnTo>
                  <a:pt x="6696651" y="3364306"/>
                </a:lnTo>
                <a:lnTo>
                  <a:pt x="6696651" y="3354436"/>
                </a:lnTo>
                <a:close/>
                <a:moveTo>
                  <a:pt x="6461356" y="3350398"/>
                </a:moveTo>
                <a:lnTo>
                  <a:pt x="6471266" y="3350398"/>
                </a:lnTo>
                <a:lnTo>
                  <a:pt x="6475285" y="3354436"/>
                </a:lnTo>
                <a:lnTo>
                  <a:pt x="6475285" y="3364306"/>
                </a:lnTo>
                <a:lnTo>
                  <a:pt x="6471266" y="3368345"/>
                </a:lnTo>
                <a:lnTo>
                  <a:pt x="6461356" y="3368345"/>
                </a:lnTo>
                <a:lnTo>
                  <a:pt x="6457337" y="3364306"/>
                </a:lnTo>
                <a:lnTo>
                  <a:pt x="6457337" y="3354436"/>
                </a:lnTo>
                <a:close/>
                <a:moveTo>
                  <a:pt x="6222042" y="3350398"/>
                </a:moveTo>
                <a:lnTo>
                  <a:pt x="6231952" y="3350398"/>
                </a:lnTo>
                <a:lnTo>
                  <a:pt x="6235971" y="3354436"/>
                </a:lnTo>
                <a:lnTo>
                  <a:pt x="6235971" y="3364306"/>
                </a:lnTo>
                <a:lnTo>
                  <a:pt x="6231952" y="3368345"/>
                </a:lnTo>
                <a:lnTo>
                  <a:pt x="6222042" y="3368345"/>
                </a:lnTo>
                <a:lnTo>
                  <a:pt x="6218023" y="3364306"/>
                </a:lnTo>
                <a:lnTo>
                  <a:pt x="6218023" y="3354436"/>
                </a:lnTo>
                <a:close/>
                <a:moveTo>
                  <a:pt x="5982729" y="3350398"/>
                </a:moveTo>
                <a:lnTo>
                  <a:pt x="5992639" y="3350398"/>
                </a:lnTo>
                <a:lnTo>
                  <a:pt x="5996658" y="3354436"/>
                </a:lnTo>
                <a:lnTo>
                  <a:pt x="5996658" y="3364306"/>
                </a:lnTo>
                <a:lnTo>
                  <a:pt x="5992639" y="3368345"/>
                </a:lnTo>
                <a:lnTo>
                  <a:pt x="5982729" y="3368345"/>
                </a:lnTo>
                <a:lnTo>
                  <a:pt x="5978710" y="3364306"/>
                </a:lnTo>
                <a:lnTo>
                  <a:pt x="5978710" y="3354436"/>
                </a:lnTo>
                <a:close/>
                <a:moveTo>
                  <a:pt x="5743412" y="3350398"/>
                </a:moveTo>
                <a:lnTo>
                  <a:pt x="5753323" y="3350398"/>
                </a:lnTo>
                <a:lnTo>
                  <a:pt x="5757342" y="3354436"/>
                </a:lnTo>
                <a:lnTo>
                  <a:pt x="5757342" y="3364306"/>
                </a:lnTo>
                <a:lnTo>
                  <a:pt x="5753323" y="3368345"/>
                </a:lnTo>
                <a:lnTo>
                  <a:pt x="5743412" y="3368345"/>
                </a:lnTo>
                <a:lnTo>
                  <a:pt x="5739393" y="3364306"/>
                </a:lnTo>
                <a:lnTo>
                  <a:pt x="5739393" y="3354436"/>
                </a:lnTo>
                <a:close/>
                <a:moveTo>
                  <a:pt x="5504099" y="3350398"/>
                </a:moveTo>
                <a:lnTo>
                  <a:pt x="5514010" y="3350398"/>
                </a:lnTo>
                <a:lnTo>
                  <a:pt x="5518029" y="3354436"/>
                </a:lnTo>
                <a:lnTo>
                  <a:pt x="5518029" y="3364306"/>
                </a:lnTo>
                <a:lnTo>
                  <a:pt x="5514010" y="3368345"/>
                </a:lnTo>
                <a:lnTo>
                  <a:pt x="5504099" y="3368345"/>
                </a:lnTo>
                <a:lnTo>
                  <a:pt x="5500080" y="3364306"/>
                </a:lnTo>
                <a:lnTo>
                  <a:pt x="5500080" y="3354436"/>
                </a:lnTo>
                <a:close/>
                <a:moveTo>
                  <a:pt x="5264784" y="3350398"/>
                </a:moveTo>
                <a:lnTo>
                  <a:pt x="5274694" y="3350398"/>
                </a:lnTo>
                <a:lnTo>
                  <a:pt x="5278713" y="3354436"/>
                </a:lnTo>
                <a:lnTo>
                  <a:pt x="5278713" y="3364306"/>
                </a:lnTo>
                <a:lnTo>
                  <a:pt x="5274694" y="3368345"/>
                </a:lnTo>
                <a:lnTo>
                  <a:pt x="5264784" y="3368345"/>
                </a:lnTo>
                <a:lnTo>
                  <a:pt x="5260765" y="3364306"/>
                </a:lnTo>
                <a:lnTo>
                  <a:pt x="5260765" y="3354436"/>
                </a:lnTo>
                <a:close/>
                <a:moveTo>
                  <a:pt x="5025470" y="3350398"/>
                </a:moveTo>
                <a:lnTo>
                  <a:pt x="5035381" y="3350398"/>
                </a:lnTo>
                <a:lnTo>
                  <a:pt x="5039400" y="3354436"/>
                </a:lnTo>
                <a:lnTo>
                  <a:pt x="5039400" y="3364306"/>
                </a:lnTo>
                <a:lnTo>
                  <a:pt x="5035381" y="3368345"/>
                </a:lnTo>
                <a:lnTo>
                  <a:pt x="5025470" y="3368345"/>
                </a:lnTo>
                <a:lnTo>
                  <a:pt x="5021451" y="3364306"/>
                </a:lnTo>
                <a:lnTo>
                  <a:pt x="5021451" y="3354436"/>
                </a:lnTo>
                <a:close/>
                <a:moveTo>
                  <a:pt x="4786241" y="3350398"/>
                </a:moveTo>
                <a:lnTo>
                  <a:pt x="4796152" y="3350398"/>
                </a:lnTo>
                <a:lnTo>
                  <a:pt x="4800171" y="3354436"/>
                </a:lnTo>
                <a:lnTo>
                  <a:pt x="4800171" y="3364306"/>
                </a:lnTo>
                <a:lnTo>
                  <a:pt x="4796152" y="3368345"/>
                </a:lnTo>
                <a:lnTo>
                  <a:pt x="4786241" y="3368345"/>
                </a:lnTo>
                <a:lnTo>
                  <a:pt x="4782224" y="3364306"/>
                </a:lnTo>
                <a:lnTo>
                  <a:pt x="4782224" y="3354436"/>
                </a:lnTo>
                <a:close/>
                <a:moveTo>
                  <a:pt x="4546929" y="3350398"/>
                </a:moveTo>
                <a:lnTo>
                  <a:pt x="4556840" y="3350398"/>
                </a:lnTo>
                <a:lnTo>
                  <a:pt x="4560859" y="3354436"/>
                </a:lnTo>
                <a:lnTo>
                  <a:pt x="4560859" y="3364306"/>
                </a:lnTo>
                <a:lnTo>
                  <a:pt x="4556840" y="3368345"/>
                </a:lnTo>
                <a:lnTo>
                  <a:pt x="4546929" y="3368345"/>
                </a:lnTo>
                <a:lnTo>
                  <a:pt x="4542910" y="3364306"/>
                </a:lnTo>
                <a:lnTo>
                  <a:pt x="4542910" y="3354436"/>
                </a:lnTo>
                <a:close/>
                <a:moveTo>
                  <a:pt x="4307612" y="3350398"/>
                </a:moveTo>
                <a:lnTo>
                  <a:pt x="4317523" y="3350398"/>
                </a:lnTo>
                <a:lnTo>
                  <a:pt x="4321543" y="3354436"/>
                </a:lnTo>
                <a:lnTo>
                  <a:pt x="4321543" y="3364306"/>
                </a:lnTo>
                <a:lnTo>
                  <a:pt x="4317523" y="3368345"/>
                </a:lnTo>
                <a:lnTo>
                  <a:pt x="4307612" y="3368345"/>
                </a:lnTo>
                <a:lnTo>
                  <a:pt x="4303595" y="3364306"/>
                </a:lnTo>
                <a:lnTo>
                  <a:pt x="4303595" y="3354436"/>
                </a:lnTo>
                <a:close/>
                <a:moveTo>
                  <a:pt x="4068297" y="3350398"/>
                </a:moveTo>
                <a:lnTo>
                  <a:pt x="4078210" y="3350398"/>
                </a:lnTo>
                <a:lnTo>
                  <a:pt x="4082229" y="3354436"/>
                </a:lnTo>
                <a:lnTo>
                  <a:pt x="4082229" y="3364306"/>
                </a:lnTo>
                <a:lnTo>
                  <a:pt x="4078210" y="3368345"/>
                </a:lnTo>
                <a:lnTo>
                  <a:pt x="4068297" y="3368345"/>
                </a:lnTo>
                <a:lnTo>
                  <a:pt x="4064278" y="3364306"/>
                </a:lnTo>
                <a:lnTo>
                  <a:pt x="4064278" y="3354436"/>
                </a:lnTo>
                <a:close/>
                <a:moveTo>
                  <a:pt x="3828990" y="3350398"/>
                </a:moveTo>
                <a:lnTo>
                  <a:pt x="3838899" y="3350398"/>
                </a:lnTo>
                <a:lnTo>
                  <a:pt x="3842917" y="3354436"/>
                </a:lnTo>
                <a:lnTo>
                  <a:pt x="3842917" y="3364306"/>
                </a:lnTo>
                <a:lnTo>
                  <a:pt x="3838899" y="3368345"/>
                </a:lnTo>
                <a:lnTo>
                  <a:pt x="3828990" y="3368345"/>
                </a:lnTo>
                <a:lnTo>
                  <a:pt x="3824971" y="3364306"/>
                </a:lnTo>
                <a:lnTo>
                  <a:pt x="3824971" y="3354436"/>
                </a:lnTo>
                <a:close/>
                <a:moveTo>
                  <a:pt x="3589676" y="3350398"/>
                </a:moveTo>
                <a:lnTo>
                  <a:pt x="3599585" y="3350398"/>
                </a:lnTo>
                <a:lnTo>
                  <a:pt x="3603604" y="3354436"/>
                </a:lnTo>
                <a:lnTo>
                  <a:pt x="3603604" y="3364306"/>
                </a:lnTo>
                <a:lnTo>
                  <a:pt x="3599585" y="3368345"/>
                </a:lnTo>
                <a:lnTo>
                  <a:pt x="3589676" y="3368345"/>
                </a:lnTo>
                <a:lnTo>
                  <a:pt x="3585657" y="3364306"/>
                </a:lnTo>
                <a:lnTo>
                  <a:pt x="3585657" y="3354436"/>
                </a:lnTo>
                <a:close/>
                <a:moveTo>
                  <a:pt x="3350359" y="3350398"/>
                </a:moveTo>
                <a:lnTo>
                  <a:pt x="3360268" y="3350398"/>
                </a:lnTo>
                <a:lnTo>
                  <a:pt x="3364287" y="3354436"/>
                </a:lnTo>
                <a:lnTo>
                  <a:pt x="3364287" y="3364306"/>
                </a:lnTo>
                <a:lnTo>
                  <a:pt x="3360268" y="3368345"/>
                </a:lnTo>
                <a:lnTo>
                  <a:pt x="3350359" y="3368345"/>
                </a:lnTo>
                <a:lnTo>
                  <a:pt x="3346340" y="3364306"/>
                </a:lnTo>
                <a:lnTo>
                  <a:pt x="3346340" y="3354436"/>
                </a:lnTo>
                <a:close/>
                <a:moveTo>
                  <a:pt x="3111048" y="3350398"/>
                </a:moveTo>
                <a:lnTo>
                  <a:pt x="3120959" y="3350398"/>
                </a:lnTo>
                <a:lnTo>
                  <a:pt x="3124977" y="3354436"/>
                </a:lnTo>
                <a:lnTo>
                  <a:pt x="3124977" y="3364306"/>
                </a:lnTo>
                <a:lnTo>
                  <a:pt x="3120959" y="3368345"/>
                </a:lnTo>
                <a:lnTo>
                  <a:pt x="3111048" y="3368345"/>
                </a:lnTo>
                <a:lnTo>
                  <a:pt x="3107029" y="3364306"/>
                </a:lnTo>
                <a:lnTo>
                  <a:pt x="3107029" y="3354436"/>
                </a:lnTo>
                <a:close/>
                <a:moveTo>
                  <a:pt x="2871737" y="3350398"/>
                </a:moveTo>
                <a:lnTo>
                  <a:pt x="2881646" y="3350398"/>
                </a:lnTo>
                <a:lnTo>
                  <a:pt x="2885666" y="3354436"/>
                </a:lnTo>
                <a:lnTo>
                  <a:pt x="2885666" y="3364306"/>
                </a:lnTo>
                <a:lnTo>
                  <a:pt x="2881646" y="3368345"/>
                </a:lnTo>
                <a:lnTo>
                  <a:pt x="2871737" y="3368345"/>
                </a:lnTo>
                <a:lnTo>
                  <a:pt x="2867717" y="3364306"/>
                </a:lnTo>
                <a:lnTo>
                  <a:pt x="2867717" y="3354436"/>
                </a:lnTo>
                <a:close/>
                <a:moveTo>
                  <a:pt x="2632423" y="3350398"/>
                </a:moveTo>
                <a:lnTo>
                  <a:pt x="2642334" y="3350398"/>
                </a:lnTo>
                <a:lnTo>
                  <a:pt x="2646352" y="3354436"/>
                </a:lnTo>
                <a:lnTo>
                  <a:pt x="2646352" y="3364306"/>
                </a:lnTo>
                <a:lnTo>
                  <a:pt x="2642334" y="3368345"/>
                </a:lnTo>
                <a:lnTo>
                  <a:pt x="2632423" y="3368345"/>
                </a:lnTo>
                <a:lnTo>
                  <a:pt x="2628404" y="3364306"/>
                </a:lnTo>
                <a:lnTo>
                  <a:pt x="2628404" y="3354436"/>
                </a:lnTo>
                <a:close/>
                <a:moveTo>
                  <a:pt x="2393104" y="3350398"/>
                </a:moveTo>
                <a:lnTo>
                  <a:pt x="2403015" y="3350398"/>
                </a:lnTo>
                <a:lnTo>
                  <a:pt x="2407034" y="3354436"/>
                </a:lnTo>
                <a:lnTo>
                  <a:pt x="2407034" y="3364306"/>
                </a:lnTo>
                <a:lnTo>
                  <a:pt x="2403015" y="3368345"/>
                </a:lnTo>
                <a:lnTo>
                  <a:pt x="2393104" y="3368345"/>
                </a:lnTo>
                <a:lnTo>
                  <a:pt x="2389087" y="3364306"/>
                </a:lnTo>
                <a:lnTo>
                  <a:pt x="2389087" y="3354436"/>
                </a:lnTo>
                <a:close/>
                <a:moveTo>
                  <a:pt x="2157820" y="3350398"/>
                </a:moveTo>
                <a:lnTo>
                  <a:pt x="2167731" y="3350398"/>
                </a:lnTo>
                <a:lnTo>
                  <a:pt x="2171749" y="3354436"/>
                </a:lnTo>
                <a:lnTo>
                  <a:pt x="2171749" y="3364306"/>
                </a:lnTo>
                <a:lnTo>
                  <a:pt x="2167731" y="3368345"/>
                </a:lnTo>
                <a:lnTo>
                  <a:pt x="2157820" y="3368345"/>
                </a:lnTo>
                <a:lnTo>
                  <a:pt x="2153802" y="3364306"/>
                </a:lnTo>
                <a:lnTo>
                  <a:pt x="2153802" y="3354436"/>
                </a:lnTo>
                <a:close/>
                <a:moveTo>
                  <a:pt x="1918511" y="3350398"/>
                </a:moveTo>
                <a:lnTo>
                  <a:pt x="1928422" y="3350398"/>
                </a:lnTo>
                <a:lnTo>
                  <a:pt x="1932441" y="3354436"/>
                </a:lnTo>
                <a:lnTo>
                  <a:pt x="1932441" y="3364306"/>
                </a:lnTo>
                <a:lnTo>
                  <a:pt x="1928422" y="3368345"/>
                </a:lnTo>
                <a:lnTo>
                  <a:pt x="1918511" y="3368345"/>
                </a:lnTo>
                <a:lnTo>
                  <a:pt x="1914493" y="3364306"/>
                </a:lnTo>
                <a:lnTo>
                  <a:pt x="1914493" y="3354436"/>
                </a:lnTo>
                <a:close/>
                <a:moveTo>
                  <a:pt x="1679210" y="3350398"/>
                </a:moveTo>
                <a:lnTo>
                  <a:pt x="1689120" y="3350398"/>
                </a:lnTo>
                <a:lnTo>
                  <a:pt x="1693138" y="3354436"/>
                </a:lnTo>
                <a:lnTo>
                  <a:pt x="1693138" y="3364306"/>
                </a:lnTo>
                <a:lnTo>
                  <a:pt x="1689120" y="3368345"/>
                </a:lnTo>
                <a:lnTo>
                  <a:pt x="1679210" y="3368345"/>
                </a:lnTo>
                <a:lnTo>
                  <a:pt x="1675191" y="3364306"/>
                </a:lnTo>
                <a:lnTo>
                  <a:pt x="1675191" y="3354436"/>
                </a:lnTo>
                <a:close/>
                <a:moveTo>
                  <a:pt x="1439893" y="3350398"/>
                </a:moveTo>
                <a:lnTo>
                  <a:pt x="1449803" y="3350398"/>
                </a:lnTo>
                <a:lnTo>
                  <a:pt x="1453823" y="3354436"/>
                </a:lnTo>
                <a:lnTo>
                  <a:pt x="1453823" y="3364306"/>
                </a:lnTo>
                <a:lnTo>
                  <a:pt x="1449803" y="3368345"/>
                </a:lnTo>
                <a:lnTo>
                  <a:pt x="1439893" y="3368345"/>
                </a:lnTo>
                <a:lnTo>
                  <a:pt x="1435875" y="3364306"/>
                </a:lnTo>
                <a:lnTo>
                  <a:pt x="1435875" y="3354436"/>
                </a:lnTo>
                <a:close/>
                <a:moveTo>
                  <a:pt x="1200578" y="3350398"/>
                </a:moveTo>
                <a:lnTo>
                  <a:pt x="1210488" y="3350398"/>
                </a:lnTo>
                <a:lnTo>
                  <a:pt x="1214507" y="3354436"/>
                </a:lnTo>
                <a:lnTo>
                  <a:pt x="1214507" y="3364306"/>
                </a:lnTo>
                <a:lnTo>
                  <a:pt x="1210488" y="3368345"/>
                </a:lnTo>
                <a:lnTo>
                  <a:pt x="1200578" y="3368345"/>
                </a:lnTo>
                <a:lnTo>
                  <a:pt x="1196559" y="3364306"/>
                </a:lnTo>
                <a:lnTo>
                  <a:pt x="1196559" y="3354436"/>
                </a:lnTo>
                <a:close/>
                <a:moveTo>
                  <a:pt x="961265" y="3350398"/>
                </a:moveTo>
                <a:lnTo>
                  <a:pt x="971176" y="3350398"/>
                </a:lnTo>
                <a:lnTo>
                  <a:pt x="975194" y="3354436"/>
                </a:lnTo>
                <a:lnTo>
                  <a:pt x="975194" y="3364306"/>
                </a:lnTo>
                <a:lnTo>
                  <a:pt x="971176" y="3368345"/>
                </a:lnTo>
                <a:lnTo>
                  <a:pt x="961265" y="3368345"/>
                </a:lnTo>
                <a:lnTo>
                  <a:pt x="957246" y="3364306"/>
                </a:lnTo>
                <a:lnTo>
                  <a:pt x="957246" y="3354436"/>
                </a:lnTo>
                <a:close/>
                <a:moveTo>
                  <a:pt x="721967" y="3350398"/>
                </a:moveTo>
                <a:lnTo>
                  <a:pt x="731877" y="3350398"/>
                </a:lnTo>
                <a:lnTo>
                  <a:pt x="735896" y="3354436"/>
                </a:lnTo>
                <a:lnTo>
                  <a:pt x="735896" y="3364306"/>
                </a:lnTo>
                <a:lnTo>
                  <a:pt x="731877" y="3368345"/>
                </a:lnTo>
                <a:lnTo>
                  <a:pt x="721967" y="3368345"/>
                </a:lnTo>
                <a:lnTo>
                  <a:pt x="717949" y="3364306"/>
                </a:lnTo>
                <a:lnTo>
                  <a:pt x="717949" y="3354436"/>
                </a:lnTo>
                <a:close/>
                <a:moveTo>
                  <a:pt x="482655" y="3350398"/>
                </a:moveTo>
                <a:lnTo>
                  <a:pt x="492565" y="3350398"/>
                </a:lnTo>
                <a:lnTo>
                  <a:pt x="496584" y="3354436"/>
                </a:lnTo>
                <a:lnTo>
                  <a:pt x="496584" y="3364306"/>
                </a:lnTo>
                <a:lnTo>
                  <a:pt x="492565" y="3368345"/>
                </a:lnTo>
                <a:lnTo>
                  <a:pt x="482655" y="3368345"/>
                </a:lnTo>
                <a:lnTo>
                  <a:pt x="478636" y="3364306"/>
                </a:lnTo>
                <a:lnTo>
                  <a:pt x="478636" y="3354436"/>
                </a:lnTo>
                <a:close/>
                <a:moveTo>
                  <a:pt x="243341" y="3350398"/>
                </a:moveTo>
                <a:lnTo>
                  <a:pt x="253252" y="3350398"/>
                </a:lnTo>
                <a:lnTo>
                  <a:pt x="257271" y="3354436"/>
                </a:lnTo>
                <a:lnTo>
                  <a:pt x="257271" y="3364306"/>
                </a:lnTo>
                <a:lnTo>
                  <a:pt x="253252" y="3368345"/>
                </a:lnTo>
                <a:lnTo>
                  <a:pt x="243341" y="3368345"/>
                </a:lnTo>
                <a:lnTo>
                  <a:pt x="239322" y="3364306"/>
                </a:lnTo>
                <a:lnTo>
                  <a:pt x="239322" y="3354436"/>
                </a:lnTo>
                <a:close/>
                <a:moveTo>
                  <a:pt x="4029" y="3350398"/>
                </a:moveTo>
                <a:lnTo>
                  <a:pt x="13938" y="3350398"/>
                </a:lnTo>
                <a:lnTo>
                  <a:pt x="17957" y="3354436"/>
                </a:lnTo>
                <a:lnTo>
                  <a:pt x="17957" y="3364306"/>
                </a:lnTo>
                <a:lnTo>
                  <a:pt x="13938" y="3368345"/>
                </a:lnTo>
                <a:lnTo>
                  <a:pt x="4029" y="3368345"/>
                </a:lnTo>
                <a:lnTo>
                  <a:pt x="9" y="3364306"/>
                </a:lnTo>
                <a:lnTo>
                  <a:pt x="9" y="3354436"/>
                </a:lnTo>
                <a:close/>
                <a:moveTo>
                  <a:pt x="2157820" y="3111118"/>
                </a:moveTo>
                <a:lnTo>
                  <a:pt x="2167731" y="3111118"/>
                </a:lnTo>
                <a:lnTo>
                  <a:pt x="2171750" y="3115157"/>
                </a:lnTo>
                <a:lnTo>
                  <a:pt x="2171750" y="3125027"/>
                </a:lnTo>
                <a:lnTo>
                  <a:pt x="2167731" y="3129066"/>
                </a:lnTo>
                <a:lnTo>
                  <a:pt x="2157820" y="3129066"/>
                </a:lnTo>
                <a:lnTo>
                  <a:pt x="2153802" y="3125027"/>
                </a:lnTo>
                <a:lnTo>
                  <a:pt x="2153802" y="3115157"/>
                </a:lnTo>
                <a:close/>
                <a:moveTo>
                  <a:pt x="1918513" y="3111118"/>
                </a:moveTo>
                <a:lnTo>
                  <a:pt x="1928422" y="3111118"/>
                </a:lnTo>
                <a:lnTo>
                  <a:pt x="1932441" y="3115157"/>
                </a:lnTo>
                <a:lnTo>
                  <a:pt x="1932441" y="3125027"/>
                </a:lnTo>
                <a:lnTo>
                  <a:pt x="1928422" y="3129066"/>
                </a:lnTo>
                <a:lnTo>
                  <a:pt x="1918513" y="3129066"/>
                </a:lnTo>
                <a:lnTo>
                  <a:pt x="1914493" y="3125027"/>
                </a:lnTo>
                <a:lnTo>
                  <a:pt x="1914493" y="3115157"/>
                </a:lnTo>
                <a:close/>
                <a:moveTo>
                  <a:pt x="1679211" y="3111118"/>
                </a:moveTo>
                <a:lnTo>
                  <a:pt x="1689121" y="3111118"/>
                </a:lnTo>
                <a:lnTo>
                  <a:pt x="1693139" y="3115157"/>
                </a:lnTo>
                <a:lnTo>
                  <a:pt x="1693139" y="3125027"/>
                </a:lnTo>
                <a:lnTo>
                  <a:pt x="1689121" y="3129066"/>
                </a:lnTo>
                <a:lnTo>
                  <a:pt x="1679211" y="3129066"/>
                </a:lnTo>
                <a:lnTo>
                  <a:pt x="1675191" y="3125027"/>
                </a:lnTo>
                <a:lnTo>
                  <a:pt x="1675191" y="3115157"/>
                </a:lnTo>
                <a:close/>
                <a:moveTo>
                  <a:pt x="1439895" y="3111118"/>
                </a:moveTo>
                <a:lnTo>
                  <a:pt x="1449805" y="3111118"/>
                </a:lnTo>
                <a:lnTo>
                  <a:pt x="1453823" y="3115157"/>
                </a:lnTo>
                <a:lnTo>
                  <a:pt x="1453823" y="3125027"/>
                </a:lnTo>
                <a:lnTo>
                  <a:pt x="1449805" y="3129066"/>
                </a:lnTo>
                <a:lnTo>
                  <a:pt x="1439895" y="3129066"/>
                </a:lnTo>
                <a:lnTo>
                  <a:pt x="1435875" y="3125027"/>
                </a:lnTo>
                <a:lnTo>
                  <a:pt x="1435875" y="3115157"/>
                </a:lnTo>
                <a:close/>
                <a:moveTo>
                  <a:pt x="1200578" y="3111118"/>
                </a:moveTo>
                <a:lnTo>
                  <a:pt x="1210489" y="3111118"/>
                </a:lnTo>
                <a:lnTo>
                  <a:pt x="1214507" y="3115157"/>
                </a:lnTo>
                <a:lnTo>
                  <a:pt x="1214507" y="3125027"/>
                </a:lnTo>
                <a:lnTo>
                  <a:pt x="1210489" y="3129066"/>
                </a:lnTo>
                <a:lnTo>
                  <a:pt x="1200578" y="3129066"/>
                </a:lnTo>
                <a:lnTo>
                  <a:pt x="1196560" y="3125027"/>
                </a:lnTo>
                <a:lnTo>
                  <a:pt x="1196560" y="3115157"/>
                </a:lnTo>
                <a:close/>
                <a:moveTo>
                  <a:pt x="961266" y="3111118"/>
                </a:moveTo>
                <a:lnTo>
                  <a:pt x="971176" y="3111118"/>
                </a:lnTo>
                <a:lnTo>
                  <a:pt x="975195" y="3115157"/>
                </a:lnTo>
                <a:lnTo>
                  <a:pt x="975195" y="3125027"/>
                </a:lnTo>
                <a:lnTo>
                  <a:pt x="971176" y="3129066"/>
                </a:lnTo>
                <a:lnTo>
                  <a:pt x="961266" y="3129066"/>
                </a:lnTo>
                <a:lnTo>
                  <a:pt x="957247" y="3125027"/>
                </a:lnTo>
                <a:lnTo>
                  <a:pt x="957247" y="3115157"/>
                </a:lnTo>
                <a:close/>
                <a:moveTo>
                  <a:pt x="9572438" y="3111067"/>
                </a:moveTo>
                <a:lnTo>
                  <a:pt x="9582349" y="3111067"/>
                </a:lnTo>
                <a:lnTo>
                  <a:pt x="9586368" y="3115105"/>
                </a:lnTo>
                <a:lnTo>
                  <a:pt x="9586368" y="3124976"/>
                </a:lnTo>
                <a:lnTo>
                  <a:pt x="9582349" y="3129015"/>
                </a:lnTo>
                <a:lnTo>
                  <a:pt x="9572438" y="3129015"/>
                </a:lnTo>
                <a:lnTo>
                  <a:pt x="9568419" y="3124976"/>
                </a:lnTo>
                <a:lnTo>
                  <a:pt x="9568419" y="3115105"/>
                </a:lnTo>
                <a:close/>
                <a:moveTo>
                  <a:pt x="9333125" y="3111067"/>
                </a:moveTo>
                <a:lnTo>
                  <a:pt x="9343036" y="3111067"/>
                </a:lnTo>
                <a:lnTo>
                  <a:pt x="9347055" y="3115105"/>
                </a:lnTo>
                <a:lnTo>
                  <a:pt x="9347055" y="3124976"/>
                </a:lnTo>
                <a:lnTo>
                  <a:pt x="9343036" y="3129015"/>
                </a:lnTo>
                <a:lnTo>
                  <a:pt x="9333125" y="3129015"/>
                </a:lnTo>
                <a:lnTo>
                  <a:pt x="9329106" y="3124976"/>
                </a:lnTo>
                <a:lnTo>
                  <a:pt x="9329106" y="3115105"/>
                </a:lnTo>
                <a:close/>
                <a:moveTo>
                  <a:pt x="9093811" y="3111067"/>
                </a:moveTo>
                <a:lnTo>
                  <a:pt x="9103722" y="3111067"/>
                </a:lnTo>
                <a:lnTo>
                  <a:pt x="9107741" y="3115105"/>
                </a:lnTo>
                <a:lnTo>
                  <a:pt x="9107741" y="3124976"/>
                </a:lnTo>
                <a:lnTo>
                  <a:pt x="9103722" y="3129015"/>
                </a:lnTo>
                <a:lnTo>
                  <a:pt x="9093811" y="3129015"/>
                </a:lnTo>
                <a:lnTo>
                  <a:pt x="9089792" y="3124976"/>
                </a:lnTo>
                <a:lnTo>
                  <a:pt x="9089792" y="3115105"/>
                </a:lnTo>
                <a:close/>
                <a:moveTo>
                  <a:pt x="8854496" y="3111067"/>
                </a:moveTo>
                <a:lnTo>
                  <a:pt x="8864407" y="3111067"/>
                </a:lnTo>
                <a:lnTo>
                  <a:pt x="8868426" y="3115105"/>
                </a:lnTo>
                <a:lnTo>
                  <a:pt x="8868426" y="3124976"/>
                </a:lnTo>
                <a:lnTo>
                  <a:pt x="8864407" y="3129015"/>
                </a:lnTo>
                <a:lnTo>
                  <a:pt x="8854496" y="3129015"/>
                </a:lnTo>
                <a:lnTo>
                  <a:pt x="8850477" y="3124976"/>
                </a:lnTo>
                <a:lnTo>
                  <a:pt x="8850477" y="3115105"/>
                </a:lnTo>
                <a:close/>
                <a:moveTo>
                  <a:pt x="8615184" y="3111067"/>
                </a:moveTo>
                <a:lnTo>
                  <a:pt x="8625095" y="3111067"/>
                </a:lnTo>
                <a:lnTo>
                  <a:pt x="8629114" y="3115105"/>
                </a:lnTo>
                <a:lnTo>
                  <a:pt x="8629114" y="3124976"/>
                </a:lnTo>
                <a:lnTo>
                  <a:pt x="8625095" y="3129015"/>
                </a:lnTo>
                <a:lnTo>
                  <a:pt x="8615184" y="3129015"/>
                </a:lnTo>
                <a:lnTo>
                  <a:pt x="8611165" y="3124976"/>
                </a:lnTo>
                <a:lnTo>
                  <a:pt x="8611165" y="3115105"/>
                </a:lnTo>
                <a:close/>
                <a:moveTo>
                  <a:pt x="8375869" y="3111067"/>
                </a:moveTo>
                <a:lnTo>
                  <a:pt x="8385779" y="3111067"/>
                </a:lnTo>
                <a:lnTo>
                  <a:pt x="8389799" y="3115105"/>
                </a:lnTo>
                <a:lnTo>
                  <a:pt x="8389799" y="3124976"/>
                </a:lnTo>
                <a:lnTo>
                  <a:pt x="8385779" y="3129015"/>
                </a:lnTo>
                <a:lnTo>
                  <a:pt x="8375869" y="3129015"/>
                </a:lnTo>
                <a:lnTo>
                  <a:pt x="8371850" y="3124976"/>
                </a:lnTo>
                <a:lnTo>
                  <a:pt x="8371850" y="3115105"/>
                </a:lnTo>
                <a:close/>
                <a:moveTo>
                  <a:pt x="8136553" y="3111067"/>
                </a:moveTo>
                <a:lnTo>
                  <a:pt x="8146464" y="3111067"/>
                </a:lnTo>
                <a:lnTo>
                  <a:pt x="8150483" y="3115105"/>
                </a:lnTo>
                <a:lnTo>
                  <a:pt x="8150483" y="3124976"/>
                </a:lnTo>
                <a:lnTo>
                  <a:pt x="8146464" y="3129015"/>
                </a:lnTo>
                <a:lnTo>
                  <a:pt x="8136553" y="3129015"/>
                </a:lnTo>
                <a:lnTo>
                  <a:pt x="8132534" y="3124976"/>
                </a:lnTo>
                <a:lnTo>
                  <a:pt x="8132534" y="3115105"/>
                </a:lnTo>
                <a:close/>
                <a:moveTo>
                  <a:pt x="7897241" y="3111067"/>
                </a:moveTo>
                <a:lnTo>
                  <a:pt x="7907151" y="3111067"/>
                </a:lnTo>
                <a:lnTo>
                  <a:pt x="7911170" y="3115105"/>
                </a:lnTo>
                <a:lnTo>
                  <a:pt x="7911170" y="3124976"/>
                </a:lnTo>
                <a:lnTo>
                  <a:pt x="7907151" y="3129015"/>
                </a:lnTo>
                <a:lnTo>
                  <a:pt x="7897241" y="3129015"/>
                </a:lnTo>
                <a:lnTo>
                  <a:pt x="7893222" y="3124976"/>
                </a:lnTo>
                <a:lnTo>
                  <a:pt x="7893222" y="3115105"/>
                </a:lnTo>
                <a:close/>
                <a:moveTo>
                  <a:pt x="7657926" y="3111067"/>
                </a:moveTo>
                <a:lnTo>
                  <a:pt x="7667836" y="3111067"/>
                </a:lnTo>
                <a:lnTo>
                  <a:pt x="7671855" y="3115105"/>
                </a:lnTo>
                <a:lnTo>
                  <a:pt x="7671855" y="3124976"/>
                </a:lnTo>
                <a:lnTo>
                  <a:pt x="7667836" y="3129015"/>
                </a:lnTo>
                <a:lnTo>
                  <a:pt x="7657926" y="3129015"/>
                </a:lnTo>
                <a:lnTo>
                  <a:pt x="7653906" y="3124976"/>
                </a:lnTo>
                <a:lnTo>
                  <a:pt x="7653906" y="3115105"/>
                </a:lnTo>
                <a:close/>
                <a:moveTo>
                  <a:pt x="7418611" y="3111067"/>
                </a:moveTo>
                <a:lnTo>
                  <a:pt x="7428521" y="3111067"/>
                </a:lnTo>
                <a:lnTo>
                  <a:pt x="7432540" y="3115105"/>
                </a:lnTo>
                <a:lnTo>
                  <a:pt x="7432540" y="3124976"/>
                </a:lnTo>
                <a:lnTo>
                  <a:pt x="7428521" y="3129015"/>
                </a:lnTo>
                <a:lnTo>
                  <a:pt x="7418611" y="3129015"/>
                </a:lnTo>
                <a:lnTo>
                  <a:pt x="7414592" y="3124976"/>
                </a:lnTo>
                <a:lnTo>
                  <a:pt x="7414592" y="3115105"/>
                </a:lnTo>
                <a:close/>
                <a:moveTo>
                  <a:pt x="7179298" y="3111067"/>
                </a:moveTo>
                <a:lnTo>
                  <a:pt x="7189209" y="3111067"/>
                </a:lnTo>
                <a:lnTo>
                  <a:pt x="7193228" y="3115105"/>
                </a:lnTo>
                <a:lnTo>
                  <a:pt x="7193228" y="3124976"/>
                </a:lnTo>
                <a:lnTo>
                  <a:pt x="7189209" y="3129015"/>
                </a:lnTo>
                <a:lnTo>
                  <a:pt x="7179298" y="3129015"/>
                </a:lnTo>
                <a:lnTo>
                  <a:pt x="7175279" y="3124976"/>
                </a:lnTo>
                <a:lnTo>
                  <a:pt x="7175279" y="3115105"/>
                </a:lnTo>
                <a:close/>
                <a:moveTo>
                  <a:pt x="6939983" y="3111067"/>
                </a:moveTo>
                <a:lnTo>
                  <a:pt x="6949894" y="3111067"/>
                </a:lnTo>
                <a:lnTo>
                  <a:pt x="6953913" y="3115105"/>
                </a:lnTo>
                <a:lnTo>
                  <a:pt x="6953913" y="3124976"/>
                </a:lnTo>
                <a:lnTo>
                  <a:pt x="6949894" y="3129015"/>
                </a:lnTo>
                <a:lnTo>
                  <a:pt x="6939983" y="3129015"/>
                </a:lnTo>
                <a:lnTo>
                  <a:pt x="6935964" y="3124976"/>
                </a:lnTo>
                <a:lnTo>
                  <a:pt x="6935964" y="3115105"/>
                </a:lnTo>
                <a:close/>
                <a:moveTo>
                  <a:pt x="6700670" y="3111067"/>
                </a:moveTo>
                <a:lnTo>
                  <a:pt x="6710581" y="3111067"/>
                </a:lnTo>
                <a:lnTo>
                  <a:pt x="6714600" y="3115105"/>
                </a:lnTo>
                <a:lnTo>
                  <a:pt x="6714600" y="3124976"/>
                </a:lnTo>
                <a:lnTo>
                  <a:pt x="6710581" y="3129015"/>
                </a:lnTo>
                <a:lnTo>
                  <a:pt x="6700670" y="3129015"/>
                </a:lnTo>
                <a:lnTo>
                  <a:pt x="6696651" y="3124976"/>
                </a:lnTo>
                <a:lnTo>
                  <a:pt x="6696651" y="3115105"/>
                </a:lnTo>
                <a:close/>
                <a:moveTo>
                  <a:pt x="6461356" y="3111067"/>
                </a:moveTo>
                <a:lnTo>
                  <a:pt x="6471266" y="3111067"/>
                </a:lnTo>
                <a:lnTo>
                  <a:pt x="6475285" y="3115105"/>
                </a:lnTo>
                <a:lnTo>
                  <a:pt x="6475285" y="3124976"/>
                </a:lnTo>
                <a:lnTo>
                  <a:pt x="6471266" y="3129015"/>
                </a:lnTo>
                <a:lnTo>
                  <a:pt x="6461356" y="3129015"/>
                </a:lnTo>
                <a:lnTo>
                  <a:pt x="6457337" y="3124976"/>
                </a:lnTo>
                <a:lnTo>
                  <a:pt x="6457337" y="3115105"/>
                </a:lnTo>
                <a:close/>
                <a:moveTo>
                  <a:pt x="6222042" y="3111067"/>
                </a:moveTo>
                <a:lnTo>
                  <a:pt x="6231952" y="3111067"/>
                </a:lnTo>
                <a:lnTo>
                  <a:pt x="6235971" y="3115105"/>
                </a:lnTo>
                <a:lnTo>
                  <a:pt x="6235971" y="3124976"/>
                </a:lnTo>
                <a:lnTo>
                  <a:pt x="6231952" y="3129015"/>
                </a:lnTo>
                <a:lnTo>
                  <a:pt x="6222042" y="3129015"/>
                </a:lnTo>
                <a:lnTo>
                  <a:pt x="6218023" y="3124976"/>
                </a:lnTo>
                <a:lnTo>
                  <a:pt x="6218023" y="3115105"/>
                </a:lnTo>
                <a:close/>
                <a:moveTo>
                  <a:pt x="5982729" y="3111067"/>
                </a:moveTo>
                <a:lnTo>
                  <a:pt x="5992639" y="3111067"/>
                </a:lnTo>
                <a:lnTo>
                  <a:pt x="5996658" y="3115105"/>
                </a:lnTo>
                <a:lnTo>
                  <a:pt x="5996658" y="3124976"/>
                </a:lnTo>
                <a:lnTo>
                  <a:pt x="5992639" y="3129015"/>
                </a:lnTo>
                <a:lnTo>
                  <a:pt x="5982729" y="3129015"/>
                </a:lnTo>
                <a:lnTo>
                  <a:pt x="5978710" y="3124976"/>
                </a:lnTo>
                <a:lnTo>
                  <a:pt x="5978710" y="3115105"/>
                </a:lnTo>
                <a:close/>
                <a:moveTo>
                  <a:pt x="5743412" y="3111067"/>
                </a:moveTo>
                <a:lnTo>
                  <a:pt x="5753323" y="3111067"/>
                </a:lnTo>
                <a:lnTo>
                  <a:pt x="5757342" y="3115105"/>
                </a:lnTo>
                <a:lnTo>
                  <a:pt x="5757342" y="3124976"/>
                </a:lnTo>
                <a:lnTo>
                  <a:pt x="5753323" y="3129015"/>
                </a:lnTo>
                <a:lnTo>
                  <a:pt x="5743412" y="3129015"/>
                </a:lnTo>
                <a:lnTo>
                  <a:pt x="5739393" y="3124976"/>
                </a:lnTo>
                <a:lnTo>
                  <a:pt x="5739393" y="3115105"/>
                </a:lnTo>
                <a:close/>
                <a:moveTo>
                  <a:pt x="5504099" y="3111067"/>
                </a:moveTo>
                <a:lnTo>
                  <a:pt x="5514010" y="3111067"/>
                </a:lnTo>
                <a:lnTo>
                  <a:pt x="5518029" y="3115105"/>
                </a:lnTo>
                <a:lnTo>
                  <a:pt x="5518029" y="3124976"/>
                </a:lnTo>
                <a:lnTo>
                  <a:pt x="5514010" y="3129015"/>
                </a:lnTo>
                <a:lnTo>
                  <a:pt x="5504099" y="3129015"/>
                </a:lnTo>
                <a:lnTo>
                  <a:pt x="5500080" y="3124976"/>
                </a:lnTo>
                <a:lnTo>
                  <a:pt x="5500080" y="3115105"/>
                </a:lnTo>
                <a:close/>
                <a:moveTo>
                  <a:pt x="5264784" y="3111067"/>
                </a:moveTo>
                <a:lnTo>
                  <a:pt x="5274694" y="3111067"/>
                </a:lnTo>
                <a:lnTo>
                  <a:pt x="5278713" y="3115105"/>
                </a:lnTo>
                <a:lnTo>
                  <a:pt x="5278713" y="3124976"/>
                </a:lnTo>
                <a:lnTo>
                  <a:pt x="5274694" y="3129015"/>
                </a:lnTo>
                <a:lnTo>
                  <a:pt x="5264784" y="3129015"/>
                </a:lnTo>
                <a:lnTo>
                  <a:pt x="5260765" y="3124976"/>
                </a:lnTo>
                <a:lnTo>
                  <a:pt x="5260765" y="3115105"/>
                </a:lnTo>
                <a:close/>
                <a:moveTo>
                  <a:pt x="5025470" y="3111067"/>
                </a:moveTo>
                <a:lnTo>
                  <a:pt x="5035381" y="3111067"/>
                </a:lnTo>
                <a:lnTo>
                  <a:pt x="5039400" y="3115105"/>
                </a:lnTo>
                <a:lnTo>
                  <a:pt x="5039400" y="3124976"/>
                </a:lnTo>
                <a:lnTo>
                  <a:pt x="5035381" y="3129015"/>
                </a:lnTo>
                <a:lnTo>
                  <a:pt x="5025470" y="3129015"/>
                </a:lnTo>
                <a:lnTo>
                  <a:pt x="5021451" y="3124976"/>
                </a:lnTo>
                <a:lnTo>
                  <a:pt x="5021451" y="3115105"/>
                </a:lnTo>
                <a:close/>
                <a:moveTo>
                  <a:pt x="4786241" y="3111067"/>
                </a:moveTo>
                <a:lnTo>
                  <a:pt x="4796152" y="3111067"/>
                </a:lnTo>
                <a:lnTo>
                  <a:pt x="4800171" y="3115105"/>
                </a:lnTo>
                <a:lnTo>
                  <a:pt x="4800171" y="3124976"/>
                </a:lnTo>
                <a:lnTo>
                  <a:pt x="4796152" y="3129015"/>
                </a:lnTo>
                <a:lnTo>
                  <a:pt x="4786241" y="3129015"/>
                </a:lnTo>
                <a:lnTo>
                  <a:pt x="4782224" y="3124976"/>
                </a:lnTo>
                <a:lnTo>
                  <a:pt x="4782224" y="3115105"/>
                </a:lnTo>
                <a:close/>
                <a:moveTo>
                  <a:pt x="4546929" y="3111067"/>
                </a:moveTo>
                <a:lnTo>
                  <a:pt x="4556840" y="3111067"/>
                </a:lnTo>
                <a:lnTo>
                  <a:pt x="4560859" y="3115105"/>
                </a:lnTo>
                <a:lnTo>
                  <a:pt x="4560859" y="3124976"/>
                </a:lnTo>
                <a:lnTo>
                  <a:pt x="4556840" y="3129015"/>
                </a:lnTo>
                <a:lnTo>
                  <a:pt x="4546929" y="3129015"/>
                </a:lnTo>
                <a:lnTo>
                  <a:pt x="4542910" y="3124976"/>
                </a:lnTo>
                <a:lnTo>
                  <a:pt x="4542910" y="3115105"/>
                </a:lnTo>
                <a:close/>
                <a:moveTo>
                  <a:pt x="4307612" y="3111067"/>
                </a:moveTo>
                <a:lnTo>
                  <a:pt x="4317523" y="3111067"/>
                </a:lnTo>
                <a:lnTo>
                  <a:pt x="4321543" y="3115105"/>
                </a:lnTo>
                <a:lnTo>
                  <a:pt x="4321543" y="3124976"/>
                </a:lnTo>
                <a:lnTo>
                  <a:pt x="4317523" y="3129015"/>
                </a:lnTo>
                <a:lnTo>
                  <a:pt x="4307612" y="3129015"/>
                </a:lnTo>
                <a:lnTo>
                  <a:pt x="4303595" y="3124976"/>
                </a:lnTo>
                <a:lnTo>
                  <a:pt x="4303595" y="3115105"/>
                </a:lnTo>
                <a:close/>
                <a:moveTo>
                  <a:pt x="4068297" y="3111067"/>
                </a:moveTo>
                <a:lnTo>
                  <a:pt x="4078210" y="3111067"/>
                </a:lnTo>
                <a:lnTo>
                  <a:pt x="4082229" y="3115105"/>
                </a:lnTo>
                <a:lnTo>
                  <a:pt x="4082229" y="3124976"/>
                </a:lnTo>
                <a:lnTo>
                  <a:pt x="4078210" y="3129015"/>
                </a:lnTo>
                <a:lnTo>
                  <a:pt x="4068297" y="3129015"/>
                </a:lnTo>
                <a:lnTo>
                  <a:pt x="4064278" y="3124976"/>
                </a:lnTo>
                <a:lnTo>
                  <a:pt x="4064278" y="3115105"/>
                </a:lnTo>
                <a:close/>
                <a:moveTo>
                  <a:pt x="3828990" y="3111067"/>
                </a:moveTo>
                <a:lnTo>
                  <a:pt x="3838899" y="3111067"/>
                </a:lnTo>
                <a:lnTo>
                  <a:pt x="3842917" y="3115105"/>
                </a:lnTo>
                <a:lnTo>
                  <a:pt x="3842917" y="3124976"/>
                </a:lnTo>
                <a:lnTo>
                  <a:pt x="3838899" y="3129015"/>
                </a:lnTo>
                <a:lnTo>
                  <a:pt x="3828990" y="3129015"/>
                </a:lnTo>
                <a:lnTo>
                  <a:pt x="3824971" y="3124976"/>
                </a:lnTo>
                <a:lnTo>
                  <a:pt x="3824971" y="3115105"/>
                </a:lnTo>
                <a:close/>
                <a:moveTo>
                  <a:pt x="3589676" y="3111067"/>
                </a:moveTo>
                <a:lnTo>
                  <a:pt x="3599585" y="3111067"/>
                </a:lnTo>
                <a:lnTo>
                  <a:pt x="3603604" y="3115105"/>
                </a:lnTo>
                <a:lnTo>
                  <a:pt x="3603604" y="3124976"/>
                </a:lnTo>
                <a:lnTo>
                  <a:pt x="3599585" y="3129015"/>
                </a:lnTo>
                <a:lnTo>
                  <a:pt x="3589676" y="3129015"/>
                </a:lnTo>
                <a:lnTo>
                  <a:pt x="3585657" y="3124976"/>
                </a:lnTo>
                <a:lnTo>
                  <a:pt x="3585657" y="3115105"/>
                </a:lnTo>
                <a:close/>
                <a:moveTo>
                  <a:pt x="3350359" y="3111067"/>
                </a:moveTo>
                <a:lnTo>
                  <a:pt x="3360268" y="3111067"/>
                </a:lnTo>
                <a:lnTo>
                  <a:pt x="3364287" y="3115105"/>
                </a:lnTo>
                <a:lnTo>
                  <a:pt x="3364287" y="3124976"/>
                </a:lnTo>
                <a:lnTo>
                  <a:pt x="3360268" y="3129015"/>
                </a:lnTo>
                <a:lnTo>
                  <a:pt x="3350359" y="3129015"/>
                </a:lnTo>
                <a:lnTo>
                  <a:pt x="3346340" y="3124976"/>
                </a:lnTo>
                <a:lnTo>
                  <a:pt x="3346340" y="3115105"/>
                </a:lnTo>
                <a:close/>
                <a:moveTo>
                  <a:pt x="3111048" y="3111067"/>
                </a:moveTo>
                <a:lnTo>
                  <a:pt x="3120959" y="3111067"/>
                </a:lnTo>
                <a:lnTo>
                  <a:pt x="3124977" y="3115105"/>
                </a:lnTo>
                <a:lnTo>
                  <a:pt x="3124977" y="3124976"/>
                </a:lnTo>
                <a:lnTo>
                  <a:pt x="3120959" y="3129015"/>
                </a:lnTo>
                <a:lnTo>
                  <a:pt x="3111048" y="3129015"/>
                </a:lnTo>
                <a:lnTo>
                  <a:pt x="3107029" y="3124976"/>
                </a:lnTo>
                <a:lnTo>
                  <a:pt x="3107029" y="3115105"/>
                </a:lnTo>
                <a:close/>
                <a:moveTo>
                  <a:pt x="2871737" y="3111067"/>
                </a:moveTo>
                <a:lnTo>
                  <a:pt x="2881646" y="3111067"/>
                </a:lnTo>
                <a:lnTo>
                  <a:pt x="2885666" y="3115105"/>
                </a:lnTo>
                <a:lnTo>
                  <a:pt x="2885666" y="3124976"/>
                </a:lnTo>
                <a:lnTo>
                  <a:pt x="2881646" y="3129015"/>
                </a:lnTo>
                <a:lnTo>
                  <a:pt x="2871737" y="3129015"/>
                </a:lnTo>
                <a:lnTo>
                  <a:pt x="2867717" y="3124976"/>
                </a:lnTo>
                <a:lnTo>
                  <a:pt x="2867717" y="3115105"/>
                </a:lnTo>
                <a:close/>
                <a:moveTo>
                  <a:pt x="2632423" y="3111067"/>
                </a:moveTo>
                <a:lnTo>
                  <a:pt x="2642334" y="3111067"/>
                </a:lnTo>
                <a:lnTo>
                  <a:pt x="2646352" y="3115105"/>
                </a:lnTo>
                <a:lnTo>
                  <a:pt x="2646352" y="3124976"/>
                </a:lnTo>
                <a:lnTo>
                  <a:pt x="2642334" y="3129015"/>
                </a:lnTo>
                <a:lnTo>
                  <a:pt x="2632423" y="3129015"/>
                </a:lnTo>
                <a:lnTo>
                  <a:pt x="2628404" y="3124976"/>
                </a:lnTo>
                <a:lnTo>
                  <a:pt x="2628404" y="3115105"/>
                </a:lnTo>
                <a:close/>
                <a:moveTo>
                  <a:pt x="2393104" y="3111067"/>
                </a:moveTo>
                <a:lnTo>
                  <a:pt x="2403015" y="3111067"/>
                </a:lnTo>
                <a:lnTo>
                  <a:pt x="2407034" y="3115105"/>
                </a:lnTo>
                <a:lnTo>
                  <a:pt x="2407034" y="3124976"/>
                </a:lnTo>
                <a:lnTo>
                  <a:pt x="2403015" y="3129015"/>
                </a:lnTo>
                <a:lnTo>
                  <a:pt x="2393104" y="3129015"/>
                </a:lnTo>
                <a:lnTo>
                  <a:pt x="2389087" y="3124976"/>
                </a:lnTo>
                <a:lnTo>
                  <a:pt x="2389087" y="3115105"/>
                </a:lnTo>
                <a:close/>
                <a:moveTo>
                  <a:pt x="721968" y="3111067"/>
                </a:moveTo>
                <a:lnTo>
                  <a:pt x="731878" y="3111067"/>
                </a:lnTo>
                <a:lnTo>
                  <a:pt x="735897" y="3115105"/>
                </a:lnTo>
                <a:lnTo>
                  <a:pt x="735897" y="3124976"/>
                </a:lnTo>
                <a:lnTo>
                  <a:pt x="731878" y="3129015"/>
                </a:lnTo>
                <a:lnTo>
                  <a:pt x="721968" y="3129015"/>
                </a:lnTo>
                <a:lnTo>
                  <a:pt x="717949" y="3124976"/>
                </a:lnTo>
                <a:lnTo>
                  <a:pt x="717949" y="3115105"/>
                </a:lnTo>
                <a:close/>
                <a:moveTo>
                  <a:pt x="482656" y="3111067"/>
                </a:moveTo>
                <a:lnTo>
                  <a:pt x="492566" y="3111067"/>
                </a:lnTo>
                <a:lnTo>
                  <a:pt x="496585" y="3115105"/>
                </a:lnTo>
                <a:lnTo>
                  <a:pt x="496585" y="3124976"/>
                </a:lnTo>
                <a:lnTo>
                  <a:pt x="492566" y="3129015"/>
                </a:lnTo>
                <a:lnTo>
                  <a:pt x="482656" y="3129015"/>
                </a:lnTo>
                <a:lnTo>
                  <a:pt x="478637" y="3124976"/>
                </a:lnTo>
                <a:lnTo>
                  <a:pt x="478637" y="3115105"/>
                </a:lnTo>
                <a:close/>
                <a:moveTo>
                  <a:pt x="243342" y="3111067"/>
                </a:moveTo>
                <a:lnTo>
                  <a:pt x="253252" y="3111067"/>
                </a:lnTo>
                <a:lnTo>
                  <a:pt x="257271" y="3115105"/>
                </a:lnTo>
                <a:lnTo>
                  <a:pt x="257271" y="3124976"/>
                </a:lnTo>
                <a:lnTo>
                  <a:pt x="253252" y="3129015"/>
                </a:lnTo>
                <a:lnTo>
                  <a:pt x="243342" y="3129015"/>
                </a:lnTo>
                <a:lnTo>
                  <a:pt x="239323" y="3124976"/>
                </a:lnTo>
                <a:lnTo>
                  <a:pt x="239323" y="3115105"/>
                </a:lnTo>
                <a:close/>
                <a:moveTo>
                  <a:pt x="4029" y="3111067"/>
                </a:moveTo>
                <a:lnTo>
                  <a:pt x="13939" y="3111067"/>
                </a:lnTo>
                <a:lnTo>
                  <a:pt x="17959" y="3115105"/>
                </a:lnTo>
                <a:lnTo>
                  <a:pt x="17959" y="3124976"/>
                </a:lnTo>
                <a:lnTo>
                  <a:pt x="13939" y="3129015"/>
                </a:lnTo>
                <a:lnTo>
                  <a:pt x="4029" y="3129015"/>
                </a:lnTo>
                <a:lnTo>
                  <a:pt x="10" y="3124976"/>
                </a:lnTo>
                <a:lnTo>
                  <a:pt x="10" y="3115105"/>
                </a:lnTo>
                <a:close/>
                <a:moveTo>
                  <a:pt x="2157820" y="2871788"/>
                </a:moveTo>
                <a:lnTo>
                  <a:pt x="2167732" y="2871788"/>
                </a:lnTo>
                <a:lnTo>
                  <a:pt x="2171750" y="2875826"/>
                </a:lnTo>
                <a:lnTo>
                  <a:pt x="2171750" y="2885696"/>
                </a:lnTo>
                <a:lnTo>
                  <a:pt x="2167732" y="2889735"/>
                </a:lnTo>
                <a:lnTo>
                  <a:pt x="2157820" y="2889735"/>
                </a:lnTo>
                <a:lnTo>
                  <a:pt x="2153802" y="2885696"/>
                </a:lnTo>
                <a:lnTo>
                  <a:pt x="2153802" y="2875826"/>
                </a:lnTo>
                <a:close/>
                <a:moveTo>
                  <a:pt x="1918513" y="2871788"/>
                </a:moveTo>
                <a:lnTo>
                  <a:pt x="1928422" y="2871788"/>
                </a:lnTo>
                <a:lnTo>
                  <a:pt x="1932441" y="2875826"/>
                </a:lnTo>
                <a:lnTo>
                  <a:pt x="1932441" y="2885696"/>
                </a:lnTo>
                <a:lnTo>
                  <a:pt x="1928422" y="2889735"/>
                </a:lnTo>
                <a:lnTo>
                  <a:pt x="1918513" y="2889735"/>
                </a:lnTo>
                <a:lnTo>
                  <a:pt x="1914493" y="2885696"/>
                </a:lnTo>
                <a:lnTo>
                  <a:pt x="1914493" y="2875826"/>
                </a:lnTo>
                <a:close/>
                <a:moveTo>
                  <a:pt x="1679211" y="2871788"/>
                </a:moveTo>
                <a:lnTo>
                  <a:pt x="1689121" y="2871788"/>
                </a:lnTo>
                <a:lnTo>
                  <a:pt x="1693141" y="2875826"/>
                </a:lnTo>
                <a:lnTo>
                  <a:pt x="1693141" y="2885696"/>
                </a:lnTo>
                <a:lnTo>
                  <a:pt x="1689121" y="2889735"/>
                </a:lnTo>
                <a:lnTo>
                  <a:pt x="1679211" y="2889735"/>
                </a:lnTo>
                <a:lnTo>
                  <a:pt x="1675193" y="2885696"/>
                </a:lnTo>
                <a:lnTo>
                  <a:pt x="1675193" y="2875826"/>
                </a:lnTo>
                <a:close/>
                <a:moveTo>
                  <a:pt x="1439895" y="2871788"/>
                </a:moveTo>
                <a:lnTo>
                  <a:pt x="1449805" y="2871788"/>
                </a:lnTo>
                <a:lnTo>
                  <a:pt x="1453824" y="2875826"/>
                </a:lnTo>
                <a:lnTo>
                  <a:pt x="1453824" y="2885696"/>
                </a:lnTo>
                <a:lnTo>
                  <a:pt x="1449805" y="2889735"/>
                </a:lnTo>
                <a:lnTo>
                  <a:pt x="1439895" y="2889735"/>
                </a:lnTo>
                <a:lnTo>
                  <a:pt x="1435876" y="2885696"/>
                </a:lnTo>
                <a:lnTo>
                  <a:pt x="1435876" y="2875826"/>
                </a:lnTo>
                <a:close/>
                <a:moveTo>
                  <a:pt x="1200579" y="2871788"/>
                </a:moveTo>
                <a:lnTo>
                  <a:pt x="1210489" y="2871788"/>
                </a:lnTo>
                <a:lnTo>
                  <a:pt x="1214509" y="2875826"/>
                </a:lnTo>
                <a:lnTo>
                  <a:pt x="1214509" y="2885696"/>
                </a:lnTo>
                <a:lnTo>
                  <a:pt x="1210489" y="2889735"/>
                </a:lnTo>
                <a:lnTo>
                  <a:pt x="1200579" y="2889735"/>
                </a:lnTo>
                <a:lnTo>
                  <a:pt x="1196560" y="2885696"/>
                </a:lnTo>
                <a:lnTo>
                  <a:pt x="1196560" y="2875826"/>
                </a:lnTo>
                <a:close/>
                <a:moveTo>
                  <a:pt x="961267" y="2871788"/>
                </a:moveTo>
                <a:lnTo>
                  <a:pt x="971177" y="2871788"/>
                </a:lnTo>
                <a:lnTo>
                  <a:pt x="975195" y="2875826"/>
                </a:lnTo>
                <a:lnTo>
                  <a:pt x="975195" y="2885696"/>
                </a:lnTo>
                <a:lnTo>
                  <a:pt x="971177" y="2889735"/>
                </a:lnTo>
                <a:lnTo>
                  <a:pt x="961267" y="2889735"/>
                </a:lnTo>
                <a:lnTo>
                  <a:pt x="957247" y="2885696"/>
                </a:lnTo>
                <a:lnTo>
                  <a:pt x="957247" y="2875826"/>
                </a:lnTo>
                <a:close/>
                <a:moveTo>
                  <a:pt x="9572438" y="2871736"/>
                </a:moveTo>
                <a:lnTo>
                  <a:pt x="9582349" y="2871736"/>
                </a:lnTo>
                <a:lnTo>
                  <a:pt x="9586368" y="2875775"/>
                </a:lnTo>
                <a:lnTo>
                  <a:pt x="9586368" y="2885645"/>
                </a:lnTo>
                <a:lnTo>
                  <a:pt x="9582349" y="2889684"/>
                </a:lnTo>
                <a:lnTo>
                  <a:pt x="9572438" y="2889684"/>
                </a:lnTo>
                <a:lnTo>
                  <a:pt x="9568419" y="2885645"/>
                </a:lnTo>
                <a:lnTo>
                  <a:pt x="9568419" y="2875775"/>
                </a:lnTo>
                <a:close/>
                <a:moveTo>
                  <a:pt x="9333125" y="2871736"/>
                </a:moveTo>
                <a:lnTo>
                  <a:pt x="9343036" y="2871736"/>
                </a:lnTo>
                <a:lnTo>
                  <a:pt x="9347055" y="2875775"/>
                </a:lnTo>
                <a:lnTo>
                  <a:pt x="9347055" y="2885645"/>
                </a:lnTo>
                <a:lnTo>
                  <a:pt x="9343036" y="2889684"/>
                </a:lnTo>
                <a:lnTo>
                  <a:pt x="9333125" y="2889684"/>
                </a:lnTo>
                <a:lnTo>
                  <a:pt x="9329106" y="2885645"/>
                </a:lnTo>
                <a:lnTo>
                  <a:pt x="9329106" y="2875775"/>
                </a:lnTo>
                <a:close/>
                <a:moveTo>
                  <a:pt x="9093811" y="2871736"/>
                </a:moveTo>
                <a:lnTo>
                  <a:pt x="9103722" y="2871736"/>
                </a:lnTo>
                <a:lnTo>
                  <a:pt x="9107741" y="2875775"/>
                </a:lnTo>
                <a:lnTo>
                  <a:pt x="9107741" y="2885645"/>
                </a:lnTo>
                <a:lnTo>
                  <a:pt x="9103722" y="2889684"/>
                </a:lnTo>
                <a:lnTo>
                  <a:pt x="9093811" y="2889684"/>
                </a:lnTo>
                <a:lnTo>
                  <a:pt x="9089792" y="2885645"/>
                </a:lnTo>
                <a:lnTo>
                  <a:pt x="9089792" y="2875775"/>
                </a:lnTo>
                <a:close/>
                <a:moveTo>
                  <a:pt x="8854496" y="2871736"/>
                </a:moveTo>
                <a:lnTo>
                  <a:pt x="8864407" y="2871736"/>
                </a:lnTo>
                <a:lnTo>
                  <a:pt x="8868426" y="2875775"/>
                </a:lnTo>
                <a:lnTo>
                  <a:pt x="8868426" y="2885645"/>
                </a:lnTo>
                <a:lnTo>
                  <a:pt x="8864407" y="2889684"/>
                </a:lnTo>
                <a:lnTo>
                  <a:pt x="8854496" y="2889684"/>
                </a:lnTo>
                <a:lnTo>
                  <a:pt x="8850477" y="2885645"/>
                </a:lnTo>
                <a:lnTo>
                  <a:pt x="8850477" y="2875775"/>
                </a:lnTo>
                <a:close/>
                <a:moveTo>
                  <a:pt x="8615184" y="2871736"/>
                </a:moveTo>
                <a:lnTo>
                  <a:pt x="8625095" y="2871736"/>
                </a:lnTo>
                <a:lnTo>
                  <a:pt x="8629114" y="2875775"/>
                </a:lnTo>
                <a:lnTo>
                  <a:pt x="8629114" y="2885645"/>
                </a:lnTo>
                <a:lnTo>
                  <a:pt x="8625095" y="2889684"/>
                </a:lnTo>
                <a:lnTo>
                  <a:pt x="8615184" y="2889684"/>
                </a:lnTo>
                <a:lnTo>
                  <a:pt x="8611165" y="2885645"/>
                </a:lnTo>
                <a:lnTo>
                  <a:pt x="8611165" y="2875775"/>
                </a:lnTo>
                <a:close/>
                <a:moveTo>
                  <a:pt x="8375869" y="2871736"/>
                </a:moveTo>
                <a:lnTo>
                  <a:pt x="8385779" y="2871736"/>
                </a:lnTo>
                <a:lnTo>
                  <a:pt x="8389799" y="2875775"/>
                </a:lnTo>
                <a:lnTo>
                  <a:pt x="8389799" y="2885645"/>
                </a:lnTo>
                <a:lnTo>
                  <a:pt x="8385779" y="2889684"/>
                </a:lnTo>
                <a:lnTo>
                  <a:pt x="8375869" y="2889684"/>
                </a:lnTo>
                <a:lnTo>
                  <a:pt x="8371850" y="2885645"/>
                </a:lnTo>
                <a:lnTo>
                  <a:pt x="8371850" y="2875775"/>
                </a:lnTo>
                <a:close/>
                <a:moveTo>
                  <a:pt x="8136553" y="2871736"/>
                </a:moveTo>
                <a:lnTo>
                  <a:pt x="8146464" y="2871736"/>
                </a:lnTo>
                <a:lnTo>
                  <a:pt x="8150483" y="2875775"/>
                </a:lnTo>
                <a:lnTo>
                  <a:pt x="8150483" y="2885645"/>
                </a:lnTo>
                <a:lnTo>
                  <a:pt x="8146464" y="2889684"/>
                </a:lnTo>
                <a:lnTo>
                  <a:pt x="8136553" y="2889684"/>
                </a:lnTo>
                <a:lnTo>
                  <a:pt x="8132534" y="2885645"/>
                </a:lnTo>
                <a:lnTo>
                  <a:pt x="8132534" y="2875775"/>
                </a:lnTo>
                <a:close/>
                <a:moveTo>
                  <a:pt x="7897241" y="2871736"/>
                </a:moveTo>
                <a:lnTo>
                  <a:pt x="7907151" y="2871736"/>
                </a:lnTo>
                <a:lnTo>
                  <a:pt x="7911170" y="2875775"/>
                </a:lnTo>
                <a:lnTo>
                  <a:pt x="7911170" y="2885645"/>
                </a:lnTo>
                <a:lnTo>
                  <a:pt x="7907151" y="2889684"/>
                </a:lnTo>
                <a:lnTo>
                  <a:pt x="7897241" y="2889684"/>
                </a:lnTo>
                <a:lnTo>
                  <a:pt x="7893222" y="2885645"/>
                </a:lnTo>
                <a:lnTo>
                  <a:pt x="7893222" y="2875775"/>
                </a:lnTo>
                <a:close/>
                <a:moveTo>
                  <a:pt x="7657926" y="2871736"/>
                </a:moveTo>
                <a:lnTo>
                  <a:pt x="7667836" y="2871736"/>
                </a:lnTo>
                <a:lnTo>
                  <a:pt x="7671855" y="2875775"/>
                </a:lnTo>
                <a:lnTo>
                  <a:pt x="7671855" y="2885645"/>
                </a:lnTo>
                <a:lnTo>
                  <a:pt x="7667836" y="2889684"/>
                </a:lnTo>
                <a:lnTo>
                  <a:pt x="7657926" y="2889684"/>
                </a:lnTo>
                <a:lnTo>
                  <a:pt x="7653906" y="2885645"/>
                </a:lnTo>
                <a:lnTo>
                  <a:pt x="7653906" y="2875775"/>
                </a:lnTo>
                <a:close/>
                <a:moveTo>
                  <a:pt x="7418611" y="2871736"/>
                </a:moveTo>
                <a:lnTo>
                  <a:pt x="7428521" y="2871736"/>
                </a:lnTo>
                <a:lnTo>
                  <a:pt x="7432540" y="2875775"/>
                </a:lnTo>
                <a:lnTo>
                  <a:pt x="7432540" y="2885645"/>
                </a:lnTo>
                <a:lnTo>
                  <a:pt x="7428521" y="2889684"/>
                </a:lnTo>
                <a:lnTo>
                  <a:pt x="7418611" y="2889684"/>
                </a:lnTo>
                <a:lnTo>
                  <a:pt x="7414592" y="2885645"/>
                </a:lnTo>
                <a:lnTo>
                  <a:pt x="7414592" y="2875775"/>
                </a:lnTo>
                <a:close/>
                <a:moveTo>
                  <a:pt x="7179298" y="2871736"/>
                </a:moveTo>
                <a:lnTo>
                  <a:pt x="7189209" y="2871736"/>
                </a:lnTo>
                <a:lnTo>
                  <a:pt x="7193228" y="2875775"/>
                </a:lnTo>
                <a:lnTo>
                  <a:pt x="7193228" y="2885645"/>
                </a:lnTo>
                <a:lnTo>
                  <a:pt x="7189209" y="2889684"/>
                </a:lnTo>
                <a:lnTo>
                  <a:pt x="7179298" y="2889684"/>
                </a:lnTo>
                <a:lnTo>
                  <a:pt x="7175279" y="2885645"/>
                </a:lnTo>
                <a:lnTo>
                  <a:pt x="7175279" y="2875775"/>
                </a:lnTo>
                <a:close/>
                <a:moveTo>
                  <a:pt x="6939983" y="2871736"/>
                </a:moveTo>
                <a:lnTo>
                  <a:pt x="6949894" y="2871736"/>
                </a:lnTo>
                <a:lnTo>
                  <a:pt x="6953913" y="2875775"/>
                </a:lnTo>
                <a:lnTo>
                  <a:pt x="6953913" y="2885645"/>
                </a:lnTo>
                <a:lnTo>
                  <a:pt x="6949894" y="2889684"/>
                </a:lnTo>
                <a:lnTo>
                  <a:pt x="6939983" y="2889684"/>
                </a:lnTo>
                <a:lnTo>
                  <a:pt x="6935964" y="2885645"/>
                </a:lnTo>
                <a:lnTo>
                  <a:pt x="6935964" y="2875775"/>
                </a:lnTo>
                <a:close/>
                <a:moveTo>
                  <a:pt x="6700670" y="2871736"/>
                </a:moveTo>
                <a:lnTo>
                  <a:pt x="6710581" y="2871736"/>
                </a:lnTo>
                <a:lnTo>
                  <a:pt x="6714600" y="2875775"/>
                </a:lnTo>
                <a:lnTo>
                  <a:pt x="6714600" y="2885645"/>
                </a:lnTo>
                <a:lnTo>
                  <a:pt x="6710581" y="2889684"/>
                </a:lnTo>
                <a:lnTo>
                  <a:pt x="6700670" y="2889684"/>
                </a:lnTo>
                <a:lnTo>
                  <a:pt x="6696651" y="2885645"/>
                </a:lnTo>
                <a:lnTo>
                  <a:pt x="6696651" y="2875775"/>
                </a:lnTo>
                <a:close/>
                <a:moveTo>
                  <a:pt x="6461356" y="2871736"/>
                </a:moveTo>
                <a:lnTo>
                  <a:pt x="6471266" y="2871736"/>
                </a:lnTo>
                <a:lnTo>
                  <a:pt x="6475285" y="2875775"/>
                </a:lnTo>
                <a:lnTo>
                  <a:pt x="6475285" y="2885645"/>
                </a:lnTo>
                <a:lnTo>
                  <a:pt x="6471266" y="2889684"/>
                </a:lnTo>
                <a:lnTo>
                  <a:pt x="6461356" y="2889684"/>
                </a:lnTo>
                <a:lnTo>
                  <a:pt x="6457337" y="2885645"/>
                </a:lnTo>
                <a:lnTo>
                  <a:pt x="6457337" y="2875775"/>
                </a:lnTo>
                <a:close/>
                <a:moveTo>
                  <a:pt x="6222042" y="2871736"/>
                </a:moveTo>
                <a:lnTo>
                  <a:pt x="6231952" y="2871736"/>
                </a:lnTo>
                <a:lnTo>
                  <a:pt x="6235971" y="2875775"/>
                </a:lnTo>
                <a:lnTo>
                  <a:pt x="6235971" y="2885645"/>
                </a:lnTo>
                <a:lnTo>
                  <a:pt x="6231952" y="2889684"/>
                </a:lnTo>
                <a:lnTo>
                  <a:pt x="6222042" y="2889684"/>
                </a:lnTo>
                <a:lnTo>
                  <a:pt x="6218023" y="2885645"/>
                </a:lnTo>
                <a:lnTo>
                  <a:pt x="6218023" y="2875775"/>
                </a:lnTo>
                <a:close/>
                <a:moveTo>
                  <a:pt x="5982729" y="2871736"/>
                </a:moveTo>
                <a:lnTo>
                  <a:pt x="5992639" y="2871736"/>
                </a:lnTo>
                <a:lnTo>
                  <a:pt x="5996658" y="2875775"/>
                </a:lnTo>
                <a:lnTo>
                  <a:pt x="5996658" y="2885645"/>
                </a:lnTo>
                <a:lnTo>
                  <a:pt x="5992639" y="2889684"/>
                </a:lnTo>
                <a:lnTo>
                  <a:pt x="5982729" y="2889684"/>
                </a:lnTo>
                <a:lnTo>
                  <a:pt x="5978710" y="2885645"/>
                </a:lnTo>
                <a:lnTo>
                  <a:pt x="5978710" y="2875775"/>
                </a:lnTo>
                <a:close/>
                <a:moveTo>
                  <a:pt x="5743412" y="2871736"/>
                </a:moveTo>
                <a:lnTo>
                  <a:pt x="5753323" y="2871736"/>
                </a:lnTo>
                <a:lnTo>
                  <a:pt x="5757342" y="2875775"/>
                </a:lnTo>
                <a:lnTo>
                  <a:pt x="5757342" y="2885645"/>
                </a:lnTo>
                <a:lnTo>
                  <a:pt x="5753323" y="2889684"/>
                </a:lnTo>
                <a:lnTo>
                  <a:pt x="5743412" y="2889684"/>
                </a:lnTo>
                <a:lnTo>
                  <a:pt x="5739393" y="2885645"/>
                </a:lnTo>
                <a:lnTo>
                  <a:pt x="5739393" y="2875775"/>
                </a:lnTo>
                <a:close/>
                <a:moveTo>
                  <a:pt x="5504099" y="2871736"/>
                </a:moveTo>
                <a:lnTo>
                  <a:pt x="5514010" y="2871736"/>
                </a:lnTo>
                <a:lnTo>
                  <a:pt x="5518029" y="2875775"/>
                </a:lnTo>
                <a:lnTo>
                  <a:pt x="5518029" y="2885645"/>
                </a:lnTo>
                <a:lnTo>
                  <a:pt x="5514010" y="2889684"/>
                </a:lnTo>
                <a:lnTo>
                  <a:pt x="5504099" y="2889684"/>
                </a:lnTo>
                <a:lnTo>
                  <a:pt x="5500080" y="2885645"/>
                </a:lnTo>
                <a:lnTo>
                  <a:pt x="5500080" y="2875775"/>
                </a:lnTo>
                <a:close/>
                <a:moveTo>
                  <a:pt x="5264784" y="2871736"/>
                </a:moveTo>
                <a:lnTo>
                  <a:pt x="5274694" y="2871736"/>
                </a:lnTo>
                <a:lnTo>
                  <a:pt x="5278713" y="2875775"/>
                </a:lnTo>
                <a:lnTo>
                  <a:pt x="5278713" y="2885645"/>
                </a:lnTo>
                <a:lnTo>
                  <a:pt x="5274694" y="2889684"/>
                </a:lnTo>
                <a:lnTo>
                  <a:pt x="5264784" y="2889684"/>
                </a:lnTo>
                <a:lnTo>
                  <a:pt x="5260765" y="2885645"/>
                </a:lnTo>
                <a:lnTo>
                  <a:pt x="5260765" y="2875775"/>
                </a:lnTo>
                <a:close/>
                <a:moveTo>
                  <a:pt x="5025470" y="2871736"/>
                </a:moveTo>
                <a:lnTo>
                  <a:pt x="5035381" y="2871736"/>
                </a:lnTo>
                <a:lnTo>
                  <a:pt x="5039400" y="2875775"/>
                </a:lnTo>
                <a:lnTo>
                  <a:pt x="5039400" y="2885645"/>
                </a:lnTo>
                <a:lnTo>
                  <a:pt x="5035381" y="2889684"/>
                </a:lnTo>
                <a:lnTo>
                  <a:pt x="5025470" y="2889684"/>
                </a:lnTo>
                <a:lnTo>
                  <a:pt x="5021451" y="2885645"/>
                </a:lnTo>
                <a:lnTo>
                  <a:pt x="5021451" y="2875775"/>
                </a:lnTo>
                <a:close/>
                <a:moveTo>
                  <a:pt x="4786241" y="2871736"/>
                </a:moveTo>
                <a:lnTo>
                  <a:pt x="4796152" y="2871736"/>
                </a:lnTo>
                <a:lnTo>
                  <a:pt x="4800171" y="2875775"/>
                </a:lnTo>
                <a:lnTo>
                  <a:pt x="4800171" y="2885645"/>
                </a:lnTo>
                <a:lnTo>
                  <a:pt x="4796152" y="2889684"/>
                </a:lnTo>
                <a:lnTo>
                  <a:pt x="4786241" y="2889684"/>
                </a:lnTo>
                <a:lnTo>
                  <a:pt x="4782224" y="2885645"/>
                </a:lnTo>
                <a:lnTo>
                  <a:pt x="4782224" y="2875775"/>
                </a:lnTo>
                <a:close/>
                <a:moveTo>
                  <a:pt x="4546929" y="2871736"/>
                </a:moveTo>
                <a:lnTo>
                  <a:pt x="4556840" y="2871736"/>
                </a:lnTo>
                <a:lnTo>
                  <a:pt x="4560859" y="2875775"/>
                </a:lnTo>
                <a:lnTo>
                  <a:pt x="4560859" y="2885645"/>
                </a:lnTo>
                <a:lnTo>
                  <a:pt x="4556840" y="2889684"/>
                </a:lnTo>
                <a:lnTo>
                  <a:pt x="4546929" y="2889684"/>
                </a:lnTo>
                <a:lnTo>
                  <a:pt x="4542910" y="2885645"/>
                </a:lnTo>
                <a:lnTo>
                  <a:pt x="4542910" y="2875775"/>
                </a:lnTo>
                <a:close/>
                <a:moveTo>
                  <a:pt x="4307612" y="2871736"/>
                </a:moveTo>
                <a:lnTo>
                  <a:pt x="4317523" y="2871736"/>
                </a:lnTo>
                <a:lnTo>
                  <a:pt x="4321543" y="2875775"/>
                </a:lnTo>
                <a:lnTo>
                  <a:pt x="4321543" y="2885645"/>
                </a:lnTo>
                <a:lnTo>
                  <a:pt x="4317523" y="2889684"/>
                </a:lnTo>
                <a:lnTo>
                  <a:pt x="4307612" y="2889684"/>
                </a:lnTo>
                <a:lnTo>
                  <a:pt x="4303595" y="2885645"/>
                </a:lnTo>
                <a:lnTo>
                  <a:pt x="4303595" y="2875775"/>
                </a:lnTo>
                <a:close/>
                <a:moveTo>
                  <a:pt x="4068297" y="2871736"/>
                </a:moveTo>
                <a:lnTo>
                  <a:pt x="4078210" y="2871736"/>
                </a:lnTo>
                <a:lnTo>
                  <a:pt x="4082229" y="2875775"/>
                </a:lnTo>
                <a:lnTo>
                  <a:pt x="4082229" y="2885645"/>
                </a:lnTo>
                <a:lnTo>
                  <a:pt x="4078210" y="2889684"/>
                </a:lnTo>
                <a:lnTo>
                  <a:pt x="4068297" y="2889684"/>
                </a:lnTo>
                <a:lnTo>
                  <a:pt x="4064278" y="2885645"/>
                </a:lnTo>
                <a:lnTo>
                  <a:pt x="4064278" y="2875775"/>
                </a:lnTo>
                <a:close/>
                <a:moveTo>
                  <a:pt x="3828990" y="2871736"/>
                </a:moveTo>
                <a:lnTo>
                  <a:pt x="3838899" y="2871736"/>
                </a:lnTo>
                <a:lnTo>
                  <a:pt x="3842917" y="2875775"/>
                </a:lnTo>
                <a:lnTo>
                  <a:pt x="3842917" y="2885645"/>
                </a:lnTo>
                <a:lnTo>
                  <a:pt x="3838899" y="2889684"/>
                </a:lnTo>
                <a:lnTo>
                  <a:pt x="3828990" y="2889684"/>
                </a:lnTo>
                <a:lnTo>
                  <a:pt x="3824971" y="2885645"/>
                </a:lnTo>
                <a:lnTo>
                  <a:pt x="3824971" y="2875775"/>
                </a:lnTo>
                <a:close/>
                <a:moveTo>
                  <a:pt x="3589676" y="2871736"/>
                </a:moveTo>
                <a:lnTo>
                  <a:pt x="3599585" y="2871736"/>
                </a:lnTo>
                <a:lnTo>
                  <a:pt x="3603604" y="2875775"/>
                </a:lnTo>
                <a:lnTo>
                  <a:pt x="3603604" y="2885645"/>
                </a:lnTo>
                <a:lnTo>
                  <a:pt x="3599585" y="2889684"/>
                </a:lnTo>
                <a:lnTo>
                  <a:pt x="3589676" y="2889684"/>
                </a:lnTo>
                <a:lnTo>
                  <a:pt x="3585657" y="2885645"/>
                </a:lnTo>
                <a:lnTo>
                  <a:pt x="3585657" y="2875775"/>
                </a:lnTo>
                <a:close/>
                <a:moveTo>
                  <a:pt x="3350359" y="2871736"/>
                </a:moveTo>
                <a:lnTo>
                  <a:pt x="3360268" y="2871736"/>
                </a:lnTo>
                <a:lnTo>
                  <a:pt x="3364287" y="2875775"/>
                </a:lnTo>
                <a:lnTo>
                  <a:pt x="3364287" y="2885645"/>
                </a:lnTo>
                <a:lnTo>
                  <a:pt x="3360268" y="2889684"/>
                </a:lnTo>
                <a:lnTo>
                  <a:pt x="3350359" y="2889684"/>
                </a:lnTo>
                <a:lnTo>
                  <a:pt x="3346340" y="2885645"/>
                </a:lnTo>
                <a:lnTo>
                  <a:pt x="3346340" y="2875775"/>
                </a:lnTo>
                <a:close/>
                <a:moveTo>
                  <a:pt x="3111048" y="2871736"/>
                </a:moveTo>
                <a:lnTo>
                  <a:pt x="3120959" y="2871736"/>
                </a:lnTo>
                <a:lnTo>
                  <a:pt x="3124977" y="2875775"/>
                </a:lnTo>
                <a:lnTo>
                  <a:pt x="3124977" y="2885645"/>
                </a:lnTo>
                <a:lnTo>
                  <a:pt x="3120959" y="2889684"/>
                </a:lnTo>
                <a:lnTo>
                  <a:pt x="3111048" y="2889684"/>
                </a:lnTo>
                <a:lnTo>
                  <a:pt x="3107029" y="2885645"/>
                </a:lnTo>
                <a:lnTo>
                  <a:pt x="3107029" y="2875775"/>
                </a:lnTo>
                <a:close/>
                <a:moveTo>
                  <a:pt x="2871737" y="2871736"/>
                </a:moveTo>
                <a:lnTo>
                  <a:pt x="2881646" y="2871736"/>
                </a:lnTo>
                <a:lnTo>
                  <a:pt x="2885666" y="2875775"/>
                </a:lnTo>
                <a:lnTo>
                  <a:pt x="2885666" y="2885645"/>
                </a:lnTo>
                <a:lnTo>
                  <a:pt x="2881646" y="2889684"/>
                </a:lnTo>
                <a:lnTo>
                  <a:pt x="2871737" y="2889684"/>
                </a:lnTo>
                <a:lnTo>
                  <a:pt x="2867717" y="2885645"/>
                </a:lnTo>
                <a:lnTo>
                  <a:pt x="2867717" y="2875775"/>
                </a:lnTo>
                <a:close/>
                <a:moveTo>
                  <a:pt x="2632423" y="2871736"/>
                </a:moveTo>
                <a:lnTo>
                  <a:pt x="2642334" y="2871736"/>
                </a:lnTo>
                <a:lnTo>
                  <a:pt x="2646352" y="2875775"/>
                </a:lnTo>
                <a:lnTo>
                  <a:pt x="2646352" y="2885645"/>
                </a:lnTo>
                <a:lnTo>
                  <a:pt x="2642334" y="2889684"/>
                </a:lnTo>
                <a:lnTo>
                  <a:pt x="2632423" y="2889684"/>
                </a:lnTo>
                <a:lnTo>
                  <a:pt x="2628404" y="2885645"/>
                </a:lnTo>
                <a:lnTo>
                  <a:pt x="2628404" y="2875775"/>
                </a:lnTo>
                <a:close/>
                <a:moveTo>
                  <a:pt x="2393104" y="2871736"/>
                </a:moveTo>
                <a:lnTo>
                  <a:pt x="2403015" y="2871736"/>
                </a:lnTo>
                <a:lnTo>
                  <a:pt x="2407034" y="2875775"/>
                </a:lnTo>
                <a:lnTo>
                  <a:pt x="2407034" y="2885645"/>
                </a:lnTo>
                <a:lnTo>
                  <a:pt x="2403015" y="2889684"/>
                </a:lnTo>
                <a:lnTo>
                  <a:pt x="2393104" y="2889684"/>
                </a:lnTo>
                <a:lnTo>
                  <a:pt x="2389087" y="2885645"/>
                </a:lnTo>
                <a:lnTo>
                  <a:pt x="2389087" y="2875775"/>
                </a:lnTo>
                <a:close/>
                <a:moveTo>
                  <a:pt x="721969" y="2871736"/>
                </a:moveTo>
                <a:lnTo>
                  <a:pt x="731879" y="2871736"/>
                </a:lnTo>
                <a:lnTo>
                  <a:pt x="735898" y="2875775"/>
                </a:lnTo>
                <a:lnTo>
                  <a:pt x="735898" y="2885645"/>
                </a:lnTo>
                <a:lnTo>
                  <a:pt x="731879" y="2889684"/>
                </a:lnTo>
                <a:lnTo>
                  <a:pt x="721969" y="2889684"/>
                </a:lnTo>
                <a:lnTo>
                  <a:pt x="717950" y="2885645"/>
                </a:lnTo>
                <a:lnTo>
                  <a:pt x="717950" y="2875775"/>
                </a:lnTo>
                <a:close/>
                <a:moveTo>
                  <a:pt x="482656" y="2871736"/>
                </a:moveTo>
                <a:lnTo>
                  <a:pt x="492567" y="2871736"/>
                </a:lnTo>
                <a:lnTo>
                  <a:pt x="496586" y="2875775"/>
                </a:lnTo>
                <a:lnTo>
                  <a:pt x="496586" y="2885645"/>
                </a:lnTo>
                <a:lnTo>
                  <a:pt x="492567" y="2889684"/>
                </a:lnTo>
                <a:lnTo>
                  <a:pt x="482656" y="2889684"/>
                </a:lnTo>
                <a:lnTo>
                  <a:pt x="478637" y="2885645"/>
                </a:lnTo>
                <a:lnTo>
                  <a:pt x="478637" y="2875775"/>
                </a:lnTo>
                <a:close/>
                <a:moveTo>
                  <a:pt x="243343" y="2871736"/>
                </a:moveTo>
                <a:lnTo>
                  <a:pt x="253253" y="2871736"/>
                </a:lnTo>
                <a:lnTo>
                  <a:pt x="257272" y="2875775"/>
                </a:lnTo>
                <a:lnTo>
                  <a:pt x="257272" y="2885645"/>
                </a:lnTo>
                <a:lnTo>
                  <a:pt x="253253" y="2889684"/>
                </a:lnTo>
                <a:lnTo>
                  <a:pt x="243343" y="2889684"/>
                </a:lnTo>
                <a:lnTo>
                  <a:pt x="239324" y="2885645"/>
                </a:lnTo>
                <a:lnTo>
                  <a:pt x="239324" y="2875775"/>
                </a:lnTo>
                <a:close/>
                <a:moveTo>
                  <a:pt x="4030" y="2871736"/>
                </a:moveTo>
                <a:lnTo>
                  <a:pt x="13940" y="2871736"/>
                </a:lnTo>
                <a:lnTo>
                  <a:pt x="17959" y="2875775"/>
                </a:lnTo>
                <a:lnTo>
                  <a:pt x="17959" y="2885645"/>
                </a:lnTo>
                <a:lnTo>
                  <a:pt x="13940" y="2889684"/>
                </a:lnTo>
                <a:lnTo>
                  <a:pt x="4030" y="2889684"/>
                </a:lnTo>
                <a:lnTo>
                  <a:pt x="11" y="2885645"/>
                </a:lnTo>
                <a:lnTo>
                  <a:pt x="11" y="2875775"/>
                </a:lnTo>
                <a:close/>
                <a:moveTo>
                  <a:pt x="9572438" y="2632457"/>
                </a:moveTo>
                <a:lnTo>
                  <a:pt x="9582349" y="2632457"/>
                </a:lnTo>
                <a:lnTo>
                  <a:pt x="9586368" y="2636496"/>
                </a:lnTo>
                <a:lnTo>
                  <a:pt x="9586368" y="2646366"/>
                </a:lnTo>
                <a:lnTo>
                  <a:pt x="9582349" y="2650405"/>
                </a:lnTo>
                <a:lnTo>
                  <a:pt x="9572438" y="2650405"/>
                </a:lnTo>
                <a:lnTo>
                  <a:pt x="9568419" y="2646366"/>
                </a:lnTo>
                <a:lnTo>
                  <a:pt x="9568419" y="2636496"/>
                </a:lnTo>
                <a:close/>
                <a:moveTo>
                  <a:pt x="9333125" y="2632457"/>
                </a:moveTo>
                <a:lnTo>
                  <a:pt x="9343036" y="2632457"/>
                </a:lnTo>
                <a:lnTo>
                  <a:pt x="9347055" y="2636496"/>
                </a:lnTo>
                <a:lnTo>
                  <a:pt x="9347055" y="2646366"/>
                </a:lnTo>
                <a:lnTo>
                  <a:pt x="9343036" y="2650405"/>
                </a:lnTo>
                <a:lnTo>
                  <a:pt x="9333125" y="2650405"/>
                </a:lnTo>
                <a:lnTo>
                  <a:pt x="9329106" y="2646366"/>
                </a:lnTo>
                <a:lnTo>
                  <a:pt x="9329106" y="2636496"/>
                </a:lnTo>
                <a:close/>
                <a:moveTo>
                  <a:pt x="9093811" y="2632457"/>
                </a:moveTo>
                <a:lnTo>
                  <a:pt x="9103722" y="2632457"/>
                </a:lnTo>
                <a:lnTo>
                  <a:pt x="9107741" y="2636496"/>
                </a:lnTo>
                <a:lnTo>
                  <a:pt x="9107741" y="2646366"/>
                </a:lnTo>
                <a:lnTo>
                  <a:pt x="9103722" y="2650405"/>
                </a:lnTo>
                <a:lnTo>
                  <a:pt x="9093811" y="2650405"/>
                </a:lnTo>
                <a:lnTo>
                  <a:pt x="9089792" y="2646366"/>
                </a:lnTo>
                <a:lnTo>
                  <a:pt x="9089792" y="2636496"/>
                </a:lnTo>
                <a:close/>
                <a:moveTo>
                  <a:pt x="8854496" y="2632457"/>
                </a:moveTo>
                <a:lnTo>
                  <a:pt x="8864407" y="2632457"/>
                </a:lnTo>
                <a:lnTo>
                  <a:pt x="8868426" y="2636496"/>
                </a:lnTo>
                <a:lnTo>
                  <a:pt x="8868426" y="2646366"/>
                </a:lnTo>
                <a:lnTo>
                  <a:pt x="8864407" y="2650405"/>
                </a:lnTo>
                <a:lnTo>
                  <a:pt x="8854496" y="2650405"/>
                </a:lnTo>
                <a:lnTo>
                  <a:pt x="8850477" y="2646366"/>
                </a:lnTo>
                <a:lnTo>
                  <a:pt x="8850477" y="2636496"/>
                </a:lnTo>
                <a:close/>
                <a:moveTo>
                  <a:pt x="8615184" y="2632457"/>
                </a:moveTo>
                <a:lnTo>
                  <a:pt x="8625095" y="2632457"/>
                </a:lnTo>
                <a:lnTo>
                  <a:pt x="8629114" y="2636496"/>
                </a:lnTo>
                <a:lnTo>
                  <a:pt x="8629114" y="2646366"/>
                </a:lnTo>
                <a:lnTo>
                  <a:pt x="8625095" y="2650405"/>
                </a:lnTo>
                <a:lnTo>
                  <a:pt x="8615184" y="2650405"/>
                </a:lnTo>
                <a:lnTo>
                  <a:pt x="8611165" y="2646366"/>
                </a:lnTo>
                <a:lnTo>
                  <a:pt x="8611165" y="2636496"/>
                </a:lnTo>
                <a:close/>
                <a:moveTo>
                  <a:pt x="8375869" y="2632457"/>
                </a:moveTo>
                <a:lnTo>
                  <a:pt x="8385779" y="2632457"/>
                </a:lnTo>
                <a:lnTo>
                  <a:pt x="8389799" y="2636496"/>
                </a:lnTo>
                <a:lnTo>
                  <a:pt x="8389799" y="2646366"/>
                </a:lnTo>
                <a:lnTo>
                  <a:pt x="8385779" y="2650405"/>
                </a:lnTo>
                <a:lnTo>
                  <a:pt x="8375869" y="2650405"/>
                </a:lnTo>
                <a:lnTo>
                  <a:pt x="8371850" y="2646366"/>
                </a:lnTo>
                <a:lnTo>
                  <a:pt x="8371850" y="2636496"/>
                </a:lnTo>
                <a:close/>
                <a:moveTo>
                  <a:pt x="8136553" y="2632457"/>
                </a:moveTo>
                <a:lnTo>
                  <a:pt x="8146464" y="2632457"/>
                </a:lnTo>
                <a:lnTo>
                  <a:pt x="8150483" y="2636496"/>
                </a:lnTo>
                <a:lnTo>
                  <a:pt x="8150483" y="2646366"/>
                </a:lnTo>
                <a:lnTo>
                  <a:pt x="8146464" y="2650405"/>
                </a:lnTo>
                <a:lnTo>
                  <a:pt x="8136553" y="2650405"/>
                </a:lnTo>
                <a:lnTo>
                  <a:pt x="8132534" y="2646366"/>
                </a:lnTo>
                <a:lnTo>
                  <a:pt x="8132534" y="2636496"/>
                </a:lnTo>
                <a:close/>
                <a:moveTo>
                  <a:pt x="7897241" y="2632457"/>
                </a:moveTo>
                <a:lnTo>
                  <a:pt x="7907151" y="2632457"/>
                </a:lnTo>
                <a:lnTo>
                  <a:pt x="7911170" y="2636496"/>
                </a:lnTo>
                <a:lnTo>
                  <a:pt x="7911170" y="2646366"/>
                </a:lnTo>
                <a:lnTo>
                  <a:pt x="7907151" y="2650405"/>
                </a:lnTo>
                <a:lnTo>
                  <a:pt x="7897241" y="2650405"/>
                </a:lnTo>
                <a:lnTo>
                  <a:pt x="7893222" y="2646366"/>
                </a:lnTo>
                <a:lnTo>
                  <a:pt x="7893222" y="2636496"/>
                </a:lnTo>
                <a:close/>
                <a:moveTo>
                  <a:pt x="7657926" y="2632457"/>
                </a:moveTo>
                <a:lnTo>
                  <a:pt x="7667836" y="2632457"/>
                </a:lnTo>
                <a:lnTo>
                  <a:pt x="7671855" y="2636496"/>
                </a:lnTo>
                <a:lnTo>
                  <a:pt x="7671855" y="2646366"/>
                </a:lnTo>
                <a:lnTo>
                  <a:pt x="7667836" y="2650405"/>
                </a:lnTo>
                <a:lnTo>
                  <a:pt x="7657926" y="2650405"/>
                </a:lnTo>
                <a:lnTo>
                  <a:pt x="7653906" y="2646366"/>
                </a:lnTo>
                <a:lnTo>
                  <a:pt x="7653906" y="2636496"/>
                </a:lnTo>
                <a:close/>
                <a:moveTo>
                  <a:pt x="7418611" y="2632457"/>
                </a:moveTo>
                <a:lnTo>
                  <a:pt x="7428521" y="2632457"/>
                </a:lnTo>
                <a:lnTo>
                  <a:pt x="7432540" y="2636496"/>
                </a:lnTo>
                <a:lnTo>
                  <a:pt x="7432540" y="2646366"/>
                </a:lnTo>
                <a:lnTo>
                  <a:pt x="7428521" y="2650405"/>
                </a:lnTo>
                <a:lnTo>
                  <a:pt x="7418611" y="2650405"/>
                </a:lnTo>
                <a:lnTo>
                  <a:pt x="7414592" y="2646366"/>
                </a:lnTo>
                <a:lnTo>
                  <a:pt x="7414592" y="2636496"/>
                </a:lnTo>
                <a:close/>
                <a:moveTo>
                  <a:pt x="7179298" y="2632457"/>
                </a:moveTo>
                <a:lnTo>
                  <a:pt x="7189209" y="2632457"/>
                </a:lnTo>
                <a:lnTo>
                  <a:pt x="7193228" y="2636496"/>
                </a:lnTo>
                <a:lnTo>
                  <a:pt x="7193228" y="2646366"/>
                </a:lnTo>
                <a:lnTo>
                  <a:pt x="7189209" y="2650405"/>
                </a:lnTo>
                <a:lnTo>
                  <a:pt x="7179298" y="2650405"/>
                </a:lnTo>
                <a:lnTo>
                  <a:pt x="7175279" y="2646366"/>
                </a:lnTo>
                <a:lnTo>
                  <a:pt x="7175279" y="2636496"/>
                </a:lnTo>
                <a:close/>
                <a:moveTo>
                  <a:pt x="6939983" y="2632457"/>
                </a:moveTo>
                <a:lnTo>
                  <a:pt x="6949894" y="2632457"/>
                </a:lnTo>
                <a:lnTo>
                  <a:pt x="6953913" y="2636496"/>
                </a:lnTo>
                <a:lnTo>
                  <a:pt x="6953913" y="2646366"/>
                </a:lnTo>
                <a:lnTo>
                  <a:pt x="6949894" y="2650405"/>
                </a:lnTo>
                <a:lnTo>
                  <a:pt x="6939983" y="2650405"/>
                </a:lnTo>
                <a:lnTo>
                  <a:pt x="6935964" y="2646366"/>
                </a:lnTo>
                <a:lnTo>
                  <a:pt x="6935964" y="2636496"/>
                </a:lnTo>
                <a:close/>
                <a:moveTo>
                  <a:pt x="6700670" y="2632457"/>
                </a:moveTo>
                <a:lnTo>
                  <a:pt x="6710581" y="2632457"/>
                </a:lnTo>
                <a:lnTo>
                  <a:pt x="6714600" y="2636496"/>
                </a:lnTo>
                <a:lnTo>
                  <a:pt x="6714600" y="2646366"/>
                </a:lnTo>
                <a:lnTo>
                  <a:pt x="6710581" y="2650405"/>
                </a:lnTo>
                <a:lnTo>
                  <a:pt x="6700670" y="2650405"/>
                </a:lnTo>
                <a:lnTo>
                  <a:pt x="6696651" y="2646366"/>
                </a:lnTo>
                <a:lnTo>
                  <a:pt x="6696651" y="2636496"/>
                </a:lnTo>
                <a:close/>
                <a:moveTo>
                  <a:pt x="6461356" y="2632457"/>
                </a:moveTo>
                <a:lnTo>
                  <a:pt x="6471266" y="2632457"/>
                </a:lnTo>
                <a:lnTo>
                  <a:pt x="6475285" y="2636496"/>
                </a:lnTo>
                <a:lnTo>
                  <a:pt x="6475285" y="2646366"/>
                </a:lnTo>
                <a:lnTo>
                  <a:pt x="6471266" y="2650405"/>
                </a:lnTo>
                <a:lnTo>
                  <a:pt x="6461356" y="2650405"/>
                </a:lnTo>
                <a:lnTo>
                  <a:pt x="6457337" y="2646366"/>
                </a:lnTo>
                <a:lnTo>
                  <a:pt x="6457337" y="2636496"/>
                </a:lnTo>
                <a:close/>
                <a:moveTo>
                  <a:pt x="6222042" y="2632457"/>
                </a:moveTo>
                <a:lnTo>
                  <a:pt x="6231952" y="2632457"/>
                </a:lnTo>
                <a:lnTo>
                  <a:pt x="6235971" y="2636496"/>
                </a:lnTo>
                <a:lnTo>
                  <a:pt x="6235971" y="2646366"/>
                </a:lnTo>
                <a:lnTo>
                  <a:pt x="6231952" y="2650405"/>
                </a:lnTo>
                <a:lnTo>
                  <a:pt x="6222042" y="2650405"/>
                </a:lnTo>
                <a:lnTo>
                  <a:pt x="6218023" y="2646366"/>
                </a:lnTo>
                <a:lnTo>
                  <a:pt x="6218023" y="2636496"/>
                </a:lnTo>
                <a:close/>
                <a:moveTo>
                  <a:pt x="5982729" y="2632457"/>
                </a:moveTo>
                <a:lnTo>
                  <a:pt x="5992639" y="2632457"/>
                </a:lnTo>
                <a:lnTo>
                  <a:pt x="5996658" y="2636496"/>
                </a:lnTo>
                <a:lnTo>
                  <a:pt x="5996658" y="2646366"/>
                </a:lnTo>
                <a:lnTo>
                  <a:pt x="5992639" y="2650405"/>
                </a:lnTo>
                <a:lnTo>
                  <a:pt x="5982729" y="2650405"/>
                </a:lnTo>
                <a:lnTo>
                  <a:pt x="5978710" y="2646366"/>
                </a:lnTo>
                <a:lnTo>
                  <a:pt x="5978710" y="2636496"/>
                </a:lnTo>
                <a:close/>
                <a:moveTo>
                  <a:pt x="5743412" y="2632457"/>
                </a:moveTo>
                <a:lnTo>
                  <a:pt x="5753323" y="2632457"/>
                </a:lnTo>
                <a:lnTo>
                  <a:pt x="5757342" y="2636496"/>
                </a:lnTo>
                <a:lnTo>
                  <a:pt x="5757342" y="2646366"/>
                </a:lnTo>
                <a:lnTo>
                  <a:pt x="5753323" y="2650405"/>
                </a:lnTo>
                <a:lnTo>
                  <a:pt x="5743412" y="2650405"/>
                </a:lnTo>
                <a:lnTo>
                  <a:pt x="5739393" y="2646366"/>
                </a:lnTo>
                <a:lnTo>
                  <a:pt x="5739393" y="2636496"/>
                </a:lnTo>
                <a:close/>
                <a:moveTo>
                  <a:pt x="5504099" y="2632457"/>
                </a:moveTo>
                <a:lnTo>
                  <a:pt x="5514010" y="2632457"/>
                </a:lnTo>
                <a:lnTo>
                  <a:pt x="5518029" y="2636496"/>
                </a:lnTo>
                <a:lnTo>
                  <a:pt x="5518029" y="2646366"/>
                </a:lnTo>
                <a:lnTo>
                  <a:pt x="5514010" y="2650405"/>
                </a:lnTo>
                <a:lnTo>
                  <a:pt x="5504099" y="2650405"/>
                </a:lnTo>
                <a:lnTo>
                  <a:pt x="5500080" y="2646366"/>
                </a:lnTo>
                <a:lnTo>
                  <a:pt x="5500080" y="2636496"/>
                </a:lnTo>
                <a:close/>
                <a:moveTo>
                  <a:pt x="5264784" y="2632457"/>
                </a:moveTo>
                <a:lnTo>
                  <a:pt x="5274694" y="2632457"/>
                </a:lnTo>
                <a:lnTo>
                  <a:pt x="5278713" y="2636496"/>
                </a:lnTo>
                <a:lnTo>
                  <a:pt x="5278713" y="2646366"/>
                </a:lnTo>
                <a:lnTo>
                  <a:pt x="5274694" y="2650405"/>
                </a:lnTo>
                <a:lnTo>
                  <a:pt x="5264784" y="2650405"/>
                </a:lnTo>
                <a:lnTo>
                  <a:pt x="5260765" y="2646366"/>
                </a:lnTo>
                <a:lnTo>
                  <a:pt x="5260765" y="2636496"/>
                </a:lnTo>
                <a:close/>
                <a:moveTo>
                  <a:pt x="5025470" y="2632457"/>
                </a:moveTo>
                <a:lnTo>
                  <a:pt x="5035381" y="2632457"/>
                </a:lnTo>
                <a:lnTo>
                  <a:pt x="5039400" y="2636496"/>
                </a:lnTo>
                <a:lnTo>
                  <a:pt x="5039400" y="2646366"/>
                </a:lnTo>
                <a:lnTo>
                  <a:pt x="5035381" y="2650405"/>
                </a:lnTo>
                <a:lnTo>
                  <a:pt x="5025470" y="2650405"/>
                </a:lnTo>
                <a:lnTo>
                  <a:pt x="5021451" y="2646366"/>
                </a:lnTo>
                <a:lnTo>
                  <a:pt x="5021451" y="2636496"/>
                </a:lnTo>
                <a:close/>
                <a:moveTo>
                  <a:pt x="4786241" y="2632457"/>
                </a:moveTo>
                <a:lnTo>
                  <a:pt x="4796152" y="2632457"/>
                </a:lnTo>
                <a:lnTo>
                  <a:pt x="4800171" y="2636496"/>
                </a:lnTo>
                <a:lnTo>
                  <a:pt x="4800171" y="2646366"/>
                </a:lnTo>
                <a:lnTo>
                  <a:pt x="4796152" y="2650405"/>
                </a:lnTo>
                <a:lnTo>
                  <a:pt x="4786241" y="2650405"/>
                </a:lnTo>
                <a:lnTo>
                  <a:pt x="4782224" y="2646366"/>
                </a:lnTo>
                <a:lnTo>
                  <a:pt x="4782224" y="2636496"/>
                </a:lnTo>
                <a:close/>
                <a:moveTo>
                  <a:pt x="4546929" y="2632457"/>
                </a:moveTo>
                <a:lnTo>
                  <a:pt x="4556840" y="2632457"/>
                </a:lnTo>
                <a:lnTo>
                  <a:pt x="4560859" y="2636496"/>
                </a:lnTo>
                <a:lnTo>
                  <a:pt x="4560859" y="2646366"/>
                </a:lnTo>
                <a:lnTo>
                  <a:pt x="4556840" y="2650405"/>
                </a:lnTo>
                <a:lnTo>
                  <a:pt x="4546929" y="2650405"/>
                </a:lnTo>
                <a:lnTo>
                  <a:pt x="4542910" y="2646366"/>
                </a:lnTo>
                <a:lnTo>
                  <a:pt x="4542910" y="2636496"/>
                </a:lnTo>
                <a:close/>
                <a:moveTo>
                  <a:pt x="4307612" y="2632457"/>
                </a:moveTo>
                <a:lnTo>
                  <a:pt x="4317523" y="2632457"/>
                </a:lnTo>
                <a:lnTo>
                  <a:pt x="4321543" y="2636496"/>
                </a:lnTo>
                <a:lnTo>
                  <a:pt x="4321543" y="2646366"/>
                </a:lnTo>
                <a:lnTo>
                  <a:pt x="4317523" y="2650405"/>
                </a:lnTo>
                <a:lnTo>
                  <a:pt x="4307612" y="2650405"/>
                </a:lnTo>
                <a:lnTo>
                  <a:pt x="4303595" y="2646366"/>
                </a:lnTo>
                <a:lnTo>
                  <a:pt x="4303595" y="2636496"/>
                </a:lnTo>
                <a:close/>
                <a:moveTo>
                  <a:pt x="4068297" y="2632457"/>
                </a:moveTo>
                <a:lnTo>
                  <a:pt x="4078210" y="2632457"/>
                </a:lnTo>
                <a:lnTo>
                  <a:pt x="4082229" y="2636496"/>
                </a:lnTo>
                <a:lnTo>
                  <a:pt x="4082229" y="2646366"/>
                </a:lnTo>
                <a:lnTo>
                  <a:pt x="4078210" y="2650405"/>
                </a:lnTo>
                <a:lnTo>
                  <a:pt x="4068297" y="2650405"/>
                </a:lnTo>
                <a:lnTo>
                  <a:pt x="4064278" y="2646366"/>
                </a:lnTo>
                <a:lnTo>
                  <a:pt x="4064278" y="2636496"/>
                </a:lnTo>
                <a:close/>
                <a:moveTo>
                  <a:pt x="3828990" y="2632457"/>
                </a:moveTo>
                <a:lnTo>
                  <a:pt x="3838899" y="2632457"/>
                </a:lnTo>
                <a:lnTo>
                  <a:pt x="3842917" y="2636496"/>
                </a:lnTo>
                <a:lnTo>
                  <a:pt x="3842917" y="2646366"/>
                </a:lnTo>
                <a:lnTo>
                  <a:pt x="3838899" y="2650405"/>
                </a:lnTo>
                <a:lnTo>
                  <a:pt x="3828990" y="2650405"/>
                </a:lnTo>
                <a:lnTo>
                  <a:pt x="3824971" y="2646366"/>
                </a:lnTo>
                <a:lnTo>
                  <a:pt x="3824971" y="2636496"/>
                </a:lnTo>
                <a:close/>
                <a:moveTo>
                  <a:pt x="3589676" y="2632457"/>
                </a:moveTo>
                <a:lnTo>
                  <a:pt x="3599585" y="2632457"/>
                </a:lnTo>
                <a:lnTo>
                  <a:pt x="3603604" y="2636496"/>
                </a:lnTo>
                <a:lnTo>
                  <a:pt x="3603604" y="2646366"/>
                </a:lnTo>
                <a:lnTo>
                  <a:pt x="3599585" y="2650405"/>
                </a:lnTo>
                <a:lnTo>
                  <a:pt x="3589676" y="2650405"/>
                </a:lnTo>
                <a:lnTo>
                  <a:pt x="3585657" y="2646366"/>
                </a:lnTo>
                <a:lnTo>
                  <a:pt x="3585657" y="2636496"/>
                </a:lnTo>
                <a:close/>
                <a:moveTo>
                  <a:pt x="3350359" y="2632457"/>
                </a:moveTo>
                <a:lnTo>
                  <a:pt x="3360268" y="2632457"/>
                </a:lnTo>
                <a:lnTo>
                  <a:pt x="3364287" y="2636496"/>
                </a:lnTo>
                <a:lnTo>
                  <a:pt x="3364287" y="2646366"/>
                </a:lnTo>
                <a:lnTo>
                  <a:pt x="3360268" y="2650405"/>
                </a:lnTo>
                <a:lnTo>
                  <a:pt x="3350359" y="2650405"/>
                </a:lnTo>
                <a:lnTo>
                  <a:pt x="3346340" y="2646366"/>
                </a:lnTo>
                <a:lnTo>
                  <a:pt x="3346340" y="2636496"/>
                </a:lnTo>
                <a:close/>
                <a:moveTo>
                  <a:pt x="3111048" y="2632457"/>
                </a:moveTo>
                <a:lnTo>
                  <a:pt x="3120959" y="2632457"/>
                </a:lnTo>
                <a:lnTo>
                  <a:pt x="3124977" y="2636496"/>
                </a:lnTo>
                <a:lnTo>
                  <a:pt x="3124977" y="2646366"/>
                </a:lnTo>
                <a:lnTo>
                  <a:pt x="3120959" y="2650405"/>
                </a:lnTo>
                <a:lnTo>
                  <a:pt x="3111048" y="2650405"/>
                </a:lnTo>
                <a:lnTo>
                  <a:pt x="3107029" y="2646366"/>
                </a:lnTo>
                <a:lnTo>
                  <a:pt x="3107029" y="2636496"/>
                </a:lnTo>
                <a:close/>
                <a:moveTo>
                  <a:pt x="2871737" y="2632457"/>
                </a:moveTo>
                <a:lnTo>
                  <a:pt x="2881646" y="2632457"/>
                </a:lnTo>
                <a:lnTo>
                  <a:pt x="2885666" y="2636496"/>
                </a:lnTo>
                <a:lnTo>
                  <a:pt x="2885666" y="2646366"/>
                </a:lnTo>
                <a:lnTo>
                  <a:pt x="2881646" y="2650405"/>
                </a:lnTo>
                <a:lnTo>
                  <a:pt x="2871737" y="2650405"/>
                </a:lnTo>
                <a:lnTo>
                  <a:pt x="2867717" y="2646366"/>
                </a:lnTo>
                <a:lnTo>
                  <a:pt x="2867717" y="2636496"/>
                </a:lnTo>
                <a:close/>
                <a:moveTo>
                  <a:pt x="2632423" y="2632457"/>
                </a:moveTo>
                <a:lnTo>
                  <a:pt x="2642334" y="2632457"/>
                </a:lnTo>
                <a:lnTo>
                  <a:pt x="2646352" y="2636496"/>
                </a:lnTo>
                <a:lnTo>
                  <a:pt x="2646352" y="2646366"/>
                </a:lnTo>
                <a:lnTo>
                  <a:pt x="2642334" y="2650405"/>
                </a:lnTo>
                <a:lnTo>
                  <a:pt x="2632423" y="2650405"/>
                </a:lnTo>
                <a:lnTo>
                  <a:pt x="2628404" y="2646366"/>
                </a:lnTo>
                <a:lnTo>
                  <a:pt x="2628404" y="2636496"/>
                </a:lnTo>
                <a:close/>
                <a:moveTo>
                  <a:pt x="2393104" y="2632457"/>
                </a:moveTo>
                <a:lnTo>
                  <a:pt x="2403015" y="2632457"/>
                </a:lnTo>
                <a:lnTo>
                  <a:pt x="2407034" y="2636496"/>
                </a:lnTo>
                <a:lnTo>
                  <a:pt x="2407034" y="2646366"/>
                </a:lnTo>
                <a:lnTo>
                  <a:pt x="2403015" y="2650405"/>
                </a:lnTo>
                <a:lnTo>
                  <a:pt x="2393104" y="2650405"/>
                </a:lnTo>
                <a:lnTo>
                  <a:pt x="2389087" y="2646366"/>
                </a:lnTo>
                <a:lnTo>
                  <a:pt x="2389087" y="2636496"/>
                </a:lnTo>
                <a:close/>
                <a:moveTo>
                  <a:pt x="2157821" y="2632457"/>
                </a:moveTo>
                <a:lnTo>
                  <a:pt x="2167732" y="2632457"/>
                </a:lnTo>
                <a:lnTo>
                  <a:pt x="2171750" y="2636496"/>
                </a:lnTo>
                <a:lnTo>
                  <a:pt x="2171750" y="2646366"/>
                </a:lnTo>
                <a:lnTo>
                  <a:pt x="2167732" y="2650405"/>
                </a:lnTo>
                <a:lnTo>
                  <a:pt x="2157821" y="2650405"/>
                </a:lnTo>
                <a:lnTo>
                  <a:pt x="2153802" y="2646366"/>
                </a:lnTo>
                <a:lnTo>
                  <a:pt x="2153802" y="2636496"/>
                </a:lnTo>
                <a:close/>
                <a:moveTo>
                  <a:pt x="1918513" y="2632457"/>
                </a:moveTo>
                <a:lnTo>
                  <a:pt x="1928422" y="2632457"/>
                </a:lnTo>
                <a:lnTo>
                  <a:pt x="1932441" y="2636496"/>
                </a:lnTo>
                <a:lnTo>
                  <a:pt x="1932441" y="2646366"/>
                </a:lnTo>
                <a:lnTo>
                  <a:pt x="1928422" y="2650405"/>
                </a:lnTo>
                <a:lnTo>
                  <a:pt x="1918513" y="2650405"/>
                </a:lnTo>
                <a:lnTo>
                  <a:pt x="1914494" y="2646366"/>
                </a:lnTo>
                <a:lnTo>
                  <a:pt x="1914494" y="2636496"/>
                </a:lnTo>
                <a:close/>
                <a:moveTo>
                  <a:pt x="1679212" y="2632457"/>
                </a:moveTo>
                <a:lnTo>
                  <a:pt x="1689122" y="2632457"/>
                </a:lnTo>
                <a:lnTo>
                  <a:pt x="1693141" y="2636496"/>
                </a:lnTo>
                <a:lnTo>
                  <a:pt x="1693141" y="2646366"/>
                </a:lnTo>
                <a:lnTo>
                  <a:pt x="1689122" y="2650405"/>
                </a:lnTo>
                <a:lnTo>
                  <a:pt x="1679212" y="2650405"/>
                </a:lnTo>
                <a:lnTo>
                  <a:pt x="1675193" y="2646366"/>
                </a:lnTo>
                <a:lnTo>
                  <a:pt x="1675193" y="2636496"/>
                </a:lnTo>
                <a:close/>
                <a:moveTo>
                  <a:pt x="1439896" y="2632457"/>
                </a:moveTo>
                <a:lnTo>
                  <a:pt x="1449806" y="2632457"/>
                </a:lnTo>
                <a:lnTo>
                  <a:pt x="1453824" y="2636496"/>
                </a:lnTo>
                <a:lnTo>
                  <a:pt x="1453824" y="2646366"/>
                </a:lnTo>
                <a:lnTo>
                  <a:pt x="1449806" y="2650405"/>
                </a:lnTo>
                <a:lnTo>
                  <a:pt x="1439896" y="2650405"/>
                </a:lnTo>
                <a:lnTo>
                  <a:pt x="1435876" y="2646366"/>
                </a:lnTo>
                <a:lnTo>
                  <a:pt x="1435876" y="2636496"/>
                </a:lnTo>
                <a:close/>
                <a:moveTo>
                  <a:pt x="1200580" y="2632457"/>
                </a:moveTo>
                <a:lnTo>
                  <a:pt x="1210490" y="2632457"/>
                </a:lnTo>
                <a:lnTo>
                  <a:pt x="1214509" y="2636496"/>
                </a:lnTo>
                <a:lnTo>
                  <a:pt x="1214509" y="2646366"/>
                </a:lnTo>
                <a:lnTo>
                  <a:pt x="1210490" y="2650405"/>
                </a:lnTo>
                <a:lnTo>
                  <a:pt x="1200580" y="2650405"/>
                </a:lnTo>
                <a:lnTo>
                  <a:pt x="1196561" y="2646366"/>
                </a:lnTo>
                <a:lnTo>
                  <a:pt x="1196561" y="2636496"/>
                </a:lnTo>
                <a:close/>
                <a:moveTo>
                  <a:pt x="961267" y="2632457"/>
                </a:moveTo>
                <a:lnTo>
                  <a:pt x="971178" y="2632457"/>
                </a:lnTo>
                <a:lnTo>
                  <a:pt x="975196" y="2636496"/>
                </a:lnTo>
                <a:lnTo>
                  <a:pt x="975196" y="2646366"/>
                </a:lnTo>
                <a:lnTo>
                  <a:pt x="971178" y="2650405"/>
                </a:lnTo>
                <a:lnTo>
                  <a:pt x="961267" y="2650405"/>
                </a:lnTo>
                <a:lnTo>
                  <a:pt x="957249" y="2646366"/>
                </a:lnTo>
                <a:lnTo>
                  <a:pt x="957249" y="2636496"/>
                </a:lnTo>
                <a:close/>
                <a:moveTo>
                  <a:pt x="721970" y="2632457"/>
                </a:moveTo>
                <a:lnTo>
                  <a:pt x="731879" y="2632457"/>
                </a:lnTo>
                <a:lnTo>
                  <a:pt x="735898" y="2636496"/>
                </a:lnTo>
                <a:lnTo>
                  <a:pt x="735898" y="2646366"/>
                </a:lnTo>
                <a:lnTo>
                  <a:pt x="731879" y="2650405"/>
                </a:lnTo>
                <a:lnTo>
                  <a:pt x="721970" y="2650405"/>
                </a:lnTo>
                <a:lnTo>
                  <a:pt x="717951" y="2646366"/>
                </a:lnTo>
                <a:lnTo>
                  <a:pt x="717951" y="2636496"/>
                </a:lnTo>
                <a:close/>
                <a:moveTo>
                  <a:pt x="482657" y="2632457"/>
                </a:moveTo>
                <a:lnTo>
                  <a:pt x="492567" y="2632457"/>
                </a:lnTo>
                <a:lnTo>
                  <a:pt x="496586" y="2636496"/>
                </a:lnTo>
                <a:lnTo>
                  <a:pt x="496586" y="2646366"/>
                </a:lnTo>
                <a:lnTo>
                  <a:pt x="492567" y="2650405"/>
                </a:lnTo>
                <a:lnTo>
                  <a:pt x="482657" y="2650405"/>
                </a:lnTo>
                <a:lnTo>
                  <a:pt x="478638" y="2646366"/>
                </a:lnTo>
                <a:lnTo>
                  <a:pt x="478638" y="2636496"/>
                </a:lnTo>
                <a:close/>
                <a:moveTo>
                  <a:pt x="243344" y="2632457"/>
                </a:moveTo>
                <a:lnTo>
                  <a:pt x="253254" y="2632457"/>
                </a:lnTo>
                <a:lnTo>
                  <a:pt x="257273" y="2636496"/>
                </a:lnTo>
                <a:lnTo>
                  <a:pt x="257273" y="2646366"/>
                </a:lnTo>
                <a:lnTo>
                  <a:pt x="253254" y="2650405"/>
                </a:lnTo>
                <a:lnTo>
                  <a:pt x="243344" y="2650405"/>
                </a:lnTo>
                <a:lnTo>
                  <a:pt x="239325" y="2646366"/>
                </a:lnTo>
                <a:lnTo>
                  <a:pt x="239325" y="2636496"/>
                </a:lnTo>
                <a:close/>
                <a:moveTo>
                  <a:pt x="4030" y="2632457"/>
                </a:moveTo>
                <a:lnTo>
                  <a:pt x="13941" y="2632457"/>
                </a:lnTo>
                <a:lnTo>
                  <a:pt x="17960" y="2636496"/>
                </a:lnTo>
                <a:lnTo>
                  <a:pt x="17960" y="2646366"/>
                </a:lnTo>
                <a:lnTo>
                  <a:pt x="13941" y="2650405"/>
                </a:lnTo>
                <a:lnTo>
                  <a:pt x="4030" y="2650405"/>
                </a:lnTo>
                <a:lnTo>
                  <a:pt x="11" y="2646366"/>
                </a:lnTo>
                <a:lnTo>
                  <a:pt x="11" y="2636496"/>
                </a:lnTo>
                <a:close/>
                <a:moveTo>
                  <a:pt x="2157821" y="2393178"/>
                </a:moveTo>
                <a:lnTo>
                  <a:pt x="2167732" y="2393178"/>
                </a:lnTo>
                <a:lnTo>
                  <a:pt x="2171750" y="2397216"/>
                </a:lnTo>
                <a:lnTo>
                  <a:pt x="2171750" y="2407087"/>
                </a:lnTo>
                <a:lnTo>
                  <a:pt x="2167732" y="2411126"/>
                </a:lnTo>
                <a:lnTo>
                  <a:pt x="2157821" y="2411126"/>
                </a:lnTo>
                <a:lnTo>
                  <a:pt x="2153802" y="2407087"/>
                </a:lnTo>
                <a:lnTo>
                  <a:pt x="2153802" y="2397216"/>
                </a:lnTo>
                <a:close/>
                <a:moveTo>
                  <a:pt x="1918513" y="2393178"/>
                </a:moveTo>
                <a:lnTo>
                  <a:pt x="1928422" y="2393178"/>
                </a:lnTo>
                <a:lnTo>
                  <a:pt x="1932443" y="2397216"/>
                </a:lnTo>
                <a:lnTo>
                  <a:pt x="1932443" y="2407087"/>
                </a:lnTo>
                <a:lnTo>
                  <a:pt x="1928422" y="2411126"/>
                </a:lnTo>
                <a:lnTo>
                  <a:pt x="1918513" y="2411126"/>
                </a:lnTo>
                <a:lnTo>
                  <a:pt x="1914494" y="2407087"/>
                </a:lnTo>
                <a:lnTo>
                  <a:pt x="1914494" y="2397216"/>
                </a:lnTo>
                <a:close/>
                <a:moveTo>
                  <a:pt x="1679212" y="2393178"/>
                </a:moveTo>
                <a:lnTo>
                  <a:pt x="1689123" y="2393178"/>
                </a:lnTo>
                <a:lnTo>
                  <a:pt x="1693142" y="2397216"/>
                </a:lnTo>
                <a:lnTo>
                  <a:pt x="1693142" y="2407087"/>
                </a:lnTo>
                <a:lnTo>
                  <a:pt x="1689123" y="2411126"/>
                </a:lnTo>
                <a:lnTo>
                  <a:pt x="1679212" y="2411126"/>
                </a:lnTo>
                <a:lnTo>
                  <a:pt x="1675194" y="2407087"/>
                </a:lnTo>
                <a:lnTo>
                  <a:pt x="1675194" y="2397216"/>
                </a:lnTo>
                <a:close/>
                <a:moveTo>
                  <a:pt x="1439896" y="2393178"/>
                </a:moveTo>
                <a:lnTo>
                  <a:pt x="1449806" y="2393178"/>
                </a:lnTo>
                <a:lnTo>
                  <a:pt x="1453826" y="2397216"/>
                </a:lnTo>
                <a:lnTo>
                  <a:pt x="1453826" y="2407087"/>
                </a:lnTo>
                <a:lnTo>
                  <a:pt x="1449806" y="2411126"/>
                </a:lnTo>
                <a:lnTo>
                  <a:pt x="1439896" y="2411126"/>
                </a:lnTo>
                <a:lnTo>
                  <a:pt x="1435878" y="2407087"/>
                </a:lnTo>
                <a:lnTo>
                  <a:pt x="1435878" y="2397216"/>
                </a:lnTo>
                <a:close/>
                <a:moveTo>
                  <a:pt x="1200580" y="2393178"/>
                </a:moveTo>
                <a:lnTo>
                  <a:pt x="1210491" y="2393178"/>
                </a:lnTo>
                <a:lnTo>
                  <a:pt x="1214510" y="2397216"/>
                </a:lnTo>
                <a:lnTo>
                  <a:pt x="1214510" y="2407087"/>
                </a:lnTo>
                <a:lnTo>
                  <a:pt x="1210491" y="2411126"/>
                </a:lnTo>
                <a:lnTo>
                  <a:pt x="1200580" y="2411126"/>
                </a:lnTo>
                <a:lnTo>
                  <a:pt x="1196562" y="2407087"/>
                </a:lnTo>
                <a:lnTo>
                  <a:pt x="1196562" y="2397216"/>
                </a:lnTo>
                <a:close/>
                <a:moveTo>
                  <a:pt x="961268" y="2393178"/>
                </a:moveTo>
                <a:lnTo>
                  <a:pt x="971178" y="2393178"/>
                </a:lnTo>
                <a:lnTo>
                  <a:pt x="975196" y="2397216"/>
                </a:lnTo>
                <a:lnTo>
                  <a:pt x="975196" y="2407087"/>
                </a:lnTo>
                <a:lnTo>
                  <a:pt x="971178" y="2411126"/>
                </a:lnTo>
                <a:lnTo>
                  <a:pt x="961268" y="2411126"/>
                </a:lnTo>
                <a:lnTo>
                  <a:pt x="957249" y="2407087"/>
                </a:lnTo>
                <a:lnTo>
                  <a:pt x="957249" y="2397216"/>
                </a:lnTo>
                <a:close/>
                <a:moveTo>
                  <a:pt x="9572438" y="2393127"/>
                </a:moveTo>
                <a:lnTo>
                  <a:pt x="9582349" y="2393127"/>
                </a:lnTo>
                <a:lnTo>
                  <a:pt x="9586368" y="2397165"/>
                </a:lnTo>
                <a:lnTo>
                  <a:pt x="9586368" y="2407036"/>
                </a:lnTo>
                <a:lnTo>
                  <a:pt x="9582349" y="2411074"/>
                </a:lnTo>
                <a:lnTo>
                  <a:pt x="9572438" y="2411074"/>
                </a:lnTo>
                <a:lnTo>
                  <a:pt x="9568419" y="2407036"/>
                </a:lnTo>
                <a:lnTo>
                  <a:pt x="9568419" y="2397165"/>
                </a:lnTo>
                <a:close/>
                <a:moveTo>
                  <a:pt x="9333125" y="2393127"/>
                </a:moveTo>
                <a:lnTo>
                  <a:pt x="9343036" y="2393127"/>
                </a:lnTo>
                <a:lnTo>
                  <a:pt x="9347055" y="2397165"/>
                </a:lnTo>
                <a:lnTo>
                  <a:pt x="9347055" y="2407036"/>
                </a:lnTo>
                <a:lnTo>
                  <a:pt x="9343036" y="2411074"/>
                </a:lnTo>
                <a:lnTo>
                  <a:pt x="9333125" y="2411074"/>
                </a:lnTo>
                <a:lnTo>
                  <a:pt x="9329106" y="2407036"/>
                </a:lnTo>
                <a:lnTo>
                  <a:pt x="9329106" y="2397165"/>
                </a:lnTo>
                <a:close/>
                <a:moveTo>
                  <a:pt x="9093811" y="2393127"/>
                </a:moveTo>
                <a:lnTo>
                  <a:pt x="9103722" y="2393127"/>
                </a:lnTo>
                <a:lnTo>
                  <a:pt x="9107741" y="2397165"/>
                </a:lnTo>
                <a:lnTo>
                  <a:pt x="9107741" y="2407036"/>
                </a:lnTo>
                <a:lnTo>
                  <a:pt x="9103722" y="2411074"/>
                </a:lnTo>
                <a:lnTo>
                  <a:pt x="9093811" y="2411074"/>
                </a:lnTo>
                <a:lnTo>
                  <a:pt x="9089792" y="2407036"/>
                </a:lnTo>
                <a:lnTo>
                  <a:pt x="9089792" y="2397165"/>
                </a:lnTo>
                <a:close/>
                <a:moveTo>
                  <a:pt x="8854496" y="2393127"/>
                </a:moveTo>
                <a:lnTo>
                  <a:pt x="8864407" y="2393127"/>
                </a:lnTo>
                <a:lnTo>
                  <a:pt x="8868426" y="2397165"/>
                </a:lnTo>
                <a:lnTo>
                  <a:pt x="8868426" y="2407036"/>
                </a:lnTo>
                <a:lnTo>
                  <a:pt x="8864407" y="2411074"/>
                </a:lnTo>
                <a:lnTo>
                  <a:pt x="8854496" y="2411074"/>
                </a:lnTo>
                <a:lnTo>
                  <a:pt x="8850477" y="2407036"/>
                </a:lnTo>
                <a:lnTo>
                  <a:pt x="8850477" y="2397165"/>
                </a:lnTo>
                <a:close/>
                <a:moveTo>
                  <a:pt x="8615184" y="2393127"/>
                </a:moveTo>
                <a:lnTo>
                  <a:pt x="8625095" y="2393127"/>
                </a:lnTo>
                <a:lnTo>
                  <a:pt x="8629114" y="2397165"/>
                </a:lnTo>
                <a:lnTo>
                  <a:pt x="8629114" y="2407036"/>
                </a:lnTo>
                <a:lnTo>
                  <a:pt x="8625095" y="2411074"/>
                </a:lnTo>
                <a:lnTo>
                  <a:pt x="8615184" y="2411074"/>
                </a:lnTo>
                <a:lnTo>
                  <a:pt x="8611165" y="2407036"/>
                </a:lnTo>
                <a:lnTo>
                  <a:pt x="8611165" y="2397165"/>
                </a:lnTo>
                <a:close/>
                <a:moveTo>
                  <a:pt x="8375869" y="2393127"/>
                </a:moveTo>
                <a:lnTo>
                  <a:pt x="8385779" y="2393127"/>
                </a:lnTo>
                <a:lnTo>
                  <a:pt x="8389799" y="2397165"/>
                </a:lnTo>
                <a:lnTo>
                  <a:pt x="8389799" y="2407036"/>
                </a:lnTo>
                <a:lnTo>
                  <a:pt x="8385779" y="2411074"/>
                </a:lnTo>
                <a:lnTo>
                  <a:pt x="8375869" y="2411074"/>
                </a:lnTo>
                <a:lnTo>
                  <a:pt x="8371850" y="2407036"/>
                </a:lnTo>
                <a:lnTo>
                  <a:pt x="8371850" y="2397165"/>
                </a:lnTo>
                <a:close/>
                <a:moveTo>
                  <a:pt x="8136553" y="2393127"/>
                </a:moveTo>
                <a:lnTo>
                  <a:pt x="8146464" y="2393127"/>
                </a:lnTo>
                <a:lnTo>
                  <a:pt x="8150483" y="2397165"/>
                </a:lnTo>
                <a:lnTo>
                  <a:pt x="8150483" y="2407036"/>
                </a:lnTo>
                <a:lnTo>
                  <a:pt x="8146464" y="2411074"/>
                </a:lnTo>
                <a:lnTo>
                  <a:pt x="8136553" y="2411074"/>
                </a:lnTo>
                <a:lnTo>
                  <a:pt x="8132534" y="2407036"/>
                </a:lnTo>
                <a:lnTo>
                  <a:pt x="8132534" y="2397165"/>
                </a:lnTo>
                <a:close/>
                <a:moveTo>
                  <a:pt x="7897241" y="2393127"/>
                </a:moveTo>
                <a:lnTo>
                  <a:pt x="7907151" y="2393127"/>
                </a:lnTo>
                <a:lnTo>
                  <a:pt x="7911170" y="2397165"/>
                </a:lnTo>
                <a:lnTo>
                  <a:pt x="7911170" y="2407036"/>
                </a:lnTo>
                <a:lnTo>
                  <a:pt x="7907151" y="2411074"/>
                </a:lnTo>
                <a:lnTo>
                  <a:pt x="7897241" y="2411074"/>
                </a:lnTo>
                <a:lnTo>
                  <a:pt x="7893222" y="2407036"/>
                </a:lnTo>
                <a:lnTo>
                  <a:pt x="7893222" y="2397165"/>
                </a:lnTo>
                <a:close/>
                <a:moveTo>
                  <a:pt x="7657926" y="2393127"/>
                </a:moveTo>
                <a:lnTo>
                  <a:pt x="7667836" y="2393127"/>
                </a:lnTo>
                <a:lnTo>
                  <a:pt x="7671855" y="2397165"/>
                </a:lnTo>
                <a:lnTo>
                  <a:pt x="7671855" y="2407036"/>
                </a:lnTo>
                <a:lnTo>
                  <a:pt x="7667836" y="2411074"/>
                </a:lnTo>
                <a:lnTo>
                  <a:pt x="7657926" y="2411074"/>
                </a:lnTo>
                <a:lnTo>
                  <a:pt x="7653906" y="2407036"/>
                </a:lnTo>
                <a:lnTo>
                  <a:pt x="7653906" y="2397165"/>
                </a:lnTo>
                <a:close/>
                <a:moveTo>
                  <a:pt x="7418611" y="2393127"/>
                </a:moveTo>
                <a:lnTo>
                  <a:pt x="7428521" y="2393127"/>
                </a:lnTo>
                <a:lnTo>
                  <a:pt x="7432540" y="2397165"/>
                </a:lnTo>
                <a:lnTo>
                  <a:pt x="7432540" y="2407036"/>
                </a:lnTo>
                <a:lnTo>
                  <a:pt x="7428521" y="2411074"/>
                </a:lnTo>
                <a:lnTo>
                  <a:pt x="7418611" y="2411074"/>
                </a:lnTo>
                <a:lnTo>
                  <a:pt x="7414592" y="2407036"/>
                </a:lnTo>
                <a:lnTo>
                  <a:pt x="7414592" y="2397165"/>
                </a:lnTo>
                <a:close/>
                <a:moveTo>
                  <a:pt x="7179298" y="2393127"/>
                </a:moveTo>
                <a:lnTo>
                  <a:pt x="7189209" y="2393127"/>
                </a:lnTo>
                <a:lnTo>
                  <a:pt x="7193228" y="2397165"/>
                </a:lnTo>
                <a:lnTo>
                  <a:pt x="7193228" y="2407036"/>
                </a:lnTo>
                <a:lnTo>
                  <a:pt x="7189209" y="2411074"/>
                </a:lnTo>
                <a:lnTo>
                  <a:pt x="7179298" y="2411074"/>
                </a:lnTo>
                <a:lnTo>
                  <a:pt x="7175279" y="2407036"/>
                </a:lnTo>
                <a:lnTo>
                  <a:pt x="7175279" y="2397165"/>
                </a:lnTo>
                <a:close/>
                <a:moveTo>
                  <a:pt x="6939983" y="2393127"/>
                </a:moveTo>
                <a:lnTo>
                  <a:pt x="6949894" y="2393127"/>
                </a:lnTo>
                <a:lnTo>
                  <a:pt x="6953913" y="2397165"/>
                </a:lnTo>
                <a:lnTo>
                  <a:pt x="6953913" y="2407036"/>
                </a:lnTo>
                <a:lnTo>
                  <a:pt x="6949894" y="2411074"/>
                </a:lnTo>
                <a:lnTo>
                  <a:pt x="6939983" y="2411074"/>
                </a:lnTo>
                <a:lnTo>
                  <a:pt x="6935964" y="2407036"/>
                </a:lnTo>
                <a:lnTo>
                  <a:pt x="6935964" y="2397165"/>
                </a:lnTo>
                <a:close/>
                <a:moveTo>
                  <a:pt x="6700670" y="2393127"/>
                </a:moveTo>
                <a:lnTo>
                  <a:pt x="6710581" y="2393127"/>
                </a:lnTo>
                <a:lnTo>
                  <a:pt x="6714600" y="2397165"/>
                </a:lnTo>
                <a:lnTo>
                  <a:pt x="6714600" y="2407036"/>
                </a:lnTo>
                <a:lnTo>
                  <a:pt x="6710581" y="2411074"/>
                </a:lnTo>
                <a:lnTo>
                  <a:pt x="6700670" y="2411074"/>
                </a:lnTo>
                <a:lnTo>
                  <a:pt x="6696651" y="2407036"/>
                </a:lnTo>
                <a:lnTo>
                  <a:pt x="6696651" y="2397165"/>
                </a:lnTo>
                <a:close/>
                <a:moveTo>
                  <a:pt x="6461356" y="2393127"/>
                </a:moveTo>
                <a:lnTo>
                  <a:pt x="6471266" y="2393127"/>
                </a:lnTo>
                <a:lnTo>
                  <a:pt x="6475285" y="2397165"/>
                </a:lnTo>
                <a:lnTo>
                  <a:pt x="6475285" y="2407036"/>
                </a:lnTo>
                <a:lnTo>
                  <a:pt x="6471266" y="2411074"/>
                </a:lnTo>
                <a:lnTo>
                  <a:pt x="6461356" y="2411074"/>
                </a:lnTo>
                <a:lnTo>
                  <a:pt x="6457337" y="2407036"/>
                </a:lnTo>
                <a:lnTo>
                  <a:pt x="6457337" y="2397165"/>
                </a:lnTo>
                <a:close/>
                <a:moveTo>
                  <a:pt x="6222042" y="2393127"/>
                </a:moveTo>
                <a:lnTo>
                  <a:pt x="6231952" y="2393127"/>
                </a:lnTo>
                <a:lnTo>
                  <a:pt x="6235971" y="2397165"/>
                </a:lnTo>
                <a:lnTo>
                  <a:pt x="6235971" y="2407036"/>
                </a:lnTo>
                <a:lnTo>
                  <a:pt x="6231952" y="2411074"/>
                </a:lnTo>
                <a:lnTo>
                  <a:pt x="6222042" y="2411074"/>
                </a:lnTo>
                <a:lnTo>
                  <a:pt x="6218023" y="2407036"/>
                </a:lnTo>
                <a:lnTo>
                  <a:pt x="6218023" y="2397165"/>
                </a:lnTo>
                <a:close/>
                <a:moveTo>
                  <a:pt x="5982729" y="2393127"/>
                </a:moveTo>
                <a:lnTo>
                  <a:pt x="5992639" y="2393127"/>
                </a:lnTo>
                <a:lnTo>
                  <a:pt x="5996658" y="2397165"/>
                </a:lnTo>
                <a:lnTo>
                  <a:pt x="5996658" y="2407036"/>
                </a:lnTo>
                <a:lnTo>
                  <a:pt x="5992639" y="2411074"/>
                </a:lnTo>
                <a:lnTo>
                  <a:pt x="5982729" y="2411074"/>
                </a:lnTo>
                <a:lnTo>
                  <a:pt x="5978710" y="2407036"/>
                </a:lnTo>
                <a:lnTo>
                  <a:pt x="5978710" y="2397165"/>
                </a:lnTo>
                <a:close/>
                <a:moveTo>
                  <a:pt x="5743412" y="2393127"/>
                </a:moveTo>
                <a:lnTo>
                  <a:pt x="5753323" y="2393127"/>
                </a:lnTo>
                <a:lnTo>
                  <a:pt x="5757342" y="2397165"/>
                </a:lnTo>
                <a:lnTo>
                  <a:pt x="5757342" y="2407036"/>
                </a:lnTo>
                <a:lnTo>
                  <a:pt x="5753323" y="2411074"/>
                </a:lnTo>
                <a:lnTo>
                  <a:pt x="5743412" y="2411074"/>
                </a:lnTo>
                <a:lnTo>
                  <a:pt x="5739393" y="2407036"/>
                </a:lnTo>
                <a:lnTo>
                  <a:pt x="5739393" y="2397165"/>
                </a:lnTo>
                <a:close/>
                <a:moveTo>
                  <a:pt x="5504099" y="2393127"/>
                </a:moveTo>
                <a:lnTo>
                  <a:pt x="5514010" y="2393127"/>
                </a:lnTo>
                <a:lnTo>
                  <a:pt x="5518029" y="2397165"/>
                </a:lnTo>
                <a:lnTo>
                  <a:pt x="5518029" y="2407036"/>
                </a:lnTo>
                <a:lnTo>
                  <a:pt x="5514010" y="2411074"/>
                </a:lnTo>
                <a:lnTo>
                  <a:pt x="5504099" y="2411074"/>
                </a:lnTo>
                <a:lnTo>
                  <a:pt x="5500080" y="2407036"/>
                </a:lnTo>
                <a:lnTo>
                  <a:pt x="5500080" y="2397165"/>
                </a:lnTo>
                <a:close/>
                <a:moveTo>
                  <a:pt x="5264784" y="2393127"/>
                </a:moveTo>
                <a:lnTo>
                  <a:pt x="5274694" y="2393127"/>
                </a:lnTo>
                <a:lnTo>
                  <a:pt x="5278713" y="2397165"/>
                </a:lnTo>
                <a:lnTo>
                  <a:pt x="5278713" y="2407036"/>
                </a:lnTo>
                <a:lnTo>
                  <a:pt x="5274694" y="2411074"/>
                </a:lnTo>
                <a:lnTo>
                  <a:pt x="5264784" y="2411074"/>
                </a:lnTo>
                <a:lnTo>
                  <a:pt x="5260765" y="2407036"/>
                </a:lnTo>
                <a:lnTo>
                  <a:pt x="5260765" y="2397165"/>
                </a:lnTo>
                <a:close/>
                <a:moveTo>
                  <a:pt x="5025470" y="2393127"/>
                </a:moveTo>
                <a:lnTo>
                  <a:pt x="5035381" y="2393127"/>
                </a:lnTo>
                <a:lnTo>
                  <a:pt x="5039400" y="2397165"/>
                </a:lnTo>
                <a:lnTo>
                  <a:pt x="5039400" y="2407036"/>
                </a:lnTo>
                <a:lnTo>
                  <a:pt x="5035381" y="2411074"/>
                </a:lnTo>
                <a:lnTo>
                  <a:pt x="5025470" y="2411074"/>
                </a:lnTo>
                <a:lnTo>
                  <a:pt x="5021451" y="2407036"/>
                </a:lnTo>
                <a:lnTo>
                  <a:pt x="5021451" y="2397165"/>
                </a:lnTo>
                <a:close/>
                <a:moveTo>
                  <a:pt x="4786241" y="2393127"/>
                </a:moveTo>
                <a:lnTo>
                  <a:pt x="4796152" y="2393127"/>
                </a:lnTo>
                <a:lnTo>
                  <a:pt x="4800171" y="2397165"/>
                </a:lnTo>
                <a:lnTo>
                  <a:pt x="4800171" y="2407036"/>
                </a:lnTo>
                <a:lnTo>
                  <a:pt x="4796152" y="2411074"/>
                </a:lnTo>
                <a:lnTo>
                  <a:pt x="4786241" y="2411074"/>
                </a:lnTo>
                <a:lnTo>
                  <a:pt x="4782224" y="2407036"/>
                </a:lnTo>
                <a:lnTo>
                  <a:pt x="4782224" y="2397165"/>
                </a:lnTo>
                <a:close/>
                <a:moveTo>
                  <a:pt x="4546929" y="2393127"/>
                </a:moveTo>
                <a:lnTo>
                  <a:pt x="4556840" y="2393127"/>
                </a:lnTo>
                <a:lnTo>
                  <a:pt x="4560859" y="2397165"/>
                </a:lnTo>
                <a:lnTo>
                  <a:pt x="4560859" y="2407036"/>
                </a:lnTo>
                <a:lnTo>
                  <a:pt x="4556840" y="2411074"/>
                </a:lnTo>
                <a:lnTo>
                  <a:pt x="4546929" y="2411074"/>
                </a:lnTo>
                <a:lnTo>
                  <a:pt x="4542910" y="2407036"/>
                </a:lnTo>
                <a:lnTo>
                  <a:pt x="4542910" y="2397165"/>
                </a:lnTo>
                <a:close/>
                <a:moveTo>
                  <a:pt x="4307612" y="2393127"/>
                </a:moveTo>
                <a:lnTo>
                  <a:pt x="4317523" y="2393127"/>
                </a:lnTo>
                <a:lnTo>
                  <a:pt x="4321543" y="2397165"/>
                </a:lnTo>
                <a:lnTo>
                  <a:pt x="4321543" y="2407036"/>
                </a:lnTo>
                <a:lnTo>
                  <a:pt x="4317523" y="2411074"/>
                </a:lnTo>
                <a:lnTo>
                  <a:pt x="4307612" y="2411074"/>
                </a:lnTo>
                <a:lnTo>
                  <a:pt x="4303595" y="2407036"/>
                </a:lnTo>
                <a:lnTo>
                  <a:pt x="4303595" y="2397165"/>
                </a:lnTo>
                <a:close/>
                <a:moveTo>
                  <a:pt x="4068297" y="2393127"/>
                </a:moveTo>
                <a:lnTo>
                  <a:pt x="4078210" y="2393127"/>
                </a:lnTo>
                <a:lnTo>
                  <a:pt x="4082229" y="2397165"/>
                </a:lnTo>
                <a:lnTo>
                  <a:pt x="4082229" y="2407036"/>
                </a:lnTo>
                <a:lnTo>
                  <a:pt x="4078210" y="2411074"/>
                </a:lnTo>
                <a:lnTo>
                  <a:pt x="4068297" y="2411074"/>
                </a:lnTo>
                <a:lnTo>
                  <a:pt x="4064278" y="2407036"/>
                </a:lnTo>
                <a:lnTo>
                  <a:pt x="4064278" y="2397165"/>
                </a:lnTo>
                <a:close/>
                <a:moveTo>
                  <a:pt x="3828990" y="2393127"/>
                </a:moveTo>
                <a:lnTo>
                  <a:pt x="3838899" y="2393127"/>
                </a:lnTo>
                <a:lnTo>
                  <a:pt x="3842917" y="2397165"/>
                </a:lnTo>
                <a:lnTo>
                  <a:pt x="3842917" y="2407036"/>
                </a:lnTo>
                <a:lnTo>
                  <a:pt x="3838899" y="2411074"/>
                </a:lnTo>
                <a:lnTo>
                  <a:pt x="3828990" y="2411074"/>
                </a:lnTo>
                <a:lnTo>
                  <a:pt x="3824971" y="2407036"/>
                </a:lnTo>
                <a:lnTo>
                  <a:pt x="3824971" y="2397165"/>
                </a:lnTo>
                <a:close/>
                <a:moveTo>
                  <a:pt x="3589676" y="2393127"/>
                </a:moveTo>
                <a:lnTo>
                  <a:pt x="3599585" y="2393127"/>
                </a:lnTo>
                <a:lnTo>
                  <a:pt x="3603604" y="2397165"/>
                </a:lnTo>
                <a:lnTo>
                  <a:pt x="3603604" y="2407036"/>
                </a:lnTo>
                <a:lnTo>
                  <a:pt x="3599585" y="2411074"/>
                </a:lnTo>
                <a:lnTo>
                  <a:pt x="3589676" y="2411074"/>
                </a:lnTo>
                <a:lnTo>
                  <a:pt x="3585657" y="2407036"/>
                </a:lnTo>
                <a:lnTo>
                  <a:pt x="3585657" y="2397165"/>
                </a:lnTo>
                <a:close/>
                <a:moveTo>
                  <a:pt x="3350359" y="2393127"/>
                </a:moveTo>
                <a:lnTo>
                  <a:pt x="3360268" y="2393127"/>
                </a:lnTo>
                <a:lnTo>
                  <a:pt x="3364287" y="2397165"/>
                </a:lnTo>
                <a:lnTo>
                  <a:pt x="3364287" y="2407036"/>
                </a:lnTo>
                <a:lnTo>
                  <a:pt x="3360268" y="2411074"/>
                </a:lnTo>
                <a:lnTo>
                  <a:pt x="3350359" y="2411074"/>
                </a:lnTo>
                <a:lnTo>
                  <a:pt x="3346340" y="2407036"/>
                </a:lnTo>
                <a:lnTo>
                  <a:pt x="3346340" y="2397165"/>
                </a:lnTo>
                <a:close/>
                <a:moveTo>
                  <a:pt x="3111048" y="2393127"/>
                </a:moveTo>
                <a:lnTo>
                  <a:pt x="3120959" y="2393127"/>
                </a:lnTo>
                <a:lnTo>
                  <a:pt x="3124977" y="2397165"/>
                </a:lnTo>
                <a:lnTo>
                  <a:pt x="3124977" y="2407036"/>
                </a:lnTo>
                <a:lnTo>
                  <a:pt x="3120959" y="2411074"/>
                </a:lnTo>
                <a:lnTo>
                  <a:pt x="3111048" y="2411074"/>
                </a:lnTo>
                <a:lnTo>
                  <a:pt x="3107029" y="2407036"/>
                </a:lnTo>
                <a:lnTo>
                  <a:pt x="3107029" y="2397165"/>
                </a:lnTo>
                <a:close/>
                <a:moveTo>
                  <a:pt x="2871737" y="2393127"/>
                </a:moveTo>
                <a:lnTo>
                  <a:pt x="2881646" y="2393127"/>
                </a:lnTo>
                <a:lnTo>
                  <a:pt x="2885666" y="2397165"/>
                </a:lnTo>
                <a:lnTo>
                  <a:pt x="2885666" y="2407036"/>
                </a:lnTo>
                <a:lnTo>
                  <a:pt x="2881646" y="2411074"/>
                </a:lnTo>
                <a:lnTo>
                  <a:pt x="2871737" y="2411074"/>
                </a:lnTo>
                <a:lnTo>
                  <a:pt x="2867717" y="2407036"/>
                </a:lnTo>
                <a:lnTo>
                  <a:pt x="2867717" y="2397165"/>
                </a:lnTo>
                <a:close/>
                <a:moveTo>
                  <a:pt x="2632423" y="2393127"/>
                </a:moveTo>
                <a:lnTo>
                  <a:pt x="2642334" y="2393127"/>
                </a:lnTo>
                <a:lnTo>
                  <a:pt x="2646352" y="2397165"/>
                </a:lnTo>
                <a:lnTo>
                  <a:pt x="2646352" y="2407036"/>
                </a:lnTo>
                <a:lnTo>
                  <a:pt x="2642334" y="2411074"/>
                </a:lnTo>
                <a:lnTo>
                  <a:pt x="2632423" y="2411074"/>
                </a:lnTo>
                <a:lnTo>
                  <a:pt x="2628404" y="2407036"/>
                </a:lnTo>
                <a:lnTo>
                  <a:pt x="2628404" y="2397165"/>
                </a:lnTo>
                <a:close/>
                <a:moveTo>
                  <a:pt x="2393104" y="2393127"/>
                </a:moveTo>
                <a:lnTo>
                  <a:pt x="2403015" y="2393127"/>
                </a:lnTo>
                <a:lnTo>
                  <a:pt x="2407034" y="2397165"/>
                </a:lnTo>
                <a:lnTo>
                  <a:pt x="2407034" y="2407036"/>
                </a:lnTo>
                <a:lnTo>
                  <a:pt x="2403015" y="2411074"/>
                </a:lnTo>
                <a:lnTo>
                  <a:pt x="2393104" y="2411074"/>
                </a:lnTo>
                <a:lnTo>
                  <a:pt x="2389087" y="2407036"/>
                </a:lnTo>
                <a:lnTo>
                  <a:pt x="2389087" y="2397165"/>
                </a:lnTo>
                <a:close/>
                <a:moveTo>
                  <a:pt x="721970" y="2393127"/>
                </a:moveTo>
                <a:lnTo>
                  <a:pt x="731881" y="2393127"/>
                </a:lnTo>
                <a:lnTo>
                  <a:pt x="735899" y="2397165"/>
                </a:lnTo>
                <a:lnTo>
                  <a:pt x="735899" y="2407036"/>
                </a:lnTo>
                <a:lnTo>
                  <a:pt x="731881" y="2411074"/>
                </a:lnTo>
                <a:lnTo>
                  <a:pt x="721970" y="2411074"/>
                </a:lnTo>
                <a:lnTo>
                  <a:pt x="717951" y="2407036"/>
                </a:lnTo>
                <a:lnTo>
                  <a:pt x="717951" y="2397165"/>
                </a:lnTo>
                <a:close/>
                <a:moveTo>
                  <a:pt x="482658" y="2393127"/>
                </a:moveTo>
                <a:lnTo>
                  <a:pt x="492568" y="2393127"/>
                </a:lnTo>
                <a:lnTo>
                  <a:pt x="496588" y="2397165"/>
                </a:lnTo>
                <a:lnTo>
                  <a:pt x="496588" y="2407036"/>
                </a:lnTo>
                <a:lnTo>
                  <a:pt x="492568" y="2411074"/>
                </a:lnTo>
                <a:lnTo>
                  <a:pt x="482658" y="2411074"/>
                </a:lnTo>
                <a:lnTo>
                  <a:pt x="478639" y="2407036"/>
                </a:lnTo>
                <a:lnTo>
                  <a:pt x="478639" y="2397165"/>
                </a:lnTo>
                <a:close/>
                <a:moveTo>
                  <a:pt x="243344" y="2393127"/>
                </a:moveTo>
                <a:lnTo>
                  <a:pt x="253255" y="2393127"/>
                </a:lnTo>
                <a:lnTo>
                  <a:pt x="257274" y="2397165"/>
                </a:lnTo>
                <a:lnTo>
                  <a:pt x="257274" y="2407036"/>
                </a:lnTo>
                <a:lnTo>
                  <a:pt x="253255" y="2411074"/>
                </a:lnTo>
                <a:lnTo>
                  <a:pt x="243344" y="2411074"/>
                </a:lnTo>
                <a:lnTo>
                  <a:pt x="239325" y="2407036"/>
                </a:lnTo>
                <a:lnTo>
                  <a:pt x="239325" y="2397165"/>
                </a:lnTo>
                <a:close/>
                <a:moveTo>
                  <a:pt x="4031" y="2393127"/>
                </a:moveTo>
                <a:lnTo>
                  <a:pt x="13941" y="2393127"/>
                </a:lnTo>
                <a:lnTo>
                  <a:pt x="17961" y="2397165"/>
                </a:lnTo>
                <a:lnTo>
                  <a:pt x="17961" y="2407036"/>
                </a:lnTo>
                <a:lnTo>
                  <a:pt x="13941" y="2411074"/>
                </a:lnTo>
                <a:lnTo>
                  <a:pt x="4031" y="2411074"/>
                </a:lnTo>
                <a:lnTo>
                  <a:pt x="12" y="2407036"/>
                </a:lnTo>
                <a:lnTo>
                  <a:pt x="12" y="2397165"/>
                </a:lnTo>
                <a:close/>
                <a:moveTo>
                  <a:pt x="3111048" y="2153996"/>
                </a:moveTo>
                <a:lnTo>
                  <a:pt x="3120959" y="2153996"/>
                </a:lnTo>
                <a:lnTo>
                  <a:pt x="3124977" y="2158034"/>
                </a:lnTo>
                <a:lnTo>
                  <a:pt x="3124977" y="2167907"/>
                </a:lnTo>
                <a:lnTo>
                  <a:pt x="3120959" y="2171946"/>
                </a:lnTo>
                <a:lnTo>
                  <a:pt x="3111048" y="2171946"/>
                </a:lnTo>
                <a:lnTo>
                  <a:pt x="3107029" y="2167907"/>
                </a:lnTo>
                <a:lnTo>
                  <a:pt x="3107029" y="2158034"/>
                </a:lnTo>
                <a:close/>
                <a:moveTo>
                  <a:pt x="2871737" y="2153996"/>
                </a:moveTo>
                <a:lnTo>
                  <a:pt x="2881646" y="2153996"/>
                </a:lnTo>
                <a:lnTo>
                  <a:pt x="2885666" y="2158034"/>
                </a:lnTo>
                <a:lnTo>
                  <a:pt x="2885666" y="2167907"/>
                </a:lnTo>
                <a:lnTo>
                  <a:pt x="2881646" y="2171946"/>
                </a:lnTo>
                <a:lnTo>
                  <a:pt x="2871737" y="2171946"/>
                </a:lnTo>
                <a:lnTo>
                  <a:pt x="2867717" y="2167907"/>
                </a:lnTo>
                <a:lnTo>
                  <a:pt x="2867717" y="2158034"/>
                </a:lnTo>
                <a:close/>
                <a:moveTo>
                  <a:pt x="2632423" y="2153996"/>
                </a:moveTo>
                <a:lnTo>
                  <a:pt x="2642334" y="2153996"/>
                </a:lnTo>
                <a:lnTo>
                  <a:pt x="2646352" y="2158034"/>
                </a:lnTo>
                <a:lnTo>
                  <a:pt x="2646352" y="2167907"/>
                </a:lnTo>
                <a:lnTo>
                  <a:pt x="2642334" y="2171947"/>
                </a:lnTo>
                <a:lnTo>
                  <a:pt x="2632423" y="2171947"/>
                </a:lnTo>
                <a:lnTo>
                  <a:pt x="2628404" y="2167907"/>
                </a:lnTo>
                <a:lnTo>
                  <a:pt x="2628404" y="2158034"/>
                </a:lnTo>
                <a:close/>
                <a:moveTo>
                  <a:pt x="2393104" y="2153996"/>
                </a:moveTo>
                <a:lnTo>
                  <a:pt x="2403015" y="2153996"/>
                </a:lnTo>
                <a:lnTo>
                  <a:pt x="2407034" y="2158034"/>
                </a:lnTo>
                <a:lnTo>
                  <a:pt x="2407034" y="2167907"/>
                </a:lnTo>
                <a:lnTo>
                  <a:pt x="2403015" y="2171947"/>
                </a:lnTo>
                <a:lnTo>
                  <a:pt x="2393104" y="2171947"/>
                </a:lnTo>
                <a:lnTo>
                  <a:pt x="2389087" y="2167907"/>
                </a:lnTo>
                <a:lnTo>
                  <a:pt x="2389087" y="2158034"/>
                </a:lnTo>
                <a:close/>
                <a:moveTo>
                  <a:pt x="3350359" y="2153995"/>
                </a:moveTo>
                <a:lnTo>
                  <a:pt x="3360268" y="2153995"/>
                </a:lnTo>
                <a:lnTo>
                  <a:pt x="3364287" y="2158034"/>
                </a:lnTo>
                <a:lnTo>
                  <a:pt x="3364287" y="2167907"/>
                </a:lnTo>
                <a:lnTo>
                  <a:pt x="3360268" y="2171946"/>
                </a:lnTo>
                <a:lnTo>
                  <a:pt x="3350359" y="2171946"/>
                </a:lnTo>
                <a:lnTo>
                  <a:pt x="3346340" y="2167907"/>
                </a:lnTo>
                <a:lnTo>
                  <a:pt x="3346340" y="2158034"/>
                </a:lnTo>
                <a:close/>
                <a:moveTo>
                  <a:pt x="4546929" y="2153976"/>
                </a:moveTo>
                <a:lnTo>
                  <a:pt x="4556840" y="2153976"/>
                </a:lnTo>
                <a:lnTo>
                  <a:pt x="4560859" y="2158014"/>
                </a:lnTo>
                <a:lnTo>
                  <a:pt x="4560859" y="2167886"/>
                </a:lnTo>
                <a:lnTo>
                  <a:pt x="4556840" y="2171926"/>
                </a:lnTo>
                <a:lnTo>
                  <a:pt x="4546929" y="2171926"/>
                </a:lnTo>
                <a:lnTo>
                  <a:pt x="4542910" y="2167886"/>
                </a:lnTo>
                <a:lnTo>
                  <a:pt x="4542910" y="2158014"/>
                </a:lnTo>
                <a:close/>
                <a:moveTo>
                  <a:pt x="4307612" y="2153976"/>
                </a:moveTo>
                <a:lnTo>
                  <a:pt x="4317523" y="2153976"/>
                </a:lnTo>
                <a:lnTo>
                  <a:pt x="4321543" y="2158014"/>
                </a:lnTo>
                <a:lnTo>
                  <a:pt x="4321543" y="2167887"/>
                </a:lnTo>
                <a:lnTo>
                  <a:pt x="4317523" y="2171926"/>
                </a:lnTo>
                <a:lnTo>
                  <a:pt x="4307612" y="2171926"/>
                </a:lnTo>
                <a:lnTo>
                  <a:pt x="4303595" y="2167887"/>
                </a:lnTo>
                <a:lnTo>
                  <a:pt x="4303595" y="2158014"/>
                </a:lnTo>
                <a:close/>
                <a:moveTo>
                  <a:pt x="4068297" y="2153976"/>
                </a:moveTo>
                <a:lnTo>
                  <a:pt x="4078210" y="2153976"/>
                </a:lnTo>
                <a:lnTo>
                  <a:pt x="4082229" y="2158014"/>
                </a:lnTo>
                <a:lnTo>
                  <a:pt x="4082229" y="2167887"/>
                </a:lnTo>
                <a:lnTo>
                  <a:pt x="4078210" y="2171926"/>
                </a:lnTo>
                <a:lnTo>
                  <a:pt x="4068297" y="2171926"/>
                </a:lnTo>
                <a:lnTo>
                  <a:pt x="4064278" y="2167887"/>
                </a:lnTo>
                <a:lnTo>
                  <a:pt x="4064278" y="2158014"/>
                </a:lnTo>
                <a:close/>
                <a:moveTo>
                  <a:pt x="3828990" y="2153976"/>
                </a:moveTo>
                <a:lnTo>
                  <a:pt x="3838899" y="2153976"/>
                </a:lnTo>
                <a:lnTo>
                  <a:pt x="3842917" y="2158014"/>
                </a:lnTo>
                <a:lnTo>
                  <a:pt x="3842917" y="2167887"/>
                </a:lnTo>
                <a:lnTo>
                  <a:pt x="3838899" y="2171926"/>
                </a:lnTo>
                <a:lnTo>
                  <a:pt x="3828990" y="2171926"/>
                </a:lnTo>
                <a:lnTo>
                  <a:pt x="3824971" y="2167887"/>
                </a:lnTo>
                <a:lnTo>
                  <a:pt x="3824971" y="2158014"/>
                </a:lnTo>
                <a:close/>
                <a:moveTo>
                  <a:pt x="3589676" y="2153976"/>
                </a:moveTo>
                <a:lnTo>
                  <a:pt x="3599585" y="2153976"/>
                </a:lnTo>
                <a:lnTo>
                  <a:pt x="3603604" y="2158014"/>
                </a:lnTo>
                <a:lnTo>
                  <a:pt x="3603604" y="2167887"/>
                </a:lnTo>
                <a:lnTo>
                  <a:pt x="3599585" y="2171926"/>
                </a:lnTo>
                <a:lnTo>
                  <a:pt x="3589676" y="2171926"/>
                </a:lnTo>
                <a:lnTo>
                  <a:pt x="3585657" y="2167887"/>
                </a:lnTo>
                <a:lnTo>
                  <a:pt x="3585657" y="2158014"/>
                </a:lnTo>
                <a:close/>
                <a:moveTo>
                  <a:pt x="5504099" y="2153956"/>
                </a:moveTo>
                <a:lnTo>
                  <a:pt x="5514010" y="2153956"/>
                </a:lnTo>
                <a:lnTo>
                  <a:pt x="5518029" y="2157994"/>
                </a:lnTo>
                <a:lnTo>
                  <a:pt x="5518029" y="2167867"/>
                </a:lnTo>
                <a:lnTo>
                  <a:pt x="5514010" y="2171905"/>
                </a:lnTo>
                <a:lnTo>
                  <a:pt x="5504099" y="2171905"/>
                </a:lnTo>
                <a:lnTo>
                  <a:pt x="5500080" y="2167867"/>
                </a:lnTo>
                <a:lnTo>
                  <a:pt x="5500080" y="2157994"/>
                </a:lnTo>
                <a:close/>
                <a:moveTo>
                  <a:pt x="5264784" y="2153956"/>
                </a:moveTo>
                <a:lnTo>
                  <a:pt x="5274694" y="2153956"/>
                </a:lnTo>
                <a:lnTo>
                  <a:pt x="5278713" y="2157994"/>
                </a:lnTo>
                <a:lnTo>
                  <a:pt x="5278713" y="2167867"/>
                </a:lnTo>
                <a:lnTo>
                  <a:pt x="5274694" y="2171905"/>
                </a:lnTo>
                <a:lnTo>
                  <a:pt x="5264784" y="2171905"/>
                </a:lnTo>
                <a:lnTo>
                  <a:pt x="5260765" y="2167867"/>
                </a:lnTo>
                <a:lnTo>
                  <a:pt x="5260765" y="2157994"/>
                </a:lnTo>
                <a:close/>
                <a:moveTo>
                  <a:pt x="5025470" y="2153956"/>
                </a:moveTo>
                <a:lnTo>
                  <a:pt x="5035381" y="2153956"/>
                </a:lnTo>
                <a:lnTo>
                  <a:pt x="5039400" y="2157994"/>
                </a:lnTo>
                <a:lnTo>
                  <a:pt x="5039400" y="2167867"/>
                </a:lnTo>
                <a:lnTo>
                  <a:pt x="5035381" y="2171906"/>
                </a:lnTo>
                <a:lnTo>
                  <a:pt x="5025470" y="2171906"/>
                </a:lnTo>
                <a:lnTo>
                  <a:pt x="5021451" y="2167867"/>
                </a:lnTo>
                <a:lnTo>
                  <a:pt x="5021451" y="2157994"/>
                </a:lnTo>
                <a:close/>
                <a:moveTo>
                  <a:pt x="4786241" y="2153956"/>
                </a:moveTo>
                <a:lnTo>
                  <a:pt x="4796152" y="2153956"/>
                </a:lnTo>
                <a:lnTo>
                  <a:pt x="4800171" y="2157994"/>
                </a:lnTo>
                <a:lnTo>
                  <a:pt x="4800171" y="2167867"/>
                </a:lnTo>
                <a:lnTo>
                  <a:pt x="4796152" y="2171906"/>
                </a:lnTo>
                <a:lnTo>
                  <a:pt x="4786241" y="2171906"/>
                </a:lnTo>
                <a:lnTo>
                  <a:pt x="4782224" y="2167867"/>
                </a:lnTo>
                <a:lnTo>
                  <a:pt x="4782224" y="2157994"/>
                </a:lnTo>
                <a:close/>
                <a:moveTo>
                  <a:pt x="5743412" y="2153955"/>
                </a:moveTo>
                <a:lnTo>
                  <a:pt x="5753323" y="2153955"/>
                </a:lnTo>
                <a:lnTo>
                  <a:pt x="5757342" y="2157994"/>
                </a:lnTo>
                <a:lnTo>
                  <a:pt x="5757342" y="2167866"/>
                </a:lnTo>
                <a:lnTo>
                  <a:pt x="5753323" y="2171905"/>
                </a:lnTo>
                <a:lnTo>
                  <a:pt x="5743412" y="2171905"/>
                </a:lnTo>
                <a:lnTo>
                  <a:pt x="5739393" y="2167866"/>
                </a:lnTo>
                <a:lnTo>
                  <a:pt x="5739393" y="2157994"/>
                </a:lnTo>
                <a:close/>
                <a:moveTo>
                  <a:pt x="6222042" y="2153936"/>
                </a:moveTo>
                <a:lnTo>
                  <a:pt x="6231952" y="2153936"/>
                </a:lnTo>
                <a:lnTo>
                  <a:pt x="6235971" y="2157974"/>
                </a:lnTo>
                <a:lnTo>
                  <a:pt x="6235971" y="2167846"/>
                </a:lnTo>
                <a:lnTo>
                  <a:pt x="6231952" y="2171885"/>
                </a:lnTo>
                <a:lnTo>
                  <a:pt x="6222042" y="2171885"/>
                </a:lnTo>
                <a:lnTo>
                  <a:pt x="6218023" y="2167846"/>
                </a:lnTo>
                <a:lnTo>
                  <a:pt x="6218023" y="2157974"/>
                </a:lnTo>
                <a:close/>
                <a:moveTo>
                  <a:pt x="5982729" y="2153936"/>
                </a:moveTo>
                <a:lnTo>
                  <a:pt x="5992639" y="2153936"/>
                </a:lnTo>
                <a:lnTo>
                  <a:pt x="5996658" y="2157974"/>
                </a:lnTo>
                <a:lnTo>
                  <a:pt x="5996658" y="2167846"/>
                </a:lnTo>
                <a:lnTo>
                  <a:pt x="5992639" y="2171885"/>
                </a:lnTo>
                <a:lnTo>
                  <a:pt x="5982729" y="2171885"/>
                </a:lnTo>
                <a:lnTo>
                  <a:pt x="5978710" y="2167846"/>
                </a:lnTo>
                <a:lnTo>
                  <a:pt x="5978710" y="2157974"/>
                </a:lnTo>
                <a:close/>
                <a:moveTo>
                  <a:pt x="6939983" y="2153935"/>
                </a:moveTo>
                <a:lnTo>
                  <a:pt x="6949894" y="2153935"/>
                </a:lnTo>
                <a:lnTo>
                  <a:pt x="6953913" y="2157974"/>
                </a:lnTo>
                <a:lnTo>
                  <a:pt x="6953913" y="2167845"/>
                </a:lnTo>
                <a:lnTo>
                  <a:pt x="6949894" y="2171885"/>
                </a:lnTo>
                <a:lnTo>
                  <a:pt x="6939983" y="2171885"/>
                </a:lnTo>
                <a:lnTo>
                  <a:pt x="6935964" y="2167845"/>
                </a:lnTo>
                <a:lnTo>
                  <a:pt x="6935964" y="2157974"/>
                </a:lnTo>
                <a:close/>
                <a:moveTo>
                  <a:pt x="6700670" y="2153935"/>
                </a:moveTo>
                <a:lnTo>
                  <a:pt x="6710581" y="2153935"/>
                </a:lnTo>
                <a:lnTo>
                  <a:pt x="6714600" y="2157974"/>
                </a:lnTo>
                <a:lnTo>
                  <a:pt x="6714600" y="2167846"/>
                </a:lnTo>
                <a:lnTo>
                  <a:pt x="6710581" y="2171885"/>
                </a:lnTo>
                <a:lnTo>
                  <a:pt x="6700670" y="2171885"/>
                </a:lnTo>
                <a:lnTo>
                  <a:pt x="6696651" y="2167846"/>
                </a:lnTo>
                <a:lnTo>
                  <a:pt x="6696651" y="2157974"/>
                </a:lnTo>
                <a:close/>
                <a:moveTo>
                  <a:pt x="6461356" y="2153935"/>
                </a:moveTo>
                <a:lnTo>
                  <a:pt x="6471266" y="2153935"/>
                </a:lnTo>
                <a:lnTo>
                  <a:pt x="6475285" y="2157974"/>
                </a:lnTo>
                <a:lnTo>
                  <a:pt x="6475285" y="2167846"/>
                </a:lnTo>
                <a:lnTo>
                  <a:pt x="6471266" y="2171885"/>
                </a:lnTo>
                <a:lnTo>
                  <a:pt x="6461356" y="2171885"/>
                </a:lnTo>
                <a:lnTo>
                  <a:pt x="6457337" y="2167846"/>
                </a:lnTo>
                <a:lnTo>
                  <a:pt x="6457337" y="2157974"/>
                </a:lnTo>
                <a:close/>
                <a:moveTo>
                  <a:pt x="7418611" y="2153916"/>
                </a:moveTo>
                <a:lnTo>
                  <a:pt x="7428521" y="2153916"/>
                </a:lnTo>
                <a:lnTo>
                  <a:pt x="7432540" y="2157955"/>
                </a:lnTo>
                <a:lnTo>
                  <a:pt x="7432540" y="2167826"/>
                </a:lnTo>
                <a:lnTo>
                  <a:pt x="7428521" y="2171865"/>
                </a:lnTo>
                <a:lnTo>
                  <a:pt x="7418611" y="2171865"/>
                </a:lnTo>
                <a:lnTo>
                  <a:pt x="7414592" y="2167826"/>
                </a:lnTo>
                <a:lnTo>
                  <a:pt x="7414592" y="2157955"/>
                </a:lnTo>
                <a:close/>
                <a:moveTo>
                  <a:pt x="7179298" y="2153916"/>
                </a:moveTo>
                <a:lnTo>
                  <a:pt x="7189209" y="2153916"/>
                </a:lnTo>
                <a:lnTo>
                  <a:pt x="7193228" y="2157955"/>
                </a:lnTo>
                <a:lnTo>
                  <a:pt x="7193228" y="2167826"/>
                </a:lnTo>
                <a:lnTo>
                  <a:pt x="7189209" y="2171865"/>
                </a:lnTo>
                <a:lnTo>
                  <a:pt x="7179298" y="2171865"/>
                </a:lnTo>
                <a:lnTo>
                  <a:pt x="7175279" y="2167826"/>
                </a:lnTo>
                <a:lnTo>
                  <a:pt x="7175279" y="2157955"/>
                </a:lnTo>
                <a:close/>
                <a:moveTo>
                  <a:pt x="8136553" y="2153915"/>
                </a:moveTo>
                <a:lnTo>
                  <a:pt x="8146464" y="2153915"/>
                </a:lnTo>
                <a:lnTo>
                  <a:pt x="8150483" y="2157955"/>
                </a:lnTo>
                <a:lnTo>
                  <a:pt x="8150483" y="2167825"/>
                </a:lnTo>
                <a:lnTo>
                  <a:pt x="8146464" y="2171864"/>
                </a:lnTo>
                <a:lnTo>
                  <a:pt x="8136553" y="2171864"/>
                </a:lnTo>
                <a:lnTo>
                  <a:pt x="8132534" y="2167825"/>
                </a:lnTo>
                <a:lnTo>
                  <a:pt x="8132534" y="2157955"/>
                </a:lnTo>
                <a:close/>
                <a:moveTo>
                  <a:pt x="7897241" y="2153915"/>
                </a:moveTo>
                <a:lnTo>
                  <a:pt x="7907151" y="2153915"/>
                </a:lnTo>
                <a:lnTo>
                  <a:pt x="7911170" y="2157955"/>
                </a:lnTo>
                <a:lnTo>
                  <a:pt x="7911170" y="2167826"/>
                </a:lnTo>
                <a:lnTo>
                  <a:pt x="7907151" y="2171864"/>
                </a:lnTo>
                <a:lnTo>
                  <a:pt x="7897241" y="2171864"/>
                </a:lnTo>
                <a:lnTo>
                  <a:pt x="7893222" y="2167826"/>
                </a:lnTo>
                <a:lnTo>
                  <a:pt x="7893222" y="2157955"/>
                </a:lnTo>
                <a:close/>
                <a:moveTo>
                  <a:pt x="7657926" y="2153915"/>
                </a:moveTo>
                <a:lnTo>
                  <a:pt x="7667836" y="2153915"/>
                </a:lnTo>
                <a:lnTo>
                  <a:pt x="7671855" y="2157955"/>
                </a:lnTo>
                <a:lnTo>
                  <a:pt x="7671855" y="2167826"/>
                </a:lnTo>
                <a:lnTo>
                  <a:pt x="7667836" y="2171864"/>
                </a:lnTo>
                <a:lnTo>
                  <a:pt x="7657926" y="2171864"/>
                </a:lnTo>
                <a:lnTo>
                  <a:pt x="7653906" y="2167826"/>
                </a:lnTo>
                <a:lnTo>
                  <a:pt x="7653906" y="2157955"/>
                </a:lnTo>
                <a:close/>
                <a:moveTo>
                  <a:pt x="8615184" y="2153896"/>
                </a:moveTo>
                <a:lnTo>
                  <a:pt x="8625095" y="2153896"/>
                </a:lnTo>
                <a:lnTo>
                  <a:pt x="8629114" y="2157935"/>
                </a:lnTo>
                <a:lnTo>
                  <a:pt x="8629114" y="2167805"/>
                </a:lnTo>
                <a:lnTo>
                  <a:pt x="8625095" y="2171844"/>
                </a:lnTo>
                <a:lnTo>
                  <a:pt x="8615184" y="2171844"/>
                </a:lnTo>
                <a:lnTo>
                  <a:pt x="8611165" y="2167805"/>
                </a:lnTo>
                <a:lnTo>
                  <a:pt x="8611165" y="2157935"/>
                </a:lnTo>
                <a:close/>
                <a:moveTo>
                  <a:pt x="8375869" y="2153896"/>
                </a:moveTo>
                <a:lnTo>
                  <a:pt x="8385779" y="2153896"/>
                </a:lnTo>
                <a:lnTo>
                  <a:pt x="8389799" y="2157935"/>
                </a:lnTo>
                <a:lnTo>
                  <a:pt x="8389799" y="2167805"/>
                </a:lnTo>
                <a:lnTo>
                  <a:pt x="8385779" y="2171844"/>
                </a:lnTo>
                <a:lnTo>
                  <a:pt x="8375869" y="2171844"/>
                </a:lnTo>
                <a:lnTo>
                  <a:pt x="8371850" y="2167805"/>
                </a:lnTo>
                <a:lnTo>
                  <a:pt x="8371850" y="2157935"/>
                </a:lnTo>
                <a:close/>
                <a:moveTo>
                  <a:pt x="9333125" y="2153895"/>
                </a:moveTo>
                <a:lnTo>
                  <a:pt x="9343036" y="2153895"/>
                </a:lnTo>
                <a:lnTo>
                  <a:pt x="9347055" y="2157934"/>
                </a:lnTo>
                <a:lnTo>
                  <a:pt x="9347055" y="2167805"/>
                </a:lnTo>
                <a:lnTo>
                  <a:pt x="9343036" y="2171844"/>
                </a:lnTo>
                <a:lnTo>
                  <a:pt x="9333125" y="2171844"/>
                </a:lnTo>
                <a:lnTo>
                  <a:pt x="9329106" y="2167805"/>
                </a:lnTo>
                <a:lnTo>
                  <a:pt x="9329106" y="2157934"/>
                </a:lnTo>
                <a:close/>
                <a:moveTo>
                  <a:pt x="9093811" y="2153895"/>
                </a:moveTo>
                <a:lnTo>
                  <a:pt x="9103722" y="2153895"/>
                </a:lnTo>
                <a:lnTo>
                  <a:pt x="9107741" y="2157935"/>
                </a:lnTo>
                <a:lnTo>
                  <a:pt x="9107741" y="2167805"/>
                </a:lnTo>
                <a:lnTo>
                  <a:pt x="9103722" y="2171844"/>
                </a:lnTo>
                <a:lnTo>
                  <a:pt x="9093811" y="2171844"/>
                </a:lnTo>
                <a:lnTo>
                  <a:pt x="9089792" y="2167805"/>
                </a:lnTo>
                <a:lnTo>
                  <a:pt x="9089792" y="2157935"/>
                </a:lnTo>
                <a:close/>
                <a:moveTo>
                  <a:pt x="8854496" y="2153895"/>
                </a:moveTo>
                <a:lnTo>
                  <a:pt x="8864407" y="2153895"/>
                </a:lnTo>
                <a:lnTo>
                  <a:pt x="8868426" y="2157935"/>
                </a:lnTo>
                <a:lnTo>
                  <a:pt x="8868426" y="2167805"/>
                </a:lnTo>
                <a:lnTo>
                  <a:pt x="8864407" y="2171844"/>
                </a:lnTo>
                <a:lnTo>
                  <a:pt x="8854496" y="2171844"/>
                </a:lnTo>
                <a:lnTo>
                  <a:pt x="8850477" y="2167805"/>
                </a:lnTo>
                <a:lnTo>
                  <a:pt x="8850477" y="2157935"/>
                </a:lnTo>
                <a:close/>
                <a:moveTo>
                  <a:pt x="9572438" y="2153876"/>
                </a:moveTo>
                <a:lnTo>
                  <a:pt x="9582349" y="2153876"/>
                </a:lnTo>
                <a:lnTo>
                  <a:pt x="9586368" y="2157914"/>
                </a:lnTo>
                <a:lnTo>
                  <a:pt x="9586368" y="2167786"/>
                </a:lnTo>
                <a:lnTo>
                  <a:pt x="9582349" y="2171824"/>
                </a:lnTo>
                <a:lnTo>
                  <a:pt x="9572438" y="2171824"/>
                </a:lnTo>
                <a:lnTo>
                  <a:pt x="9568419" y="2167786"/>
                </a:lnTo>
                <a:lnTo>
                  <a:pt x="9568419" y="2157914"/>
                </a:lnTo>
                <a:close/>
                <a:moveTo>
                  <a:pt x="1200582" y="2153867"/>
                </a:moveTo>
                <a:lnTo>
                  <a:pt x="1210491" y="2153867"/>
                </a:lnTo>
                <a:lnTo>
                  <a:pt x="1214510" y="2157906"/>
                </a:lnTo>
                <a:lnTo>
                  <a:pt x="1214510" y="2167776"/>
                </a:lnTo>
                <a:lnTo>
                  <a:pt x="1210491" y="2171815"/>
                </a:lnTo>
                <a:lnTo>
                  <a:pt x="1200582" y="2171815"/>
                </a:lnTo>
                <a:lnTo>
                  <a:pt x="1196562" y="2167776"/>
                </a:lnTo>
                <a:lnTo>
                  <a:pt x="1196562" y="2157906"/>
                </a:lnTo>
                <a:close/>
                <a:moveTo>
                  <a:pt x="961268" y="2153867"/>
                </a:moveTo>
                <a:lnTo>
                  <a:pt x="971179" y="2153867"/>
                </a:lnTo>
                <a:lnTo>
                  <a:pt x="975198" y="2157906"/>
                </a:lnTo>
                <a:lnTo>
                  <a:pt x="975198" y="2167776"/>
                </a:lnTo>
                <a:lnTo>
                  <a:pt x="971179" y="2171815"/>
                </a:lnTo>
                <a:lnTo>
                  <a:pt x="961268" y="2171815"/>
                </a:lnTo>
                <a:lnTo>
                  <a:pt x="957250" y="2167776"/>
                </a:lnTo>
                <a:lnTo>
                  <a:pt x="957250" y="2157906"/>
                </a:lnTo>
                <a:close/>
                <a:moveTo>
                  <a:pt x="1679214" y="2153867"/>
                </a:moveTo>
                <a:lnTo>
                  <a:pt x="1689123" y="2153867"/>
                </a:lnTo>
                <a:lnTo>
                  <a:pt x="1693144" y="2157905"/>
                </a:lnTo>
                <a:lnTo>
                  <a:pt x="1693144" y="2167775"/>
                </a:lnTo>
                <a:lnTo>
                  <a:pt x="1689123" y="2171814"/>
                </a:lnTo>
                <a:lnTo>
                  <a:pt x="1679214" y="2171814"/>
                </a:lnTo>
                <a:lnTo>
                  <a:pt x="1675195" y="2167775"/>
                </a:lnTo>
                <a:lnTo>
                  <a:pt x="1675195" y="2157905"/>
                </a:lnTo>
                <a:close/>
                <a:moveTo>
                  <a:pt x="1439897" y="2153867"/>
                </a:moveTo>
                <a:lnTo>
                  <a:pt x="1449807" y="2153867"/>
                </a:lnTo>
                <a:lnTo>
                  <a:pt x="1453826" y="2157905"/>
                </a:lnTo>
                <a:lnTo>
                  <a:pt x="1453826" y="2167776"/>
                </a:lnTo>
                <a:lnTo>
                  <a:pt x="1449807" y="2171814"/>
                </a:lnTo>
                <a:lnTo>
                  <a:pt x="1439897" y="2171814"/>
                </a:lnTo>
                <a:lnTo>
                  <a:pt x="1435878" y="2167776"/>
                </a:lnTo>
                <a:lnTo>
                  <a:pt x="1435878" y="2157905"/>
                </a:lnTo>
                <a:close/>
                <a:moveTo>
                  <a:pt x="1918513" y="2153855"/>
                </a:moveTo>
                <a:lnTo>
                  <a:pt x="1928422" y="2153855"/>
                </a:lnTo>
                <a:lnTo>
                  <a:pt x="1932443" y="2157892"/>
                </a:lnTo>
                <a:lnTo>
                  <a:pt x="1932443" y="2167763"/>
                </a:lnTo>
                <a:lnTo>
                  <a:pt x="1928422" y="2171803"/>
                </a:lnTo>
                <a:lnTo>
                  <a:pt x="1918513" y="2171803"/>
                </a:lnTo>
                <a:lnTo>
                  <a:pt x="1914494" y="2167763"/>
                </a:lnTo>
                <a:lnTo>
                  <a:pt x="1914494" y="2157892"/>
                </a:lnTo>
                <a:close/>
                <a:moveTo>
                  <a:pt x="2157821" y="2153850"/>
                </a:moveTo>
                <a:lnTo>
                  <a:pt x="2167732" y="2153850"/>
                </a:lnTo>
                <a:lnTo>
                  <a:pt x="2171750" y="2157889"/>
                </a:lnTo>
                <a:lnTo>
                  <a:pt x="2171750" y="2167759"/>
                </a:lnTo>
                <a:lnTo>
                  <a:pt x="2167732" y="2171798"/>
                </a:lnTo>
                <a:lnTo>
                  <a:pt x="2157821" y="2171798"/>
                </a:lnTo>
                <a:lnTo>
                  <a:pt x="2153803" y="2167759"/>
                </a:lnTo>
                <a:lnTo>
                  <a:pt x="2153803" y="2157889"/>
                </a:lnTo>
                <a:close/>
                <a:moveTo>
                  <a:pt x="4032" y="2153832"/>
                </a:moveTo>
                <a:lnTo>
                  <a:pt x="13942" y="2153832"/>
                </a:lnTo>
                <a:lnTo>
                  <a:pt x="17961" y="2157870"/>
                </a:lnTo>
                <a:lnTo>
                  <a:pt x="17961" y="2167741"/>
                </a:lnTo>
                <a:lnTo>
                  <a:pt x="13942" y="2171780"/>
                </a:lnTo>
                <a:lnTo>
                  <a:pt x="4032" y="2171780"/>
                </a:lnTo>
                <a:lnTo>
                  <a:pt x="13" y="2167741"/>
                </a:lnTo>
                <a:lnTo>
                  <a:pt x="13" y="2157870"/>
                </a:lnTo>
                <a:close/>
                <a:moveTo>
                  <a:pt x="721971" y="2153832"/>
                </a:moveTo>
                <a:lnTo>
                  <a:pt x="731881" y="2153832"/>
                </a:lnTo>
                <a:lnTo>
                  <a:pt x="735900" y="2157870"/>
                </a:lnTo>
                <a:lnTo>
                  <a:pt x="735900" y="2167740"/>
                </a:lnTo>
                <a:lnTo>
                  <a:pt x="731881" y="2171780"/>
                </a:lnTo>
                <a:lnTo>
                  <a:pt x="721971" y="2171780"/>
                </a:lnTo>
                <a:lnTo>
                  <a:pt x="717952" y="2167740"/>
                </a:lnTo>
                <a:lnTo>
                  <a:pt x="717952" y="2157870"/>
                </a:lnTo>
                <a:close/>
                <a:moveTo>
                  <a:pt x="482659" y="2153832"/>
                </a:moveTo>
                <a:lnTo>
                  <a:pt x="492569" y="2153832"/>
                </a:lnTo>
                <a:lnTo>
                  <a:pt x="496588" y="2157870"/>
                </a:lnTo>
                <a:lnTo>
                  <a:pt x="496588" y="2167741"/>
                </a:lnTo>
                <a:lnTo>
                  <a:pt x="492569" y="2171780"/>
                </a:lnTo>
                <a:lnTo>
                  <a:pt x="482659" y="2171780"/>
                </a:lnTo>
                <a:lnTo>
                  <a:pt x="478640" y="2167741"/>
                </a:lnTo>
                <a:lnTo>
                  <a:pt x="478640" y="2157870"/>
                </a:lnTo>
                <a:close/>
                <a:moveTo>
                  <a:pt x="243345" y="2153832"/>
                </a:moveTo>
                <a:lnTo>
                  <a:pt x="253255" y="2153832"/>
                </a:lnTo>
                <a:lnTo>
                  <a:pt x="257274" y="2157870"/>
                </a:lnTo>
                <a:lnTo>
                  <a:pt x="257274" y="2167741"/>
                </a:lnTo>
                <a:lnTo>
                  <a:pt x="253255" y="2171780"/>
                </a:lnTo>
                <a:lnTo>
                  <a:pt x="243345" y="2171780"/>
                </a:lnTo>
                <a:lnTo>
                  <a:pt x="239326" y="2167741"/>
                </a:lnTo>
                <a:lnTo>
                  <a:pt x="239326" y="2157870"/>
                </a:lnTo>
                <a:close/>
                <a:moveTo>
                  <a:pt x="2393104" y="1914701"/>
                </a:moveTo>
                <a:lnTo>
                  <a:pt x="2403015" y="1914701"/>
                </a:lnTo>
                <a:lnTo>
                  <a:pt x="2407034" y="1918739"/>
                </a:lnTo>
                <a:lnTo>
                  <a:pt x="2407034" y="1928610"/>
                </a:lnTo>
                <a:lnTo>
                  <a:pt x="2403015" y="1932649"/>
                </a:lnTo>
                <a:lnTo>
                  <a:pt x="2393104" y="1932649"/>
                </a:lnTo>
                <a:lnTo>
                  <a:pt x="2389087" y="1928610"/>
                </a:lnTo>
                <a:lnTo>
                  <a:pt x="2389087" y="1918739"/>
                </a:lnTo>
                <a:close/>
                <a:moveTo>
                  <a:pt x="3350359" y="1914699"/>
                </a:moveTo>
                <a:lnTo>
                  <a:pt x="3360268" y="1914699"/>
                </a:lnTo>
                <a:lnTo>
                  <a:pt x="3364287" y="1918738"/>
                </a:lnTo>
                <a:lnTo>
                  <a:pt x="3364287" y="1928610"/>
                </a:lnTo>
                <a:lnTo>
                  <a:pt x="3360268" y="1932649"/>
                </a:lnTo>
                <a:lnTo>
                  <a:pt x="3350359" y="1932649"/>
                </a:lnTo>
                <a:lnTo>
                  <a:pt x="3346340" y="1928610"/>
                </a:lnTo>
                <a:lnTo>
                  <a:pt x="3346340" y="1918738"/>
                </a:lnTo>
                <a:close/>
                <a:moveTo>
                  <a:pt x="3111048" y="1914699"/>
                </a:moveTo>
                <a:lnTo>
                  <a:pt x="3120959" y="1914699"/>
                </a:lnTo>
                <a:lnTo>
                  <a:pt x="3124977" y="1918739"/>
                </a:lnTo>
                <a:lnTo>
                  <a:pt x="3124977" y="1928610"/>
                </a:lnTo>
                <a:lnTo>
                  <a:pt x="3120959" y="1932649"/>
                </a:lnTo>
                <a:lnTo>
                  <a:pt x="3111048" y="1932649"/>
                </a:lnTo>
                <a:lnTo>
                  <a:pt x="3107029" y="1928610"/>
                </a:lnTo>
                <a:lnTo>
                  <a:pt x="3107029" y="1918739"/>
                </a:lnTo>
                <a:close/>
                <a:moveTo>
                  <a:pt x="2871737" y="1914699"/>
                </a:moveTo>
                <a:lnTo>
                  <a:pt x="2881646" y="1914699"/>
                </a:lnTo>
                <a:lnTo>
                  <a:pt x="2885666" y="1918739"/>
                </a:lnTo>
                <a:lnTo>
                  <a:pt x="2885666" y="1928610"/>
                </a:lnTo>
                <a:lnTo>
                  <a:pt x="2881646" y="1932649"/>
                </a:lnTo>
                <a:lnTo>
                  <a:pt x="2871737" y="1932649"/>
                </a:lnTo>
                <a:lnTo>
                  <a:pt x="2867717" y="1928610"/>
                </a:lnTo>
                <a:lnTo>
                  <a:pt x="2867717" y="1918739"/>
                </a:lnTo>
                <a:close/>
                <a:moveTo>
                  <a:pt x="2632423" y="1914699"/>
                </a:moveTo>
                <a:lnTo>
                  <a:pt x="2642334" y="1914699"/>
                </a:lnTo>
                <a:lnTo>
                  <a:pt x="2646352" y="1918739"/>
                </a:lnTo>
                <a:lnTo>
                  <a:pt x="2646352" y="1928610"/>
                </a:lnTo>
                <a:lnTo>
                  <a:pt x="2642334" y="1932649"/>
                </a:lnTo>
                <a:lnTo>
                  <a:pt x="2632423" y="1932649"/>
                </a:lnTo>
                <a:lnTo>
                  <a:pt x="2628404" y="1928610"/>
                </a:lnTo>
                <a:lnTo>
                  <a:pt x="2628404" y="1918739"/>
                </a:lnTo>
                <a:close/>
                <a:moveTo>
                  <a:pt x="3589676" y="1914682"/>
                </a:moveTo>
                <a:lnTo>
                  <a:pt x="3599585" y="1914682"/>
                </a:lnTo>
                <a:lnTo>
                  <a:pt x="3603604" y="1918721"/>
                </a:lnTo>
                <a:lnTo>
                  <a:pt x="3603604" y="1928592"/>
                </a:lnTo>
                <a:lnTo>
                  <a:pt x="3599585" y="1932631"/>
                </a:lnTo>
                <a:lnTo>
                  <a:pt x="3589676" y="1932631"/>
                </a:lnTo>
                <a:lnTo>
                  <a:pt x="3585657" y="1928592"/>
                </a:lnTo>
                <a:lnTo>
                  <a:pt x="3585657" y="1918721"/>
                </a:lnTo>
                <a:close/>
                <a:moveTo>
                  <a:pt x="4546929" y="1914681"/>
                </a:moveTo>
                <a:lnTo>
                  <a:pt x="4556840" y="1914681"/>
                </a:lnTo>
                <a:lnTo>
                  <a:pt x="4560859" y="1918719"/>
                </a:lnTo>
                <a:lnTo>
                  <a:pt x="4560859" y="1928592"/>
                </a:lnTo>
                <a:lnTo>
                  <a:pt x="4556840" y="1932631"/>
                </a:lnTo>
                <a:lnTo>
                  <a:pt x="4546929" y="1932631"/>
                </a:lnTo>
                <a:lnTo>
                  <a:pt x="4542910" y="1928592"/>
                </a:lnTo>
                <a:lnTo>
                  <a:pt x="4542910" y="1918719"/>
                </a:lnTo>
                <a:close/>
                <a:moveTo>
                  <a:pt x="4307612" y="1914681"/>
                </a:moveTo>
                <a:lnTo>
                  <a:pt x="4317523" y="1914681"/>
                </a:lnTo>
                <a:lnTo>
                  <a:pt x="4321543" y="1918720"/>
                </a:lnTo>
                <a:lnTo>
                  <a:pt x="4321543" y="1928592"/>
                </a:lnTo>
                <a:lnTo>
                  <a:pt x="4317523" y="1932631"/>
                </a:lnTo>
                <a:lnTo>
                  <a:pt x="4307612" y="1932631"/>
                </a:lnTo>
                <a:lnTo>
                  <a:pt x="4303595" y="1928592"/>
                </a:lnTo>
                <a:lnTo>
                  <a:pt x="4303595" y="1918720"/>
                </a:lnTo>
                <a:close/>
                <a:moveTo>
                  <a:pt x="4068297" y="1914681"/>
                </a:moveTo>
                <a:lnTo>
                  <a:pt x="4078210" y="1914681"/>
                </a:lnTo>
                <a:lnTo>
                  <a:pt x="4082229" y="1918720"/>
                </a:lnTo>
                <a:lnTo>
                  <a:pt x="4082229" y="1928592"/>
                </a:lnTo>
                <a:lnTo>
                  <a:pt x="4078210" y="1932631"/>
                </a:lnTo>
                <a:lnTo>
                  <a:pt x="4068297" y="1932631"/>
                </a:lnTo>
                <a:lnTo>
                  <a:pt x="4064278" y="1928592"/>
                </a:lnTo>
                <a:lnTo>
                  <a:pt x="4064278" y="1918720"/>
                </a:lnTo>
                <a:close/>
                <a:moveTo>
                  <a:pt x="3828990" y="1914681"/>
                </a:moveTo>
                <a:lnTo>
                  <a:pt x="3838899" y="1914681"/>
                </a:lnTo>
                <a:lnTo>
                  <a:pt x="3842917" y="1918720"/>
                </a:lnTo>
                <a:lnTo>
                  <a:pt x="3842917" y="1928592"/>
                </a:lnTo>
                <a:lnTo>
                  <a:pt x="3838899" y="1932631"/>
                </a:lnTo>
                <a:lnTo>
                  <a:pt x="3828990" y="1932631"/>
                </a:lnTo>
                <a:lnTo>
                  <a:pt x="3824971" y="1928592"/>
                </a:lnTo>
                <a:lnTo>
                  <a:pt x="3824971" y="1918720"/>
                </a:lnTo>
                <a:close/>
                <a:moveTo>
                  <a:pt x="4786241" y="1914664"/>
                </a:moveTo>
                <a:lnTo>
                  <a:pt x="4796152" y="1914664"/>
                </a:lnTo>
                <a:lnTo>
                  <a:pt x="4800171" y="1918702"/>
                </a:lnTo>
                <a:lnTo>
                  <a:pt x="4800171" y="1928573"/>
                </a:lnTo>
                <a:lnTo>
                  <a:pt x="4796152" y="1932612"/>
                </a:lnTo>
                <a:lnTo>
                  <a:pt x="4786241" y="1932612"/>
                </a:lnTo>
                <a:lnTo>
                  <a:pt x="4782224" y="1928573"/>
                </a:lnTo>
                <a:lnTo>
                  <a:pt x="4782224" y="1918702"/>
                </a:lnTo>
                <a:close/>
                <a:moveTo>
                  <a:pt x="5504099" y="1914663"/>
                </a:moveTo>
                <a:lnTo>
                  <a:pt x="5514010" y="1914663"/>
                </a:lnTo>
                <a:lnTo>
                  <a:pt x="5518029" y="1918702"/>
                </a:lnTo>
                <a:lnTo>
                  <a:pt x="5518029" y="1928572"/>
                </a:lnTo>
                <a:lnTo>
                  <a:pt x="5514010" y="1932612"/>
                </a:lnTo>
                <a:lnTo>
                  <a:pt x="5504099" y="1932612"/>
                </a:lnTo>
                <a:lnTo>
                  <a:pt x="5500080" y="1928572"/>
                </a:lnTo>
                <a:lnTo>
                  <a:pt x="5500080" y="1918702"/>
                </a:lnTo>
                <a:close/>
                <a:moveTo>
                  <a:pt x="5264784" y="1914663"/>
                </a:moveTo>
                <a:lnTo>
                  <a:pt x="5274694" y="1914663"/>
                </a:lnTo>
                <a:lnTo>
                  <a:pt x="5278713" y="1918702"/>
                </a:lnTo>
                <a:lnTo>
                  <a:pt x="5278713" y="1928573"/>
                </a:lnTo>
                <a:lnTo>
                  <a:pt x="5274694" y="1932612"/>
                </a:lnTo>
                <a:lnTo>
                  <a:pt x="5264784" y="1932612"/>
                </a:lnTo>
                <a:lnTo>
                  <a:pt x="5260765" y="1928573"/>
                </a:lnTo>
                <a:lnTo>
                  <a:pt x="5260765" y="1918702"/>
                </a:lnTo>
                <a:close/>
                <a:moveTo>
                  <a:pt x="5025470" y="1914663"/>
                </a:moveTo>
                <a:lnTo>
                  <a:pt x="5035381" y="1914663"/>
                </a:lnTo>
                <a:lnTo>
                  <a:pt x="5039400" y="1918702"/>
                </a:lnTo>
                <a:lnTo>
                  <a:pt x="5039400" y="1928573"/>
                </a:lnTo>
                <a:lnTo>
                  <a:pt x="5035381" y="1932612"/>
                </a:lnTo>
                <a:lnTo>
                  <a:pt x="5025470" y="1932612"/>
                </a:lnTo>
                <a:lnTo>
                  <a:pt x="5021451" y="1928573"/>
                </a:lnTo>
                <a:lnTo>
                  <a:pt x="5021451" y="1918702"/>
                </a:lnTo>
                <a:close/>
                <a:moveTo>
                  <a:pt x="5743412" y="1914662"/>
                </a:moveTo>
                <a:lnTo>
                  <a:pt x="5753323" y="1914662"/>
                </a:lnTo>
                <a:lnTo>
                  <a:pt x="5757342" y="1918701"/>
                </a:lnTo>
                <a:lnTo>
                  <a:pt x="5757342" y="1928572"/>
                </a:lnTo>
                <a:lnTo>
                  <a:pt x="5753323" y="1932612"/>
                </a:lnTo>
                <a:lnTo>
                  <a:pt x="5743412" y="1932612"/>
                </a:lnTo>
                <a:lnTo>
                  <a:pt x="5739393" y="1928572"/>
                </a:lnTo>
                <a:lnTo>
                  <a:pt x="5739393" y="1918701"/>
                </a:lnTo>
                <a:close/>
                <a:moveTo>
                  <a:pt x="5982729" y="1914645"/>
                </a:moveTo>
                <a:lnTo>
                  <a:pt x="5992639" y="1914645"/>
                </a:lnTo>
                <a:lnTo>
                  <a:pt x="5996658" y="1918684"/>
                </a:lnTo>
                <a:lnTo>
                  <a:pt x="5996658" y="1928555"/>
                </a:lnTo>
                <a:lnTo>
                  <a:pt x="5992639" y="1932594"/>
                </a:lnTo>
                <a:lnTo>
                  <a:pt x="5982729" y="1932594"/>
                </a:lnTo>
                <a:lnTo>
                  <a:pt x="5978710" y="1928555"/>
                </a:lnTo>
                <a:lnTo>
                  <a:pt x="5978710" y="1918684"/>
                </a:lnTo>
                <a:close/>
                <a:moveTo>
                  <a:pt x="6939983" y="1914645"/>
                </a:moveTo>
                <a:lnTo>
                  <a:pt x="6949894" y="1914645"/>
                </a:lnTo>
                <a:lnTo>
                  <a:pt x="6953913" y="1918682"/>
                </a:lnTo>
                <a:lnTo>
                  <a:pt x="6953913" y="1928554"/>
                </a:lnTo>
                <a:lnTo>
                  <a:pt x="6949894" y="1932594"/>
                </a:lnTo>
                <a:lnTo>
                  <a:pt x="6939983" y="1932594"/>
                </a:lnTo>
                <a:lnTo>
                  <a:pt x="6935964" y="1928554"/>
                </a:lnTo>
                <a:lnTo>
                  <a:pt x="6935964" y="1918682"/>
                </a:lnTo>
                <a:close/>
                <a:moveTo>
                  <a:pt x="6700670" y="1914645"/>
                </a:moveTo>
                <a:lnTo>
                  <a:pt x="6710581" y="1914645"/>
                </a:lnTo>
                <a:lnTo>
                  <a:pt x="6714600" y="1918683"/>
                </a:lnTo>
                <a:lnTo>
                  <a:pt x="6714600" y="1928554"/>
                </a:lnTo>
                <a:lnTo>
                  <a:pt x="6710581" y="1932594"/>
                </a:lnTo>
                <a:lnTo>
                  <a:pt x="6700670" y="1932594"/>
                </a:lnTo>
                <a:lnTo>
                  <a:pt x="6696651" y="1928554"/>
                </a:lnTo>
                <a:lnTo>
                  <a:pt x="6696651" y="1918683"/>
                </a:lnTo>
                <a:close/>
                <a:moveTo>
                  <a:pt x="6461356" y="1914645"/>
                </a:moveTo>
                <a:lnTo>
                  <a:pt x="6471266" y="1914645"/>
                </a:lnTo>
                <a:lnTo>
                  <a:pt x="6475285" y="1918683"/>
                </a:lnTo>
                <a:lnTo>
                  <a:pt x="6475285" y="1928555"/>
                </a:lnTo>
                <a:lnTo>
                  <a:pt x="6471266" y="1932594"/>
                </a:lnTo>
                <a:lnTo>
                  <a:pt x="6461356" y="1932594"/>
                </a:lnTo>
                <a:lnTo>
                  <a:pt x="6457337" y="1928555"/>
                </a:lnTo>
                <a:lnTo>
                  <a:pt x="6457337" y="1918683"/>
                </a:lnTo>
                <a:close/>
                <a:moveTo>
                  <a:pt x="6222042" y="1914645"/>
                </a:moveTo>
                <a:lnTo>
                  <a:pt x="6231952" y="1914645"/>
                </a:lnTo>
                <a:lnTo>
                  <a:pt x="6235971" y="1918683"/>
                </a:lnTo>
                <a:lnTo>
                  <a:pt x="6235971" y="1928555"/>
                </a:lnTo>
                <a:lnTo>
                  <a:pt x="6231952" y="1932594"/>
                </a:lnTo>
                <a:lnTo>
                  <a:pt x="6222042" y="1932594"/>
                </a:lnTo>
                <a:lnTo>
                  <a:pt x="6218023" y="1928555"/>
                </a:lnTo>
                <a:lnTo>
                  <a:pt x="6218023" y="1918683"/>
                </a:lnTo>
                <a:close/>
                <a:moveTo>
                  <a:pt x="7179298" y="1914627"/>
                </a:moveTo>
                <a:lnTo>
                  <a:pt x="7189209" y="1914627"/>
                </a:lnTo>
                <a:lnTo>
                  <a:pt x="7193228" y="1918666"/>
                </a:lnTo>
                <a:lnTo>
                  <a:pt x="7193228" y="1928536"/>
                </a:lnTo>
                <a:lnTo>
                  <a:pt x="7189209" y="1932575"/>
                </a:lnTo>
                <a:lnTo>
                  <a:pt x="7179298" y="1932575"/>
                </a:lnTo>
                <a:lnTo>
                  <a:pt x="7175279" y="1928536"/>
                </a:lnTo>
                <a:lnTo>
                  <a:pt x="7175279" y="1918666"/>
                </a:lnTo>
                <a:close/>
                <a:moveTo>
                  <a:pt x="7897241" y="1914627"/>
                </a:moveTo>
                <a:lnTo>
                  <a:pt x="7907151" y="1914627"/>
                </a:lnTo>
                <a:lnTo>
                  <a:pt x="7911170" y="1918664"/>
                </a:lnTo>
                <a:lnTo>
                  <a:pt x="7911170" y="1928535"/>
                </a:lnTo>
                <a:lnTo>
                  <a:pt x="7907151" y="1932575"/>
                </a:lnTo>
                <a:lnTo>
                  <a:pt x="7897241" y="1932575"/>
                </a:lnTo>
                <a:lnTo>
                  <a:pt x="7893222" y="1928535"/>
                </a:lnTo>
                <a:lnTo>
                  <a:pt x="7893222" y="1918664"/>
                </a:lnTo>
                <a:close/>
                <a:moveTo>
                  <a:pt x="7657926" y="1914627"/>
                </a:moveTo>
                <a:lnTo>
                  <a:pt x="7667836" y="1914627"/>
                </a:lnTo>
                <a:lnTo>
                  <a:pt x="7671855" y="1918664"/>
                </a:lnTo>
                <a:lnTo>
                  <a:pt x="7671855" y="1928536"/>
                </a:lnTo>
                <a:lnTo>
                  <a:pt x="7667836" y="1932575"/>
                </a:lnTo>
                <a:lnTo>
                  <a:pt x="7657926" y="1932575"/>
                </a:lnTo>
                <a:lnTo>
                  <a:pt x="7653906" y="1928536"/>
                </a:lnTo>
                <a:lnTo>
                  <a:pt x="7653906" y="1918664"/>
                </a:lnTo>
                <a:close/>
                <a:moveTo>
                  <a:pt x="7418611" y="1914627"/>
                </a:moveTo>
                <a:lnTo>
                  <a:pt x="7428521" y="1914627"/>
                </a:lnTo>
                <a:lnTo>
                  <a:pt x="7432540" y="1918664"/>
                </a:lnTo>
                <a:lnTo>
                  <a:pt x="7432540" y="1928536"/>
                </a:lnTo>
                <a:lnTo>
                  <a:pt x="7428521" y="1932575"/>
                </a:lnTo>
                <a:lnTo>
                  <a:pt x="7418611" y="1932575"/>
                </a:lnTo>
                <a:lnTo>
                  <a:pt x="7414592" y="1928536"/>
                </a:lnTo>
                <a:lnTo>
                  <a:pt x="7414592" y="1918664"/>
                </a:lnTo>
                <a:close/>
                <a:moveTo>
                  <a:pt x="8136553" y="1914626"/>
                </a:moveTo>
                <a:lnTo>
                  <a:pt x="8146464" y="1914626"/>
                </a:lnTo>
                <a:lnTo>
                  <a:pt x="8150483" y="1918664"/>
                </a:lnTo>
                <a:lnTo>
                  <a:pt x="8150483" y="1928535"/>
                </a:lnTo>
                <a:lnTo>
                  <a:pt x="8146464" y="1932575"/>
                </a:lnTo>
                <a:lnTo>
                  <a:pt x="8136553" y="1932575"/>
                </a:lnTo>
                <a:lnTo>
                  <a:pt x="8132534" y="1928535"/>
                </a:lnTo>
                <a:lnTo>
                  <a:pt x="8132534" y="1918664"/>
                </a:lnTo>
                <a:close/>
                <a:moveTo>
                  <a:pt x="8375869" y="1914608"/>
                </a:moveTo>
                <a:lnTo>
                  <a:pt x="8385779" y="1914608"/>
                </a:lnTo>
                <a:lnTo>
                  <a:pt x="8389799" y="1918647"/>
                </a:lnTo>
                <a:lnTo>
                  <a:pt x="8389799" y="1928518"/>
                </a:lnTo>
                <a:lnTo>
                  <a:pt x="8385779" y="1932557"/>
                </a:lnTo>
                <a:lnTo>
                  <a:pt x="8375869" y="1932557"/>
                </a:lnTo>
                <a:lnTo>
                  <a:pt x="8371850" y="1928518"/>
                </a:lnTo>
                <a:lnTo>
                  <a:pt x="8371850" y="1918647"/>
                </a:lnTo>
                <a:close/>
                <a:moveTo>
                  <a:pt x="9333125" y="1914608"/>
                </a:moveTo>
                <a:lnTo>
                  <a:pt x="9343036" y="1914608"/>
                </a:lnTo>
                <a:lnTo>
                  <a:pt x="9347055" y="1918646"/>
                </a:lnTo>
                <a:lnTo>
                  <a:pt x="9347055" y="1928517"/>
                </a:lnTo>
                <a:lnTo>
                  <a:pt x="9343036" y="1932557"/>
                </a:lnTo>
                <a:lnTo>
                  <a:pt x="9333125" y="1932557"/>
                </a:lnTo>
                <a:lnTo>
                  <a:pt x="9329106" y="1928517"/>
                </a:lnTo>
                <a:lnTo>
                  <a:pt x="9329106" y="1918646"/>
                </a:lnTo>
                <a:close/>
                <a:moveTo>
                  <a:pt x="9093811" y="1914608"/>
                </a:moveTo>
                <a:lnTo>
                  <a:pt x="9103722" y="1914608"/>
                </a:lnTo>
                <a:lnTo>
                  <a:pt x="9107741" y="1918646"/>
                </a:lnTo>
                <a:lnTo>
                  <a:pt x="9107741" y="1928517"/>
                </a:lnTo>
                <a:lnTo>
                  <a:pt x="9103722" y="1932557"/>
                </a:lnTo>
                <a:lnTo>
                  <a:pt x="9093811" y="1932557"/>
                </a:lnTo>
                <a:lnTo>
                  <a:pt x="9089792" y="1928517"/>
                </a:lnTo>
                <a:lnTo>
                  <a:pt x="9089792" y="1918646"/>
                </a:lnTo>
                <a:close/>
                <a:moveTo>
                  <a:pt x="8854496" y="1914608"/>
                </a:moveTo>
                <a:lnTo>
                  <a:pt x="8864407" y="1914608"/>
                </a:lnTo>
                <a:lnTo>
                  <a:pt x="8868426" y="1918646"/>
                </a:lnTo>
                <a:lnTo>
                  <a:pt x="8868426" y="1928518"/>
                </a:lnTo>
                <a:lnTo>
                  <a:pt x="8864407" y="1932557"/>
                </a:lnTo>
                <a:lnTo>
                  <a:pt x="8854496" y="1932557"/>
                </a:lnTo>
                <a:lnTo>
                  <a:pt x="8850477" y="1928518"/>
                </a:lnTo>
                <a:lnTo>
                  <a:pt x="8850477" y="1918646"/>
                </a:lnTo>
                <a:close/>
                <a:moveTo>
                  <a:pt x="8615184" y="1914608"/>
                </a:moveTo>
                <a:lnTo>
                  <a:pt x="8625095" y="1914608"/>
                </a:lnTo>
                <a:lnTo>
                  <a:pt x="8629114" y="1918646"/>
                </a:lnTo>
                <a:lnTo>
                  <a:pt x="8629114" y="1928518"/>
                </a:lnTo>
                <a:lnTo>
                  <a:pt x="8625095" y="1932557"/>
                </a:lnTo>
                <a:lnTo>
                  <a:pt x="8615184" y="1932557"/>
                </a:lnTo>
                <a:lnTo>
                  <a:pt x="8611165" y="1928518"/>
                </a:lnTo>
                <a:lnTo>
                  <a:pt x="8611165" y="1918646"/>
                </a:lnTo>
                <a:close/>
                <a:moveTo>
                  <a:pt x="9572438" y="1914590"/>
                </a:moveTo>
                <a:lnTo>
                  <a:pt x="9582349" y="1914590"/>
                </a:lnTo>
                <a:lnTo>
                  <a:pt x="9586368" y="1918629"/>
                </a:lnTo>
                <a:lnTo>
                  <a:pt x="9586368" y="1928499"/>
                </a:lnTo>
                <a:lnTo>
                  <a:pt x="9582349" y="1932538"/>
                </a:lnTo>
                <a:lnTo>
                  <a:pt x="9572438" y="1932538"/>
                </a:lnTo>
                <a:lnTo>
                  <a:pt x="9568419" y="1928499"/>
                </a:lnTo>
                <a:lnTo>
                  <a:pt x="9568419" y="1918629"/>
                </a:lnTo>
                <a:close/>
                <a:moveTo>
                  <a:pt x="243346" y="1914550"/>
                </a:moveTo>
                <a:lnTo>
                  <a:pt x="253256" y="1914550"/>
                </a:lnTo>
                <a:lnTo>
                  <a:pt x="257275" y="1918589"/>
                </a:lnTo>
                <a:lnTo>
                  <a:pt x="257275" y="1928459"/>
                </a:lnTo>
                <a:lnTo>
                  <a:pt x="253256" y="1932498"/>
                </a:lnTo>
                <a:lnTo>
                  <a:pt x="243346" y="1932498"/>
                </a:lnTo>
                <a:lnTo>
                  <a:pt x="239327" y="1928459"/>
                </a:lnTo>
                <a:lnTo>
                  <a:pt x="239327" y="1918589"/>
                </a:lnTo>
                <a:close/>
                <a:moveTo>
                  <a:pt x="4032" y="1914550"/>
                </a:moveTo>
                <a:lnTo>
                  <a:pt x="13943" y="1914550"/>
                </a:lnTo>
                <a:lnTo>
                  <a:pt x="17962" y="1918589"/>
                </a:lnTo>
                <a:lnTo>
                  <a:pt x="17962" y="1928459"/>
                </a:lnTo>
                <a:lnTo>
                  <a:pt x="13943" y="1932498"/>
                </a:lnTo>
                <a:lnTo>
                  <a:pt x="4032" y="1932498"/>
                </a:lnTo>
                <a:lnTo>
                  <a:pt x="13" y="1928459"/>
                </a:lnTo>
                <a:lnTo>
                  <a:pt x="13" y="1918589"/>
                </a:lnTo>
                <a:close/>
                <a:moveTo>
                  <a:pt x="721971" y="1914550"/>
                </a:moveTo>
                <a:lnTo>
                  <a:pt x="731882" y="1914550"/>
                </a:lnTo>
                <a:lnTo>
                  <a:pt x="735901" y="1918588"/>
                </a:lnTo>
                <a:lnTo>
                  <a:pt x="735901" y="1928459"/>
                </a:lnTo>
                <a:lnTo>
                  <a:pt x="731882" y="1932497"/>
                </a:lnTo>
                <a:lnTo>
                  <a:pt x="721971" y="1932497"/>
                </a:lnTo>
                <a:lnTo>
                  <a:pt x="717953" y="1928459"/>
                </a:lnTo>
                <a:lnTo>
                  <a:pt x="717953" y="1918588"/>
                </a:lnTo>
                <a:close/>
                <a:moveTo>
                  <a:pt x="482660" y="1914550"/>
                </a:moveTo>
                <a:lnTo>
                  <a:pt x="492570" y="1914550"/>
                </a:lnTo>
                <a:lnTo>
                  <a:pt x="496589" y="1918588"/>
                </a:lnTo>
                <a:lnTo>
                  <a:pt x="496589" y="1928459"/>
                </a:lnTo>
                <a:lnTo>
                  <a:pt x="492570" y="1932497"/>
                </a:lnTo>
                <a:lnTo>
                  <a:pt x="482660" y="1932497"/>
                </a:lnTo>
                <a:lnTo>
                  <a:pt x="478640" y="1928459"/>
                </a:lnTo>
                <a:lnTo>
                  <a:pt x="478640" y="1918588"/>
                </a:lnTo>
                <a:close/>
                <a:moveTo>
                  <a:pt x="1679215" y="1914535"/>
                </a:moveTo>
                <a:lnTo>
                  <a:pt x="1689125" y="1914535"/>
                </a:lnTo>
                <a:lnTo>
                  <a:pt x="1693144" y="1918573"/>
                </a:lnTo>
                <a:lnTo>
                  <a:pt x="1693144" y="1928444"/>
                </a:lnTo>
                <a:lnTo>
                  <a:pt x="1689125" y="1932482"/>
                </a:lnTo>
                <a:lnTo>
                  <a:pt x="1679215" y="1932482"/>
                </a:lnTo>
                <a:lnTo>
                  <a:pt x="1675195" y="1928444"/>
                </a:lnTo>
                <a:lnTo>
                  <a:pt x="1675195" y="1918573"/>
                </a:lnTo>
                <a:close/>
                <a:moveTo>
                  <a:pt x="1439897" y="1914535"/>
                </a:moveTo>
                <a:lnTo>
                  <a:pt x="1449808" y="1914535"/>
                </a:lnTo>
                <a:lnTo>
                  <a:pt x="1453827" y="1918573"/>
                </a:lnTo>
                <a:lnTo>
                  <a:pt x="1453827" y="1928444"/>
                </a:lnTo>
                <a:lnTo>
                  <a:pt x="1449808" y="1932483"/>
                </a:lnTo>
                <a:lnTo>
                  <a:pt x="1439897" y="1932483"/>
                </a:lnTo>
                <a:lnTo>
                  <a:pt x="1435879" y="1928444"/>
                </a:lnTo>
                <a:lnTo>
                  <a:pt x="1435879" y="1918573"/>
                </a:lnTo>
                <a:close/>
                <a:moveTo>
                  <a:pt x="1200582" y="1914535"/>
                </a:moveTo>
                <a:lnTo>
                  <a:pt x="1210492" y="1914535"/>
                </a:lnTo>
                <a:lnTo>
                  <a:pt x="1214511" y="1918573"/>
                </a:lnTo>
                <a:lnTo>
                  <a:pt x="1214511" y="1928444"/>
                </a:lnTo>
                <a:lnTo>
                  <a:pt x="1210492" y="1932483"/>
                </a:lnTo>
                <a:lnTo>
                  <a:pt x="1200582" y="1932483"/>
                </a:lnTo>
                <a:lnTo>
                  <a:pt x="1196563" y="1928444"/>
                </a:lnTo>
                <a:lnTo>
                  <a:pt x="1196563" y="1918573"/>
                </a:lnTo>
                <a:close/>
                <a:moveTo>
                  <a:pt x="961269" y="1914535"/>
                </a:moveTo>
                <a:lnTo>
                  <a:pt x="971179" y="1914535"/>
                </a:lnTo>
                <a:lnTo>
                  <a:pt x="975198" y="1918573"/>
                </a:lnTo>
                <a:lnTo>
                  <a:pt x="975198" y="1928444"/>
                </a:lnTo>
                <a:lnTo>
                  <a:pt x="971179" y="1932483"/>
                </a:lnTo>
                <a:lnTo>
                  <a:pt x="961269" y="1932483"/>
                </a:lnTo>
                <a:lnTo>
                  <a:pt x="957250" y="1928444"/>
                </a:lnTo>
                <a:lnTo>
                  <a:pt x="957250" y="1918573"/>
                </a:lnTo>
                <a:close/>
                <a:moveTo>
                  <a:pt x="1918513" y="1914523"/>
                </a:moveTo>
                <a:lnTo>
                  <a:pt x="1928424" y="1914523"/>
                </a:lnTo>
                <a:lnTo>
                  <a:pt x="1932443" y="1918562"/>
                </a:lnTo>
                <a:lnTo>
                  <a:pt x="1932443" y="1928432"/>
                </a:lnTo>
                <a:lnTo>
                  <a:pt x="1928424" y="1932471"/>
                </a:lnTo>
                <a:lnTo>
                  <a:pt x="1918513" y="1932471"/>
                </a:lnTo>
                <a:lnTo>
                  <a:pt x="1914494" y="1928432"/>
                </a:lnTo>
                <a:lnTo>
                  <a:pt x="1914494" y="1918562"/>
                </a:lnTo>
                <a:close/>
                <a:moveTo>
                  <a:pt x="2157821" y="1914520"/>
                </a:moveTo>
                <a:lnTo>
                  <a:pt x="2167732" y="1914520"/>
                </a:lnTo>
                <a:lnTo>
                  <a:pt x="2171751" y="1918558"/>
                </a:lnTo>
                <a:lnTo>
                  <a:pt x="2171751" y="1928428"/>
                </a:lnTo>
                <a:lnTo>
                  <a:pt x="2167732" y="1932467"/>
                </a:lnTo>
                <a:lnTo>
                  <a:pt x="2157821" y="1932467"/>
                </a:lnTo>
                <a:lnTo>
                  <a:pt x="2153803" y="1928428"/>
                </a:lnTo>
                <a:lnTo>
                  <a:pt x="2153803" y="1918558"/>
                </a:lnTo>
                <a:close/>
                <a:moveTo>
                  <a:pt x="2871737" y="1675350"/>
                </a:moveTo>
                <a:lnTo>
                  <a:pt x="2881646" y="1675350"/>
                </a:lnTo>
                <a:lnTo>
                  <a:pt x="2885666" y="1679389"/>
                </a:lnTo>
                <a:lnTo>
                  <a:pt x="2885666" y="1689260"/>
                </a:lnTo>
                <a:lnTo>
                  <a:pt x="2881646" y="1693299"/>
                </a:lnTo>
                <a:lnTo>
                  <a:pt x="2871737" y="1693299"/>
                </a:lnTo>
                <a:lnTo>
                  <a:pt x="2867717" y="1689260"/>
                </a:lnTo>
                <a:lnTo>
                  <a:pt x="2867717" y="1679389"/>
                </a:lnTo>
                <a:close/>
                <a:moveTo>
                  <a:pt x="2632423" y="1675350"/>
                </a:moveTo>
                <a:lnTo>
                  <a:pt x="2642334" y="1675350"/>
                </a:lnTo>
                <a:lnTo>
                  <a:pt x="2646352" y="1679389"/>
                </a:lnTo>
                <a:lnTo>
                  <a:pt x="2646352" y="1689260"/>
                </a:lnTo>
                <a:lnTo>
                  <a:pt x="2642334" y="1693299"/>
                </a:lnTo>
                <a:lnTo>
                  <a:pt x="2632423" y="1693299"/>
                </a:lnTo>
                <a:lnTo>
                  <a:pt x="2628404" y="1689260"/>
                </a:lnTo>
                <a:lnTo>
                  <a:pt x="2628404" y="1679389"/>
                </a:lnTo>
                <a:close/>
                <a:moveTo>
                  <a:pt x="2393104" y="1675350"/>
                </a:moveTo>
                <a:lnTo>
                  <a:pt x="2403015" y="1675350"/>
                </a:lnTo>
                <a:lnTo>
                  <a:pt x="2407034" y="1679389"/>
                </a:lnTo>
                <a:lnTo>
                  <a:pt x="2407034" y="1689260"/>
                </a:lnTo>
                <a:lnTo>
                  <a:pt x="2403015" y="1693299"/>
                </a:lnTo>
                <a:lnTo>
                  <a:pt x="2393104" y="1693299"/>
                </a:lnTo>
                <a:lnTo>
                  <a:pt x="2389087" y="1689260"/>
                </a:lnTo>
                <a:lnTo>
                  <a:pt x="2389087" y="1679389"/>
                </a:lnTo>
                <a:close/>
                <a:moveTo>
                  <a:pt x="3350359" y="1675349"/>
                </a:moveTo>
                <a:lnTo>
                  <a:pt x="3360268" y="1675349"/>
                </a:lnTo>
                <a:lnTo>
                  <a:pt x="3364287" y="1679388"/>
                </a:lnTo>
                <a:lnTo>
                  <a:pt x="3364287" y="1689260"/>
                </a:lnTo>
                <a:lnTo>
                  <a:pt x="3360268" y="1693298"/>
                </a:lnTo>
                <a:lnTo>
                  <a:pt x="3350359" y="1693298"/>
                </a:lnTo>
                <a:lnTo>
                  <a:pt x="3346340" y="1689260"/>
                </a:lnTo>
                <a:lnTo>
                  <a:pt x="3346340" y="1679388"/>
                </a:lnTo>
                <a:close/>
                <a:moveTo>
                  <a:pt x="3111048" y="1675349"/>
                </a:moveTo>
                <a:lnTo>
                  <a:pt x="3120959" y="1675349"/>
                </a:lnTo>
                <a:lnTo>
                  <a:pt x="3124977" y="1679388"/>
                </a:lnTo>
                <a:lnTo>
                  <a:pt x="3124977" y="1689260"/>
                </a:lnTo>
                <a:lnTo>
                  <a:pt x="3120959" y="1693299"/>
                </a:lnTo>
                <a:lnTo>
                  <a:pt x="3111048" y="1693299"/>
                </a:lnTo>
                <a:lnTo>
                  <a:pt x="3107029" y="1689260"/>
                </a:lnTo>
                <a:lnTo>
                  <a:pt x="3107029" y="1679388"/>
                </a:lnTo>
                <a:close/>
                <a:moveTo>
                  <a:pt x="4068297" y="1675334"/>
                </a:moveTo>
                <a:lnTo>
                  <a:pt x="4078210" y="1675334"/>
                </a:lnTo>
                <a:lnTo>
                  <a:pt x="4082229" y="1679373"/>
                </a:lnTo>
                <a:lnTo>
                  <a:pt x="4082229" y="1689243"/>
                </a:lnTo>
                <a:lnTo>
                  <a:pt x="4078210" y="1693282"/>
                </a:lnTo>
                <a:lnTo>
                  <a:pt x="4068297" y="1693282"/>
                </a:lnTo>
                <a:lnTo>
                  <a:pt x="4064278" y="1689243"/>
                </a:lnTo>
                <a:lnTo>
                  <a:pt x="4064278" y="1679373"/>
                </a:lnTo>
                <a:close/>
                <a:moveTo>
                  <a:pt x="3828990" y="1675334"/>
                </a:moveTo>
                <a:lnTo>
                  <a:pt x="3838899" y="1675334"/>
                </a:lnTo>
                <a:lnTo>
                  <a:pt x="3842917" y="1679373"/>
                </a:lnTo>
                <a:lnTo>
                  <a:pt x="3842917" y="1689243"/>
                </a:lnTo>
                <a:lnTo>
                  <a:pt x="3838899" y="1693282"/>
                </a:lnTo>
                <a:lnTo>
                  <a:pt x="3828990" y="1693282"/>
                </a:lnTo>
                <a:lnTo>
                  <a:pt x="3824971" y="1689243"/>
                </a:lnTo>
                <a:lnTo>
                  <a:pt x="3824971" y="1679373"/>
                </a:lnTo>
                <a:close/>
                <a:moveTo>
                  <a:pt x="3589676" y="1675334"/>
                </a:moveTo>
                <a:lnTo>
                  <a:pt x="3599585" y="1675334"/>
                </a:lnTo>
                <a:lnTo>
                  <a:pt x="3603604" y="1679373"/>
                </a:lnTo>
                <a:lnTo>
                  <a:pt x="3603604" y="1689243"/>
                </a:lnTo>
                <a:lnTo>
                  <a:pt x="3599585" y="1693282"/>
                </a:lnTo>
                <a:lnTo>
                  <a:pt x="3589676" y="1693282"/>
                </a:lnTo>
                <a:lnTo>
                  <a:pt x="3585657" y="1689243"/>
                </a:lnTo>
                <a:lnTo>
                  <a:pt x="3585657" y="1679373"/>
                </a:lnTo>
                <a:close/>
                <a:moveTo>
                  <a:pt x="4546929" y="1675333"/>
                </a:moveTo>
                <a:lnTo>
                  <a:pt x="4556840" y="1675333"/>
                </a:lnTo>
                <a:lnTo>
                  <a:pt x="4560859" y="1679372"/>
                </a:lnTo>
                <a:lnTo>
                  <a:pt x="4560859" y="1689243"/>
                </a:lnTo>
                <a:lnTo>
                  <a:pt x="4556840" y="1693281"/>
                </a:lnTo>
                <a:lnTo>
                  <a:pt x="4546929" y="1693281"/>
                </a:lnTo>
                <a:lnTo>
                  <a:pt x="4542910" y="1689243"/>
                </a:lnTo>
                <a:lnTo>
                  <a:pt x="4542910" y="1679372"/>
                </a:lnTo>
                <a:close/>
                <a:moveTo>
                  <a:pt x="4307612" y="1675333"/>
                </a:moveTo>
                <a:lnTo>
                  <a:pt x="4317523" y="1675333"/>
                </a:lnTo>
                <a:lnTo>
                  <a:pt x="4321543" y="1679372"/>
                </a:lnTo>
                <a:lnTo>
                  <a:pt x="4321543" y="1689243"/>
                </a:lnTo>
                <a:lnTo>
                  <a:pt x="4317523" y="1693282"/>
                </a:lnTo>
                <a:lnTo>
                  <a:pt x="4307612" y="1693282"/>
                </a:lnTo>
                <a:lnTo>
                  <a:pt x="4303595" y="1689243"/>
                </a:lnTo>
                <a:lnTo>
                  <a:pt x="4303595" y="1679372"/>
                </a:lnTo>
                <a:close/>
                <a:moveTo>
                  <a:pt x="5264784" y="1675318"/>
                </a:moveTo>
                <a:lnTo>
                  <a:pt x="5274694" y="1675318"/>
                </a:lnTo>
                <a:lnTo>
                  <a:pt x="5278713" y="1679357"/>
                </a:lnTo>
                <a:lnTo>
                  <a:pt x="5278713" y="1689227"/>
                </a:lnTo>
                <a:lnTo>
                  <a:pt x="5274694" y="1693266"/>
                </a:lnTo>
                <a:lnTo>
                  <a:pt x="5264784" y="1693266"/>
                </a:lnTo>
                <a:lnTo>
                  <a:pt x="5260765" y="1689227"/>
                </a:lnTo>
                <a:lnTo>
                  <a:pt x="5260765" y="1679357"/>
                </a:lnTo>
                <a:close/>
                <a:moveTo>
                  <a:pt x="5025470" y="1675318"/>
                </a:moveTo>
                <a:lnTo>
                  <a:pt x="5035381" y="1675318"/>
                </a:lnTo>
                <a:lnTo>
                  <a:pt x="5039400" y="1679357"/>
                </a:lnTo>
                <a:lnTo>
                  <a:pt x="5039400" y="1689227"/>
                </a:lnTo>
                <a:lnTo>
                  <a:pt x="5035381" y="1693266"/>
                </a:lnTo>
                <a:lnTo>
                  <a:pt x="5025470" y="1693266"/>
                </a:lnTo>
                <a:lnTo>
                  <a:pt x="5021451" y="1689227"/>
                </a:lnTo>
                <a:lnTo>
                  <a:pt x="5021451" y="1679357"/>
                </a:lnTo>
                <a:close/>
                <a:moveTo>
                  <a:pt x="4786241" y="1675318"/>
                </a:moveTo>
                <a:lnTo>
                  <a:pt x="4796152" y="1675318"/>
                </a:lnTo>
                <a:lnTo>
                  <a:pt x="4800171" y="1679357"/>
                </a:lnTo>
                <a:lnTo>
                  <a:pt x="4800171" y="1689227"/>
                </a:lnTo>
                <a:lnTo>
                  <a:pt x="4796152" y="1693266"/>
                </a:lnTo>
                <a:lnTo>
                  <a:pt x="4786241" y="1693266"/>
                </a:lnTo>
                <a:lnTo>
                  <a:pt x="4782224" y="1689227"/>
                </a:lnTo>
                <a:lnTo>
                  <a:pt x="4782224" y="1679357"/>
                </a:lnTo>
                <a:close/>
                <a:moveTo>
                  <a:pt x="5743412" y="1675316"/>
                </a:moveTo>
                <a:lnTo>
                  <a:pt x="5753323" y="1675316"/>
                </a:lnTo>
                <a:lnTo>
                  <a:pt x="5757342" y="1679356"/>
                </a:lnTo>
                <a:lnTo>
                  <a:pt x="5757342" y="1689227"/>
                </a:lnTo>
                <a:lnTo>
                  <a:pt x="5753323" y="1693266"/>
                </a:lnTo>
                <a:lnTo>
                  <a:pt x="5743412" y="1693266"/>
                </a:lnTo>
                <a:lnTo>
                  <a:pt x="5739393" y="1689227"/>
                </a:lnTo>
                <a:lnTo>
                  <a:pt x="5739393" y="1679356"/>
                </a:lnTo>
                <a:close/>
                <a:moveTo>
                  <a:pt x="5504099" y="1675316"/>
                </a:moveTo>
                <a:lnTo>
                  <a:pt x="5514010" y="1675316"/>
                </a:lnTo>
                <a:lnTo>
                  <a:pt x="5518029" y="1679356"/>
                </a:lnTo>
                <a:lnTo>
                  <a:pt x="5518029" y="1689227"/>
                </a:lnTo>
                <a:lnTo>
                  <a:pt x="5514010" y="1693266"/>
                </a:lnTo>
                <a:lnTo>
                  <a:pt x="5504099" y="1693266"/>
                </a:lnTo>
                <a:lnTo>
                  <a:pt x="5500080" y="1689227"/>
                </a:lnTo>
                <a:lnTo>
                  <a:pt x="5500080" y="1679356"/>
                </a:lnTo>
                <a:close/>
                <a:moveTo>
                  <a:pt x="6461356" y="1675301"/>
                </a:moveTo>
                <a:lnTo>
                  <a:pt x="6471266" y="1675301"/>
                </a:lnTo>
                <a:lnTo>
                  <a:pt x="6475285" y="1679339"/>
                </a:lnTo>
                <a:lnTo>
                  <a:pt x="6475285" y="1689210"/>
                </a:lnTo>
                <a:lnTo>
                  <a:pt x="6471266" y="1693249"/>
                </a:lnTo>
                <a:lnTo>
                  <a:pt x="6461356" y="1693249"/>
                </a:lnTo>
                <a:lnTo>
                  <a:pt x="6457337" y="1689210"/>
                </a:lnTo>
                <a:lnTo>
                  <a:pt x="6457337" y="1679339"/>
                </a:lnTo>
                <a:close/>
                <a:moveTo>
                  <a:pt x="6222042" y="1675301"/>
                </a:moveTo>
                <a:lnTo>
                  <a:pt x="6231952" y="1675301"/>
                </a:lnTo>
                <a:lnTo>
                  <a:pt x="6235971" y="1679339"/>
                </a:lnTo>
                <a:lnTo>
                  <a:pt x="6235971" y="1689211"/>
                </a:lnTo>
                <a:lnTo>
                  <a:pt x="6231952" y="1693249"/>
                </a:lnTo>
                <a:lnTo>
                  <a:pt x="6222042" y="1693249"/>
                </a:lnTo>
                <a:lnTo>
                  <a:pt x="6218023" y="1689211"/>
                </a:lnTo>
                <a:lnTo>
                  <a:pt x="6218023" y="1679339"/>
                </a:lnTo>
                <a:close/>
                <a:moveTo>
                  <a:pt x="5982729" y="1675301"/>
                </a:moveTo>
                <a:lnTo>
                  <a:pt x="5992639" y="1675301"/>
                </a:lnTo>
                <a:lnTo>
                  <a:pt x="5996658" y="1679339"/>
                </a:lnTo>
                <a:lnTo>
                  <a:pt x="5996658" y="1689211"/>
                </a:lnTo>
                <a:lnTo>
                  <a:pt x="5992639" y="1693251"/>
                </a:lnTo>
                <a:lnTo>
                  <a:pt x="5982729" y="1693251"/>
                </a:lnTo>
                <a:lnTo>
                  <a:pt x="5978710" y="1689211"/>
                </a:lnTo>
                <a:lnTo>
                  <a:pt x="5978710" y="1679339"/>
                </a:lnTo>
                <a:close/>
                <a:moveTo>
                  <a:pt x="6939983" y="1675300"/>
                </a:moveTo>
                <a:lnTo>
                  <a:pt x="6949894" y="1675300"/>
                </a:lnTo>
                <a:lnTo>
                  <a:pt x="6953913" y="1679339"/>
                </a:lnTo>
                <a:lnTo>
                  <a:pt x="6953913" y="1689210"/>
                </a:lnTo>
                <a:lnTo>
                  <a:pt x="6949894" y="1693249"/>
                </a:lnTo>
                <a:lnTo>
                  <a:pt x="6939983" y="1693249"/>
                </a:lnTo>
                <a:lnTo>
                  <a:pt x="6935964" y="1689210"/>
                </a:lnTo>
                <a:lnTo>
                  <a:pt x="6935964" y="1679339"/>
                </a:lnTo>
                <a:close/>
                <a:moveTo>
                  <a:pt x="6700670" y="1675300"/>
                </a:moveTo>
                <a:lnTo>
                  <a:pt x="6710581" y="1675300"/>
                </a:lnTo>
                <a:lnTo>
                  <a:pt x="6714600" y="1679339"/>
                </a:lnTo>
                <a:lnTo>
                  <a:pt x="6714600" y="1689210"/>
                </a:lnTo>
                <a:lnTo>
                  <a:pt x="6710581" y="1693249"/>
                </a:lnTo>
                <a:lnTo>
                  <a:pt x="6700670" y="1693249"/>
                </a:lnTo>
                <a:lnTo>
                  <a:pt x="6696651" y="1689210"/>
                </a:lnTo>
                <a:lnTo>
                  <a:pt x="6696651" y="1679339"/>
                </a:lnTo>
                <a:close/>
                <a:moveTo>
                  <a:pt x="8136553" y="1675285"/>
                </a:moveTo>
                <a:lnTo>
                  <a:pt x="8146464" y="1675285"/>
                </a:lnTo>
                <a:lnTo>
                  <a:pt x="8150483" y="1679323"/>
                </a:lnTo>
                <a:lnTo>
                  <a:pt x="8150483" y="1689193"/>
                </a:lnTo>
                <a:lnTo>
                  <a:pt x="8146464" y="1693232"/>
                </a:lnTo>
                <a:lnTo>
                  <a:pt x="8136553" y="1693232"/>
                </a:lnTo>
                <a:lnTo>
                  <a:pt x="8132534" y="1689193"/>
                </a:lnTo>
                <a:lnTo>
                  <a:pt x="8132534" y="1679323"/>
                </a:lnTo>
                <a:close/>
                <a:moveTo>
                  <a:pt x="7897241" y="1675285"/>
                </a:moveTo>
                <a:lnTo>
                  <a:pt x="7907151" y="1675285"/>
                </a:lnTo>
                <a:lnTo>
                  <a:pt x="7911170" y="1679323"/>
                </a:lnTo>
                <a:lnTo>
                  <a:pt x="7911170" y="1689193"/>
                </a:lnTo>
                <a:lnTo>
                  <a:pt x="7907151" y="1693232"/>
                </a:lnTo>
                <a:lnTo>
                  <a:pt x="7897241" y="1693232"/>
                </a:lnTo>
                <a:lnTo>
                  <a:pt x="7893222" y="1689193"/>
                </a:lnTo>
                <a:lnTo>
                  <a:pt x="7893222" y="1679323"/>
                </a:lnTo>
                <a:close/>
                <a:moveTo>
                  <a:pt x="7657926" y="1675285"/>
                </a:moveTo>
                <a:lnTo>
                  <a:pt x="7667836" y="1675285"/>
                </a:lnTo>
                <a:lnTo>
                  <a:pt x="7671855" y="1679323"/>
                </a:lnTo>
                <a:lnTo>
                  <a:pt x="7671855" y="1689193"/>
                </a:lnTo>
                <a:lnTo>
                  <a:pt x="7667836" y="1693232"/>
                </a:lnTo>
                <a:lnTo>
                  <a:pt x="7657926" y="1693232"/>
                </a:lnTo>
                <a:lnTo>
                  <a:pt x="7653906" y="1689193"/>
                </a:lnTo>
                <a:lnTo>
                  <a:pt x="7653906" y="1679323"/>
                </a:lnTo>
                <a:close/>
                <a:moveTo>
                  <a:pt x="7418611" y="1675285"/>
                </a:moveTo>
                <a:lnTo>
                  <a:pt x="7428521" y="1675285"/>
                </a:lnTo>
                <a:lnTo>
                  <a:pt x="7432540" y="1679323"/>
                </a:lnTo>
                <a:lnTo>
                  <a:pt x="7432540" y="1689195"/>
                </a:lnTo>
                <a:lnTo>
                  <a:pt x="7428521" y="1693232"/>
                </a:lnTo>
                <a:lnTo>
                  <a:pt x="7418611" y="1693232"/>
                </a:lnTo>
                <a:lnTo>
                  <a:pt x="7414592" y="1689195"/>
                </a:lnTo>
                <a:lnTo>
                  <a:pt x="7414592" y="1679323"/>
                </a:lnTo>
                <a:close/>
                <a:moveTo>
                  <a:pt x="7179298" y="1675285"/>
                </a:moveTo>
                <a:lnTo>
                  <a:pt x="7189209" y="1675285"/>
                </a:lnTo>
                <a:lnTo>
                  <a:pt x="7193228" y="1679323"/>
                </a:lnTo>
                <a:lnTo>
                  <a:pt x="7193228" y="1689195"/>
                </a:lnTo>
                <a:lnTo>
                  <a:pt x="7189209" y="1693234"/>
                </a:lnTo>
                <a:lnTo>
                  <a:pt x="7179298" y="1693234"/>
                </a:lnTo>
                <a:lnTo>
                  <a:pt x="7175279" y="1689195"/>
                </a:lnTo>
                <a:lnTo>
                  <a:pt x="7175279" y="1679323"/>
                </a:lnTo>
                <a:close/>
                <a:moveTo>
                  <a:pt x="9333125" y="1675268"/>
                </a:moveTo>
                <a:lnTo>
                  <a:pt x="9343036" y="1675268"/>
                </a:lnTo>
                <a:lnTo>
                  <a:pt x="9347055" y="1679306"/>
                </a:lnTo>
                <a:lnTo>
                  <a:pt x="9347055" y="1689177"/>
                </a:lnTo>
                <a:lnTo>
                  <a:pt x="9343036" y="1693216"/>
                </a:lnTo>
                <a:lnTo>
                  <a:pt x="9333125" y="1693216"/>
                </a:lnTo>
                <a:lnTo>
                  <a:pt x="9329106" y="1689177"/>
                </a:lnTo>
                <a:lnTo>
                  <a:pt x="9329106" y="1679306"/>
                </a:lnTo>
                <a:close/>
                <a:moveTo>
                  <a:pt x="9093811" y="1675268"/>
                </a:moveTo>
                <a:lnTo>
                  <a:pt x="9103722" y="1675268"/>
                </a:lnTo>
                <a:lnTo>
                  <a:pt x="9107741" y="1679306"/>
                </a:lnTo>
                <a:lnTo>
                  <a:pt x="9107741" y="1689177"/>
                </a:lnTo>
                <a:lnTo>
                  <a:pt x="9103722" y="1693217"/>
                </a:lnTo>
                <a:lnTo>
                  <a:pt x="9093811" y="1693217"/>
                </a:lnTo>
                <a:lnTo>
                  <a:pt x="9089792" y="1689177"/>
                </a:lnTo>
                <a:lnTo>
                  <a:pt x="9089792" y="1679306"/>
                </a:lnTo>
                <a:close/>
                <a:moveTo>
                  <a:pt x="8854496" y="1675268"/>
                </a:moveTo>
                <a:lnTo>
                  <a:pt x="8864407" y="1675268"/>
                </a:lnTo>
                <a:lnTo>
                  <a:pt x="8868426" y="1679307"/>
                </a:lnTo>
                <a:lnTo>
                  <a:pt x="8868426" y="1689177"/>
                </a:lnTo>
                <a:lnTo>
                  <a:pt x="8864407" y="1693217"/>
                </a:lnTo>
                <a:lnTo>
                  <a:pt x="8854496" y="1693217"/>
                </a:lnTo>
                <a:lnTo>
                  <a:pt x="8850477" y="1689177"/>
                </a:lnTo>
                <a:lnTo>
                  <a:pt x="8850477" y="1679307"/>
                </a:lnTo>
                <a:close/>
                <a:moveTo>
                  <a:pt x="8615184" y="1675268"/>
                </a:moveTo>
                <a:lnTo>
                  <a:pt x="8625095" y="1675268"/>
                </a:lnTo>
                <a:lnTo>
                  <a:pt x="8629114" y="1679307"/>
                </a:lnTo>
                <a:lnTo>
                  <a:pt x="8629114" y="1689178"/>
                </a:lnTo>
                <a:lnTo>
                  <a:pt x="8625095" y="1693217"/>
                </a:lnTo>
                <a:lnTo>
                  <a:pt x="8615184" y="1693217"/>
                </a:lnTo>
                <a:lnTo>
                  <a:pt x="8611165" y="1689178"/>
                </a:lnTo>
                <a:lnTo>
                  <a:pt x="8611165" y="1679307"/>
                </a:lnTo>
                <a:close/>
                <a:moveTo>
                  <a:pt x="8375869" y="1675268"/>
                </a:moveTo>
                <a:lnTo>
                  <a:pt x="8385779" y="1675268"/>
                </a:lnTo>
                <a:lnTo>
                  <a:pt x="8389799" y="1679307"/>
                </a:lnTo>
                <a:lnTo>
                  <a:pt x="8389799" y="1689178"/>
                </a:lnTo>
                <a:lnTo>
                  <a:pt x="8385779" y="1693217"/>
                </a:lnTo>
                <a:lnTo>
                  <a:pt x="8375869" y="1693217"/>
                </a:lnTo>
                <a:lnTo>
                  <a:pt x="8371850" y="1689178"/>
                </a:lnTo>
                <a:lnTo>
                  <a:pt x="8371850" y="1679307"/>
                </a:lnTo>
                <a:close/>
                <a:moveTo>
                  <a:pt x="961270" y="1675255"/>
                </a:moveTo>
                <a:lnTo>
                  <a:pt x="971180" y="1675255"/>
                </a:lnTo>
                <a:lnTo>
                  <a:pt x="975199" y="1679292"/>
                </a:lnTo>
                <a:lnTo>
                  <a:pt x="975199" y="1689163"/>
                </a:lnTo>
                <a:lnTo>
                  <a:pt x="971180" y="1693202"/>
                </a:lnTo>
                <a:lnTo>
                  <a:pt x="961270" y="1693202"/>
                </a:lnTo>
                <a:lnTo>
                  <a:pt x="957251" y="1689163"/>
                </a:lnTo>
                <a:lnTo>
                  <a:pt x="957251" y="1679292"/>
                </a:lnTo>
                <a:close/>
                <a:moveTo>
                  <a:pt x="1679215" y="1675254"/>
                </a:moveTo>
                <a:lnTo>
                  <a:pt x="1689126" y="1675254"/>
                </a:lnTo>
                <a:lnTo>
                  <a:pt x="1693145" y="1679292"/>
                </a:lnTo>
                <a:lnTo>
                  <a:pt x="1693145" y="1689163"/>
                </a:lnTo>
                <a:lnTo>
                  <a:pt x="1689126" y="1693202"/>
                </a:lnTo>
                <a:lnTo>
                  <a:pt x="1679215" y="1693202"/>
                </a:lnTo>
                <a:lnTo>
                  <a:pt x="1675196" y="1689163"/>
                </a:lnTo>
                <a:lnTo>
                  <a:pt x="1675196" y="1679292"/>
                </a:lnTo>
                <a:close/>
                <a:moveTo>
                  <a:pt x="1439898" y="1675254"/>
                </a:moveTo>
                <a:lnTo>
                  <a:pt x="1449808" y="1675254"/>
                </a:lnTo>
                <a:lnTo>
                  <a:pt x="1453828" y="1679292"/>
                </a:lnTo>
                <a:lnTo>
                  <a:pt x="1453828" y="1689163"/>
                </a:lnTo>
                <a:lnTo>
                  <a:pt x="1449808" y="1693202"/>
                </a:lnTo>
                <a:lnTo>
                  <a:pt x="1439898" y="1693202"/>
                </a:lnTo>
                <a:lnTo>
                  <a:pt x="1435880" y="1689163"/>
                </a:lnTo>
                <a:lnTo>
                  <a:pt x="1435880" y="1679292"/>
                </a:lnTo>
                <a:close/>
                <a:moveTo>
                  <a:pt x="1200583" y="1675254"/>
                </a:moveTo>
                <a:lnTo>
                  <a:pt x="1210493" y="1675254"/>
                </a:lnTo>
                <a:lnTo>
                  <a:pt x="1214511" y="1679292"/>
                </a:lnTo>
                <a:lnTo>
                  <a:pt x="1214511" y="1689163"/>
                </a:lnTo>
                <a:lnTo>
                  <a:pt x="1210493" y="1693202"/>
                </a:lnTo>
                <a:lnTo>
                  <a:pt x="1200583" y="1693202"/>
                </a:lnTo>
                <a:lnTo>
                  <a:pt x="1196564" y="1689163"/>
                </a:lnTo>
                <a:lnTo>
                  <a:pt x="1196564" y="1679292"/>
                </a:lnTo>
                <a:close/>
                <a:moveTo>
                  <a:pt x="9572438" y="1675251"/>
                </a:moveTo>
                <a:lnTo>
                  <a:pt x="9582349" y="1675251"/>
                </a:lnTo>
                <a:lnTo>
                  <a:pt x="9586368" y="1679290"/>
                </a:lnTo>
                <a:lnTo>
                  <a:pt x="9586368" y="1689161"/>
                </a:lnTo>
                <a:lnTo>
                  <a:pt x="9582349" y="1693201"/>
                </a:lnTo>
                <a:lnTo>
                  <a:pt x="9572438" y="1693201"/>
                </a:lnTo>
                <a:lnTo>
                  <a:pt x="9568419" y="1689161"/>
                </a:lnTo>
                <a:lnTo>
                  <a:pt x="9568419" y="1679290"/>
                </a:lnTo>
                <a:close/>
                <a:moveTo>
                  <a:pt x="1918514" y="1675243"/>
                </a:moveTo>
                <a:lnTo>
                  <a:pt x="1928424" y="1675243"/>
                </a:lnTo>
                <a:lnTo>
                  <a:pt x="1932443" y="1679282"/>
                </a:lnTo>
                <a:lnTo>
                  <a:pt x="1932443" y="1689153"/>
                </a:lnTo>
                <a:lnTo>
                  <a:pt x="1928424" y="1693191"/>
                </a:lnTo>
                <a:lnTo>
                  <a:pt x="1918514" y="1693191"/>
                </a:lnTo>
                <a:lnTo>
                  <a:pt x="1914494" y="1689153"/>
                </a:lnTo>
                <a:lnTo>
                  <a:pt x="1914494" y="1679282"/>
                </a:lnTo>
                <a:close/>
                <a:moveTo>
                  <a:pt x="2157821" y="1675240"/>
                </a:moveTo>
                <a:lnTo>
                  <a:pt x="2167732" y="1675240"/>
                </a:lnTo>
                <a:lnTo>
                  <a:pt x="2171751" y="1679279"/>
                </a:lnTo>
                <a:lnTo>
                  <a:pt x="2171751" y="1689149"/>
                </a:lnTo>
                <a:lnTo>
                  <a:pt x="2167732" y="1693188"/>
                </a:lnTo>
                <a:lnTo>
                  <a:pt x="2157821" y="1693188"/>
                </a:lnTo>
                <a:lnTo>
                  <a:pt x="2153803" y="1689149"/>
                </a:lnTo>
                <a:lnTo>
                  <a:pt x="2153803" y="1679279"/>
                </a:lnTo>
                <a:close/>
                <a:moveTo>
                  <a:pt x="243346" y="1675216"/>
                </a:moveTo>
                <a:lnTo>
                  <a:pt x="253257" y="1675216"/>
                </a:lnTo>
                <a:lnTo>
                  <a:pt x="257276" y="1679254"/>
                </a:lnTo>
                <a:lnTo>
                  <a:pt x="257276" y="1689125"/>
                </a:lnTo>
                <a:lnTo>
                  <a:pt x="253257" y="1693164"/>
                </a:lnTo>
                <a:lnTo>
                  <a:pt x="243346" y="1693164"/>
                </a:lnTo>
                <a:lnTo>
                  <a:pt x="239327" y="1689125"/>
                </a:lnTo>
                <a:lnTo>
                  <a:pt x="239327" y="1679254"/>
                </a:lnTo>
                <a:close/>
                <a:moveTo>
                  <a:pt x="4034" y="1675216"/>
                </a:moveTo>
                <a:lnTo>
                  <a:pt x="13943" y="1675216"/>
                </a:lnTo>
                <a:lnTo>
                  <a:pt x="17962" y="1679254"/>
                </a:lnTo>
                <a:lnTo>
                  <a:pt x="17962" y="1689125"/>
                </a:lnTo>
                <a:lnTo>
                  <a:pt x="13943" y="1693164"/>
                </a:lnTo>
                <a:lnTo>
                  <a:pt x="4034" y="1693164"/>
                </a:lnTo>
                <a:lnTo>
                  <a:pt x="14" y="1689125"/>
                </a:lnTo>
                <a:lnTo>
                  <a:pt x="14" y="1679254"/>
                </a:lnTo>
                <a:close/>
                <a:moveTo>
                  <a:pt x="721972" y="1675216"/>
                </a:moveTo>
                <a:lnTo>
                  <a:pt x="731882" y="1675216"/>
                </a:lnTo>
                <a:lnTo>
                  <a:pt x="735902" y="1679254"/>
                </a:lnTo>
                <a:lnTo>
                  <a:pt x="735902" y="1689125"/>
                </a:lnTo>
                <a:lnTo>
                  <a:pt x="731882" y="1693164"/>
                </a:lnTo>
                <a:lnTo>
                  <a:pt x="721972" y="1693164"/>
                </a:lnTo>
                <a:lnTo>
                  <a:pt x="717954" y="1689125"/>
                </a:lnTo>
                <a:lnTo>
                  <a:pt x="717954" y="1679254"/>
                </a:lnTo>
                <a:close/>
                <a:moveTo>
                  <a:pt x="482660" y="1675216"/>
                </a:moveTo>
                <a:lnTo>
                  <a:pt x="492571" y="1675216"/>
                </a:lnTo>
                <a:lnTo>
                  <a:pt x="496589" y="1679254"/>
                </a:lnTo>
                <a:lnTo>
                  <a:pt x="496589" y="1689125"/>
                </a:lnTo>
                <a:lnTo>
                  <a:pt x="492571" y="1693164"/>
                </a:lnTo>
                <a:lnTo>
                  <a:pt x="482660" y="1693164"/>
                </a:lnTo>
                <a:lnTo>
                  <a:pt x="478641" y="1689125"/>
                </a:lnTo>
                <a:lnTo>
                  <a:pt x="478641" y="1679254"/>
                </a:lnTo>
                <a:close/>
                <a:moveTo>
                  <a:pt x="2393104" y="1436001"/>
                </a:moveTo>
                <a:lnTo>
                  <a:pt x="2403015" y="1436001"/>
                </a:lnTo>
                <a:lnTo>
                  <a:pt x="2407034" y="1440038"/>
                </a:lnTo>
                <a:lnTo>
                  <a:pt x="2407034" y="1449910"/>
                </a:lnTo>
                <a:lnTo>
                  <a:pt x="2403015" y="1453949"/>
                </a:lnTo>
                <a:lnTo>
                  <a:pt x="2393104" y="1453949"/>
                </a:lnTo>
                <a:lnTo>
                  <a:pt x="2389087" y="1449910"/>
                </a:lnTo>
                <a:lnTo>
                  <a:pt x="2389087" y="1440038"/>
                </a:lnTo>
                <a:close/>
                <a:moveTo>
                  <a:pt x="3350359" y="1436000"/>
                </a:moveTo>
                <a:lnTo>
                  <a:pt x="3360268" y="1436000"/>
                </a:lnTo>
                <a:lnTo>
                  <a:pt x="3364287" y="1440038"/>
                </a:lnTo>
                <a:lnTo>
                  <a:pt x="3364287" y="1449909"/>
                </a:lnTo>
                <a:lnTo>
                  <a:pt x="3360268" y="1453949"/>
                </a:lnTo>
                <a:lnTo>
                  <a:pt x="3350359" y="1453949"/>
                </a:lnTo>
                <a:lnTo>
                  <a:pt x="3346340" y="1449909"/>
                </a:lnTo>
                <a:lnTo>
                  <a:pt x="3346340" y="1440038"/>
                </a:lnTo>
                <a:close/>
                <a:moveTo>
                  <a:pt x="3111048" y="1436000"/>
                </a:moveTo>
                <a:lnTo>
                  <a:pt x="3120959" y="1436000"/>
                </a:lnTo>
                <a:lnTo>
                  <a:pt x="3124977" y="1440038"/>
                </a:lnTo>
                <a:lnTo>
                  <a:pt x="3124977" y="1449910"/>
                </a:lnTo>
                <a:lnTo>
                  <a:pt x="3120959" y="1453949"/>
                </a:lnTo>
                <a:lnTo>
                  <a:pt x="3111048" y="1453949"/>
                </a:lnTo>
                <a:lnTo>
                  <a:pt x="3107029" y="1449910"/>
                </a:lnTo>
                <a:lnTo>
                  <a:pt x="3107029" y="1440038"/>
                </a:lnTo>
                <a:close/>
                <a:moveTo>
                  <a:pt x="2871737" y="1436000"/>
                </a:moveTo>
                <a:lnTo>
                  <a:pt x="2881646" y="1436000"/>
                </a:lnTo>
                <a:lnTo>
                  <a:pt x="2885666" y="1440038"/>
                </a:lnTo>
                <a:lnTo>
                  <a:pt x="2885666" y="1449910"/>
                </a:lnTo>
                <a:lnTo>
                  <a:pt x="2881646" y="1453949"/>
                </a:lnTo>
                <a:lnTo>
                  <a:pt x="2871737" y="1453949"/>
                </a:lnTo>
                <a:lnTo>
                  <a:pt x="2867717" y="1449910"/>
                </a:lnTo>
                <a:lnTo>
                  <a:pt x="2867717" y="1440038"/>
                </a:lnTo>
                <a:close/>
                <a:moveTo>
                  <a:pt x="2632423" y="1436000"/>
                </a:moveTo>
                <a:lnTo>
                  <a:pt x="2642334" y="1436000"/>
                </a:lnTo>
                <a:lnTo>
                  <a:pt x="2646352" y="1440038"/>
                </a:lnTo>
                <a:lnTo>
                  <a:pt x="2646352" y="1449910"/>
                </a:lnTo>
                <a:lnTo>
                  <a:pt x="2642334" y="1453949"/>
                </a:lnTo>
                <a:lnTo>
                  <a:pt x="2632423" y="1453949"/>
                </a:lnTo>
                <a:lnTo>
                  <a:pt x="2628404" y="1449910"/>
                </a:lnTo>
                <a:lnTo>
                  <a:pt x="2628404" y="1440038"/>
                </a:lnTo>
                <a:close/>
                <a:moveTo>
                  <a:pt x="3589676" y="1435986"/>
                </a:moveTo>
                <a:lnTo>
                  <a:pt x="3599585" y="1435986"/>
                </a:lnTo>
                <a:lnTo>
                  <a:pt x="3603604" y="1440024"/>
                </a:lnTo>
                <a:lnTo>
                  <a:pt x="3603604" y="1449895"/>
                </a:lnTo>
                <a:lnTo>
                  <a:pt x="3599585" y="1453934"/>
                </a:lnTo>
                <a:lnTo>
                  <a:pt x="3589676" y="1453934"/>
                </a:lnTo>
                <a:lnTo>
                  <a:pt x="3585657" y="1449895"/>
                </a:lnTo>
                <a:lnTo>
                  <a:pt x="3585657" y="1440024"/>
                </a:lnTo>
                <a:close/>
                <a:moveTo>
                  <a:pt x="4546929" y="1435986"/>
                </a:moveTo>
                <a:lnTo>
                  <a:pt x="4556840" y="1435986"/>
                </a:lnTo>
                <a:lnTo>
                  <a:pt x="4560859" y="1440024"/>
                </a:lnTo>
                <a:lnTo>
                  <a:pt x="4560859" y="1449895"/>
                </a:lnTo>
                <a:lnTo>
                  <a:pt x="4556840" y="1453934"/>
                </a:lnTo>
                <a:lnTo>
                  <a:pt x="4546929" y="1453934"/>
                </a:lnTo>
                <a:lnTo>
                  <a:pt x="4542910" y="1449895"/>
                </a:lnTo>
                <a:lnTo>
                  <a:pt x="4542910" y="1440024"/>
                </a:lnTo>
                <a:close/>
                <a:moveTo>
                  <a:pt x="4307612" y="1435986"/>
                </a:moveTo>
                <a:lnTo>
                  <a:pt x="4317523" y="1435986"/>
                </a:lnTo>
                <a:lnTo>
                  <a:pt x="4321543" y="1440024"/>
                </a:lnTo>
                <a:lnTo>
                  <a:pt x="4321543" y="1449895"/>
                </a:lnTo>
                <a:lnTo>
                  <a:pt x="4317523" y="1453934"/>
                </a:lnTo>
                <a:lnTo>
                  <a:pt x="4307612" y="1453934"/>
                </a:lnTo>
                <a:lnTo>
                  <a:pt x="4303595" y="1449895"/>
                </a:lnTo>
                <a:lnTo>
                  <a:pt x="4303595" y="1440024"/>
                </a:lnTo>
                <a:close/>
                <a:moveTo>
                  <a:pt x="4068297" y="1435986"/>
                </a:moveTo>
                <a:lnTo>
                  <a:pt x="4078210" y="1435986"/>
                </a:lnTo>
                <a:lnTo>
                  <a:pt x="4082229" y="1440024"/>
                </a:lnTo>
                <a:lnTo>
                  <a:pt x="4082229" y="1449895"/>
                </a:lnTo>
                <a:lnTo>
                  <a:pt x="4078210" y="1453934"/>
                </a:lnTo>
                <a:lnTo>
                  <a:pt x="4068297" y="1453934"/>
                </a:lnTo>
                <a:lnTo>
                  <a:pt x="4064278" y="1449895"/>
                </a:lnTo>
                <a:lnTo>
                  <a:pt x="4064278" y="1440024"/>
                </a:lnTo>
                <a:close/>
                <a:moveTo>
                  <a:pt x="3828990" y="1435986"/>
                </a:moveTo>
                <a:lnTo>
                  <a:pt x="3838899" y="1435986"/>
                </a:lnTo>
                <a:lnTo>
                  <a:pt x="3842917" y="1440024"/>
                </a:lnTo>
                <a:lnTo>
                  <a:pt x="3842917" y="1449895"/>
                </a:lnTo>
                <a:lnTo>
                  <a:pt x="3838899" y="1453934"/>
                </a:lnTo>
                <a:lnTo>
                  <a:pt x="3828990" y="1453934"/>
                </a:lnTo>
                <a:lnTo>
                  <a:pt x="3824971" y="1449895"/>
                </a:lnTo>
                <a:lnTo>
                  <a:pt x="3824971" y="1440024"/>
                </a:lnTo>
                <a:close/>
                <a:moveTo>
                  <a:pt x="4786241" y="1435972"/>
                </a:moveTo>
                <a:lnTo>
                  <a:pt x="4796152" y="1435972"/>
                </a:lnTo>
                <a:lnTo>
                  <a:pt x="4800171" y="1440010"/>
                </a:lnTo>
                <a:lnTo>
                  <a:pt x="4800171" y="1449881"/>
                </a:lnTo>
                <a:lnTo>
                  <a:pt x="4796152" y="1453920"/>
                </a:lnTo>
                <a:lnTo>
                  <a:pt x="4786241" y="1453920"/>
                </a:lnTo>
                <a:lnTo>
                  <a:pt x="4782224" y="1449881"/>
                </a:lnTo>
                <a:lnTo>
                  <a:pt x="4782224" y="1440010"/>
                </a:lnTo>
                <a:close/>
                <a:moveTo>
                  <a:pt x="5743412" y="1435971"/>
                </a:moveTo>
                <a:lnTo>
                  <a:pt x="5753323" y="1435971"/>
                </a:lnTo>
                <a:lnTo>
                  <a:pt x="5757342" y="1440010"/>
                </a:lnTo>
                <a:lnTo>
                  <a:pt x="5757342" y="1449880"/>
                </a:lnTo>
                <a:lnTo>
                  <a:pt x="5753323" y="1453919"/>
                </a:lnTo>
                <a:lnTo>
                  <a:pt x="5743412" y="1453919"/>
                </a:lnTo>
                <a:lnTo>
                  <a:pt x="5739393" y="1449880"/>
                </a:lnTo>
                <a:lnTo>
                  <a:pt x="5739393" y="1440010"/>
                </a:lnTo>
                <a:close/>
                <a:moveTo>
                  <a:pt x="5504099" y="1435971"/>
                </a:moveTo>
                <a:lnTo>
                  <a:pt x="5514010" y="1435971"/>
                </a:lnTo>
                <a:lnTo>
                  <a:pt x="5518029" y="1440010"/>
                </a:lnTo>
                <a:lnTo>
                  <a:pt x="5518029" y="1449881"/>
                </a:lnTo>
                <a:lnTo>
                  <a:pt x="5514010" y="1453919"/>
                </a:lnTo>
                <a:lnTo>
                  <a:pt x="5504099" y="1453919"/>
                </a:lnTo>
                <a:lnTo>
                  <a:pt x="5500080" y="1449881"/>
                </a:lnTo>
                <a:lnTo>
                  <a:pt x="5500080" y="1440010"/>
                </a:lnTo>
                <a:close/>
                <a:moveTo>
                  <a:pt x="5264784" y="1435971"/>
                </a:moveTo>
                <a:lnTo>
                  <a:pt x="5274694" y="1435971"/>
                </a:lnTo>
                <a:lnTo>
                  <a:pt x="5278713" y="1440010"/>
                </a:lnTo>
                <a:lnTo>
                  <a:pt x="5278713" y="1449881"/>
                </a:lnTo>
                <a:lnTo>
                  <a:pt x="5274694" y="1453920"/>
                </a:lnTo>
                <a:lnTo>
                  <a:pt x="5264784" y="1453920"/>
                </a:lnTo>
                <a:lnTo>
                  <a:pt x="5260765" y="1449881"/>
                </a:lnTo>
                <a:lnTo>
                  <a:pt x="5260765" y="1440010"/>
                </a:lnTo>
                <a:close/>
                <a:moveTo>
                  <a:pt x="5025470" y="1435971"/>
                </a:moveTo>
                <a:lnTo>
                  <a:pt x="5035381" y="1435971"/>
                </a:lnTo>
                <a:lnTo>
                  <a:pt x="5039400" y="1440010"/>
                </a:lnTo>
                <a:lnTo>
                  <a:pt x="5039400" y="1449881"/>
                </a:lnTo>
                <a:lnTo>
                  <a:pt x="5035381" y="1453920"/>
                </a:lnTo>
                <a:lnTo>
                  <a:pt x="5025470" y="1453920"/>
                </a:lnTo>
                <a:lnTo>
                  <a:pt x="5021451" y="1449881"/>
                </a:lnTo>
                <a:lnTo>
                  <a:pt x="5021451" y="1440010"/>
                </a:lnTo>
                <a:close/>
                <a:moveTo>
                  <a:pt x="5982729" y="1435958"/>
                </a:moveTo>
                <a:lnTo>
                  <a:pt x="5992639" y="1435958"/>
                </a:lnTo>
                <a:lnTo>
                  <a:pt x="5996658" y="1439995"/>
                </a:lnTo>
                <a:lnTo>
                  <a:pt x="5996658" y="1449866"/>
                </a:lnTo>
                <a:lnTo>
                  <a:pt x="5992639" y="1453905"/>
                </a:lnTo>
                <a:lnTo>
                  <a:pt x="5982729" y="1453905"/>
                </a:lnTo>
                <a:lnTo>
                  <a:pt x="5978710" y="1449866"/>
                </a:lnTo>
                <a:lnTo>
                  <a:pt x="5978710" y="1439995"/>
                </a:lnTo>
                <a:close/>
                <a:moveTo>
                  <a:pt x="6939983" y="1435956"/>
                </a:moveTo>
                <a:lnTo>
                  <a:pt x="6949894" y="1435956"/>
                </a:lnTo>
                <a:lnTo>
                  <a:pt x="6953913" y="1439995"/>
                </a:lnTo>
                <a:lnTo>
                  <a:pt x="6953913" y="1449865"/>
                </a:lnTo>
                <a:lnTo>
                  <a:pt x="6949894" y="1453905"/>
                </a:lnTo>
                <a:lnTo>
                  <a:pt x="6939983" y="1453905"/>
                </a:lnTo>
                <a:lnTo>
                  <a:pt x="6935964" y="1449865"/>
                </a:lnTo>
                <a:lnTo>
                  <a:pt x="6935964" y="1439995"/>
                </a:lnTo>
                <a:close/>
                <a:moveTo>
                  <a:pt x="6700670" y="1435956"/>
                </a:moveTo>
                <a:lnTo>
                  <a:pt x="6710581" y="1435956"/>
                </a:lnTo>
                <a:lnTo>
                  <a:pt x="6714600" y="1439995"/>
                </a:lnTo>
                <a:lnTo>
                  <a:pt x="6714600" y="1449866"/>
                </a:lnTo>
                <a:lnTo>
                  <a:pt x="6710581" y="1453905"/>
                </a:lnTo>
                <a:lnTo>
                  <a:pt x="6700670" y="1453905"/>
                </a:lnTo>
                <a:lnTo>
                  <a:pt x="6696651" y="1449866"/>
                </a:lnTo>
                <a:lnTo>
                  <a:pt x="6696651" y="1439995"/>
                </a:lnTo>
                <a:close/>
                <a:moveTo>
                  <a:pt x="6461356" y="1435956"/>
                </a:moveTo>
                <a:lnTo>
                  <a:pt x="6471266" y="1435956"/>
                </a:lnTo>
                <a:lnTo>
                  <a:pt x="6475285" y="1439995"/>
                </a:lnTo>
                <a:lnTo>
                  <a:pt x="6475285" y="1449866"/>
                </a:lnTo>
                <a:lnTo>
                  <a:pt x="6471266" y="1453905"/>
                </a:lnTo>
                <a:lnTo>
                  <a:pt x="6461356" y="1453905"/>
                </a:lnTo>
                <a:lnTo>
                  <a:pt x="6457337" y="1449866"/>
                </a:lnTo>
                <a:lnTo>
                  <a:pt x="6457337" y="1439995"/>
                </a:lnTo>
                <a:close/>
                <a:moveTo>
                  <a:pt x="6222042" y="1435956"/>
                </a:moveTo>
                <a:lnTo>
                  <a:pt x="6231952" y="1435956"/>
                </a:lnTo>
                <a:lnTo>
                  <a:pt x="6235971" y="1439995"/>
                </a:lnTo>
                <a:lnTo>
                  <a:pt x="6235971" y="1449866"/>
                </a:lnTo>
                <a:lnTo>
                  <a:pt x="6231952" y="1453905"/>
                </a:lnTo>
                <a:lnTo>
                  <a:pt x="6222042" y="1453905"/>
                </a:lnTo>
                <a:lnTo>
                  <a:pt x="6218023" y="1449866"/>
                </a:lnTo>
                <a:lnTo>
                  <a:pt x="6218023" y="1439995"/>
                </a:lnTo>
                <a:close/>
                <a:moveTo>
                  <a:pt x="7179298" y="1435943"/>
                </a:moveTo>
                <a:lnTo>
                  <a:pt x="7189209" y="1435943"/>
                </a:lnTo>
                <a:lnTo>
                  <a:pt x="7193228" y="1439981"/>
                </a:lnTo>
                <a:lnTo>
                  <a:pt x="7193228" y="1449852"/>
                </a:lnTo>
                <a:lnTo>
                  <a:pt x="7189209" y="1453891"/>
                </a:lnTo>
                <a:lnTo>
                  <a:pt x="7179298" y="1453891"/>
                </a:lnTo>
                <a:lnTo>
                  <a:pt x="7175279" y="1449852"/>
                </a:lnTo>
                <a:lnTo>
                  <a:pt x="7175279" y="1439981"/>
                </a:lnTo>
                <a:close/>
                <a:moveTo>
                  <a:pt x="8136553" y="1435943"/>
                </a:moveTo>
                <a:lnTo>
                  <a:pt x="8146464" y="1435943"/>
                </a:lnTo>
                <a:lnTo>
                  <a:pt x="8150483" y="1439980"/>
                </a:lnTo>
                <a:lnTo>
                  <a:pt x="8150483" y="1449851"/>
                </a:lnTo>
                <a:lnTo>
                  <a:pt x="8146464" y="1453890"/>
                </a:lnTo>
                <a:lnTo>
                  <a:pt x="8136553" y="1453890"/>
                </a:lnTo>
                <a:lnTo>
                  <a:pt x="8132534" y="1449851"/>
                </a:lnTo>
                <a:lnTo>
                  <a:pt x="8132534" y="1439980"/>
                </a:lnTo>
                <a:close/>
                <a:moveTo>
                  <a:pt x="7897241" y="1435943"/>
                </a:moveTo>
                <a:lnTo>
                  <a:pt x="7907151" y="1435943"/>
                </a:lnTo>
                <a:lnTo>
                  <a:pt x="7911170" y="1439980"/>
                </a:lnTo>
                <a:lnTo>
                  <a:pt x="7911170" y="1449852"/>
                </a:lnTo>
                <a:lnTo>
                  <a:pt x="7907151" y="1453890"/>
                </a:lnTo>
                <a:lnTo>
                  <a:pt x="7897241" y="1453890"/>
                </a:lnTo>
                <a:lnTo>
                  <a:pt x="7893222" y="1449852"/>
                </a:lnTo>
                <a:lnTo>
                  <a:pt x="7893222" y="1439980"/>
                </a:lnTo>
                <a:close/>
                <a:moveTo>
                  <a:pt x="7657926" y="1435943"/>
                </a:moveTo>
                <a:lnTo>
                  <a:pt x="7667836" y="1435943"/>
                </a:lnTo>
                <a:lnTo>
                  <a:pt x="7671855" y="1439980"/>
                </a:lnTo>
                <a:lnTo>
                  <a:pt x="7671855" y="1449852"/>
                </a:lnTo>
                <a:lnTo>
                  <a:pt x="7667836" y="1453891"/>
                </a:lnTo>
                <a:lnTo>
                  <a:pt x="7657926" y="1453891"/>
                </a:lnTo>
                <a:lnTo>
                  <a:pt x="7653906" y="1449852"/>
                </a:lnTo>
                <a:lnTo>
                  <a:pt x="7653906" y="1439980"/>
                </a:lnTo>
                <a:close/>
                <a:moveTo>
                  <a:pt x="7418611" y="1435943"/>
                </a:moveTo>
                <a:lnTo>
                  <a:pt x="7428521" y="1435943"/>
                </a:lnTo>
                <a:lnTo>
                  <a:pt x="7432540" y="1439980"/>
                </a:lnTo>
                <a:lnTo>
                  <a:pt x="7432540" y="1449852"/>
                </a:lnTo>
                <a:lnTo>
                  <a:pt x="7428521" y="1453891"/>
                </a:lnTo>
                <a:lnTo>
                  <a:pt x="7418611" y="1453891"/>
                </a:lnTo>
                <a:lnTo>
                  <a:pt x="7414592" y="1449852"/>
                </a:lnTo>
                <a:lnTo>
                  <a:pt x="7414592" y="1439980"/>
                </a:lnTo>
                <a:close/>
                <a:moveTo>
                  <a:pt x="8375869" y="1435928"/>
                </a:moveTo>
                <a:lnTo>
                  <a:pt x="8385779" y="1435928"/>
                </a:lnTo>
                <a:lnTo>
                  <a:pt x="8389799" y="1439967"/>
                </a:lnTo>
                <a:lnTo>
                  <a:pt x="8389799" y="1449837"/>
                </a:lnTo>
                <a:lnTo>
                  <a:pt x="8385779" y="1453877"/>
                </a:lnTo>
                <a:lnTo>
                  <a:pt x="8375869" y="1453877"/>
                </a:lnTo>
                <a:lnTo>
                  <a:pt x="8371850" y="1449837"/>
                </a:lnTo>
                <a:lnTo>
                  <a:pt x="8371850" y="1439967"/>
                </a:lnTo>
                <a:close/>
                <a:moveTo>
                  <a:pt x="9333125" y="1435928"/>
                </a:moveTo>
                <a:lnTo>
                  <a:pt x="9343036" y="1435928"/>
                </a:lnTo>
                <a:lnTo>
                  <a:pt x="9347055" y="1439967"/>
                </a:lnTo>
                <a:lnTo>
                  <a:pt x="9347055" y="1449836"/>
                </a:lnTo>
                <a:lnTo>
                  <a:pt x="9343036" y="1453876"/>
                </a:lnTo>
                <a:lnTo>
                  <a:pt x="9333125" y="1453876"/>
                </a:lnTo>
                <a:lnTo>
                  <a:pt x="9329106" y="1449836"/>
                </a:lnTo>
                <a:lnTo>
                  <a:pt x="9329106" y="1439967"/>
                </a:lnTo>
                <a:close/>
                <a:moveTo>
                  <a:pt x="9093811" y="1435928"/>
                </a:moveTo>
                <a:lnTo>
                  <a:pt x="9103722" y="1435928"/>
                </a:lnTo>
                <a:lnTo>
                  <a:pt x="9107741" y="1439967"/>
                </a:lnTo>
                <a:lnTo>
                  <a:pt x="9107741" y="1449837"/>
                </a:lnTo>
                <a:lnTo>
                  <a:pt x="9103722" y="1453876"/>
                </a:lnTo>
                <a:lnTo>
                  <a:pt x="9093811" y="1453876"/>
                </a:lnTo>
                <a:lnTo>
                  <a:pt x="9089792" y="1449837"/>
                </a:lnTo>
                <a:lnTo>
                  <a:pt x="9089792" y="1439967"/>
                </a:lnTo>
                <a:close/>
                <a:moveTo>
                  <a:pt x="8854496" y="1435928"/>
                </a:moveTo>
                <a:lnTo>
                  <a:pt x="8864407" y="1435928"/>
                </a:lnTo>
                <a:lnTo>
                  <a:pt x="8868426" y="1439967"/>
                </a:lnTo>
                <a:lnTo>
                  <a:pt x="8868426" y="1449837"/>
                </a:lnTo>
                <a:lnTo>
                  <a:pt x="8864407" y="1453877"/>
                </a:lnTo>
                <a:lnTo>
                  <a:pt x="8854496" y="1453877"/>
                </a:lnTo>
                <a:lnTo>
                  <a:pt x="8850477" y="1449837"/>
                </a:lnTo>
                <a:lnTo>
                  <a:pt x="8850477" y="1439967"/>
                </a:lnTo>
                <a:close/>
                <a:moveTo>
                  <a:pt x="8615184" y="1435928"/>
                </a:moveTo>
                <a:lnTo>
                  <a:pt x="8625095" y="1435928"/>
                </a:lnTo>
                <a:lnTo>
                  <a:pt x="8629114" y="1439967"/>
                </a:lnTo>
                <a:lnTo>
                  <a:pt x="8629114" y="1449837"/>
                </a:lnTo>
                <a:lnTo>
                  <a:pt x="8625095" y="1453877"/>
                </a:lnTo>
                <a:lnTo>
                  <a:pt x="8615184" y="1453877"/>
                </a:lnTo>
                <a:lnTo>
                  <a:pt x="8611165" y="1449837"/>
                </a:lnTo>
                <a:lnTo>
                  <a:pt x="8611165" y="1439967"/>
                </a:lnTo>
                <a:close/>
                <a:moveTo>
                  <a:pt x="1679216" y="1435922"/>
                </a:moveTo>
                <a:lnTo>
                  <a:pt x="1689126" y="1435922"/>
                </a:lnTo>
                <a:lnTo>
                  <a:pt x="1693146" y="1439960"/>
                </a:lnTo>
                <a:lnTo>
                  <a:pt x="1693146" y="1449831"/>
                </a:lnTo>
                <a:lnTo>
                  <a:pt x="1689126" y="1453870"/>
                </a:lnTo>
                <a:lnTo>
                  <a:pt x="1679216" y="1453870"/>
                </a:lnTo>
                <a:lnTo>
                  <a:pt x="1675198" y="1449831"/>
                </a:lnTo>
                <a:lnTo>
                  <a:pt x="1675198" y="1439960"/>
                </a:lnTo>
                <a:close/>
                <a:moveTo>
                  <a:pt x="1439900" y="1435922"/>
                </a:moveTo>
                <a:lnTo>
                  <a:pt x="1449810" y="1435922"/>
                </a:lnTo>
                <a:lnTo>
                  <a:pt x="1453828" y="1439960"/>
                </a:lnTo>
                <a:lnTo>
                  <a:pt x="1453828" y="1449831"/>
                </a:lnTo>
                <a:lnTo>
                  <a:pt x="1449810" y="1453870"/>
                </a:lnTo>
                <a:lnTo>
                  <a:pt x="1439900" y="1453870"/>
                </a:lnTo>
                <a:lnTo>
                  <a:pt x="1435880" y="1449831"/>
                </a:lnTo>
                <a:lnTo>
                  <a:pt x="1435880" y="1439960"/>
                </a:lnTo>
                <a:close/>
                <a:moveTo>
                  <a:pt x="1200583" y="1435922"/>
                </a:moveTo>
                <a:lnTo>
                  <a:pt x="1210493" y="1435922"/>
                </a:lnTo>
                <a:lnTo>
                  <a:pt x="1214512" y="1439960"/>
                </a:lnTo>
                <a:lnTo>
                  <a:pt x="1214512" y="1449831"/>
                </a:lnTo>
                <a:lnTo>
                  <a:pt x="1210493" y="1453870"/>
                </a:lnTo>
                <a:lnTo>
                  <a:pt x="1200583" y="1453870"/>
                </a:lnTo>
                <a:lnTo>
                  <a:pt x="1196564" y="1449831"/>
                </a:lnTo>
                <a:lnTo>
                  <a:pt x="1196564" y="1439960"/>
                </a:lnTo>
                <a:close/>
                <a:moveTo>
                  <a:pt x="961270" y="1435922"/>
                </a:moveTo>
                <a:lnTo>
                  <a:pt x="971181" y="1435922"/>
                </a:lnTo>
                <a:lnTo>
                  <a:pt x="975200" y="1439960"/>
                </a:lnTo>
                <a:lnTo>
                  <a:pt x="975200" y="1449831"/>
                </a:lnTo>
                <a:lnTo>
                  <a:pt x="971181" y="1453870"/>
                </a:lnTo>
                <a:lnTo>
                  <a:pt x="961270" y="1453870"/>
                </a:lnTo>
                <a:lnTo>
                  <a:pt x="957252" y="1449831"/>
                </a:lnTo>
                <a:lnTo>
                  <a:pt x="957252" y="1439960"/>
                </a:lnTo>
                <a:close/>
                <a:moveTo>
                  <a:pt x="9572438" y="1435914"/>
                </a:moveTo>
                <a:lnTo>
                  <a:pt x="9582349" y="1435914"/>
                </a:lnTo>
                <a:lnTo>
                  <a:pt x="9586368" y="1439952"/>
                </a:lnTo>
                <a:lnTo>
                  <a:pt x="9586368" y="1449823"/>
                </a:lnTo>
                <a:lnTo>
                  <a:pt x="9582349" y="1453862"/>
                </a:lnTo>
                <a:lnTo>
                  <a:pt x="9572438" y="1453862"/>
                </a:lnTo>
                <a:lnTo>
                  <a:pt x="9568419" y="1449823"/>
                </a:lnTo>
                <a:lnTo>
                  <a:pt x="9568419" y="1439952"/>
                </a:lnTo>
                <a:close/>
                <a:moveTo>
                  <a:pt x="1918514" y="1435912"/>
                </a:moveTo>
                <a:lnTo>
                  <a:pt x="1928424" y="1435912"/>
                </a:lnTo>
                <a:lnTo>
                  <a:pt x="1932443" y="1439950"/>
                </a:lnTo>
                <a:lnTo>
                  <a:pt x="1932443" y="1449821"/>
                </a:lnTo>
                <a:lnTo>
                  <a:pt x="1928424" y="1453860"/>
                </a:lnTo>
                <a:lnTo>
                  <a:pt x="1918514" y="1453860"/>
                </a:lnTo>
                <a:lnTo>
                  <a:pt x="1914494" y="1449821"/>
                </a:lnTo>
                <a:lnTo>
                  <a:pt x="1914494" y="1439950"/>
                </a:lnTo>
                <a:close/>
                <a:moveTo>
                  <a:pt x="2157823" y="1435909"/>
                </a:moveTo>
                <a:lnTo>
                  <a:pt x="2167733" y="1435909"/>
                </a:lnTo>
                <a:lnTo>
                  <a:pt x="2171751" y="1439947"/>
                </a:lnTo>
                <a:lnTo>
                  <a:pt x="2171751" y="1449818"/>
                </a:lnTo>
                <a:lnTo>
                  <a:pt x="2167733" y="1453857"/>
                </a:lnTo>
                <a:lnTo>
                  <a:pt x="2157823" y="1453857"/>
                </a:lnTo>
                <a:lnTo>
                  <a:pt x="2153803" y="1449818"/>
                </a:lnTo>
                <a:lnTo>
                  <a:pt x="2153803" y="1439947"/>
                </a:lnTo>
                <a:close/>
                <a:moveTo>
                  <a:pt x="243347" y="1435883"/>
                </a:moveTo>
                <a:lnTo>
                  <a:pt x="253257" y="1435883"/>
                </a:lnTo>
                <a:lnTo>
                  <a:pt x="257276" y="1439920"/>
                </a:lnTo>
                <a:lnTo>
                  <a:pt x="257276" y="1449791"/>
                </a:lnTo>
                <a:lnTo>
                  <a:pt x="253257" y="1453830"/>
                </a:lnTo>
                <a:lnTo>
                  <a:pt x="243347" y="1453830"/>
                </a:lnTo>
                <a:lnTo>
                  <a:pt x="239328" y="1449791"/>
                </a:lnTo>
                <a:lnTo>
                  <a:pt x="239328" y="1439920"/>
                </a:lnTo>
                <a:close/>
                <a:moveTo>
                  <a:pt x="4034" y="1435883"/>
                </a:moveTo>
                <a:lnTo>
                  <a:pt x="13944" y="1435883"/>
                </a:lnTo>
                <a:lnTo>
                  <a:pt x="17964" y="1439920"/>
                </a:lnTo>
                <a:lnTo>
                  <a:pt x="17964" y="1449791"/>
                </a:lnTo>
                <a:lnTo>
                  <a:pt x="13944" y="1453830"/>
                </a:lnTo>
                <a:lnTo>
                  <a:pt x="4034" y="1453830"/>
                </a:lnTo>
                <a:lnTo>
                  <a:pt x="15" y="1449791"/>
                </a:lnTo>
                <a:lnTo>
                  <a:pt x="15" y="1439920"/>
                </a:lnTo>
                <a:close/>
                <a:moveTo>
                  <a:pt x="721973" y="1435882"/>
                </a:moveTo>
                <a:lnTo>
                  <a:pt x="731883" y="1435882"/>
                </a:lnTo>
                <a:lnTo>
                  <a:pt x="735902" y="1439920"/>
                </a:lnTo>
                <a:lnTo>
                  <a:pt x="735902" y="1449791"/>
                </a:lnTo>
                <a:lnTo>
                  <a:pt x="731883" y="1453830"/>
                </a:lnTo>
                <a:lnTo>
                  <a:pt x="721973" y="1453830"/>
                </a:lnTo>
                <a:lnTo>
                  <a:pt x="717954" y="1449791"/>
                </a:lnTo>
                <a:lnTo>
                  <a:pt x="717954" y="1439920"/>
                </a:lnTo>
                <a:close/>
                <a:moveTo>
                  <a:pt x="482661" y="1435882"/>
                </a:moveTo>
                <a:lnTo>
                  <a:pt x="492571" y="1435882"/>
                </a:lnTo>
                <a:lnTo>
                  <a:pt x="496590" y="1439920"/>
                </a:lnTo>
                <a:lnTo>
                  <a:pt x="496590" y="1449791"/>
                </a:lnTo>
                <a:lnTo>
                  <a:pt x="492571" y="1453830"/>
                </a:lnTo>
                <a:lnTo>
                  <a:pt x="482661" y="1453830"/>
                </a:lnTo>
                <a:lnTo>
                  <a:pt x="478642" y="1449791"/>
                </a:lnTo>
                <a:lnTo>
                  <a:pt x="478642" y="1439920"/>
                </a:lnTo>
                <a:close/>
                <a:moveTo>
                  <a:pt x="3350359" y="1196701"/>
                </a:moveTo>
                <a:lnTo>
                  <a:pt x="3360268" y="1196701"/>
                </a:lnTo>
                <a:lnTo>
                  <a:pt x="3364287" y="1200738"/>
                </a:lnTo>
                <a:lnTo>
                  <a:pt x="3364287" y="1210610"/>
                </a:lnTo>
                <a:lnTo>
                  <a:pt x="3360268" y="1214650"/>
                </a:lnTo>
                <a:lnTo>
                  <a:pt x="3350359" y="1214650"/>
                </a:lnTo>
                <a:lnTo>
                  <a:pt x="3346340" y="1210610"/>
                </a:lnTo>
                <a:lnTo>
                  <a:pt x="3346340" y="1200738"/>
                </a:lnTo>
                <a:close/>
                <a:moveTo>
                  <a:pt x="3111048" y="1196701"/>
                </a:moveTo>
                <a:lnTo>
                  <a:pt x="3120959" y="1196701"/>
                </a:lnTo>
                <a:lnTo>
                  <a:pt x="3124977" y="1200738"/>
                </a:lnTo>
                <a:lnTo>
                  <a:pt x="3124977" y="1210610"/>
                </a:lnTo>
                <a:lnTo>
                  <a:pt x="3120959" y="1214650"/>
                </a:lnTo>
                <a:lnTo>
                  <a:pt x="3111048" y="1214650"/>
                </a:lnTo>
                <a:lnTo>
                  <a:pt x="3107029" y="1210610"/>
                </a:lnTo>
                <a:lnTo>
                  <a:pt x="3107029" y="1200738"/>
                </a:lnTo>
                <a:close/>
                <a:moveTo>
                  <a:pt x="2871737" y="1196701"/>
                </a:moveTo>
                <a:lnTo>
                  <a:pt x="2881646" y="1196701"/>
                </a:lnTo>
                <a:lnTo>
                  <a:pt x="2885666" y="1200738"/>
                </a:lnTo>
                <a:lnTo>
                  <a:pt x="2885666" y="1210610"/>
                </a:lnTo>
                <a:lnTo>
                  <a:pt x="2881646" y="1214650"/>
                </a:lnTo>
                <a:lnTo>
                  <a:pt x="2871737" y="1214650"/>
                </a:lnTo>
                <a:lnTo>
                  <a:pt x="2867717" y="1210610"/>
                </a:lnTo>
                <a:lnTo>
                  <a:pt x="2867717" y="1200738"/>
                </a:lnTo>
                <a:close/>
                <a:moveTo>
                  <a:pt x="2632423" y="1196701"/>
                </a:moveTo>
                <a:lnTo>
                  <a:pt x="2642334" y="1196701"/>
                </a:lnTo>
                <a:lnTo>
                  <a:pt x="2646352" y="1200740"/>
                </a:lnTo>
                <a:lnTo>
                  <a:pt x="2646352" y="1210610"/>
                </a:lnTo>
                <a:lnTo>
                  <a:pt x="2642334" y="1214650"/>
                </a:lnTo>
                <a:lnTo>
                  <a:pt x="2632423" y="1214650"/>
                </a:lnTo>
                <a:lnTo>
                  <a:pt x="2628404" y="1210610"/>
                </a:lnTo>
                <a:lnTo>
                  <a:pt x="2628404" y="1200740"/>
                </a:lnTo>
                <a:close/>
                <a:moveTo>
                  <a:pt x="2393104" y="1196701"/>
                </a:moveTo>
                <a:lnTo>
                  <a:pt x="2403015" y="1196701"/>
                </a:lnTo>
                <a:lnTo>
                  <a:pt x="2407034" y="1200740"/>
                </a:lnTo>
                <a:lnTo>
                  <a:pt x="2407034" y="1210610"/>
                </a:lnTo>
                <a:lnTo>
                  <a:pt x="2403015" y="1214650"/>
                </a:lnTo>
                <a:lnTo>
                  <a:pt x="2393104" y="1214650"/>
                </a:lnTo>
                <a:lnTo>
                  <a:pt x="2389087" y="1210610"/>
                </a:lnTo>
                <a:lnTo>
                  <a:pt x="2389087" y="1200740"/>
                </a:lnTo>
                <a:close/>
                <a:moveTo>
                  <a:pt x="4546929" y="1196689"/>
                </a:moveTo>
                <a:lnTo>
                  <a:pt x="4556840" y="1196689"/>
                </a:lnTo>
                <a:lnTo>
                  <a:pt x="4560859" y="1200726"/>
                </a:lnTo>
                <a:lnTo>
                  <a:pt x="4560859" y="1210598"/>
                </a:lnTo>
                <a:lnTo>
                  <a:pt x="4556840" y="1214637"/>
                </a:lnTo>
                <a:lnTo>
                  <a:pt x="4546929" y="1214637"/>
                </a:lnTo>
                <a:lnTo>
                  <a:pt x="4542910" y="1210598"/>
                </a:lnTo>
                <a:lnTo>
                  <a:pt x="4542910" y="1200726"/>
                </a:lnTo>
                <a:close/>
                <a:moveTo>
                  <a:pt x="4307612" y="1196689"/>
                </a:moveTo>
                <a:lnTo>
                  <a:pt x="4317523" y="1196689"/>
                </a:lnTo>
                <a:lnTo>
                  <a:pt x="4321543" y="1200726"/>
                </a:lnTo>
                <a:lnTo>
                  <a:pt x="4321543" y="1210598"/>
                </a:lnTo>
                <a:lnTo>
                  <a:pt x="4317523" y="1214637"/>
                </a:lnTo>
                <a:lnTo>
                  <a:pt x="4307612" y="1214637"/>
                </a:lnTo>
                <a:lnTo>
                  <a:pt x="4303595" y="1210598"/>
                </a:lnTo>
                <a:lnTo>
                  <a:pt x="4303595" y="1200726"/>
                </a:lnTo>
                <a:close/>
                <a:moveTo>
                  <a:pt x="4068297" y="1196689"/>
                </a:moveTo>
                <a:lnTo>
                  <a:pt x="4078210" y="1196689"/>
                </a:lnTo>
                <a:lnTo>
                  <a:pt x="4082229" y="1200726"/>
                </a:lnTo>
                <a:lnTo>
                  <a:pt x="4082229" y="1210598"/>
                </a:lnTo>
                <a:lnTo>
                  <a:pt x="4078210" y="1214637"/>
                </a:lnTo>
                <a:lnTo>
                  <a:pt x="4068297" y="1214637"/>
                </a:lnTo>
                <a:lnTo>
                  <a:pt x="4064278" y="1210598"/>
                </a:lnTo>
                <a:lnTo>
                  <a:pt x="4064278" y="1200726"/>
                </a:lnTo>
                <a:close/>
                <a:moveTo>
                  <a:pt x="3828990" y="1196689"/>
                </a:moveTo>
                <a:lnTo>
                  <a:pt x="3838899" y="1196689"/>
                </a:lnTo>
                <a:lnTo>
                  <a:pt x="3842917" y="1200728"/>
                </a:lnTo>
                <a:lnTo>
                  <a:pt x="3842917" y="1210598"/>
                </a:lnTo>
                <a:lnTo>
                  <a:pt x="3838899" y="1214637"/>
                </a:lnTo>
                <a:lnTo>
                  <a:pt x="3828990" y="1214637"/>
                </a:lnTo>
                <a:lnTo>
                  <a:pt x="3824971" y="1210598"/>
                </a:lnTo>
                <a:lnTo>
                  <a:pt x="3824971" y="1200728"/>
                </a:lnTo>
                <a:close/>
                <a:moveTo>
                  <a:pt x="3589676" y="1196689"/>
                </a:moveTo>
                <a:lnTo>
                  <a:pt x="3599585" y="1196689"/>
                </a:lnTo>
                <a:lnTo>
                  <a:pt x="3603604" y="1200728"/>
                </a:lnTo>
                <a:lnTo>
                  <a:pt x="3603604" y="1210598"/>
                </a:lnTo>
                <a:lnTo>
                  <a:pt x="3599585" y="1214637"/>
                </a:lnTo>
                <a:lnTo>
                  <a:pt x="3589676" y="1214637"/>
                </a:lnTo>
                <a:lnTo>
                  <a:pt x="3585657" y="1210598"/>
                </a:lnTo>
                <a:lnTo>
                  <a:pt x="3585657" y="1200728"/>
                </a:lnTo>
                <a:close/>
                <a:moveTo>
                  <a:pt x="5743412" y="1196676"/>
                </a:moveTo>
                <a:lnTo>
                  <a:pt x="5753323" y="1196676"/>
                </a:lnTo>
                <a:lnTo>
                  <a:pt x="5757342" y="1200714"/>
                </a:lnTo>
                <a:lnTo>
                  <a:pt x="5757342" y="1210586"/>
                </a:lnTo>
                <a:lnTo>
                  <a:pt x="5753323" y="1214625"/>
                </a:lnTo>
                <a:lnTo>
                  <a:pt x="5743412" y="1214625"/>
                </a:lnTo>
                <a:lnTo>
                  <a:pt x="5739393" y="1210586"/>
                </a:lnTo>
                <a:lnTo>
                  <a:pt x="5739393" y="1200714"/>
                </a:lnTo>
                <a:close/>
                <a:moveTo>
                  <a:pt x="5504099" y="1196676"/>
                </a:moveTo>
                <a:lnTo>
                  <a:pt x="5514010" y="1196676"/>
                </a:lnTo>
                <a:lnTo>
                  <a:pt x="5518029" y="1200714"/>
                </a:lnTo>
                <a:lnTo>
                  <a:pt x="5518029" y="1210586"/>
                </a:lnTo>
                <a:lnTo>
                  <a:pt x="5514010" y="1214625"/>
                </a:lnTo>
                <a:lnTo>
                  <a:pt x="5504099" y="1214625"/>
                </a:lnTo>
                <a:lnTo>
                  <a:pt x="5500080" y="1210586"/>
                </a:lnTo>
                <a:lnTo>
                  <a:pt x="5500080" y="1200714"/>
                </a:lnTo>
                <a:close/>
                <a:moveTo>
                  <a:pt x="5264784" y="1196676"/>
                </a:moveTo>
                <a:lnTo>
                  <a:pt x="5274694" y="1196676"/>
                </a:lnTo>
                <a:lnTo>
                  <a:pt x="5278713" y="1200714"/>
                </a:lnTo>
                <a:lnTo>
                  <a:pt x="5278713" y="1210586"/>
                </a:lnTo>
                <a:lnTo>
                  <a:pt x="5274694" y="1214625"/>
                </a:lnTo>
                <a:lnTo>
                  <a:pt x="5264784" y="1214625"/>
                </a:lnTo>
                <a:lnTo>
                  <a:pt x="5260765" y="1210586"/>
                </a:lnTo>
                <a:lnTo>
                  <a:pt x="5260765" y="1200714"/>
                </a:lnTo>
                <a:close/>
                <a:moveTo>
                  <a:pt x="5025470" y="1196676"/>
                </a:moveTo>
                <a:lnTo>
                  <a:pt x="5035381" y="1196676"/>
                </a:lnTo>
                <a:lnTo>
                  <a:pt x="5039400" y="1200715"/>
                </a:lnTo>
                <a:lnTo>
                  <a:pt x="5039400" y="1210586"/>
                </a:lnTo>
                <a:lnTo>
                  <a:pt x="5035381" y="1214625"/>
                </a:lnTo>
                <a:lnTo>
                  <a:pt x="5025470" y="1214625"/>
                </a:lnTo>
                <a:lnTo>
                  <a:pt x="5021451" y="1210586"/>
                </a:lnTo>
                <a:lnTo>
                  <a:pt x="5021451" y="1200715"/>
                </a:lnTo>
                <a:close/>
                <a:moveTo>
                  <a:pt x="4786241" y="1196676"/>
                </a:moveTo>
                <a:lnTo>
                  <a:pt x="4796152" y="1196676"/>
                </a:lnTo>
                <a:lnTo>
                  <a:pt x="4800171" y="1200715"/>
                </a:lnTo>
                <a:lnTo>
                  <a:pt x="4800171" y="1210586"/>
                </a:lnTo>
                <a:lnTo>
                  <a:pt x="4796152" y="1214625"/>
                </a:lnTo>
                <a:lnTo>
                  <a:pt x="4786241" y="1214625"/>
                </a:lnTo>
                <a:lnTo>
                  <a:pt x="4782224" y="1210586"/>
                </a:lnTo>
                <a:lnTo>
                  <a:pt x="4782224" y="1200715"/>
                </a:lnTo>
                <a:close/>
                <a:moveTo>
                  <a:pt x="6222042" y="1196664"/>
                </a:moveTo>
                <a:lnTo>
                  <a:pt x="6231952" y="1196664"/>
                </a:lnTo>
                <a:lnTo>
                  <a:pt x="6235971" y="1200703"/>
                </a:lnTo>
                <a:lnTo>
                  <a:pt x="6235971" y="1210573"/>
                </a:lnTo>
                <a:lnTo>
                  <a:pt x="6231952" y="1214612"/>
                </a:lnTo>
                <a:lnTo>
                  <a:pt x="6222042" y="1214612"/>
                </a:lnTo>
                <a:lnTo>
                  <a:pt x="6218023" y="1210573"/>
                </a:lnTo>
                <a:lnTo>
                  <a:pt x="6218023" y="1200703"/>
                </a:lnTo>
                <a:close/>
                <a:moveTo>
                  <a:pt x="5982729" y="1196664"/>
                </a:moveTo>
                <a:lnTo>
                  <a:pt x="5992639" y="1196664"/>
                </a:lnTo>
                <a:lnTo>
                  <a:pt x="5996658" y="1200703"/>
                </a:lnTo>
                <a:lnTo>
                  <a:pt x="5996658" y="1210573"/>
                </a:lnTo>
                <a:lnTo>
                  <a:pt x="5992639" y="1214612"/>
                </a:lnTo>
                <a:lnTo>
                  <a:pt x="5982729" y="1214612"/>
                </a:lnTo>
                <a:lnTo>
                  <a:pt x="5978710" y="1210573"/>
                </a:lnTo>
                <a:lnTo>
                  <a:pt x="5978710" y="1200703"/>
                </a:lnTo>
                <a:close/>
                <a:moveTo>
                  <a:pt x="6939983" y="1196664"/>
                </a:moveTo>
                <a:lnTo>
                  <a:pt x="6949894" y="1196664"/>
                </a:lnTo>
                <a:lnTo>
                  <a:pt x="6953913" y="1200702"/>
                </a:lnTo>
                <a:lnTo>
                  <a:pt x="6953913" y="1210573"/>
                </a:lnTo>
                <a:lnTo>
                  <a:pt x="6949894" y="1214612"/>
                </a:lnTo>
                <a:lnTo>
                  <a:pt x="6939983" y="1214612"/>
                </a:lnTo>
                <a:lnTo>
                  <a:pt x="6935964" y="1210573"/>
                </a:lnTo>
                <a:lnTo>
                  <a:pt x="6935964" y="1200702"/>
                </a:lnTo>
                <a:close/>
                <a:moveTo>
                  <a:pt x="6700670" y="1196664"/>
                </a:moveTo>
                <a:lnTo>
                  <a:pt x="6710581" y="1196664"/>
                </a:lnTo>
                <a:lnTo>
                  <a:pt x="6714600" y="1200702"/>
                </a:lnTo>
                <a:lnTo>
                  <a:pt x="6714600" y="1210573"/>
                </a:lnTo>
                <a:lnTo>
                  <a:pt x="6710581" y="1214612"/>
                </a:lnTo>
                <a:lnTo>
                  <a:pt x="6700670" y="1214612"/>
                </a:lnTo>
                <a:lnTo>
                  <a:pt x="6696651" y="1210573"/>
                </a:lnTo>
                <a:lnTo>
                  <a:pt x="6696651" y="1200702"/>
                </a:lnTo>
                <a:close/>
                <a:moveTo>
                  <a:pt x="6461356" y="1196664"/>
                </a:moveTo>
                <a:lnTo>
                  <a:pt x="6471266" y="1196664"/>
                </a:lnTo>
                <a:lnTo>
                  <a:pt x="6475285" y="1200702"/>
                </a:lnTo>
                <a:lnTo>
                  <a:pt x="6475285" y="1210573"/>
                </a:lnTo>
                <a:lnTo>
                  <a:pt x="6471266" y="1214612"/>
                </a:lnTo>
                <a:lnTo>
                  <a:pt x="6461356" y="1214612"/>
                </a:lnTo>
                <a:lnTo>
                  <a:pt x="6457337" y="1210573"/>
                </a:lnTo>
                <a:lnTo>
                  <a:pt x="6457337" y="1200702"/>
                </a:lnTo>
                <a:close/>
                <a:moveTo>
                  <a:pt x="7418611" y="1196652"/>
                </a:moveTo>
                <a:lnTo>
                  <a:pt x="7428521" y="1196652"/>
                </a:lnTo>
                <a:lnTo>
                  <a:pt x="7432540" y="1200690"/>
                </a:lnTo>
                <a:lnTo>
                  <a:pt x="7432540" y="1210561"/>
                </a:lnTo>
                <a:lnTo>
                  <a:pt x="7428521" y="1214600"/>
                </a:lnTo>
                <a:lnTo>
                  <a:pt x="7418611" y="1214600"/>
                </a:lnTo>
                <a:lnTo>
                  <a:pt x="7414592" y="1210561"/>
                </a:lnTo>
                <a:lnTo>
                  <a:pt x="7414592" y="1200690"/>
                </a:lnTo>
                <a:close/>
                <a:moveTo>
                  <a:pt x="7179298" y="1196652"/>
                </a:moveTo>
                <a:lnTo>
                  <a:pt x="7189209" y="1196652"/>
                </a:lnTo>
                <a:lnTo>
                  <a:pt x="7193228" y="1200690"/>
                </a:lnTo>
                <a:lnTo>
                  <a:pt x="7193228" y="1210561"/>
                </a:lnTo>
                <a:lnTo>
                  <a:pt x="7189209" y="1214600"/>
                </a:lnTo>
                <a:lnTo>
                  <a:pt x="7179298" y="1214600"/>
                </a:lnTo>
                <a:lnTo>
                  <a:pt x="7175279" y="1210561"/>
                </a:lnTo>
                <a:lnTo>
                  <a:pt x="7175279" y="1200690"/>
                </a:lnTo>
                <a:close/>
                <a:moveTo>
                  <a:pt x="8136553" y="1196651"/>
                </a:moveTo>
                <a:lnTo>
                  <a:pt x="8146464" y="1196651"/>
                </a:lnTo>
                <a:lnTo>
                  <a:pt x="8150483" y="1200689"/>
                </a:lnTo>
                <a:lnTo>
                  <a:pt x="8150483" y="1210561"/>
                </a:lnTo>
                <a:lnTo>
                  <a:pt x="8146464" y="1214600"/>
                </a:lnTo>
                <a:lnTo>
                  <a:pt x="8136553" y="1214600"/>
                </a:lnTo>
                <a:lnTo>
                  <a:pt x="8132534" y="1210561"/>
                </a:lnTo>
                <a:lnTo>
                  <a:pt x="8132534" y="1200689"/>
                </a:lnTo>
                <a:close/>
                <a:moveTo>
                  <a:pt x="7897241" y="1196651"/>
                </a:moveTo>
                <a:lnTo>
                  <a:pt x="7907151" y="1196651"/>
                </a:lnTo>
                <a:lnTo>
                  <a:pt x="7911170" y="1200689"/>
                </a:lnTo>
                <a:lnTo>
                  <a:pt x="7911170" y="1210561"/>
                </a:lnTo>
                <a:lnTo>
                  <a:pt x="7907151" y="1214600"/>
                </a:lnTo>
                <a:lnTo>
                  <a:pt x="7897241" y="1214600"/>
                </a:lnTo>
                <a:lnTo>
                  <a:pt x="7893222" y="1210561"/>
                </a:lnTo>
                <a:lnTo>
                  <a:pt x="7893222" y="1200689"/>
                </a:lnTo>
                <a:close/>
                <a:moveTo>
                  <a:pt x="7657926" y="1196651"/>
                </a:moveTo>
                <a:lnTo>
                  <a:pt x="7667836" y="1196651"/>
                </a:lnTo>
                <a:lnTo>
                  <a:pt x="7671855" y="1200689"/>
                </a:lnTo>
                <a:lnTo>
                  <a:pt x="7671855" y="1210561"/>
                </a:lnTo>
                <a:lnTo>
                  <a:pt x="7667836" y="1214600"/>
                </a:lnTo>
                <a:lnTo>
                  <a:pt x="7657926" y="1214600"/>
                </a:lnTo>
                <a:lnTo>
                  <a:pt x="7653906" y="1210561"/>
                </a:lnTo>
                <a:lnTo>
                  <a:pt x="7653906" y="1200689"/>
                </a:lnTo>
                <a:close/>
                <a:moveTo>
                  <a:pt x="8615184" y="1196639"/>
                </a:moveTo>
                <a:lnTo>
                  <a:pt x="8625095" y="1196639"/>
                </a:lnTo>
                <a:lnTo>
                  <a:pt x="8629114" y="1200678"/>
                </a:lnTo>
                <a:lnTo>
                  <a:pt x="8629114" y="1210548"/>
                </a:lnTo>
                <a:lnTo>
                  <a:pt x="8625095" y="1214587"/>
                </a:lnTo>
                <a:lnTo>
                  <a:pt x="8615184" y="1214587"/>
                </a:lnTo>
                <a:lnTo>
                  <a:pt x="8611165" y="1210548"/>
                </a:lnTo>
                <a:lnTo>
                  <a:pt x="8611165" y="1200678"/>
                </a:lnTo>
                <a:close/>
                <a:moveTo>
                  <a:pt x="8375869" y="1196639"/>
                </a:moveTo>
                <a:lnTo>
                  <a:pt x="8385779" y="1196639"/>
                </a:lnTo>
                <a:lnTo>
                  <a:pt x="8389799" y="1200678"/>
                </a:lnTo>
                <a:lnTo>
                  <a:pt x="8389799" y="1210549"/>
                </a:lnTo>
                <a:lnTo>
                  <a:pt x="8385779" y="1214587"/>
                </a:lnTo>
                <a:lnTo>
                  <a:pt x="8375869" y="1214587"/>
                </a:lnTo>
                <a:lnTo>
                  <a:pt x="8371850" y="1210549"/>
                </a:lnTo>
                <a:lnTo>
                  <a:pt x="8371850" y="1200678"/>
                </a:lnTo>
                <a:close/>
                <a:moveTo>
                  <a:pt x="9333125" y="1196639"/>
                </a:moveTo>
                <a:lnTo>
                  <a:pt x="9343036" y="1196639"/>
                </a:lnTo>
                <a:lnTo>
                  <a:pt x="9347055" y="1200677"/>
                </a:lnTo>
                <a:lnTo>
                  <a:pt x="9347055" y="1210548"/>
                </a:lnTo>
                <a:lnTo>
                  <a:pt x="9343036" y="1214587"/>
                </a:lnTo>
                <a:lnTo>
                  <a:pt x="9333125" y="1214587"/>
                </a:lnTo>
                <a:lnTo>
                  <a:pt x="9329106" y="1210548"/>
                </a:lnTo>
                <a:lnTo>
                  <a:pt x="9329106" y="1200677"/>
                </a:lnTo>
                <a:close/>
                <a:moveTo>
                  <a:pt x="9093811" y="1196639"/>
                </a:moveTo>
                <a:lnTo>
                  <a:pt x="9103722" y="1196639"/>
                </a:lnTo>
                <a:lnTo>
                  <a:pt x="9107741" y="1200677"/>
                </a:lnTo>
                <a:lnTo>
                  <a:pt x="9107741" y="1210548"/>
                </a:lnTo>
                <a:lnTo>
                  <a:pt x="9103722" y="1214587"/>
                </a:lnTo>
                <a:lnTo>
                  <a:pt x="9093811" y="1214587"/>
                </a:lnTo>
                <a:lnTo>
                  <a:pt x="9089792" y="1210548"/>
                </a:lnTo>
                <a:lnTo>
                  <a:pt x="9089792" y="1200677"/>
                </a:lnTo>
                <a:close/>
                <a:moveTo>
                  <a:pt x="8854496" y="1196639"/>
                </a:moveTo>
                <a:lnTo>
                  <a:pt x="8864407" y="1196639"/>
                </a:lnTo>
                <a:lnTo>
                  <a:pt x="8868426" y="1200677"/>
                </a:lnTo>
                <a:lnTo>
                  <a:pt x="8868426" y="1210548"/>
                </a:lnTo>
                <a:lnTo>
                  <a:pt x="8864407" y="1214587"/>
                </a:lnTo>
                <a:lnTo>
                  <a:pt x="8854496" y="1214587"/>
                </a:lnTo>
                <a:lnTo>
                  <a:pt x="8850477" y="1210548"/>
                </a:lnTo>
                <a:lnTo>
                  <a:pt x="8850477" y="1200677"/>
                </a:lnTo>
                <a:close/>
                <a:moveTo>
                  <a:pt x="9572438" y="1196627"/>
                </a:moveTo>
                <a:lnTo>
                  <a:pt x="9582349" y="1196627"/>
                </a:lnTo>
                <a:lnTo>
                  <a:pt x="9586368" y="1200665"/>
                </a:lnTo>
                <a:lnTo>
                  <a:pt x="9586368" y="1210536"/>
                </a:lnTo>
                <a:lnTo>
                  <a:pt x="9582349" y="1214575"/>
                </a:lnTo>
                <a:lnTo>
                  <a:pt x="9572438" y="1214575"/>
                </a:lnTo>
                <a:lnTo>
                  <a:pt x="9568419" y="1210536"/>
                </a:lnTo>
                <a:lnTo>
                  <a:pt x="9568419" y="1200665"/>
                </a:lnTo>
                <a:close/>
                <a:moveTo>
                  <a:pt x="4035" y="1196600"/>
                </a:moveTo>
                <a:lnTo>
                  <a:pt x="13945" y="1196600"/>
                </a:lnTo>
                <a:lnTo>
                  <a:pt x="17964" y="1200638"/>
                </a:lnTo>
                <a:lnTo>
                  <a:pt x="17964" y="1210509"/>
                </a:lnTo>
                <a:lnTo>
                  <a:pt x="13945" y="1214548"/>
                </a:lnTo>
                <a:lnTo>
                  <a:pt x="4035" y="1214548"/>
                </a:lnTo>
                <a:lnTo>
                  <a:pt x="16" y="1210509"/>
                </a:lnTo>
                <a:lnTo>
                  <a:pt x="16" y="1200638"/>
                </a:lnTo>
                <a:close/>
                <a:moveTo>
                  <a:pt x="721974" y="1196599"/>
                </a:moveTo>
                <a:lnTo>
                  <a:pt x="731884" y="1196599"/>
                </a:lnTo>
                <a:lnTo>
                  <a:pt x="735903" y="1200638"/>
                </a:lnTo>
                <a:lnTo>
                  <a:pt x="735903" y="1210509"/>
                </a:lnTo>
                <a:lnTo>
                  <a:pt x="731884" y="1214547"/>
                </a:lnTo>
                <a:lnTo>
                  <a:pt x="721974" y="1214547"/>
                </a:lnTo>
                <a:lnTo>
                  <a:pt x="717955" y="1210509"/>
                </a:lnTo>
                <a:lnTo>
                  <a:pt x="717955" y="1200638"/>
                </a:lnTo>
                <a:close/>
                <a:moveTo>
                  <a:pt x="482661" y="1196599"/>
                </a:moveTo>
                <a:lnTo>
                  <a:pt x="492572" y="1196599"/>
                </a:lnTo>
                <a:lnTo>
                  <a:pt x="496591" y="1200638"/>
                </a:lnTo>
                <a:lnTo>
                  <a:pt x="496591" y="1210509"/>
                </a:lnTo>
                <a:lnTo>
                  <a:pt x="492572" y="1214548"/>
                </a:lnTo>
                <a:lnTo>
                  <a:pt x="482661" y="1214548"/>
                </a:lnTo>
                <a:lnTo>
                  <a:pt x="478642" y="1210509"/>
                </a:lnTo>
                <a:lnTo>
                  <a:pt x="478642" y="1200638"/>
                </a:lnTo>
                <a:close/>
                <a:moveTo>
                  <a:pt x="243348" y="1196599"/>
                </a:moveTo>
                <a:lnTo>
                  <a:pt x="253258" y="1196599"/>
                </a:lnTo>
                <a:lnTo>
                  <a:pt x="257278" y="1200638"/>
                </a:lnTo>
                <a:lnTo>
                  <a:pt x="257278" y="1210509"/>
                </a:lnTo>
                <a:lnTo>
                  <a:pt x="253258" y="1214548"/>
                </a:lnTo>
                <a:lnTo>
                  <a:pt x="243348" y="1214548"/>
                </a:lnTo>
                <a:lnTo>
                  <a:pt x="239329" y="1210509"/>
                </a:lnTo>
                <a:lnTo>
                  <a:pt x="239329" y="1200638"/>
                </a:lnTo>
                <a:close/>
                <a:moveTo>
                  <a:pt x="1439900" y="1196589"/>
                </a:moveTo>
                <a:lnTo>
                  <a:pt x="1449810" y="1196589"/>
                </a:lnTo>
                <a:lnTo>
                  <a:pt x="1453829" y="1200628"/>
                </a:lnTo>
                <a:lnTo>
                  <a:pt x="1453829" y="1210498"/>
                </a:lnTo>
                <a:lnTo>
                  <a:pt x="1449810" y="1214537"/>
                </a:lnTo>
                <a:lnTo>
                  <a:pt x="1439900" y="1214537"/>
                </a:lnTo>
                <a:lnTo>
                  <a:pt x="1435881" y="1210498"/>
                </a:lnTo>
                <a:lnTo>
                  <a:pt x="1435881" y="1200628"/>
                </a:lnTo>
                <a:close/>
                <a:moveTo>
                  <a:pt x="1200584" y="1196589"/>
                </a:moveTo>
                <a:lnTo>
                  <a:pt x="1210494" y="1196589"/>
                </a:lnTo>
                <a:lnTo>
                  <a:pt x="1214512" y="1200628"/>
                </a:lnTo>
                <a:lnTo>
                  <a:pt x="1214512" y="1210498"/>
                </a:lnTo>
                <a:lnTo>
                  <a:pt x="1210494" y="1214537"/>
                </a:lnTo>
                <a:lnTo>
                  <a:pt x="1200584" y="1214537"/>
                </a:lnTo>
                <a:lnTo>
                  <a:pt x="1196565" y="1210498"/>
                </a:lnTo>
                <a:lnTo>
                  <a:pt x="1196565" y="1200628"/>
                </a:lnTo>
                <a:close/>
                <a:moveTo>
                  <a:pt x="961271" y="1196589"/>
                </a:moveTo>
                <a:lnTo>
                  <a:pt x="971181" y="1196589"/>
                </a:lnTo>
                <a:lnTo>
                  <a:pt x="975200" y="1200628"/>
                </a:lnTo>
                <a:lnTo>
                  <a:pt x="975200" y="1210499"/>
                </a:lnTo>
                <a:lnTo>
                  <a:pt x="971181" y="1214537"/>
                </a:lnTo>
                <a:lnTo>
                  <a:pt x="961271" y="1214537"/>
                </a:lnTo>
                <a:lnTo>
                  <a:pt x="957253" y="1210499"/>
                </a:lnTo>
                <a:lnTo>
                  <a:pt x="957253" y="1200628"/>
                </a:lnTo>
                <a:close/>
                <a:moveTo>
                  <a:pt x="1679217" y="1196589"/>
                </a:moveTo>
                <a:lnTo>
                  <a:pt x="1689127" y="1196589"/>
                </a:lnTo>
                <a:lnTo>
                  <a:pt x="1693146" y="1200627"/>
                </a:lnTo>
                <a:lnTo>
                  <a:pt x="1693146" y="1210498"/>
                </a:lnTo>
                <a:lnTo>
                  <a:pt x="1689127" y="1214537"/>
                </a:lnTo>
                <a:lnTo>
                  <a:pt x="1679217" y="1214537"/>
                </a:lnTo>
                <a:lnTo>
                  <a:pt x="1675198" y="1210498"/>
                </a:lnTo>
                <a:lnTo>
                  <a:pt x="1675198" y="1200627"/>
                </a:lnTo>
                <a:close/>
                <a:moveTo>
                  <a:pt x="1918514" y="1196581"/>
                </a:moveTo>
                <a:lnTo>
                  <a:pt x="1928424" y="1196581"/>
                </a:lnTo>
                <a:lnTo>
                  <a:pt x="1932443" y="1200619"/>
                </a:lnTo>
                <a:lnTo>
                  <a:pt x="1932443" y="1210489"/>
                </a:lnTo>
                <a:lnTo>
                  <a:pt x="1928424" y="1214528"/>
                </a:lnTo>
                <a:lnTo>
                  <a:pt x="1918514" y="1214528"/>
                </a:lnTo>
                <a:lnTo>
                  <a:pt x="1914495" y="1210489"/>
                </a:lnTo>
                <a:lnTo>
                  <a:pt x="1914495" y="1200619"/>
                </a:lnTo>
                <a:close/>
                <a:moveTo>
                  <a:pt x="2157823" y="1196578"/>
                </a:moveTo>
                <a:lnTo>
                  <a:pt x="2167733" y="1196578"/>
                </a:lnTo>
                <a:lnTo>
                  <a:pt x="2171751" y="1200617"/>
                </a:lnTo>
                <a:lnTo>
                  <a:pt x="2171751" y="1210488"/>
                </a:lnTo>
                <a:lnTo>
                  <a:pt x="2167733" y="1214526"/>
                </a:lnTo>
                <a:lnTo>
                  <a:pt x="2157823" y="1214526"/>
                </a:lnTo>
                <a:lnTo>
                  <a:pt x="2153803" y="1210488"/>
                </a:lnTo>
                <a:lnTo>
                  <a:pt x="2153803" y="1200617"/>
                </a:lnTo>
                <a:close/>
                <a:moveTo>
                  <a:pt x="3350359" y="957358"/>
                </a:moveTo>
                <a:lnTo>
                  <a:pt x="3360268" y="957358"/>
                </a:lnTo>
                <a:lnTo>
                  <a:pt x="3364287" y="961396"/>
                </a:lnTo>
                <a:lnTo>
                  <a:pt x="3364287" y="971266"/>
                </a:lnTo>
                <a:lnTo>
                  <a:pt x="3360268" y="975304"/>
                </a:lnTo>
                <a:lnTo>
                  <a:pt x="3350359" y="975304"/>
                </a:lnTo>
                <a:lnTo>
                  <a:pt x="3346340" y="971266"/>
                </a:lnTo>
                <a:lnTo>
                  <a:pt x="3346340" y="961396"/>
                </a:lnTo>
                <a:close/>
                <a:moveTo>
                  <a:pt x="3111048" y="957358"/>
                </a:moveTo>
                <a:lnTo>
                  <a:pt x="3120959" y="957358"/>
                </a:lnTo>
                <a:lnTo>
                  <a:pt x="3124977" y="961396"/>
                </a:lnTo>
                <a:lnTo>
                  <a:pt x="3124977" y="971266"/>
                </a:lnTo>
                <a:lnTo>
                  <a:pt x="3120959" y="975304"/>
                </a:lnTo>
                <a:lnTo>
                  <a:pt x="3111048" y="975304"/>
                </a:lnTo>
                <a:lnTo>
                  <a:pt x="3107029" y="971266"/>
                </a:lnTo>
                <a:lnTo>
                  <a:pt x="3107029" y="961396"/>
                </a:lnTo>
                <a:close/>
                <a:moveTo>
                  <a:pt x="2871737" y="957358"/>
                </a:moveTo>
                <a:lnTo>
                  <a:pt x="2881646" y="957358"/>
                </a:lnTo>
                <a:lnTo>
                  <a:pt x="2885666" y="961396"/>
                </a:lnTo>
                <a:lnTo>
                  <a:pt x="2885666" y="971266"/>
                </a:lnTo>
                <a:lnTo>
                  <a:pt x="2881646" y="975304"/>
                </a:lnTo>
                <a:lnTo>
                  <a:pt x="2871737" y="975304"/>
                </a:lnTo>
                <a:lnTo>
                  <a:pt x="2867717" y="971266"/>
                </a:lnTo>
                <a:lnTo>
                  <a:pt x="2867717" y="961396"/>
                </a:lnTo>
                <a:close/>
                <a:moveTo>
                  <a:pt x="2632423" y="957358"/>
                </a:moveTo>
                <a:lnTo>
                  <a:pt x="2642334" y="957358"/>
                </a:lnTo>
                <a:lnTo>
                  <a:pt x="2646352" y="961396"/>
                </a:lnTo>
                <a:lnTo>
                  <a:pt x="2646352" y="971266"/>
                </a:lnTo>
                <a:lnTo>
                  <a:pt x="2642334" y="975305"/>
                </a:lnTo>
                <a:lnTo>
                  <a:pt x="2632423" y="975305"/>
                </a:lnTo>
                <a:lnTo>
                  <a:pt x="2628404" y="971266"/>
                </a:lnTo>
                <a:lnTo>
                  <a:pt x="2628404" y="961396"/>
                </a:lnTo>
                <a:close/>
                <a:moveTo>
                  <a:pt x="2393104" y="957358"/>
                </a:moveTo>
                <a:lnTo>
                  <a:pt x="2403015" y="957358"/>
                </a:lnTo>
                <a:lnTo>
                  <a:pt x="2407034" y="961396"/>
                </a:lnTo>
                <a:lnTo>
                  <a:pt x="2407034" y="971266"/>
                </a:lnTo>
                <a:lnTo>
                  <a:pt x="2403015" y="975305"/>
                </a:lnTo>
                <a:lnTo>
                  <a:pt x="2393104" y="975305"/>
                </a:lnTo>
                <a:lnTo>
                  <a:pt x="2389087" y="971266"/>
                </a:lnTo>
                <a:lnTo>
                  <a:pt x="2389087" y="961396"/>
                </a:lnTo>
                <a:close/>
                <a:moveTo>
                  <a:pt x="4546929" y="957347"/>
                </a:moveTo>
                <a:lnTo>
                  <a:pt x="4556840" y="957347"/>
                </a:lnTo>
                <a:lnTo>
                  <a:pt x="4560859" y="961385"/>
                </a:lnTo>
                <a:lnTo>
                  <a:pt x="4560859" y="971255"/>
                </a:lnTo>
                <a:lnTo>
                  <a:pt x="4556840" y="975293"/>
                </a:lnTo>
                <a:lnTo>
                  <a:pt x="4546929" y="975293"/>
                </a:lnTo>
                <a:lnTo>
                  <a:pt x="4542910" y="971255"/>
                </a:lnTo>
                <a:lnTo>
                  <a:pt x="4542910" y="961385"/>
                </a:lnTo>
                <a:close/>
                <a:moveTo>
                  <a:pt x="4307612" y="957347"/>
                </a:moveTo>
                <a:lnTo>
                  <a:pt x="4317523" y="957347"/>
                </a:lnTo>
                <a:lnTo>
                  <a:pt x="4321543" y="961385"/>
                </a:lnTo>
                <a:lnTo>
                  <a:pt x="4321543" y="971255"/>
                </a:lnTo>
                <a:lnTo>
                  <a:pt x="4317523" y="975293"/>
                </a:lnTo>
                <a:lnTo>
                  <a:pt x="4307612" y="975293"/>
                </a:lnTo>
                <a:lnTo>
                  <a:pt x="4303595" y="971255"/>
                </a:lnTo>
                <a:lnTo>
                  <a:pt x="4303595" y="961385"/>
                </a:lnTo>
                <a:close/>
                <a:moveTo>
                  <a:pt x="4068297" y="957347"/>
                </a:moveTo>
                <a:lnTo>
                  <a:pt x="4078210" y="957347"/>
                </a:lnTo>
                <a:lnTo>
                  <a:pt x="4082229" y="961385"/>
                </a:lnTo>
                <a:lnTo>
                  <a:pt x="4082229" y="971255"/>
                </a:lnTo>
                <a:lnTo>
                  <a:pt x="4078210" y="975293"/>
                </a:lnTo>
                <a:lnTo>
                  <a:pt x="4068297" y="975293"/>
                </a:lnTo>
                <a:lnTo>
                  <a:pt x="4064278" y="971255"/>
                </a:lnTo>
                <a:lnTo>
                  <a:pt x="4064278" y="961385"/>
                </a:lnTo>
                <a:close/>
                <a:moveTo>
                  <a:pt x="3828990" y="957347"/>
                </a:moveTo>
                <a:lnTo>
                  <a:pt x="3838899" y="957347"/>
                </a:lnTo>
                <a:lnTo>
                  <a:pt x="3842917" y="961385"/>
                </a:lnTo>
                <a:lnTo>
                  <a:pt x="3842917" y="971255"/>
                </a:lnTo>
                <a:lnTo>
                  <a:pt x="3838899" y="975293"/>
                </a:lnTo>
                <a:lnTo>
                  <a:pt x="3828990" y="975293"/>
                </a:lnTo>
                <a:lnTo>
                  <a:pt x="3824971" y="971255"/>
                </a:lnTo>
                <a:lnTo>
                  <a:pt x="3824971" y="961385"/>
                </a:lnTo>
                <a:close/>
                <a:moveTo>
                  <a:pt x="3589676" y="957347"/>
                </a:moveTo>
                <a:lnTo>
                  <a:pt x="3599585" y="957347"/>
                </a:lnTo>
                <a:lnTo>
                  <a:pt x="3603604" y="961385"/>
                </a:lnTo>
                <a:lnTo>
                  <a:pt x="3603604" y="971255"/>
                </a:lnTo>
                <a:lnTo>
                  <a:pt x="3599585" y="975293"/>
                </a:lnTo>
                <a:lnTo>
                  <a:pt x="3589676" y="975293"/>
                </a:lnTo>
                <a:lnTo>
                  <a:pt x="3585657" y="971255"/>
                </a:lnTo>
                <a:lnTo>
                  <a:pt x="3585657" y="961385"/>
                </a:lnTo>
                <a:close/>
                <a:moveTo>
                  <a:pt x="5743412" y="957335"/>
                </a:moveTo>
                <a:lnTo>
                  <a:pt x="5753323" y="957335"/>
                </a:lnTo>
                <a:lnTo>
                  <a:pt x="5757342" y="961373"/>
                </a:lnTo>
                <a:lnTo>
                  <a:pt x="5757342" y="971244"/>
                </a:lnTo>
                <a:lnTo>
                  <a:pt x="5753323" y="975282"/>
                </a:lnTo>
                <a:lnTo>
                  <a:pt x="5743412" y="975282"/>
                </a:lnTo>
                <a:lnTo>
                  <a:pt x="5739393" y="971244"/>
                </a:lnTo>
                <a:lnTo>
                  <a:pt x="5739393" y="961373"/>
                </a:lnTo>
                <a:close/>
                <a:moveTo>
                  <a:pt x="5504099" y="957335"/>
                </a:moveTo>
                <a:lnTo>
                  <a:pt x="5514010" y="957335"/>
                </a:lnTo>
                <a:lnTo>
                  <a:pt x="5518029" y="961373"/>
                </a:lnTo>
                <a:lnTo>
                  <a:pt x="5518029" y="971244"/>
                </a:lnTo>
                <a:lnTo>
                  <a:pt x="5514010" y="975282"/>
                </a:lnTo>
                <a:lnTo>
                  <a:pt x="5504099" y="975282"/>
                </a:lnTo>
                <a:lnTo>
                  <a:pt x="5500080" y="971244"/>
                </a:lnTo>
                <a:lnTo>
                  <a:pt x="5500080" y="961373"/>
                </a:lnTo>
                <a:close/>
                <a:moveTo>
                  <a:pt x="5264784" y="957335"/>
                </a:moveTo>
                <a:lnTo>
                  <a:pt x="5274694" y="957335"/>
                </a:lnTo>
                <a:lnTo>
                  <a:pt x="5278713" y="961373"/>
                </a:lnTo>
                <a:lnTo>
                  <a:pt x="5278713" y="971244"/>
                </a:lnTo>
                <a:lnTo>
                  <a:pt x="5274694" y="975282"/>
                </a:lnTo>
                <a:lnTo>
                  <a:pt x="5264784" y="975282"/>
                </a:lnTo>
                <a:lnTo>
                  <a:pt x="5260765" y="971244"/>
                </a:lnTo>
                <a:lnTo>
                  <a:pt x="5260765" y="961373"/>
                </a:lnTo>
                <a:close/>
                <a:moveTo>
                  <a:pt x="5025470" y="957335"/>
                </a:moveTo>
                <a:lnTo>
                  <a:pt x="5035381" y="957335"/>
                </a:lnTo>
                <a:lnTo>
                  <a:pt x="5039400" y="961373"/>
                </a:lnTo>
                <a:lnTo>
                  <a:pt x="5039400" y="971244"/>
                </a:lnTo>
                <a:lnTo>
                  <a:pt x="5035381" y="975283"/>
                </a:lnTo>
                <a:lnTo>
                  <a:pt x="5025470" y="975283"/>
                </a:lnTo>
                <a:lnTo>
                  <a:pt x="5021451" y="971244"/>
                </a:lnTo>
                <a:lnTo>
                  <a:pt x="5021451" y="961373"/>
                </a:lnTo>
                <a:close/>
                <a:moveTo>
                  <a:pt x="4786241" y="957335"/>
                </a:moveTo>
                <a:lnTo>
                  <a:pt x="4796152" y="957335"/>
                </a:lnTo>
                <a:lnTo>
                  <a:pt x="4800171" y="961374"/>
                </a:lnTo>
                <a:lnTo>
                  <a:pt x="4800171" y="971244"/>
                </a:lnTo>
                <a:lnTo>
                  <a:pt x="4796152" y="975283"/>
                </a:lnTo>
                <a:lnTo>
                  <a:pt x="4786241" y="975283"/>
                </a:lnTo>
                <a:lnTo>
                  <a:pt x="4782224" y="971244"/>
                </a:lnTo>
                <a:lnTo>
                  <a:pt x="4782224" y="961374"/>
                </a:lnTo>
                <a:close/>
                <a:moveTo>
                  <a:pt x="6939983" y="957324"/>
                </a:moveTo>
                <a:lnTo>
                  <a:pt x="6949894" y="957324"/>
                </a:lnTo>
                <a:lnTo>
                  <a:pt x="6953913" y="961363"/>
                </a:lnTo>
                <a:lnTo>
                  <a:pt x="6953913" y="971232"/>
                </a:lnTo>
                <a:lnTo>
                  <a:pt x="6949894" y="975271"/>
                </a:lnTo>
                <a:lnTo>
                  <a:pt x="6939983" y="975271"/>
                </a:lnTo>
                <a:lnTo>
                  <a:pt x="6935964" y="971232"/>
                </a:lnTo>
                <a:lnTo>
                  <a:pt x="6935964" y="961363"/>
                </a:lnTo>
                <a:close/>
                <a:moveTo>
                  <a:pt x="6700670" y="957324"/>
                </a:moveTo>
                <a:lnTo>
                  <a:pt x="6710581" y="957324"/>
                </a:lnTo>
                <a:lnTo>
                  <a:pt x="6714600" y="961363"/>
                </a:lnTo>
                <a:lnTo>
                  <a:pt x="6714600" y="971232"/>
                </a:lnTo>
                <a:lnTo>
                  <a:pt x="6710581" y="975271"/>
                </a:lnTo>
                <a:lnTo>
                  <a:pt x="6700670" y="975271"/>
                </a:lnTo>
                <a:lnTo>
                  <a:pt x="6696651" y="971232"/>
                </a:lnTo>
                <a:lnTo>
                  <a:pt x="6696651" y="961363"/>
                </a:lnTo>
                <a:close/>
                <a:moveTo>
                  <a:pt x="6461356" y="957324"/>
                </a:moveTo>
                <a:lnTo>
                  <a:pt x="6471266" y="957324"/>
                </a:lnTo>
                <a:lnTo>
                  <a:pt x="6475285" y="961363"/>
                </a:lnTo>
                <a:lnTo>
                  <a:pt x="6475285" y="971232"/>
                </a:lnTo>
                <a:lnTo>
                  <a:pt x="6471266" y="975271"/>
                </a:lnTo>
                <a:lnTo>
                  <a:pt x="6461356" y="975271"/>
                </a:lnTo>
                <a:lnTo>
                  <a:pt x="6457337" y="971232"/>
                </a:lnTo>
                <a:lnTo>
                  <a:pt x="6457337" y="961363"/>
                </a:lnTo>
                <a:close/>
                <a:moveTo>
                  <a:pt x="6222042" y="957324"/>
                </a:moveTo>
                <a:lnTo>
                  <a:pt x="6231952" y="957324"/>
                </a:lnTo>
                <a:lnTo>
                  <a:pt x="6235971" y="961363"/>
                </a:lnTo>
                <a:lnTo>
                  <a:pt x="6235971" y="971232"/>
                </a:lnTo>
                <a:lnTo>
                  <a:pt x="6231952" y="975271"/>
                </a:lnTo>
                <a:lnTo>
                  <a:pt x="6222042" y="975271"/>
                </a:lnTo>
                <a:lnTo>
                  <a:pt x="6218023" y="971232"/>
                </a:lnTo>
                <a:lnTo>
                  <a:pt x="6218023" y="961363"/>
                </a:lnTo>
                <a:close/>
                <a:moveTo>
                  <a:pt x="5982729" y="957324"/>
                </a:moveTo>
                <a:lnTo>
                  <a:pt x="5992639" y="957324"/>
                </a:lnTo>
                <a:lnTo>
                  <a:pt x="5996658" y="961363"/>
                </a:lnTo>
                <a:lnTo>
                  <a:pt x="5996658" y="971232"/>
                </a:lnTo>
                <a:lnTo>
                  <a:pt x="5992639" y="975271"/>
                </a:lnTo>
                <a:lnTo>
                  <a:pt x="5982729" y="975271"/>
                </a:lnTo>
                <a:lnTo>
                  <a:pt x="5978710" y="971232"/>
                </a:lnTo>
                <a:lnTo>
                  <a:pt x="5978710" y="961363"/>
                </a:lnTo>
                <a:close/>
                <a:moveTo>
                  <a:pt x="8136553" y="957313"/>
                </a:moveTo>
                <a:lnTo>
                  <a:pt x="8146464" y="957313"/>
                </a:lnTo>
                <a:lnTo>
                  <a:pt x="8150483" y="961351"/>
                </a:lnTo>
                <a:lnTo>
                  <a:pt x="8150483" y="971222"/>
                </a:lnTo>
                <a:lnTo>
                  <a:pt x="8146464" y="975260"/>
                </a:lnTo>
                <a:lnTo>
                  <a:pt x="8136553" y="975260"/>
                </a:lnTo>
                <a:lnTo>
                  <a:pt x="8132534" y="971222"/>
                </a:lnTo>
                <a:lnTo>
                  <a:pt x="8132534" y="961351"/>
                </a:lnTo>
                <a:close/>
                <a:moveTo>
                  <a:pt x="7897241" y="957313"/>
                </a:moveTo>
                <a:lnTo>
                  <a:pt x="7907151" y="957313"/>
                </a:lnTo>
                <a:lnTo>
                  <a:pt x="7911170" y="961351"/>
                </a:lnTo>
                <a:lnTo>
                  <a:pt x="7911170" y="971222"/>
                </a:lnTo>
                <a:lnTo>
                  <a:pt x="7907151" y="975260"/>
                </a:lnTo>
                <a:lnTo>
                  <a:pt x="7897241" y="975260"/>
                </a:lnTo>
                <a:lnTo>
                  <a:pt x="7893222" y="971222"/>
                </a:lnTo>
                <a:lnTo>
                  <a:pt x="7893222" y="961351"/>
                </a:lnTo>
                <a:close/>
                <a:moveTo>
                  <a:pt x="7657926" y="957313"/>
                </a:moveTo>
                <a:lnTo>
                  <a:pt x="7667836" y="957313"/>
                </a:lnTo>
                <a:lnTo>
                  <a:pt x="7671855" y="961351"/>
                </a:lnTo>
                <a:lnTo>
                  <a:pt x="7671855" y="971222"/>
                </a:lnTo>
                <a:lnTo>
                  <a:pt x="7667836" y="975260"/>
                </a:lnTo>
                <a:lnTo>
                  <a:pt x="7657926" y="975260"/>
                </a:lnTo>
                <a:lnTo>
                  <a:pt x="7653906" y="971222"/>
                </a:lnTo>
                <a:lnTo>
                  <a:pt x="7653906" y="961351"/>
                </a:lnTo>
                <a:close/>
                <a:moveTo>
                  <a:pt x="7418611" y="957313"/>
                </a:moveTo>
                <a:lnTo>
                  <a:pt x="7428521" y="957313"/>
                </a:lnTo>
                <a:lnTo>
                  <a:pt x="7432540" y="961351"/>
                </a:lnTo>
                <a:lnTo>
                  <a:pt x="7432540" y="971222"/>
                </a:lnTo>
                <a:lnTo>
                  <a:pt x="7428521" y="975260"/>
                </a:lnTo>
                <a:lnTo>
                  <a:pt x="7418611" y="975260"/>
                </a:lnTo>
                <a:lnTo>
                  <a:pt x="7414592" y="971222"/>
                </a:lnTo>
                <a:lnTo>
                  <a:pt x="7414592" y="961351"/>
                </a:lnTo>
                <a:close/>
                <a:moveTo>
                  <a:pt x="7179298" y="957313"/>
                </a:moveTo>
                <a:lnTo>
                  <a:pt x="7189209" y="957313"/>
                </a:lnTo>
                <a:lnTo>
                  <a:pt x="7193228" y="961351"/>
                </a:lnTo>
                <a:lnTo>
                  <a:pt x="7193228" y="971222"/>
                </a:lnTo>
                <a:lnTo>
                  <a:pt x="7189209" y="975260"/>
                </a:lnTo>
                <a:lnTo>
                  <a:pt x="7179298" y="975260"/>
                </a:lnTo>
                <a:lnTo>
                  <a:pt x="7175279" y="971222"/>
                </a:lnTo>
                <a:lnTo>
                  <a:pt x="7175279" y="961351"/>
                </a:lnTo>
                <a:close/>
                <a:moveTo>
                  <a:pt x="1679217" y="957309"/>
                </a:moveTo>
                <a:lnTo>
                  <a:pt x="1689128" y="957309"/>
                </a:lnTo>
                <a:lnTo>
                  <a:pt x="1693147" y="961347"/>
                </a:lnTo>
                <a:lnTo>
                  <a:pt x="1693147" y="971217"/>
                </a:lnTo>
                <a:lnTo>
                  <a:pt x="1689128" y="975256"/>
                </a:lnTo>
                <a:lnTo>
                  <a:pt x="1679217" y="975256"/>
                </a:lnTo>
                <a:lnTo>
                  <a:pt x="1675199" y="971217"/>
                </a:lnTo>
                <a:lnTo>
                  <a:pt x="1675199" y="961347"/>
                </a:lnTo>
                <a:close/>
                <a:moveTo>
                  <a:pt x="1439901" y="957309"/>
                </a:moveTo>
                <a:lnTo>
                  <a:pt x="1449811" y="957309"/>
                </a:lnTo>
                <a:lnTo>
                  <a:pt x="1453829" y="961347"/>
                </a:lnTo>
                <a:lnTo>
                  <a:pt x="1453829" y="971217"/>
                </a:lnTo>
                <a:lnTo>
                  <a:pt x="1449811" y="975256"/>
                </a:lnTo>
                <a:lnTo>
                  <a:pt x="1439901" y="975256"/>
                </a:lnTo>
                <a:lnTo>
                  <a:pt x="1435881" y="971217"/>
                </a:lnTo>
                <a:lnTo>
                  <a:pt x="1435881" y="961347"/>
                </a:lnTo>
                <a:close/>
                <a:moveTo>
                  <a:pt x="1200584" y="957309"/>
                </a:moveTo>
                <a:lnTo>
                  <a:pt x="1210495" y="957309"/>
                </a:lnTo>
                <a:lnTo>
                  <a:pt x="1214513" y="961347"/>
                </a:lnTo>
                <a:lnTo>
                  <a:pt x="1214513" y="971217"/>
                </a:lnTo>
                <a:lnTo>
                  <a:pt x="1210495" y="975256"/>
                </a:lnTo>
                <a:lnTo>
                  <a:pt x="1200584" y="975256"/>
                </a:lnTo>
                <a:lnTo>
                  <a:pt x="1196566" y="971217"/>
                </a:lnTo>
                <a:lnTo>
                  <a:pt x="1196566" y="961347"/>
                </a:lnTo>
                <a:close/>
                <a:moveTo>
                  <a:pt x="961271" y="957309"/>
                </a:moveTo>
                <a:lnTo>
                  <a:pt x="971182" y="957309"/>
                </a:lnTo>
                <a:lnTo>
                  <a:pt x="975201" y="961347"/>
                </a:lnTo>
                <a:lnTo>
                  <a:pt x="975201" y="971218"/>
                </a:lnTo>
                <a:lnTo>
                  <a:pt x="971182" y="975256"/>
                </a:lnTo>
                <a:lnTo>
                  <a:pt x="961271" y="975256"/>
                </a:lnTo>
                <a:lnTo>
                  <a:pt x="957253" y="971218"/>
                </a:lnTo>
                <a:lnTo>
                  <a:pt x="957253" y="961347"/>
                </a:lnTo>
                <a:close/>
                <a:moveTo>
                  <a:pt x="9333125" y="957302"/>
                </a:moveTo>
                <a:lnTo>
                  <a:pt x="9343036" y="957302"/>
                </a:lnTo>
                <a:lnTo>
                  <a:pt x="9347055" y="961340"/>
                </a:lnTo>
                <a:lnTo>
                  <a:pt x="9347055" y="971210"/>
                </a:lnTo>
                <a:lnTo>
                  <a:pt x="9343036" y="975249"/>
                </a:lnTo>
                <a:lnTo>
                  <a:pt x="9333125" y="975249"/>
                </a:lnTo>
                <a:lnTo>
                  <a:pt x="9329106" y="971210"/>
                </a:lnTo>
                <a:lnTo>
                  <a:pt x="9329106" y="961340"/>
                </a:lnTo>
                <a:close/>
                <a:moveTo>
                  <a:pt x="9093811" y="957302"/>
                </a:moveTo>
                <a:lnTo>
                  <a:pt x="9103722" y="957302"/>
                </a:lnTo>
                <a:lnTo>
                  <a:pt x="9107741" y="961340"/>
                </a:lnTo>
                <a:lnTo>
                  <a:pt x="9107741" y="971210"/>
                </a:lnTo>
                <a:lnTo>
                  <a:pt x="9103722" y="975249"/>
                </a:lnTo>
                <a:lnTo>
                  <a:pt x="9093811" y="975249"/>
                </a:lnTo>
                <a:lnTo>
                  <a:pt x="9089792" y="971210"/>
                </a:lnTo>
                <a:lnTo>
                  <a:pt x="9089792" y="961340"/>
                </a:lnTo>
                <a:close/>
                <a:moveTo>
                  <a:pt x="8854496" y="957302"/>
                </a:moveTo>
                <a:lnTo>
                  <a:pt x="8864407" y="957302"/>
                </a:lnTo>
                <a:lnTo>
                  <a:pt x="8868426" y="961340"/>
                </a:lnTo>
                <a:lnTo>
                  <a:pt x="8868426" y="971210"/>
                </a:lnTo>
                <a:lnTo>
                  <a:pt x="8864407" y="975249"/>
                </a:lnTo>
                <a:lnTo>
                  <a:pt x="8854496" y="975249"/>
                </a:lnTo>
                <a:lnTo>
                  <a:pt x="8850477" y="971210"/>
                </a:lnTo>
                <a:lnTo>
                  <a:pt x="8850477" y="961340"/>
                </a:lnTo>
                <a:close/>
                <a:moveTo>
                  <a:pt x="8615184" y="957302"/>
                </a:moveTo>
                <a:lnTo>
                  <a:pt x="8625095" y="957302"/>
                </a:lnTo>
                <a:lnTo>
                  <a:pt x="8629114" y="961340"/>
                </a:lnTo>
                <a:lnTo>
                  <a:pt x="8629114" y="971210"/>
                </a:lnTo>
                <a:lnTo>
                  <a:pt x="8625095" y="975249"/>
                </a:lnTo>
                <a:lnTo>
                  <a:pt x="8615184" y="975249"/>
                </a:lnTo>
                <a:lnTo>
                  <a:pt x="8611165" y="971210"/>
                </a:lnTo>
                <a:lnTo>
                  <a:pt x="8611165" y="961340"/>
                </a:lnTo>
                <a:close/>
                <a:moveTo>
                  <a:pt x="8375869" y="957302"/>
                </a:moveTo>
                <a:lnTo>
                  <a:pt x="8385779" y="957302"/>
                </a:lnTo>
                <a:lnTo>
                  <a:pt x="8389799" y="961340"/>
                </a:lnTo>
                <a:lnTo>
                  <a:pt x="8389799" y="971210"/>
                </a:lnTo>
                <a:lnTo>
                  <a:pt x="8385779" y="975249"/>
                </a:lnTo>
                <a:lnTo>
                  <a:pt x="8375869" y="975249"/>
                </a:lnTo>
                <a:lnTo>
                  <a:pt x="8371850" y="971210"/>
                </a:lnTo>
                <a:lnTo>
                  <a:pt x="8371850" y="961340"/>
                </a:lnTo>
                <a:close/>
                <a:moveTo>
                  <a:pt x="1918514" y="957301"/>
                </a:moveTo>
                <a:lnTo>
                  <a:pt x="1928424" y="957301"/>
                </a:lnTo>
                <a:lnTo>
                  <a:pt x="1932444" y="961339"/>
                </a:lnTo>
                <a:lnTo>
                  <a:pt x="1932444" y="971210"/>
                </a:lnTo>
                <a:lnTo>
                  <a:pt x="1928424" y="975249"/>
                </a:lnTo>
                <a:lnTo>
                  <a:pt x="1918514" y="975249"/>
                </a:lnTo>
                <a:lnTo>
                  <a:pt x="1914495" y="971210"/>
                </a:lnTo>
                <a:lnTo>
                  <a:pt x="1914495" y="961339"/>
                </a:lnTo>
                <a:close/>
                <a:moveTo>
                  <a:pt x="2157823" y="957299"/>
                </a:moveTo>
                <a:lnTo>
                  <a:pt x="2167733" y="957299"/>
                </a:lnTo>
                <a:lnTo>
                  <a:pt x="2171751" y="961337"/>
                </a:lnTo>
                <a:lnTo>
                  <a:pt x="2171751" y="971207"/>
                </a:lnTo>
                <a:lnTo>
                  <a:pt x="2167733" y="975246"/>
                </a:lnTo>
                <a:lnTo>
                  <a:pt x="2157823" y="975246"/>
                </a:lnTo>
                <a:lnTo>
                  <a:pt x="2153804" y="971207"/>
                </a:lnTo>
                <a:lnTo>
                  <a:pt x="2153804" y="961337"/>
                </a:lnTo>
                <a:close/>
                <a:moveTo>
                  <a:pt x="9572438" y="957291"/>
                </a:moveTo>
                <a:lnTo>
                  <a:pt x="9582349" y="957291"/>
                </a:lnTo>
                <a:lnTo>
                  <a:pt x="9586368" y="961329"/>
                </a:lnTo>
                <a:lnTo>
                  <a:pt x="9586368" y="971199"/>
                </a:lnTo>
                <a:lnTo>
                  <a:pt x="9582349" y="975238"/>
                </a:lnTo>
                <a:lnTo>
                  <a:pt x="9572438" y="975238"/>
                </a:lnTo>
                <a:lnTo>
                  <a:pt x="9568419" y="971199"/>
                </a:lnTo>
                <a:lnTo>
                  <a:pt x="9568419" y="961329"/>
                </a:lnTo>
                <a:close/>
                <a:moveTo>
                  <a:pt x="721974" y="957266"/>
                </a:moveTo>
                <a:lnTo>
                  <a:pt x="731884" y="957266"/>
                </a:lnTo>
                <a:lnTo>
                  <a:pt x="735903" y="961305"/>
                </a:lnTo>
                <a:lnTo>
                  <a:pt x="735903" y="971175"/>
                </a:lnTo>
                <a:lnTo>
                  <a:pt x="731884" y="975214"/>
                </a:lnTo>
                <a:lnTo>
                  <a:pt x="721974" y="975214"/>
                </a:lnTo>
                <a:lnTo>
                  <a:pt x="717956" y="971175"/>
                </a:lnTo>
                <a:lnTo>
                  <a:pt x="717956" y="961305"/>
                </a:lnTo>
                <a:close/>
                <a:moveTo>
                  <a:pt x="482662" y="957266"/>
                </a:moveTo>
                <a:lnTo>
                  <a:pt x="492572" y="957266"/>
                </a:lnTo>
                <a:lnTo>
                  <a:pt x="496591" y="961305"/>
                </a:lnTo>
                <a:lnTo>
                  <a:pt x="496591" y="971175"/>
                </a:lnTo>
                <a:lnTo>
                  <a:pt x="492572" y="975214"/>
                </a:lnTo>
                <a:lnTo>
                  <a:pt x="482662" y="975214"/>
                </a:lnTo>
                <a:lnTo>
                  <a:pt x="478643" y="971175"/>
                </a:lnTo>
                <a:lnTo>
                  <a:pt x="478643" y="961305"/>
                </a:lnTo>
                <a:close/>
                <a:moveTo>
                  <a:pt x="243349" y="957266"/>
                </a:moveTo>
                <a:lnTo>
                  <a:pt x="253259" y="957266"/>
                </a:lnTo>
                <a:lnTo>
                  <a:pt x="257278" y="961305"/>
                </a:lnTo>
                <a:lnTo>
                  <a:pt x="257278" y="971175"/>
                </a:lnTo>
                <a:lnTo>
                  <a:pt x="253259" y="975214"/>
                </a:lnTo>
                <a:lnTo>
                  <a:pt x="243349" y="975214"/>
                </a:lnTo>
                <a:lnTo>
                  <a:pt x="239330" y="971175"/>
                </a:lnTo>
                <a:lnTo>
                  <a:pt x="239330" y="961305"/>
                </a:lnTo>
                <a:close/>
                <a:moveTo>
                  <a:pt x="4036" y="957266"/>
                </a:moveTo>
                <a:lnTo>
                  <a:pt x="13946" y="957266"/>
                </a:lnTo>
                <a:lnTo>
                  <a:pt x="17965" y="961305"/>
                </a:lnTo>
                <a:lnTo>
                  <a:pt x="17965" y="971176"/>
                </a:lnTo>
                <a:lnTo>
                  <a:pt x="13946" y="975214"/>
                </a:lnTo>
                <a:lnTo>
                  <a:pt x="4036" y="975214"/>
                </a:lnTo>
                <a:lnTo>
                  <a:pt x="16" y="971176"/>
                </a:lnTo>
                <a:lnTo>
                  <a:pt x="16" y="961305"/>
                </a:lnTo>
                <a:close/>
                <a:moveTo>
                  <a:pt x="3350359" y="718040"/>
                </a:moveTo>
                <a:lnTo>
                  <a:pt x="3360268" y="718040"/>
                </a:lnTo>
                <a:lnTo>
                  <a:pt x="3364287" y="722078"/>
                </a:lnTo>
                <a:lnTo>
                  <a:pt x="3364287" y="731948"/>
                </a:lnTo>
                <a:lnTo>
                  <a:pt x="3360268" y="735987"/>
                </a:lnTo>
                <a:lnTo>
                  <a:pt x="3350359" y="735987"/>
                </a:lnTo>
                <a:lnTo>
                  <a:pt x="3346340" y="731948"/>
                </a:lnTo>
                <a:lnTo>
                  <a:pt x="3346340" y="722078"/>
                </a:lnTo>
                <a:close/>
                <a:moveTo>
                  <a:pt x="3111048" y="718040"/>
                </a:moveTo>
                <a:lnTo>
                  <a:pt x="3120959" y="718040"/>
                </a:lnTo>
                <a:lnTo>
                  <a:pt x="3124977" y="722078"/>
                </a:lnTo>
                <a:lnTo>
                  <a:pt x="3124977" y="731949"/>
                </a:lnTo>
                <a:lnTo>
                  <a:pt x="3120959" y="735987"/>
                </a:lnTo>
                <a:lnTo>
                  <a:pt x="3111048" y="735987"/>
                </a:lnTo>
                <a:lnTo>
                  <a:pt x="3107029" y="731949"/>
                </a:lnTo>
                <a:lnTo>
                  <a:pt x="3107029" y="722078"/>
                </a:lnTo>
                <a:close/>
                <a:moveTo>
                  <a:pt x="2871737" y="718040"/>
                </a:moveTo>
                <a:lnTo>
                  <a:pt x="2881646" y="718040"/>
                </a:lnTo>
                <a:lnTo>
                  <a:pt x="2885666" y="722078"/>
                </a:lnTo>
                <a:lnTo>
                  <a:pt x="2885666" y="731949"/>
                </a:lnTo>
                <a:lnTo>
                  <a:pt x="2881646" y="735987"/>
                </a:lnTo>
                <a:lnTo>
                  <a:pt x="2871737" y="735987"/>
                </a:lnTo>
                <a:lnTo>
                  <a:pt x="2867717" y="731949"/>
                </a:lnTo>
                <a:lnTo>
                  <a:pt x="2867717" y="722078"/>
                </a:lnTo>
                <a:close/>
                <a:moveTo>
                  <a:pt x="2632423" y="718040"/>
                </a:moveTo>
                <a:lnTo>
                  <a:pt x="2642334" y="718040"/>
                </a:lnTo>
                <a:lnTo>
                  <a:pt x="2646352" y="722078"/>
                </a:lnTo>
                <a:lnTo>
                  <a:pt x="2646352" y="731949"/>
                </a:lnTo>
                <a:lnTo>
                  <a:pt x="2642334" y="735988"/>
                </a:lnTo>
                <a:lnTo>
                  <a:pt x="2632423" y="735988"/>
                </a:lnTo>
                <a:lnTo>
                  <a:pt x="2628404" y="731949"/>
                </a:lnTo>
                <a:lnTo>
                  <a:pt x="2628404" y="722078"/>
                </a:lnTo>
                <a:close/>
                <a:moveTo>
                  <a:pt x="2393104" y="718040"/>
                </a:moveTo>
                <a:lnTo>
                  <a:pt x="2403015" y="718040"/>
                </a:lnTo>
                <a:lnTo>
                  <a:pt x="2407034" y="722078"/>
                </a:lnTo>
                <a:lnTo>
                  <a:pt x="2407034" y="731949"/>
                </a:lnTo>
                <a:lnTo>
                  <a:pt x="2403015" y="735988"/>
                </a:lnTo>
                <a:lnTo>
                  <a:pt x="2393104" y="735988"/>
                </a:lnTo>
                <a:lnTo>
                  <a:pt x="2389087" y="731949"/>
                </a:lnTo>
                <a:lnTo>
                  <a:pt x="2389087" y="722078"/>
                </a:lnTo>
                <a:close/>
                <a:moveTo>
                  <a:pt x="4546929" y="718028"/>
                </a:moveTo>
                <a:lnTo>
                  <a:pt x="4556840" y="718028"/>
                </a:lnTo>
                <a:lnTo>
                  <a:pt x="4560859" y="722066"/>
                </a:lnTo>
                <a:lnTo>
                  <a:pt x="4560859" y="731935"/>
                </a:lnTo>
                <a:lnTo>
                  <a:pt x="4556840" y="735975"/>
                </a:lnTo>
                <a:lnTo>
                  <a:pt x="4546929" y="735975"/>
                </a:lnTo>
                <a:lnTo>
                  <a:pt x="4542910" y="731935"/>
                </a:lnTo>
                <a:lnTo>
                  <a:pt x="4542910" y="722066"/>
                </a:lnTo>
                <a:close/>
                <a:moveTo>
                  <a:pt x="4307612" y="718028"/>
                </a:moveTo>
                <a:lnTo>
                  <a:pt x="4317523" y="718028"/>
                </a:lnTo>
                <a:lnTo>
                  <a:pt x="4321543" y="722066"/>
                </a:lnTo>
                <a:lnTo>
                  <a:pt x="4321543" y="731936"/>
                </a:lnTo>
                <a:lnTo>
                  <a:pt x="4317523" y="735975"/>
                </a:lnTo>
                <a:lnTo>
                  <a:pt x="4307612" y="735975"/>
                </a:lnTo>
                <a:lnTo>
                  <a:pt x="4303595" y="731936"/>
                </a:lnTo>
                <a:lnTo>
                  <a:pt x="4303595" y="722066"/>
                </a:lnTo>
                <a:close/>
                <a:moveTo>
                  <a:pt x="4068297" y="718028"/>
                </a:moveTo>
                <a:lnTo>
                  <a:pt x="4078210" y="718028"/>
                </a:lnTo>
                <a:lnTo>
                  <a:pt x="4082229" y="722066"/>
                </a:lnTo>
                <a:lnTo>
                  <a:pt x="4082229" y="731936"/>
                </a:lnTo>
                <a:lnTo>
                  <a:pt x="4078210" y="735975"/>
                </a:lnTo>
                <a:lnTo>
                  <a:pt x="4068297" y="735975"/>
                </a:lnTo>
                <a:lnTo>
                  <a:pt x="4064278" y="731936"/>
                </a:lnTo>
                <a:lnTo>
                  <a:pt x="4064278" y="722066"/>
                </a:lnTo>
                <a:close/>
                <a:moveTo>
                  <a:pt x="3828990" y="718028"/>
                </a:moveTo>
                <a:lnTo>
                  <a:pt x="3838899" y="718028"/>
                </a:lnTo>
                <a:lnTo>
                  <a:pt x="3842917" y="722066"/>
                </a:lnTo>
                <a:lnTo>
                  <a:pt x="3842917" y="731936"/>
                </a:lnTo>
                <a:lnTo>
                  <a:pt x="3838899" y="735975"/>
                </a:lnTo>
                <a:lnTo>
                  <a:pt x="3828990" y="735975"/>
                </a:lnTo>
                <a:lnTo>
                  <a:pt x="3824971" y="731936"/>
                </a:lnTo>
                <a:lnTo>
                  <a:pt x="3824971" y="722066"/>
                </a:lnTo>
                <a:close/>
                <a:moveTo>
                  <a:pt x="3589676" y="718028"/>
                </a:moveTo>
                <a:lnTo>
                  <a:pt x="3599585" y="718028"/>
                </a:lnTo>
                <a:lnTo>
                  <a:pt x="3603604" y="722066"/>
                </a:lnTo>
                <a:lnTo>
                  <a:pt x="3603604" y="731936"/>
                </a:lnTo>
                <a:lnTo>
                  <a:pt x="3599585" y="735975"/>
                </a:lnTo>
                <a:lnTo>
                  <a:pt x="3589676" y="735975"/>
                </a:lnTo>
                <a:lnTo>
                  <a:pt x="3585657" y="731936"/>
                </a:lnTo>
                <a:lnTo>
                  <a:pt x="3585657" y="722066"/>
                </a:lnTo>
                <a:close/>
                <a:moveTo>
                  <a:pt x="5743412" y="718015"/>
                </a:moveTo>
                <a:lnTo>
                  <a:pt x="5753323" y="718015"/>
                </a:lnTo>
                <a:lnTo>
                  <a:pt x="5757342" y="722053"/>
                </a:lnTo>
                <a:lnTo>
                  <a:pt x="5757342" y="731924"/>
                </a:lnTo>
                <a:lnTo>
                  <a:pt x="5753323" y="735963"/>
                </a:lnTo>
                <a:lnTo>
                  <a:pt x="5743412" y="735963"/>
                </a:lnTo>
                <a:lnTo>
                  <a:pt x="5739393" y="731924"/>
                </a:lnTo>
                <a:lnTo>
                  <a:pt x="5739393" y="722053"/>
                </a:lnTo>
                <a:close/>
                <a:moveTo>
                  <a:pt x="5504099" y="718015"/>
                </a:moveTo>
                <a:lnTo>
                  <a:pt x="5514010" y="718015"/>
                </a:lnTo>
                <a:lnTo>
                  <a:pt x="5518029" y="722053"/>
                </a:lnTo>
                <a:lnTo>
                  <a:pt x="5518029" y="731924"/>
                </a:lnTo>
                <a:lnTo>
                  <a:pt x="5514010" y="735963"/>
                </a:lnTo>
                <a:lnTo>
                  <a:pt x="5504099" y="735963"/>
                </a:lnTo>
                <a:lnTo>
                  <a:pt x="5500080" y="731924"/>
                </a:lnTo>
                <a:lnTo>
                  <a:pt x="5500080" y="722053"/>
                </a:lnTo>
                <a:close/>
                <a:moveTo>
                  <a:pt x="5264784" y="718015"/>
                </a:moveTo>
                <a:lnTo>
                  <a:pt x="5274694" y="718015"/>
                </a:lnTo>
                <a:lnTo>
                  <a:pt x="5278713" y="722053"/>
                </a:lnTo>
                <a:lnTo>
                  <a:pt x="5278713" y="731924"/>
                </a:lnTo>
                <a:lnTo>
                  <a:pt x="5274694" y="735963"/>
                </a:lnTo>
                <a:lnTo>
                  <a:pt x="5264784" y="735963"/>
                </a:lnTo>
                <a:lnTo>
                  <a:pt x="5260765" y="731924"/>
                </a:lnTo>
                <a:lnTo>
                  <a:pt x="5260765" y="722053"/>
                </a:lnTo>
                <a:close/>
                <a:moveTo>
                  <a:pt x="5025470" y="718015"/>
                </a:moveTo>
                <a:lnTo>
                  <a:pt x="5035381" y="718015"/>
                </a:lnTo>
                <a:lnTo>
                  <a:pt x="5039400" y="722053"/>
                </a:lnTo>
                <a:lnTo>
                  <a:pt x="5039400" y="731924"/>
                </a:lnTo>
                <a:lnTo>
                  <a:pt x="5035381" y="735963"/>
                </a:lnTo>
                <a:lnTo>
                  <a:pt x="5025470" y="735963"/>
                </a:lnTo>
                <a:lnTo>
                  <a:pt x="5021451" y="731924"/>
                </a:lnTo>
                <a:lnTo>
                  <a:pt x="5021451" y="722053"/>
                </a:lnTo>
                <a:close/>
                <a:moveTo>
                  <a:pt x="4786241" y="718015"/>
                </a:moveTo>
                <a:lnTo>
                  <a:pt x="4796152" y="718015"/>
                </a:lnTo>
                <a:lnTo>
                  <a:pt x="4800171" y="722053"/>
                </a:lnTo>
                <a:lnTo>
                  <a:pt x="4800171" y="731924"/>
                </a:lnTo>
                <a:lnTo>
                  <a:pt x="4796152" y="735963"/>
                </a:lnTo>
                <a:lnTo>
                  <a:pt x="4786241" y="735963"/>
                </a:lnTo>
                <a:lnTo>
                  <a:pt x="4782224" y="731924"/>
                </a:lnTo>
                <a:lnTo>
                  <a:pt x="4782224" y="722053"/>
                </a:lnTo>
                <a:close/>
                <a:moveTo>
                  <a:pt x="6939983" y="718003"/>
                </a:moveTo>
                <a:lnTo>
                  <a:pt x="6949894" y="718003"/>
                </a:lnTo>
                <a:lnTo>
                  <a:pt x="6953913" y="722041"/>
                </a:lnTo>
                <a:lnTo>
                  <a:pt x="6953913" y="731911"/>
                </a:lnTo>
                <a:lnTo>
                  <a:pt x="6949894" y="735950"/>
                </a:lnTo>
                <a:lnTo>
                  <a:pt x="6939983" y="735950"/>
                </a:lnTo>
                <a:lnTo>
                  <a:pt x="6935964" y="731911"/>
                </a:lnTo>
                <a:lnTo>
                  <a:pt x="6935964" y="722041"/>
                </a:lnTo>
                <a:close/>
                <a:moveTo>
                  <a:pt x="6700670" y="718003"/>
                </a:moveTo>
                <a:lnTo>
                  <a:pt x="6710581" y="718003"/>
                </a:lnTo>
                <a:lnTo>
                  <a:pt x="6714600" y="722041"/>
                </a:lnTo>
                <a:lnTo>
                  <a:pt x="6714600" y="731912"/>
                </a:lnTo>
                <a:lnTo>
                  <a:pt x="6710581" y="735950"/>
                </a:lnTo>
                <a:lnTo>
                  <a:pt x="6700670" y="735950"/>
                </a:lnTo>
                <a:lnTo>
                  <a:pt x="6696651" y="731912"/>
                </a:lnTo>
                <a:lnTo>
                  <a:pt x="6696651" y="722041"/>
                </a:lnTo>
                <a:close/>
                <a:moveTo>
                  <a:pt x="6461356" y="718003"/>
                </a:moveTo>
                <a:lnTo>
                  <a:pt x="6471266" y="718003"/>
                </a:lnTo>
                <a:lnTo>
                  <a:pt x="6475285" y="722041"/>
                </a:lnTo>
                <a:lnTo>
                  <a:pt x="6475285" y="731912"/>
                </a:lnTo>
                <a:lnTo>
                  <a:pt x="6471266" y="735950"/>
                </a:lnTo>
                <a:lnTo>
                  <a:pt x="6461356" y="735950"/>
                </a:lnTo>
                <a:lnTo>
                  <a:pt x="6457337" y="731912"/>
                </a:lnTo>
                <a:lnTo>
                  <a:pt x="6457337" y="722041"/>
                </a:lnTo>
                <a:close/>
                <a:moveTo>
                  <a:pt x="6222042" y="718003"/>
                </a:moveTo>
                <a:lnTo>
                  <a:pt x="6231952" y="718003"/>
                </a:lnTo>
                <a:lnTo>
                  <a:pt x="6235971" y="722041"/>
                </a:lnTo>
                <a:lnTo>
                  <a:pt x="6235971" y="731912"/>
                </a:lnTo>
                <a:lnTo>
                  <a:pt x="6231952" y="735951"/>
                </a:lnTo>
                <a:lnTo>
                  <a:pt x="6222042" y="735951"/>
                </a:lnTo>
                <a:lnTo>
                  <a:pt x="6218023" y="731912"/>
                </a:lnTo>
                <a:lnTo>
                  <a:pt x="6218023" y="722041"/>
                </a:lnTo>
                <a:close/>
                <a:moveTo>
                  <a:pt x="5982729" y="718003"/>
                </a:moveTo>
                <a:lnTo>
                  <a:pt x="5992639" y="718003"/>
                </a:lnTo>
                <a:lnTo>
                  <a:pt x="5996658" y="722041"/>
                </a:lnTo>
                <a:lnTo>
                  <a:pt x="5996658" y="731912"/>
                </a:lnTo>
                <a:lnTo>
                  <a:pt x="5992639" y="735951"/>
                </a:lnTo>
                <a:lnTo>
                  <a:pt x="5982729" y="735951"/>
                </a:lnTo>
                <a:lnTo>
                  <a:pt x="5978710" y="731912"/>
                </a:lnTo>
                <a:lnTo>
                  <a:pt x="5978710" y="722041"/>
                </a:lnTo>
                <a:close/>
                <a:moveTo>
                  <a:pt x="8136553" y="717990"/>
                </a:moveTo>
                <a:lnTo>
                  <a:pt x="8146464" y="717990"/>
                </a:lnTo>
                <a:lnTo>
                  <a:pt x="8150483" y="722028"/>
                </a:lnTo>
                <a:lnTo>
                  <a:pt x="8150483" y="731899"/>
                </a:lnTo>
                <a:lnTo>
                  <a:pt x="8146464" y="735938"/>
                </a:lnTo>
                <a:lnTo>
                  <a:pt x="8136553" y="735938"/>
                </a:lnTo>
                <a:lnTo>
                  <a:pt x="8132534" y="731899"/>
                </a:lnTo>
                <a:lnTo>
                  <a:pt x="8132534" y="722028"/>
                </a:lnTo>
                <a:close/>
                <a:moveTo>
                  <a:pt x="7897241" y="717990"/>
                </a:moveTo>
                <a:lnTo>
                  <a:pt x="7907151" y="717990"/>
                </a:lnTo>
                <a:lnTo>
                  <a:pt x="7911170" y="722029"/>
                </a:lnTo>
                <a:lnTo>
                  <a:pt x="7911170" y="731899"/>
                </a:lnTo>
                <a:lnTo>
                  <a:pt x="7907151" y="735938"/>
                </a:lnTo>
                <a:lnTo>
                  <a:pt x="7897241" y="735938"/>
                </a:lnTo>
                <a:lnTo>
                  <a:pt x="7893222" y="731899"/>
                </a:lnTo>
                <a:lnTo>
                  <a:pt x="7893222" y="722029"/>
                </a:lnTo>
                <a:close/>
                <a:moveTo>
                  <a:pt x="7657926" y="717990"/>
                </a:moveTo>
                <a:lnTo>
                  <a:pt x="7667836" y="717990"/>
                </a:lnTo>
                <a:lnTo>
                  <a:pt x="7671855" y="722029"/>
                </a:lnTo>
                <a:lnTo>
                  <a:pt x="7671855" y="731899"/>
                </a:lnTo>
                <a:lnTo>
                  <a:pt x="7667836" y="735938"/>
                </a:lnTo>
                <a:lnTo>
                  <a:pt x="7657926" y="735938"/>
                </a:lnTo>
                <a:lnTo>
                  <a:pt x="7653906" y="731899"/>
                </a:lnTo>
                <a:lnTo>
                  <a:pt x="7653906" y="722029"/>
                </a:lnTo>
                <a:close/>
                <a:moveTo>
                  <a:pt x="7418611" y="717990"/>
                </a:moveTo>
                <a:lnTo>
                  <a:pt x="7428521" y="717990"/>
                </a:lnTo>
                <a:lnTo>
                  <a:pt x="7432540" y="722029"/>
                </a:lnTo>
                <a:lnTo>
                  <a:pt x="7432540" y="731899"/>
                </a:lnTo>
                <a:lnTo>
                  <a:pt x="7428521" y="735938"/>
                </a:lnTo>
                <a:lnTo>
                  <a:pt x="7418611" y="735938"/>
                </a:lnTo>
                <a:lnTo>
                  <a:pt x="7414592" y="731899"/>
                </a:lnTo>
                <a:lnTo>
                  <a:pt x="7414592" y="722029"/>
                </a:lnTo>
                <a:close/>
                <a:moveTo>
                  <a:pt x="7179298" y="717990"/>
                </a:moveTo>
                <a:lnTo>
                  <a:pt x="7189209" y="717990"/>
                </a:lnTo>
                <a:lnTo>
                  <a:pt x="7193228" y="722029"/>
                </a:lnTo>
                <a:lnTo>
                  <a:pt x="7193228" y="731899"/>
                </a:lnTo>
                <a:lnTo>
                  <a:pt x="7189209" y="735938"/>
                </a:lnTo>
                <a:lnTo>
                  <a:pt x="7179298" y="735938"/>
                </a:lnTo>
                <a:lnTo>
                  <a:pt x="7175279" y="731899"/>
                </a:lnTo>
                <a:lnTo>
                  <a:pt x="7175279" y="722029"/>
                </a:lnTo>
                <a:close/>
                <a:moveTo>
                  <a:pt x="961272" y="717980"/>
                </a:moveTo>
                <a:lnTo>
                  <a:pt x="971182" y="717980"/>
                </a:lnTo>
                <a:lnTo>
                  <a:pt x="975202" y="722018"/>
                </a:lnTo>
                <a:lnTo>
                  <a:pt x="975202" y="731889"/>
                </a:lnTo>
                <a:lnTo>
                  <a:pt x="971182" y="735928"/>
                </a:lnTo>
                <a:lnTo>
                  <a:pt x="961272" y="735928"/>
                </a:lnTo>
                <a:lnTo>
                  <a:pt x="957254" y="731889"/>
                </a:lnTo>
                <a:lnTo>
                  <a:pt x="957254" y="722018"/>
                </a:lnTo>
                <a:close/>
                <a:moveTo>
                  <a:pt x="1679219" y="717979"/>
                </a:moveTo>
                <a:lnTo>
                  <a:pt x="1689128" y="717979"/>
                </a:lnTo>
                <a:lnTo>
                  <a:pt x="1693149" y="722018"/>
                </a:lnTo>
                <a:lnTo>
                  <a:pt x="1693149" y="731889"/>
                </a:lnTo>
                <a:lnTo>
                  <a:pt x="1689128" y="735927"/>
                </a:lnTo>
                <a:lnTo>
                  <a:pt x="1679219" y="735927"/>
                </a:lnTo>
                <a:lnTo>
                  <a:pt x="1675200" y="731889"/>
                </a:lnTo>
                <a:lnTo>
                  <a:pt x="1675200" y="722018"/>
                </a:lnTo>
                <a:close/>
                <a:moveTo>
                  <a:pt x="1439901" y="717979"/>
                </a:moveTo>
                <a:lnTo>
                  <a:pt x="1449811" y="717979"/>
                </a:lnTo>
                <a:lnTo>
                  <a:pt x="1453831" y="722018"/>
                </a:lnTo>
                <a:lnTo>
                  <a:pt x="1453831" y="731889"/>
                </a:lnTo>
                <a:lnTo>
                  <a:pt x="1449811" y="735927"/>
                </a:lnTo>
                <a:lnTo>
                  <a:pt x="1439901" y="735927"/>
                </a:lnTo>
                <a:lnTo>
                  <a:pt x="1435883" y="731889"/>
                </a:lnTo>
                <a:lnTo>
                  <a:pt x="1435883" y="722018"/>
                </a:lnTo>
                <a:close/>
                <a:moveTo>
                  <a:pt x="1200585" y="717979"/>
                </a:moveTo>
                <a:lnTo>
                  <a:pt x="1210495" y="717979"/>
                </a:lnTo>
                <a:lnTo>
                  <a:pt x="1214513" y="722018"/>
                </a:lnTo>
                <a:lnTo>
                  <a:pt x="1214513" y="731889"/>
                </a:lnTo>
                <a:lnTo>
                  <a:pt x="1210495" y="735927"/>
                </a:lnTo>
                <a:lnTo>
                  <a:pt x="1200585" y="735927"/>
                </a:lnTo>
                <a:lnTo>
                  <a:pt x="1196566" y="731889"/>
                </a:lnTo>
                <a:lnTo>
                  <a:pt x="1196566" y="722018"/>
                </a:lnTo>
                <a:close/>
                <a:moveTo>
                  <a:pt x="9333125" y="717978"/>
                </a:moveTo>
                <a:lnTo>
                  <a:pt x="9343036" y="717978"/>
                </a:lnTo>
                <a:lnTo>
                  <a:pt x="9347055" y="722016"/>
                </a:lnTo>
                <a:lnTo>
                  <a:pt x="9347055" y="731887"/>
                </a:lnTo>
                <a:lnTo>
                  <a:pt x="9343036" y="735926"/>
                </a:lnTo>
                <a:lnTo>
                  <a:pt x="9333125" y="735926"/>
                </a:lnTo>
                <a:lnTo>
                  <a:pt x="9329106" y="731887"/>
                </a:lnTo>
                <a:lnTo>
                  <a:pt x="9329106" y="722016"/>
                </a:lnTo>
                <a:close/>
                <a:moveTo>
                  <a:pt x="9093811" y="717978"/>
                </a:moveTo>
                <a:lnTo>
                  <a:pt x="9103722" y="717978"/>
                </a:lnTo>
                <a:lnTo>
                  <a:pt x="9107741" y="722016"/>
                </a:lnTo>
                <a:lnTo>
                  <a:pt x="9107741" y="731887"/>
                </a:lnTo>
                <a:lnTo>
                  <a:pt x="9103722" y="735926"/>
                </a:lnTo>
                <a:lnTo>
                  <a:pt x="9093811" y="735926"/>
                </a:lnTo>
                <a:lnTo>
                  <a:pt x="9089792" y="731887"/>
                </a:lnTo>
                <a:lnTo>
                  <a:pt x="9089792" y="722016"/>
                </a:lnTo>
                <a:close/>
                <a:moveTo>
                  <a:pt x="8854496" y="717978"/>
                </a:moveTo>
                <a:lnTo>
                  <a:pt x="8864407" y="717978"/>
                </a:lnTo>
                <a:lnTo>
                  <a:pt x="8868426" y="722016"/>
                </a:lnTo>
                <a:lnTo>
                  <a:pt x="8868426" y="731887"/>
                </a:lnTo>
                <a:lnTo>
                  <a:pt x="8864407" y="735926"/>
                </a:lnTo>
                <a:lnTo>
                  <a:pt x="8854496" y="735926"/>
                </a:lnTo>
                <a:lnTo>
                  <a:pt x="8850477" y="731887"/>
                </a:lnTo>
                <a:lnTo>
                  <a:pt x="8850477" y="722016"/>
                </a:lnTo>
                <a:close/>
                <a:moveTo>
                  <a:pt x="8615184" y="717978"/>
                </a:moveTo>
                <a:lnTo>
                  <a:pt x="8625095" y="717978"/>
                </a:lnTo>
                <a:lnTo>
                  <a:pt x="8629114" y="722016"/>
                </a:lnTo>
                <a:lnTo>
                  <a:pt x="8629114" y="731887"/>
                </a:lnTo>
                <a:lnTo>
                  <a:pt x="8625095" y="735926"/>
                </a:lnTo>
                <a:lnTo>
                  <a:pt x="8615184" y="735926"/>
                </a:lnTo>
                <a:lnTo>
                  <a:pt x="8611165" y="731887"/>
                </a:lnTo>
                <a:lnTo>
                  <a:pt x="8611165" y="722016"/>
                </a:lnTo>
                <a:close/>
                <a:moveTo>
                  <a:pt x="8375869" y="717978"/>
                </a:moveTo>
                <a:lnTo>
                  <a:pt x="8385779" y="717978"/>
                </a:lnTo>
                <a:lnTo>
                  <a:pt x="8389799" y="722016"/>
                </a:lnTo>
                <a:lnTo>
                  <a:pt x="8389799" y="731887"/>
                </a:lnTo>
                <a:lnTo>
                  <a:pt x="8385779" y="735926"/>
                </a:lnTo>
                <a:lnTo>
                  <a:pt x="8375869" y="735926"/>
                </a:lnTo>
                <a:lnTo>
                  <a:pt x="8371850" y="731887"/>
                </a:lnTo>
                <a:lnTo>
                  <a:pt x="8371850" y="722016"/>
                </a:lnTo>
                <a:close/>
                <a:moveTo>
                  <a:pt x="1918514" y="717970"/>
                </a:moveTo>
                <a:lnTo>
                  <a:pt x="1928424" y="717970"/>
                </a:lnTo>
                <a:lnTo>
                  <a:pt x="1932444" y="722009"/>
                </a:lnTo>
                <a:lnTo>
                  <a:pt x="1932444" y="731879"/>
                </a:lnTo>
                <a:lnTo>
                  <a:pt x="1928424" y="735918"/>
                </a:lnTo>
                <a:lnTo>
                  <a:pt x="1918514" y="735918"/>
                </a:lnTo>
                <a:lnTo>
                  <a:pt x="1914495" y="731879"/>
                </a:lnTo>
                <a:lnTo>
                  <a:pt x="1914495" y="722009"/>
                </a:lnTo>
                <a:close/>
                <a:moveTo>
                  <a:pt x="2157823" y="717968"/>
                </a:moveTo>
                <a:lnTo>
                  <a:pt x="2167733" y="717968"/>
                </a:lnTo>
                <a:lnTo>
                  <a:pt x="2171753" y="722006"/>
                </a:lnTo>
                <a:lnTo>
                  <a:pt x="2171753" y="731877"/>
                </a:lnTo>
                <a:lnTo>
                  <a:pt x="2167733" y="735916"/>
                </a:lnTo>
                <a:lnTo>
                  <a:pt x="2157823" y="735916"/>
                </a:lnTo>
                <a:lnTo>
                  <a:pt x="2153804" y="731877"/>
                </a:lnTo>
                <a:lnTo>
                  <a:pt x="2153804" y="722006"/>
                </a:lnTo>
                <a:close/>
                <a:moveTo>
                  <a:pt x="9572438" y="717966"/>
                </a:moveTo>
                <a:lnTo>
                  <a:pt x="9582349" y="717966"/>
                </a:lnTo>
                <a:lnTo>
                  <a:pt x="9586368" y="722004"/>
                </a:lnTo>
                <a:lnTo>
                  <a:pt x="9586368" y="731875"/>
                </a:lnTo>
                <a:lnTo>
                  <a:pt x="9582349" y="735914"/>
                </a:lnTo>
                <a:lnTo>
                  <a:pt x="9572438" y="735914"/>
                </a:lnTo>
                <a:lnTo>
                  <a:pt x="9568419" y="731875"/>
                </a:lnTo>
                <a:lnTo>
                  <a:pt x="9568419" y="722004"/>
                </a:lnTo>
                <a:close/>
                <a:moveTo>
                  <a:pt x="243349" y="717939"/>
                </a:moveTo>
                <a:lnTo>
                  <a:pt x="253260" y="717939"/>
                </a:lnTo>
                <a:lnTo>
                  <a:pt x="257279" y="721977"/>
                </a:lnTo>
                <a:lnTo>
                  <a:pt x="257279" y="731847"/>
                </a:lnTo>
                <a:lnTo>
                  <a:pt x="253260" y="735886"/>
                </a:lnTo>
                <a:lnTo>
                  <a:pt x="243349" y="735886"/>
                </a:lnTo>
                <a:lnTo>
                  <a:pt x="239330" y="731847"/>
                </a:lnTo>
                <a:lnTo>
                  <a:pt x="239330" y="721977"/>
                </a:lnTo>
                <a:close/>
                <a:moveTo>
                  <a:pt x="4036" y="717939"/>
                </a:moveTo>
                <a:lnTo>
                  <a:pt x="13947" y="717939"/>
                </a:lnTo>
                <a:lnTo>
                  <a:pt x="17965" y="721978"/>
                </a:lnTo>
                <a:lnTo>
                  <a:pt x="17965" y="731848"/>
                </a:lnTo>
                <a:lnTo>
                  <a:pt x="13947" y="735886"/>
                </a:lnTo>
                <a:lnTo>
                  <a:pt x="4036" y="735886"/>
                </a:lnTo>
                <a:lnTo>
                  <a:pt x="17" y="731848"/>
                </a:lnTo>
                <a:lnTo>
                  <a:pt x="17" y="721978"/>
                </a:lnTo>
                <a:close/>
                <a:moveTo>
                  <a:pt x="721975" y="717939"/>
                </a:moveTo>
                <a:lnTo>
                  <a:pt x="731885" y="717939"/>
                </a:lnTo>
                <a:lnTo>
                  <a:pt x="735904" y="721977"/>
                </a:lnTo>
                <a:lnTo>
                  <a:pt x="735904" y="731847"/>
                </a:lnTo>
                <a:lnTo>
                  <a:pt x="731885" y="735886"/>
                </a:lnTo>
                <a:lnTo>
                  <a:pt x="721975" y="735886"/>
                </a:lnTo>
                <a:lnTo>
                  <a:pt x="717956" y="731847"/>
                </a:lnTo>
                <a:lnTo>
                  <a:pt x="717956" y="721977"/>
                </a:lnTo>
                <a:close/>
                <a:moveTo>
                  <a:pt x="482663" y="717939"/>
                </a:moveTo>
                <a:lnTo>
                  <a:pt x="492573" y="717939"/>
                </a:lnTo>
                <a:lnTo>
                  <a:pt x="496593" y="721977"/>
                </a:lnTo>
                <a:lnTo>
                  <a:pt x="496593" y="731847"/>
                </a:lnTo>
                <a:lnTo>
                  <a:pt x="492573" y="735886"/>
                </a:lnTo>
                <a:lnTo>
                  <a:pt x="482663" y="735886"/>
                </a:lnTo>
                <a:lnTo>
                  <a:pt x="478643" y="731847"/>
                </a:lnTo>
                <a:lnTo>
                  <a:pt x="478643" y="721977"/>
                </a:lnTo>
                <a:close/>
                <a:moveTo>
                  <a:pt x="3350359" y="478760"/>
                </a:moveTo>
                <a:lnTo>
                  <a:pt x="3360268" y="478760"/>
                </a:lnTo>
                <a:lnTo>
                  <a:pt x="3364287" y="482801"/>
                </a:lnTo>
                <a:lnTo>
                  <a:pt x="3364287" y="492670"/>
                </a:lnTo>
                <a:lnTo>
                  <a:pt x="3360268" y="496707"/>
                </a:lnTo>
                <a:lnTo>
                  <a:pt x="3350359" y="496707"/>
                </a:lnTo>
                <a:lnTo>
                  <a:pt x="3346340" y="492670"/>
                </a:lnTo>
                <a:lnTo>
                  <a:pt x="3346340" y="482801"/>
                </a:lnTo>
                <a:close/>
                <a:moveTo>
                  <a:pt x="3111048" y="478760"/>
                </a:moveTo>
                <a:lnTo>
                  <a:pt x="3120959" y="478760"/>
                </a:lnTo>
                <a:lnTo>
                  <a:pt x="3124977" y="482801"/>
                </a:lnTo>
                <a:lnTo>
                  <a:pt x="3124977" y="492670"/>
                </a:lnTo>
                <a:lnTo>
                  <a:pt x="3120959" y="496707"/>
                </a:lnTo>
                <a:lnTo>
                  <a:pt x="3111048" y="496707"/>
                </a:lnTo>
                <a:lnTo>
                  <a:pt x="3107029" y="492670"/>
                </a:lnTo>
                <a:lnTo>
                  <a:pt x="3107029" y="482801"/>
                </a:lnTo>
                <a:close/>
                <a:moveTo>
                  <a:pt x="2871737" y="478760"/>
                </a:moveTo>
                <a:lnTo>
                  <a:pt x="2881646" y="478760"/>
                </a:lnTo>
                <a:lnTo>
                  <a:pt x="2885666" y="482801"/>
                </a:lnTo>
                <a:lnTo>
                  <a:pt x="2885666" y="492670"/>
                </a:lnTo>
                <a:lnTo>
                  <a:pt x="2881646" y="496707"/>
                </a:lnTo>
                <a:lnTo>
                  <a:pt x="2871737" y="496707"/>
                </a:lnTo>
                <a:lnTo>
                  <a:pt x="2867717" y="492670"/>
                </a:lnTo>
                <a:lnTo>
                  <a:pt x="2867717" y="482801"/>
                </a:lnTo>
                <a:close/>
                <a:moveTo>
                  <a:pt x="2632423" y="478760"/>
                </a:moveTo>
                <a:lnTo>
                  <a:pt x="2642334" y="478760"/>
                </a:lnTo>
                <a:lnTo>
                  <a:pt x="2646352" y="482801"/>
                </a:lnTo>
                <a:lnTo>
                  <a:pt x="2646352" y="492670"/>
                </a:lnTo>
                <a:lnTo>
                  <a:pt x="2642334" y="496707"/>
                </a:lnTo>
                <a:lnTo>
                  <a:pt x="2632423" y="496707"/>
                </a:lnTo>
                <a:lnTo>
                  <a:pt x="2628404" y="492670"/>
                </a:lnTo>
                <a:lnTo>
                  <a:pt x="2628404" y="482801"/>
                </a:lnTo>
                <a:close/>
                <a:moveTo>
                  <a:pt x="2393104" y="478760"/>
                </a:moveTo>
                <a:lnTo>
                  <a:pt x="2403015" y="478760"/>
                </a:lnTo>
                <a:lnTo>
                  <a:pt x="2407034" y="482801"/>
                </a:lnTo>
                <a:lnTo>
                  <a:pt x="2407034" y="492670"/>
                </a:lnTo>
                <a:lnTo>
                  <a:pt x="2403015" y="496707"/>
                </a:lnTo>
                <a:lnTo>
                  <a:pt x="2393104" y="496707"/>
                </a:lnTo>
                <a:lnTo>
                  <a:pt x="2389087" y="492670"/>
                </a:lnTo>
                <a:lnTo>
                  <a:pt x="2389087" y="482801"/>
                </a:lnTo>
                <a:close/>
                <a:moveTo>
                  <a:pt x="4546929" y="478748"/>
                </a:moveTo>
                <a:lnTo>
                  <a:pt x="4556840" y="478748"/>
                </a:lnTo>
                <a:lnTo>
                  <a:pt x="4560859" y="482789"/>
                </a:lnTo>
                <a:lnTo>
                  <a:pt x="4560859" y="492657"/>
                </a:lnTo>
                <a:lnTo>
                  <a:pt x="4556840" y="496695"/>
                </a:lnTo>
                <a:lnTo>
                  <a:pt x="4546929" y="496695"/>
                </a:lnTo>
                <a:lnTo>
                  <a:pt x="4542910" y="492657"/>
                </a:lnTo>
                <a:lnTo>
                  <a:pt x="4542910" y="482789"/>
                </a:lnTo>
                <a:close/>
                <a:moveTo>
                  <a:pt x="4307612" y="478748"/>
                </a:moveTo>
                <a:lnTo>
                  <a:pt x="4317523" y="478748"/>
                </a:lnTo>
                <a:lnTo>
                  <a:pt x="4321543" y="482789"/>
                </a:lnTo>
                <a:lnTo>
                  <a:pt x="4321543" y="492657"/>
                </a:lnTo>
                <a:lnTo>
                  <a:pt x="4317523" y="496695"/>
                </a:lnTo>
                <a:lnTo>
                  <a:pt x="4307612" y="496695"/>
                </a:lnTo>
                <a:lnTo>
                  <a:pt x="4303595" y="492657"/>
                </a:lnTo>
                <a:lnTo>
                  <a:pt x="4303595" y="482789"/>
                </a:lnTo>
                <a:close/>
                <a:moveTo>
                  <a:pt x="4068297" y="478748"/>
                </a:moveTo>
                <a:lnTo>
                  <a:pt x="4078210" y="478748"/>
                </a:lnTo>
                <a:lnTo>
                  <a:pt x="4082229" y="482789"/>
                </a:lnTo>
                <a:lnTo>
                  <a:pt x="4082229" y="492657"/>
                </a:lnTo>
                <a:lnTo>
                  <a:pt x="4078210" y="496695"/>
                </a:lnTo>
                <a:lnTo>
                  <a:pt x="4068297" y="496695"/>
                </a:lnTo>
                <a:lnTo>
                  <a:pt x="4064278" y="492657"/>
                </a:lnTo>
                <a:lnTo>
                  <a:pt x="4064278" y="482789"/>
                </a:lnTo>
                <a:close/>
                <a:moveTo>
                  <a:pt x="3828990" y="478748"/>
                </a:moveTo>
                <a:lnTo>
                  <a:pt x="3838899" y="478748"/>
                </a:lnTo>
                <a:lnTo>
                  <a:pt x="3842917" y="482789"/>
                </a:lnTo>
                <a:lnTo>
                  <a:pt x="3842917" y="492657"/>
                </a:lnTo>
                <a:lnTo>
                  <a:pt x="3838899" y="496695"/>
                </a:lnTo>
                <a:lnTo>
                  <a:pt x="3828990" y="496695"/>
                </a:lnTo>
                <a:lnTo>
                  <a:pt x="3824971" y="492657"/>
                </a:lnTo>
                <a:lnTo>
                  <a:pt x="3824971" y="482789"/>
                </a:lnTo>
                <a:close/>
                <a:moveTo>
                  <a:pt x="3589676" y="478748"/>
                </a:moveTo>
                <a:lnTo>
                  <a:pt x="3599585" y="478748"/>
                </a:lnTo>
                <a:lnTo>
                  <a:pt x="3603604" y="482789"/>
                </a:lnTo>
                <a:lnTo>
                  <a:pt x="3603604" y="492657"/>
                </a:lnTo>
                <a:lnTo>
                  <a:pt x="3599585" y="496695"/>
                </a:lnTo>
                <a:lnTo>
                  <a:pt x="3589676" y="496695"/>
                </a:lnTo>
                <a:lnTo>
                  <a:pt x="3585657" y="492657"/>
                </a:lnTo>
                <a:lnTo>
                  <a:pt x="3585657" y="482789"/>
                </a:lnTo>
                <a:close/>
                <a:moveTo>
                  <a:pt x="5743412" y="478736"/>
                </a:moveTo>
                <a:lnTo>
                  <a:pt x="5753323" y="478736"/>
                </a:lnTo>
                <a:lnTo>
                  <a:pt x="5757342" y="482776"/>
                </a:lnTo>
                <a:lnTo>
                  <a:pt x="5757342" y="492645"/>
                </a:lnTo>
                <a:lnTo>
                  <a:pt x="5753323" y="496683"/>
                </a:lnTo>
                <a:lnTo>
                  <a:pt x="5743412" y="496683"/>
                </a:lnTo>
                <a:lnTo>
                  <a:pt x="5739393" y="492645"/>
                </a:lnTo>
                <a:lnTo>
                  <a:pt x="5739393" y="482776"/>
                </a:lnTo>
                <a:close/>
                <a:moveTo>
                  <a:pt x="5504099" y="478736"/>
                </a:moveTo>
                <a:lnTo>
                  <a:pt x="5514010" y="478736"/>
                </a:lnTo>
                <a:lnTo>
                  <a:pt x="5518029" y="482776"/>
                </a:lnTo>
                <a:lnTo>
                  <a:pt x="5518029" y="492645"/>
                </a:lnTo>
                <a:lnTo>
                  <a:pt x="5514010" y="496683"/>
                </a:lnTo>
                <a:lnTo>
                  <a:pt x="5504099" y="496683"/>
                </a:lnTo>
                <a:lnTo>
                  <a:pt x="5500080" y="492645"/>
                </a:lnTo>
                <a:lnTo>
                  <a:pt x="5500080" y="482776"/>
                </a:lnTo>
                <a:close/>
                <a:moveTo>
                  <a:pt x="5264784" y="478736"/>
                </a:moveTo>
                <a:lnTo>
                  <a:pt x="5274694" y="478736"/>
                </a:lnTo>
                <a:lnTo>
                  <a:pt x="5278713" y="482776"/>
                </a:lnTo>
                <a:lnTo>
                  <a:pt x="5278713" y="492645"/>
                </a:lnTo>
                <a:lnTo>
                  <a:pt x="5274694" y="496683"/>
                </a:lnTo>
                <a:lnTo>
                  <a:pt x="5264784" y="496683"/>
                </a:lnTo>
                <a:lnTo>
                  <a:pt x="5260765" y="492645"/>
                </a:lnTo>
                <a:lnTo>
                  <a:pt x="5260765" y="482776"/>
                </a:lnTo>
                <a:close/>
                <a:moveTo>
                  <a:pt x="5025470" y="478736"/>
                </a:moveTo>
                <a:lnTo>
                  <a:pt x="5035381" y="478736"/>
                </a:lnTo>
                <a:lnTo>
                  <a:pt x="5039400" y="482776"/>
                </a:lnTo>
                <a:lnTo>
                  <a:pt x="5039400" y="492645"/>
                </a:lnTo>
                <a:lnTo>
                  <a:pt x="5035381" y="496683"/>
                </a:lnTo>
                <a:lnTo>
                  <a:pt x="5025470" y="496683"/>
                </a:lnTo>
                <a:lnTo>
                  <a:pt x="5021451" y="492645"/>
                </a:lnTo>
                <a:lnTo>
                  <a:pt x="5021451" y="482776"/>
                </a:lnTo>
                <a:close/>
                <a:moveTo>
                  <a:pt x="4786241" y="478736"/>
                </a:moveTo>
                <a:lnTo>
                  <a:pt x="4796152" y="478736"/>
                </a:lnTo>
                <a:lnTo>
                  <a:pt x="4800171" y="482776"/>
                </a:lnTo>
                <a:lnTo>
                  <a:pt x="4800171" y="492645"/>
                </a:lnTo>
                <a:lnTo>
                  <a:pt x="4796152" y="496683"/>
                </a:lnTo>
                <a:lnTo>
                  <a:pt x="4786241" y="496683"/>
                </a:lnTo>
                <a:lnTo>
                  <a:pt x="4782224" y="492645"/>
                </a:lnTo>
                <a:lnTo>
                  <a:pt x="4782224" y="482776"/>
                </a:lnTo>
                <a:close/>
                <a:moveTo>
                  <a:pt x="6939983" y="478724"/>
                </a:moveTo>
                <a:lnTo>
                  <a:pt x="6949894" y="478724"/>
                </a:lnTo>
                <a:lnTo>
                  <a:pt x="6953913" y="482764"/>
                </a:lnTo>
                <a:lnTo>
                  <a:pt x="6953913" y="492633"/>
                </a:lnTo>
                <a:lnTo>
                  <a:pt x="6949894" y="496671"/>
                </a:lnTo>
                <a:lnTo>
                  <a:pt x="6939983" y="496671"/>
                </a:lnTo>
                <a:lnTo>
                  <a:pt x="6935964" y="492633"/>
                </a:lnTo>
                <a:lnTo>
                  <a:pt x="6935964" y="482764"/>
                </a:lnTo>
                <a:close/>
                <a:moveTo>
                  <a:pt x="6700670" y="478724"/>
                </a:moveTo>
                <a:lnTo>
                  <a:pt x="6710581" y="478724"/>
                </a:lnTo>
                <a:lnTo>
                  <a:pt x="6714600" y="482764"/>
                </a:lnTo>
                <a:lnTo>
                  <a:pt x="6714600" y="492633"/>
                </a:lnTo>
                <a:lnTo>
                  <a:pt x="6710581" y="496671"/>
                </a:lnTo>
                <a:lnTo>
                  <a:pt x="6700670" y="496671"/>
                </a:lnTo>
                <a:lnTo>
                  <a:pt x="6696651" y="492633"/>
                </a:lnTo>
                <a:lnTo>
                  <a:pt x="6696651" y="482764"/>
                </a:lnTo>
                <a:close/>
                <a:moveTo>
                  <a:pt x="6461356" y="478724"/>
                </a:moveTo>
                <a:lnTo>
                  <a:pt x="6471266" y="478724"/>
                </a:lnTo>
                <a:lnTo>
                  <a:pt x="6475285" y="482764"/>
                </a:lnTo>
                <a:lnTo>
                  <a:pt x="6475285" y="492633"/>
                </a:lnTo>
                <a:lnTo>
                  <a:pt x="6471266" y="496671"/>
                </a:lnTo>
                <a:lnTo>
                  <a:pt x="6461356" y="496671"/>
                </a:lnTo>
                <a:lnTo>
                  <a:pt x="6457337" y="492633"/>
                </a:lnTo>
                <a:lnTo>
                  <a:pt x="6457337" y="482764"/>
                </a:lnTo>
                <a:close/>
                <a:moveTo>
                  <a:pt x="6222042" y="478724"/>
                </a:moveTo>
                <a:lnTo>
                  <a:pt x="6231952" y="478724"/>
                </a:lnTo>
                <a:lnTo>
                  <a:pt x="6235971" y="482764"/>
                </a:lnTo>
                <a:lnTo>
                  <a:pt x="6235971" y="492633"/>
                </a:lnTo>
                <a:lnTo>
                  <a:pt x="6231952" y="496671"/>
                </a:lnTo>
                <a:lnTo>
                  <a:pt x="6222042" y="496671"/>
                </a:lnTo>
                <a:lnTo>
                  <a:pt x="6218023" y="492633"/>
                </a:lnTo>
                <a:lnTo>
                  <a:pt x="6218023" y="482764"/>
                </a:lnTo>
                <a:close/>
                <a:moveTo>
                  <a:pt x="5982729" y="478724"/>
                </a:moveTo>
                <a:lnTo>
                  <a:pt x="5992639" y="478724"/>
                </a:lnTo>
                <a:lnTo>
                  <a:pt x="5996658" y="482764"/>
                </a:lnTo>
                <a:lnTo>
                  <a:pt x="5996658" y="492633"/>
                </a:lnTo>
                <a:lnTo>
                  <a:pt x="5992639" y="496671"/>
                </a:lnTo>
                <a:lnTo>
                  <a:pt x="5982729" y="496671"/>
                </a:lnTo>
                <a:lnTo>
                  <a:pt x="5978710" y="492633"/>
                </a:lnTo>
                <a:lnTo>
                  <a:pt x="5978710" y="482764"/>
                </a:lnTo>
                <a:close/>
                <a:moveTo>
                  <a:pt x="7897241" y="478712"/>
                </a:moveTo>
                <a:lnTo>
                  <a:pt x="7907151" y="478712"/>
                </a:lnTo>
                <a:lnTo>
                  <a:pt x="7911170" y="482751"/>
                </a:lnTo>
                <a:lnTo>
                  <a:pt x="7911170" y="492620"/>
                </a:lnTo>
                <a:lnTo>
                  <a:pt x="7907151" y="496658"/>
                </a:lnTo>
                <a:lnTo>
                  <a:pt x="7897241" y="496658"/>
                </a:lnTo>
                <a:lnTo>
                  <a:pt x="7893222" y="492620"/>
                </a:lnTo>
                <a:lnTo>
                  <a:pt x="7893222" y="482751"/>
                </a:lnTo>
                <a:close/>
                <a:moveTo>
                  <a:pt x="7657926" y="478712"/>
                </a:moveTo>
                <a:lnTo>
                  <a:pt x="7667836" y="478712"/>
                </a:lnTo>
                <a:lnTo>
                  <a:pt x="7671855" y="482751"/>
                </a:lnTo>
                <a:lnTo>
                  <a:pt x="7671855" y="492620"/>
                </a:lnTo>
                <a:lnTo>
                  <a:pt x="7667836" y="496659"/>
                </a:lnTo>
                <a:lnTo>
                  <a:pt x="7657926" y="496659"/>
                </a:lnTo>
                <a:lnTo>
                  <a:pt x="7653906" y="492620"/>
                </a:lnTo>
                <a:lnTo>
                  <a:pt x="7653906" y="482751"/>
                </a:lnTo>
                <a:close/>
                <a:moveTo>
                  <a:pt x="7418611" y="478712"/>
                </a:moveTo>
                <a:lnTo>
                  <a:pt x="7428521" y="478712"/>
                </a:lnTo>
                <a:lnTo>
                  <a:pt x="7432540" y="482751"/>
                </a:lnTo>
                <a:lnTo>
                  <a:pt x="7432540" y="492620"/>
                </a:lnTo>
                <a:lnTo>
                  <a:pt x="7428521" y="496659"/>
                </a:lnTo>
                <a:lnTo>
                  <a:pt x="7418611" y="496659"/>
                </a:lnTo>
                <a:lnTo>
                  <a:pt x="7414592" y="492620"/>
                </a:lnTo>
                <a:lnTo>
                  <a:pt x="7414592" y="482751"/>
                </a:lnTo>
                <a:close/>
                <a:moveTo>
                  <a:pt x="7179298" y="478712"/>
                </a:moveTo>
                <a:lnTo>
                  <a:pt x="7189209" y="478712"/>
                </a:lnTo>
                <a:lnTo>
                  <a:pt x="7193228" y="482751"/>
                </a:lnTo>
                <a:lnTo>
                  <a:pt x="7193228" y="492620"/>
                </a:lnTo>
                <a:lnTo>
                  <a:pt x="7189209" y="496659"/>
                </a:lnTo>
                <a:lnTo>
                  <a:pt x="7179298" y="496659"/>
                </a:lnTo>
                <a:lnTo>
                  <a:pt x="7175279" y="492620"/>
                </a:lnTo>
                <a:lnTo>
                  <a:pt x="7175279" y="482751"/>
                </a:lnTo>
                <a:close/>
                <a:moveTo>
                  <a:pt x="8136553" y="478711"/>
                </a:moveTo>
                <a:lnTo>
                  <a:pt x="8146464" y="478711"/>
                </a:lnTo>
                <a:lnTo>
                  <a:pt x="8150483" y="482751"/>
                </a:lnTo>
                <a:lnTo>
                  <a:pt x="8150483" y="492620"/>
                </a:lnTo>
                <a:lnTo>
                  <a:pt x="8146464" y="496658"/>
                </a:lnTo>
                <a:lnTo>
                  <a:pt x="8136553" y="496658"/>
                </a:lnTo>
                <a:lnTo>
                  <a:pt x="8132534" y="492620"/>
                </a:lnTo>
                <a:lnTo>
                  <a:pt x="8132534" y="482751"/>
                </a:lnTo>
                <a:close/>
                <a:moveTo>
                  <a:pt x="9093811" y="478699"/>
                </a:moveTo>
                <a:lnTo>
                  <a:pt x="9103722" y="478699"/>
                </a:lnTo>
                <a:lnTo>
                  <a:pt x="9107741" y="482738"/>
                </a:lnTo>
                <a:lnTo>
                  <a:pt x="9107741" y="492608"/>
                </a:lnTo>
                <a:lnTo>
                  <a:pt x="9103722" y="496646"/>
                </a:lnTo>
                <a:lnTo>
                  <a:pt x="9093811" y="496646"/>
                </a:lnTo>
                <a:lnTo>
                  <a:pt x="9089792" y="492608"/>
                </a:lnTo>
                <a:lnTo>
                  <a:pt x="9089792" y="482738"/>
                </a:lnTo>
                <a:close/>
                <a:moveTo>
                  <a:pt x="8854496" y="478699"/>
                </a:moveTo>
                <a:lnTo>
                  <a:pt x="8864407" y="478699"/>
                </a:lnTo>
                <a:lnTo>
                  <a:pt x="8868426" y="482738"/>
                </a:lnTo>
                <a:lnTo>
                  <a:pt x="8868426" y="492608"/>
                </a:lnTo>
                <a:lnTo>
                  <a:pt x="8864407" y="496647"/>
                </a:lnTo>
                <a:lnTo>
                  <a:pt x="8854496" y="496647"/>
                </a:lnTo>
                <a:lnTo>
                  <a:pt x="8850477" y="492608"/>
                </a:lnTo>
                <a:lnTo>
                  <a:pt x="8850477" y="482738"/>
                </a:lnTo>
                <a:close/>
                <a:moveTo>
                  <a:pt x="8615184" y="478699"/>
                </a:moveTo>
                <a:lnTo>
                  <a:pt x="8625095" y="478699"/>
                </a:lnTo>
                <a:lnTo>
                  <a:pt x="8629114" y="482739"/>
                </a:lnTo>
                <a:lnTo>
                  <a:pt x="8629114" y="492608"/>
                </a:lnTo>
                <a:lnTo>
                  <a:pt x="8625095" y="496647"/>
                </a:lnTo>
                <a:lnTo>
                  <a:pt x="8615184" y="496647"/>
                </a:lnTo>
                <a:lnTo>
                  <a:pt x="8611165" y="492608"/>
                </a:lnTo>
                <a:lnTo>
                  <a:pt x="8611165" y="482739"/>
                </a:lnTo>
                <a:close/>
                <a:moveTo>
                  <a:pt x="8375869" y="478699"/>
                </a:moveTo>
                <a:lnTo>
                  <a:pt x="8385779" y="478699"/>
                </a:lnTo>
                <a:lnTo>
                  <a:pt x="8389799" y="482739"/>
                </a:lnTo>
                <a:lnTo>
                  <a:pt x="8389799" y="492608"/>
                </a:lnTo>
                <a:lnTo>
                  <a:pt x="8385779" y="496647"/>
                </a:lnTo>
                <a:lnTo>
                  <a:pt x="8375869" y="496647"/>
                </a:lnTo>
                <a:lnTo>
                  <a:pt x="8371850" y="492608"/>
                </a:lnTo>
                <a:lnTo>
                  <a:pt x="8371850" y="482739"/>
                </a:lnTo>
                <a:close/>
                <a:moveTo>
                  <a:pt x="9333125" y="478698"/>
                </a:moveTo>
                <a:lnTo>
                  <a:pt x="9343036" y="478698"/>
                </a:lnTo>
                <a:lnTo>
                  <a:pt x="9347055" y="482738"/>
                </a:lnTo>
                <a:lnTo>
                  <a:pt x="9347055" y="492608"/>
                </a:lnTo>
                <a:lnTo>
                  <a:pt x="9343036" y="496646"/>
                </a:lnTo>
                <a:lnTo>
                  <a:pt x="9333125" y="496646"/>
                </a:lnTo>
                <a:lnTo>
                  <a:pt x="9329106" y="492608"/>
                </a:lnTo>
                <a:lnTo>
                  <a:pt x="9329106" y="482738"/>
                </a:lnTo>
                <a:close/>
                <a:moveTo>
                  <a:pt x="9572438" y="478687"/>
                </a:moveTo>
                <a:lnTo>
                  <a:pt x="9582349" y="478687"/>
                </a:lnTo>
                <a:lnTo>
                  <a:pt x="9586368" y="482726"/>
                </a:lnTo>
                <a:lnTo>
                  <a:pt x="9586368" y="492596"/>
                </a:lnTo>
                <a:lnTo>
                  <a:pt x="9582349" y="496634"/>
                </a:lnTo>
                <a:lnTo>
                  <a:pt x="9572438" y="496634"/>
                </a:lnTo>
                <a:lnTo>
                  <a:pt x="9568419" y="492596"/>
                </a:lnTo>
                <a:lnTo>
                  <a:pt x="9568419" y="482726"/>
                </a:lnTo>
                <a:close/>
                <a:moveTo>
                  <a:pt x="721976" y="478660"/>
                </a:moveTo>
                <a:lnTo>
                  <a:pt x="731886" y="478660"/>
                </a:lnTo>
                <a:lnTo>
                  <a:pt x="735905" y="482698"/>
                </a:lnTo>
                <a:lnTo>
                  <a:pt x="735905" y="492569"/>
                </a:lnTo>
                <a:lnTo>
                  <a:pt x="731886" y="496608"/>
                </a:lnTo>
                <a:lnTo>
                  <a:pt x="721976" y="496608"/>
                </a:lnTo>
                <a:lnTo>
                  <a:pt x="717957" y="492569"/>
                </a:lnTo>
                <a:lnTo>
                  <a:pt x="717957" y="482698"/>
                </a:lnTo>
                <a:close/>
                <a:moveTo>
                  <a:pt x="482664" y="478660"/>
                </a:moveTo>
                <a:lnTo>
                  <a:pt x="492574" y="478660"/>
                </a:lnTo>
                <a:lnTo>
                  <a:pt x="496593" y="482698"/>
                </a:lnTo>
                <a:lnTo>
                  <a:pt x="496593" y="492569"/>
                </a:lnTo>
                <a:lnTo>
                  <a:pt x="492574" y="496608"/>
                </a:lnTo>
                <a:lnTo>
                  <a:pt x="482664" y="496608"/>
                </a:lnTo>
                <a:lnTo>
                  <a:pt x="478645" y="492569"/>
                </a:lnTo>
                <a:lnTo>
                  <a:pt x="478645" y="482698"/>
                </a:lnTo>
                <a:close/>
                <a:moveTo>
                  <a:pt x="243350" y="478660"/>
                </a:moveTo>
                <a:lnTo>
                  <a:pt x="253260" y="478660"/>
                </a:lnTo>
                <a:lnTo>
                  <a:pt x="257279" y="482698"/>
                </a:lnTo>
                <a:lnTo>
                  <a:pt x="257279" y="492569"/>
                </a:lnTo>
                <a:lnTo>
                  <a:pt x="253260" y="496608"/>
                </a:lnTo>
                <a:lnTo>
                  <a:pt x="243350" y="496608"/>
                </a:lnTo>
                <a:lnTo>
                  <a:pt x="239331" y="492569"/>
                </a:lnTo>
                <a:lnTo>
                  <a:pt x="239331" y="482698"/>
                </a:lnTo>
                <a:close/>
                <a:moveTo>
                  <a:pt x="4037" y="478660"/>
                </a:moveTo>
                <a:lnTo>
                  <a:pt x="13947" y="478660"/>
                </a:lnTo>
                <a:lnTo>
                  <a:pt x="17966" y="482698"/>
                </a:lnTo>
                <a:lnTo>
                  <a:pt x="17966" y="492569"/>
                </a:lnTo>
                <a:lnTo>
                  <a:pt x="13947" y="496608"/>
                </a:lnTo>
                <a:lnTo>
                  <a:pt x="4037" y="496608"/>
                </a:lnTo>
                <a:lnTo>
                  <a:pt x="18" y="492569"/>
                </a:lnTo>
                <a:lnTo>
                  <a:pt x="18" y="482698"/>
                </a:lnTo>
                <a:close/>
                <a:moveTo>
                  <a:pt x="1679220" y="478650"/>
                </a:moveTo>
                <a:lnTo>
                  <a:pt x="1689130" y="478650"/>
                </a:lnTo>
                <a:lnTo>
                  <a:pt x="1693149" y="482688"/>
                </a:lnTo>
                <a:lnTo>
                  <a:pt x="1693149" y="492559"/>
                </a:lnTo>
                <a:lnTo>
                  <a:pt x="1689130" y="496598"/>
                </a:lnTo>
                <a:lnTo>
                  <a:pt x="1679220" y="496598"/>
                </a:lnTo>
                <a:lnTo>
                  <a:pt x="1675200" y="492559"/>
                </a:lnTo>
                <a:lnTo>
                  <a:pt x="1675200" y="482688"/>
                </a:lnTo>
                <a:close/>
                <a:moveTo>
                  <a:pt x="1439902" y="478650"/>
                </a:moveTo>
                <a:lnTo>
                  <a:pt x="1449812" y="478650"/>
                </a:lnTo>
                <a:lnTo>
                  <a:pt x="1453831" y="482688"/>
                </a:lnTo>
                <a:lnTo>
                  <a:pt x="1453831" y="492559"/>
                </a:lnTo>
                <a:lnTo>
                  <a:pt x="1449812" y="496598"/>
                </a:lnTo>
                <a:lnTo>
                  <a:pt x="1439902" y="496598"/>
                </a:lnTo>
                <a:lnTo>
                  <a:pt x="1435883" y="492559"/>
                </a:lnTo>
                <a:lnTo>
                  <a:pt x="1435883" y="482688"/>
                </a:lnTo>
                <a:close/>
                <a:moveTo>
                  <a:pt x="1200585" y="478650"/>
                </a:moveTo>
                <a:lnTo>
                  <a:pt x="1210496" y="478650"/>
                </a:lnTo>
                <a:lnTo>
                  <a:pt x="1214515" y="482689"/>
                </a:lnTo>
                <a:lnTo>
                  <a:pt x="1214515" y="492559"/>
                </a:lnTo>
                <a:lnTo>
                  <a:pt x="1210496" y="496598"/>
                </a:lnTo>
                <a:lnTo>
                  <a:pt x="1200585" y="496598"/>
                </a:lnTo>
                <a:lnTo>
                  <a:pt x="1196567" y="492559"/>
                </a:lnTo>
                <a:lnTo>
                  <a:pt x="1196567" y="482689"/>
                </a:lnTo>
                <a:close/>
                <a:moveTo>
                  <a:pt x="961273" y="478650"/>
                </a:moveTo>
                <a:lnTo>
                  <a:pt x="971183" y="478650"/>
                </a:lnTo>
                <a:lnTo>
                  <a:pt x="975202" y="482689"/>
                </a:lnTo>
                <a:lnTo>
                  <a:pt x="975202" y="492559"/>
                </a:lnTo>
                <a:lnTo>
                  <a:pt x="971183" y="496598"/>
                </a:lnTo>
                <a:lnTo>
                  <a:pt x="961273" y="496598"/>
                </a:lnTo>
                <a:lnTo>
                  <a:pt x="957254" y="492559"/>
                </a:lnTo>
                <a:lnTo>
                  <a:pt x="957254" y="482689"/>
                </a:lnTo>
                <a:close/>
                <a:moveTo>
                  <a:pt x="1918515" y="478641"/>
                </a:moveTo>
                <a:lnTo>
                  <a:pt x="1928425" y="478641"/>
                </a:lnTo>
                <a:lnTo>
                  <a:pt x="1932444" y="482679"/>
                </a:lnTo>
                <a:lnTo>
                  <a:pt x="1932444" y="492550"/>
                </a:lnTo>
                <a:lnTo>
                  <a:pt x="1928425" y="496589"/>
                </a:lnTo>
                <a:lnTo>
                  <a:pt x="1918515" y="496589"/>
                </a:lnTo>
                <a:lnTo>
                  <a:pt x="1914495" y="492550"/>
                </a:lnTo>
                <a:lnTo>
                  <a:pt x="1914495" y="482679"/>
                </a:lnTo>
                <a:close/>
                <a:moveTo>
                  <a:pt x="2157823" y="478638"/>
                </a:moveTo>
                <a:lnTo>
                  <a:pt x="2167734" y="478638"/>
                </a:lnTo>
                <a:lnTo>
                  <a:pt x="2171753" y="482677"/>
                </a:lnTo>
                <a:lnTo>
                  <a:pt x="2171753" y="492548"/>
                </a:lnTo>
                <a:lnTo>
                  <a:pt x="2167734" y="496587"/>
                </a:lnTo>
                <a:lnTo>
                  <a:pt x="2157823" y="496587"/>
                </a:lnTo>
                <a:lnTo>
                  <a:pt x="2153804" y="492548"/>
                </a:lnTo>
                <a:lnTo>
                  <a:pt x="2153804" y="482677"/>
                </a:lnTo>
                <a:close/>
                <a:moveTo>
                  <a:pt x="2632423" y="239432"/>
                </a:moveTo>
                <a:lnTo>
                  <a:pt x="2642334" y="239432"/>
                </a:lnTo>
                <a:lnTo>
                  <a:pt x="2646352" y="243470"/>
                </a:lnTo>
                <a:lnTo>
                  <a:pt x="2646352" y="253341"/>
                </a:lnTo>
                <a:lnTo>
                  <a:pt x="2642334" y="257380"/>
                </a:lnTo>
                <a:lnTo>
                  <a:pt x="2632423" y="257380"/>
                </a:lnTo>
                <a:lnTo>
                  <a:pt x="2628404" y="253341"/>
                </a:lnTo>
                <a:lnTo>
                  <a:pt x="2628404" y="243470"/>
                </a:lnTo>
                <a:close/>
                <a:moveTo>
                  <a:pt x="2393104" y="239432"/>
                </a:moveTo>
                <a:lnTo>
                  <a:pt x="2403015" y="239432"/>
                </a:lnTo>
                <a:lnTo>
                  <a:pt x="2407034" y="243470"/>
                </a:lnTo>
                <a:lnTo>
                  <a:pt x="2407034" y="253341"/>
                </a:lnTo>
                <a:lnTo>
                  <a:pt x="2403015" y="257380"/>
                </a:lnTo>
                <a:lnTo>
                  <a:pt x="2393104" y="257380"/>
                </a:lnTo>
                <a:lnTo>
                  <a:pt x="2389087" y="253341"/>
                </a:lnTo>
                <a:lnTo>
                  <a:pt x="2389087" y="243470"/>
                </a:lnTo>
                <a:close/>
                <a:moveTo>
                  <a:pt x="3350359" y="239432"/>
                </a:moveTo>
                <a:lnTo>
                  <a:pt x="3360268" y="239432"/>
                </a:lnTo>
                <a:lnTo>
                  <a:pt x="3364287" y="243470"/>
                </a:lnTo>
                <a:lnTo>
                  <a:pt x="3364287" y="253341"/>
                </a:lnTo>
                <a:lnTo>
                  <a:pt x="3360268" y="257380"/>
                </a:lnTo>
                <a:lnTo>
                  <a:pt x="3350359" y="257380"/>
                </a:lnTo>
                <a:lnTo>
                  <a:pt x="3346340" y="253341"/>
                </a:lnTo>
                <a:lnTo>
                  <a:pt x="3346340" y="243470"/>
                </a:lnTo>
                <a:close/>
                <a:moveTo>
                  <a:pt x="3111048" y="239432"/>
                </a:moveTo>
                <a:lnTo>
                  <a:pt x="3120959" y="239432"/>
                </a:lnTo>
                <a:lnTo>
                  <a:pt x="3124977" y="243470"/>
                </a:lnTo>
                <a:lnTo>
                  <a:pt x="3124977" y="253341"/>
                </a:lnTo>
                <a:lnTo>
                  <a:pt x="3120959" y="257380"/>
                </a:lnTo>
                <a:lnTo>
                  <a:pt x="3111048" y="257380"/>
                </a:lnTo>
                <a:lnTo>
                  <a:pt x="3107029" y="253341"/>
                </a:lnTo>
                <a:lnTo>
                  <a:pt x="3107029" y="243470"/>
                </a:lnTo>
                <a:close/>
                <a:moveTo>
                  <a:pt x="2871737" y="239432"/>
                </a:moveTo>
                <a:lnTo>
                  <a:pt x="2881646" y="239432"/>
                </a:lnTo>
                <a:lnTo>
                  <a:pt x="2885666" y="243470"/>
                </a:lnTo>
                <a:lnTo>
                  <a:pt x="2885666" y="253341"/>
                </a:lnTo>
                <a:lnTo>
                  <a:pt x="2881646" y="257380"/>
                </a:lnTo>
                <a:lnTo>
                  <a:pt x="2871737" y="257380"/>
                </a:lnTo>
                <a:lnTo>
                  <a:pt x="2867717" y="253341"/>
                </a:lnTo>
                <a:lnTo>
                  <a:pt x="2867717" y="243470"/>
                </a:lnTo>
                <a:close/>
                <a:moveTo>
                  <a:pt x="3828990" y="239420"/>
                </a:moveTo>
                <a:lnTo>
                  <a:pt x="3838899" y="239420"/>
                </a:lnTo>
                <a:lnTo>
                  <a:pt x="3842917" y="243457"/>
                </a:lnTo>
                <a:lnTo>
                  <a:pt x="3842917" y="253328"/>
                </a:lnTo>
                <a:lnTo>
                  <a:pt x="3838899" y="257367"/>
                </a:lnTo>
                <a:lnTo>
                  <a:pt x="3828990" y="257367"/>
                </a:lnTo>
                <a:lnTo>
                  <a:pt x="3824971" y="253328"/>
                </a:lnTo>
                <a:lnTo>
                  <a:pt x="3824971" y="243457"/>
                </a:lnTo>
                <a:close/>
                <a:moveTo>
                  <a:pt x="3589676" y="239420"/>
                </a:moveTo>
                <a:lnTo>
                  <a:pt x="3599585" y="239420"/>
                </a:lnTo>
                <a:lnTo>
                  <a:pt x="3603604" y="243457"/>
                </a:lnTo>
                <a:lnTo>
                  <a:pt x="3603604" y="253328"/>
                </a:lnTo>
                <a:lnTo>
                  <a:pt x="3599585" y="257367"/>
                </a:lnTo>
                <a:lnTo>
                  <a:pt x="3589676" y="257367"/>
                </a:lnTo>
                <a:lnTo>
                  <a:pt x="3585657" y="253328"/>
                </a:lnTo>
                <a:lnTo>
                  <a:pt x="3585657" y="243457"/>
                </a:lnTo>
                <a:close/>
                <a:moveTo>
                  <a:pt x="4546929" y="239419"/>
                </a:moveTo>
                <a:lnTo>
                  <a:pt x="4556840" y="239419"/>
                </a:lnTo>
                <a:lnTo>
                  <a:pt x="4560859" y="243457"/>
                </a:lnTo>
                <a:lnTo>
                  <a:pt x="4560859" y="253328"/>
                </a:lnTo>
                <a:lnTo>
                  <a:pt x="4556840" y="257367"/>
                </a:lnTo>
                <a:lnTo>
                  <a:pt x="4546929" y="257367"/>
                </a:lnTo>
                <a:lnTo>
                  <a:pt x="4542910" y="253328"/>
                </a:lnTo>
                <a:lnTo>
                  <a:pt x="4542910" y="243457"/>
                </a:lnTo>
                <a:close/>
                <a:moveTo>
                  <a:pt x="4307612" y="239419"/>
                </a:moveTo>
                <a:lnTo>
                  <a:pt x="4317523" y="239419"/>
                </a:lnTo>
                <a:lnTo>
                  <a:pt x="4321543" y="243457"/>
                </a:lnTo>
                <a:lnTo>
                  <a:pt x="4321543" y="253328"/>
                </a:lnTo>
                <a:lnTo>
                  <a:pt x="4317523" y="257367"/>
                </a:lnTo>
                <a:lnTo>
                  <a:pt x="4307612" y="257367"/>
                </a:lnTo>
                <a:lnTo>
                  <a:pt x="4303595" y="253328"/>
                </a:lnTo>
                <a:lnTo>
                  <a:pt x="4303595" y="243457"/>
                </a:lnTo>
                <a:close/>
                <a:moveTo>
                  <a:pt x="4068297" y="239419"/>
                </a:moveTo>
                <a:lnTo>
                  <a:pt x="4078210" y="239419"/>
                </a:lnTo>
                <a:lnTo>
                  <a:pt x="4082229" y="243457"/>
                </a:lnTo>
                <a:lnTo>
                  <a:pt x="4082229" y="253328"/>
                </a:lnTo>
                <a:lnTo>
                  <a:pt x="4078210" y="257367"/>
                </a:lnTo>
                <a:lnTo>
                  <a:pt x="4068297" y="257367"/>
                </a:lnTo>
                <a:lnTo>
                  <a:pt x="4064278" y="253328"/>
                </a:lnTo>
                <a:lnTo>
                  <a:pt x="4064278" y="243457"/>
                </a:lnTo>
                <a:close/>
                <a:moveTo>
                  <a:pt x="5025470" y="239407"/>
                </a:moveTo>
                <a:lnTo>
                  <a:pt x="5035381" y="239407"/>
                </a:lnTo>
                <a:lnTo>
                  <a:pt x="5039400" y="243445"/>
                </a:lnTo>
                <a:lnTo>
                  <a:pt x="5039400" y="253316"/>
                </a:lnTo>
                <a:lnTo>
                  <a:pt x="5035381" y="257355"/>
                </a:lnTo>
                <a:lnTo>
                  <a:pt x="5025470" y="257355"/>
                </a:lnTo>
                <a:lnTo>
                  <a:pt x="5021451" y="253316"/>
                </a:lnTo>
                <a:lnTo>
                  <a:pt x="5021451" y="243445"/>
                </a:lnTo>
                <a:close/>
                <a:moveTo>
                  <a:pt x="4786241" y="239407"/>
                </a:moveTo>
                <a:lnTo>
                  <a:pt x="4796152" y="239407"/>
                </a:lnTo>
                <a:lnTo>
                  <a:pt x="4800171" y="243445"/>
                </a:lnTo>
                <a:lnTo>
                  <a:pt x="4800171" y="253316"/>
                </a:lnTo>
                <a:lnTo>
                  <a:pt x="4796152" y="257355"/>
                </a:lnTo>
                <a:lnTo>
                  <a:pt x="4786241" y="257355"/>
                </a:lnTo>
                <a:lnTo>
                  <a:pt x="4782224" y="253316"/>
                </a:lnTo>
                <a:lnTo>
                  <a:pt x="4782224" y="243445"/>
                </a:lnTo>
                <a:close/>
                <a:moveTo>
                  <a:pt x="5743412" y="239407"/>
                </a:moveTo>
                <a:lnTo>
                  <a:pt x="5753323" y="239407"/>
                </a:lnTo>
                <a:lnTo>
                  <a:pt x="5757342" y="243445"/>
                </a:lnTo>
                <a:lnTo>
                  <a:pt x="5757342" y="253316"/>
                </a:lnTo>
                <a:lnTo>
                  <a:pt x="5753323" y="257355"/>
                </a:lnTo>
                <a:lnTo>
                  <a:pt x="5743412" y="257355"/>
                </a:lnTo>
                <a:lnTo>
                  <a:pt x="5739393" y="253316"/>
                </a:lnTo>
                <a:lnTo>
                  <a:pt x="5739393" y="243445"/>
                </a:lnTo>
                <a:close/>
                <a:moveTo>
                  <a:pt x="5504099" y="239407"/>
                </a:moveTo>
                <a:lnTo>
                  <a:pt x="5514010" y="239407"/>
                </a:lnTo>
                <a:lnTo>
                  <a:pt x="5518029" y="243445"/>
                </a:lnTo>
                <a:lnTo>
                  <a:pt x="5518029" y="253316"/>
                </a:lnTo>
                <a:lnTo>
                  <a:pt x="5514010" y="257355"/>
                </a:lnTo>
                <a:lnTo>
                  <a:pt x="5504099" y="257355"/>
                </a:lnTo>
                <a:lnTo>
                  <a:pt x="5500080" y="253316"/>
                </a:lnTo>
                <a:lnTo>
                  <a:pt x="5500080" y="243445"/>
                </a:lnTo>
                <a:close/>
                <a:moveTo>
                  <a:pt x="5264784" y="239407"/>
                </a:moveTo>
                <a:lnTo>
                  <a:pt x="5274694" y="239407"/>
                </a:lnTo>
                <a:lnTo>
                  <a:pt x="5278713" y="243445"/>
                </a:lnTo>
                <a:lnTo>
                  <a:pt x="5278713" y="253316"/>
                </a:lnTo>
                <a:lnTo>
                  <a:pt x="5274694" y="257355"/>
                </a:lnTo>
                <a:lnTo>
                  <a:pt x="5264784" y="257355"/>
                </a:lnTo>
                <a:lnTo>
                  <a:pt x="5260765" y="253316"/>
                </a:lnTo>
                <a:lnTo>
                  <a:pt x="5260765" y="243445"/>
                </a:lnTo>
                <a:close/>
                <a:moveTo>
                  <a:pt x="6222042" y="239395"/>
                </a:moveTo>
                <a:lnTo>
                  <a:pt x="6231952" y="239395"/>
                </a:lnTo>
                <a:lnTo>
                  <a:pt x="6235971" y="243432"/>
                </a:lnTo>
                <a:lnTo>
                  <a:pt x="6235971" y="253303"/>
                </a:lnTo>
                <a:lnTo>
                  <a:pt x="6231952" y="257342"/>
                </a:lnTo>
                <a:lnTo>
                  <a:pt x="6222042" y="257342"/>
                </a:lnTo>
                <a:lnTo>
                  <a:pt x="6218023" y="253303"/>
                </a:lnTo>
                <a:lnTo>
                  <a:pt x="6218023" y="243432"/>
                </a:lnTo>
                <a:close/>
                <a:moveTo>
                  <a:pt x="5982729" y="239395"/>
                </a:moveTo>
                <a:lnTo>
                  <a:pt x="5992639" y="239395"/>
                </a:lnTo>
                <a:lnTo>
                  <a:pt x="5996658" y="243433"/>
                </a:lnTo>
                <a:lnTo>
                  <a:pt x="5996658" y="253303"/>
                </a:lnTo>
                <a:lnTo>
                  <a:pt x="5992639" y="257342"/>
                </a:lnTo>
                <a:lnTo>
                  <a:pt x="5982729" y="257342"/>
                </a:lnTo>
                <a:lnTo>
                  <a:pt x="5978710" y="253303"/>
                </a:lnTo>
                <a:lnTo>
                  <a:pt x="5978710" y="243433"/>
                </a:lnTo>
                <a:close/>
                <a:moveTo>
                  <a:pt x="6939983" y="239394"/>
                </a:moveTo>
                <a:lnTo>
                  <a:pt x="6949894" y="239394"/>
                </a:lnTo>
                <a:lnTo>
                  <a:pt x="6953913" y="243432"/>
                </a:lnTo>
                <a:lnTo>
                  <a:pt x="6953913" y="253303"/>
                </a:lnTo>
                <a:lnTo>
                  <a:pt x="6949894" y="257342"/>
                </a:lnTo>
                <a:lnTo>
                  <a:pt x="6939983" y="257342"/>
                </a:lnTo>
                <a:lnTo>
                  <a:pt x="6935964" y="253303"/>
                </a:lnTo>
                <a:lnTo>
                  <a:pt x="6935964" y="243432"/>
                </a:lnTo>
                <a:close/>
                <a:moveTo>
                  <a:pt x="6700670" y="239394"/>
                </a:moveTo>
                <a:lnTo>
                  <a:pt x="6710581" y="239394"/>
                </a:lnTo>
                <a:lnTo>
                  <a:pt x="6714600" y="243432"/>
                </a:lnTo>
                <a:lnTo>
                  <a:pt x="6714600" y="253303"/>
                </a:lnTo>
                <a:lnTo>
                  <a:pt x="6710581" y="257342"/>
                </a:lnTo>
                <a:lnTo>
                  <a:pt x="6700670" y="257342"/>
                </a:lnTo>
                <a:lnTo>
                  <a:pt x="6696651" y="253303"/>
                </a:lnTo>
                <a:lnTo>
                  <a:pt x="6696651" y="243432"/>
                </a:lnTo>
                <a:close/>
                <a:moveTo>
                  <a:pt x="6461356" y="239394"/>
                </a:moveTo>
                <a:lnTo>
                  <a:pt x="6471266" y="239394"/>
                </a:lnTo>
                <a:lnTo>
                  <a:pt x="6475285" y="243432"/>
                </a:lnTo>
                <a:lnTo>
                  <a:pt x="6475285" y="253303"/>
                </a:lnTo>
                <a:lnTo>
                  <a:pt x="6471266" y="257342"/>
                </a:lnTo>
                <a:lnTo>
                  <a:pt x="6461356" y="257342"/>
                </a:lnTo>
                <a:lnTo>
                  <a:pt x="6457337" y="253303"/>
                </a:lnTo>
                <a:lnTo>
                  <a:pt x="6457337" y="243432"/>
                </a:lnTo>
                <a:close/>
                <a:moveTo>
                  <a:pt x="7418611" y="239382"/>
                </a:moveTo>
                <a:lnTo>
                  <a:pt x="7428521" y="239382"/>
                </a:lnTo>
                <a:lnTo>
                  <a:pt x="7432540" y="243420"/>
                </a:lnTo>
                <a:lnTo>
                  <a:pt x="7432540" y="253291"/>
                </a:lnTo>
                <a:lnTo>
                  <a:pt x="7428521" y="257330"/>
                </a:lnTo>
                <a:lnTo>
                  <a:pt x="7418611" y="257330"/>
                </a:lnTo>
                <a:lnTo>
                  <a:pt x="7414592" y="253291"/>
                </a:lnTo>
                <a:lnTo>
                  <a:pt x="7414592" y="243420"/>
                </a:lnTo>
                <a:close/>
                <a:moveTo>
                  <a:pt x="7179298" y="239382"/>
                </a:moveTo>
                <a:lnTo>
                  <a:pt x="7189209" y="239382"/>
                </a:lnTo>
                <a:lnTo>
                  <a:pt x="7193228" y="243421"/>
                </a:lnTo>
                <a:lnTo>
                  <a:pt x="7193228" y="253292"/>
                </a:lnTo>
                <a:lnTo>
                  <a:pt x="7189209" y="257330"/>
                </a:lnTo>
                <a:lnTo>
                  <a:pt x="7179298" y="257330"/>
                </a:lnTo>
                <a:lnTo>
                  <a:pt x="7175279" y="253292"/>
                </a:lnTo>
                <a:lnTo>
                  <a:pt x="7175279" y="243421"/>
                </a:lnTo>
                <a:close/>
                <a:moveTo>
                  <a:pt x="8136553" y="239382"/>
                </a:moveTo>
                <a:lnTo>
                  <a:pt x="8146464" y="239382"/>
                </a:lnTo>
                <a:lnTo>
                  <a:pt x="8150483" y="243420"/>
                </a:lnTo>
                <a:lnTo>
                  <a:pt x="8150483" y="253291"/>
                </a:lnTo>
                <a:lnTo>
                  <a:pt x="8146464" y="257330"/>
                </a:lnTo>
                <a:lnTo>
                  <a:pt x="8136553" y="257330"/>
                </a:lnTo>
                <a:lnTo>
                  <a:pt x="8132534" y="253291"/>
                </a:lnTo>
                <a:lnTo>
                  <a:pt x="8132534" y="243420"/>
                </a:lnTo>
                <a:close/>
                <a:moveTo>
                  <a:pt x="7897241" y="239382"/>
                </a:moveTo>
                <a:lnTo>
                  <a:pt x="7907151" y="239382"/>
                </a:lnTo>
                <a:lnTo>
                  <a:pt x="7911170" y="243420"/>
                </a:lnTo>
                <a:lnTo>
                  <a:pt x="7911170" y="253291"/>
                </a:lnTo>
                <a:lnTo>
                  <a:pt x="7907151" y="257330"/>
                </a:lnTo>
                <a:lnTo>
                  <a:pt x="7897241" y="257330"/>
                </a:lnTo>
                <a:lnTo>
                  <a:pt x="7893222" y="253291"/>
                </a:lnTo>
                <a:lnTo>
                  <a:pt x="7893222" y="243420"/>
                </a:lnTo>
                <a:close/>
                <a:moveTo>
                  <a:pt x="7657926" y="239382"/>
                </a:moveTo>
                <a:lnTo>
                  <a:pt x="7667836" y="239382"/>
                </a:lnTo>
                <a:lnTo>
                  <a:pt x="7671855" y="243420"/>
                </a:lnTo>
                <a:lnTo>
                  <a:pt x="7671855" y="253291"/>
                </a:lnTo>
                <a:lnTo>
                  <a:pt x="7667836" y="257330"/>
                </a:lnTo>
                <a:lnTo>
                  <a:pt x="7657926" y="257330"/>
                </a:lnTo>
                <a:lnTo>
                  <a:pt x="7653906" y="253291"/>
                </a:lnTo>
                <a:lnTo>
                  <a:pt x="7653906" y="243420"/>
                </a:lnTo>
                <a:close/>
                <a:moveTo>
                  <a:pt x="1679220" y="239371"/>
                </a:moveTo>
                <a:lnTo>
                  <a:pt x="1689131" y="239371"/>
                </a:lnTo>
                <a:lnTo>
                  <a:pt x="1693150" y="243409"/>
                </a:lnTo>
                <a:lnTo>
                  <a:pt x="1693150" y="253280"/>
                </a:lnTo>
                <a:lnTo>
                  <a:pt x="1689131" y="257319"/>
                </a:lnTo>
                <a:lnTo>
                  <a:pt x="1679220" y="257319"/>
                </a:lnTo>
                <a:lnTo>
                  <a:pt x="1675202" y="253280"/>
                </a:lnTo>
                <a:lnTo>
                  <a:pt x="1675202" y="243409"/>
                </a:lnTo>
                <a:close/>
                <a:moveTo>
                  <a:pt x="1439902" y="239371"/>
                </a:moveTo>
                <a:lnTo>
                  <a:pt x="1449813" y="239371"/>
                </a:lnTo>
                <a:lnTo>
                  <a:pt x="1453832" y="243409"/>
                </a:lnTo>
                <a:lnTo>
                  <a:pt x="1453832" y="253280"/>
                </a:lnTo>
                <a:lnTo>
                  <a:pt x="1449813" y="257319"/>
                </a:lnTo>
                <a:lnTo>
                  <a:pt x="1439902" y="257319"/>
                </a:lnTo>
                <a:lnTo>
                  <a:pt x="1435884" y="253280"/>
                </a:lnTo>
                <a:lnTo>
                  <a:pt x="1435884" y="243409"/>
                </a:lnTo>
                <a:close/>
                <a:moveTo>
                  <a:pt x="1200587" y="239371"/>
                </a:moveTo>
                <a:lnTo>
                  <a:pt x="1210496" y="239371"/>
                </a:lnTo>
                <a:lnTo>
                  <a:pt x="1214515" y="243409"/>
                </a:lnTo>
                <a:lnTo>
                  <a:pt x="1214515" y="253280"/>
                </a:lnTo>
                <a:lnTo>
                  <a:pt x="1210496" y="257319"/>
                </a:lnTo>
                <a:lnTo>
                  <a:pt x="1200587" y="257319"/>
                </a:lnTo>
                <a:lnTo>
                  <a:pt x="1196567" y="253280"/>
                </a:lnTo>
                <a:lnTo>
                  <a:pt x="1196567" y="243409"/>
                </a:lnTo>
                <a:close/>
                <a:moveTo>
                  <a:pt x="961273" y="239371"/>
                </a:moveTo>
                <a:lnTo>
                  <a:pt x="971184" y="239371"/>
                </a:lnTo>
                <a:lnTo>
                  <a:pt x="975203" y="243409"/>
                </a:lnTo>
                <a:lnTo>
                  <a:pt x="975203" y="253280"/>
                </a:lnTo>
                <a:lnTo>
                  <a:pt x="971184" y="257319"/>
                </a:lnTo>
                <a:lnTo>
                  <a:pt x="961273" y="257319"/>
                </a:lnTo>
                <a:lnTo>
                  <a:pt x="957255" y="253280"/>
                </a:lnTo>
                <a:lnTo>
                  <a:pt x="957255" y="243409"/>
                </a:lnTo>
                <a:close/>
                <a:moveTo>
                  <a:pt x="8615184" y="239370"/>
                </a:moveTo>
                <a:lnTo>
                  <a:pt x="8625095" y="239370"/>
                </a:lnTo>
                <a:lnTo>
                  <a:pt x="8629114" y="243408"/>
                </a:lnTo>
                <a:lnTo>
                  <a:pt x="8629114" y="253278"/>
                </a:lnTo>
                <a:lnTo>
                  <a:pt x="8625095" y="257317"/>
                </a:lnTo>
                <a:lnTo>
                  <a:pt x="8615184" y="257317"/>
                </a:lnTo>
                <a:lnTo>
                  <a:pt x="8611165" y="253278"/>
                </a:lnTo>
                <a:lnTo>
                  <a:pt x="8611165" y="243408"/>
                </a:lnTo>
                <a:close/>
                <a:moveTo>
                  <a:pt x="8375869" y="239370"/>
                </a:moveTo>
                <a:lnTo>
                  <a:pt x="8385779" y="239370"/>
                </a:lnTo>
                <a:lnTo>
                  <a:pt x="8389799" y="243408"/>
                </a:lnTo>
                <a:lnTo>
                  <a:pt x="8389799" y="253279"/>
                </a:lnTo>
                <a:lnTo>
                  <a:pt x="8385779" y="257318"/>
                </a:lnTo>
                <a:lnTo>
                  <a:pt x="8375869" y="257318"/>
                </a:lnTo>
                <a:lnTo>
                  <a:pt x="8371850" y="253279"/>
                </a:lnTo>
                <a:lnTo>
                  <a:pt x="8371850" y="243408"/>
                </a:lnTo>
                <a:close/>
                <a:moveTo>
                  <a:pt x="9333125" y="239369"/>
                </a:moveTo>
                <a:lnTo>
                  <a:pt x="9343036" y="239369"/>
                </a:lnTo>
                <a:lnTo>
                  <a:pt x="9347055" y="243407"/>
                </a:lnTo>
                <a:lnTo>
                  <a:pt x="9347055" y="253278"/>
                </a:lnTo>
                <a:lnTo>
                  <a:pt x="9343036" y="257317"/>
                </a:lnTo>
                <a:lnTo>
                  <a:pt x="9333125" y="257317"/>
                </a:lnTo>
                <a:lnTo>
                  <a:pt x="9329106" y="253278"/>
                </a:lnTo>
                <a:lnTo>
                  <a:pt x="9329106" y="243407"/>
                </a:lnTo>
                <a:close/>
                <a:moveTo>
                  <a:pt x="9093811" y="239369"/>
                </a:moveTo>
                <a:lnTo>
                  <a:pt x="9103722" y="239369"/>
                </a:lnTo>
                <a:lnTo>
                  <a:pt x="9107741" y="243407"/>
                </a:lnTo>
                <a:lnTo>
                  <a:pt x="9107741" y="253278"/>
                </a:lnTo>
                <a:lnTo>
                  <a:pt x="9103722" y="257317"/>
                </a:lnTo>
                <a:lnTo>
                  <a:pt x="9093811" y="257317"/>
                </a:lnTo>
                <a:lnTo>
                  <a:pt x="9089792" y="253278"/>
                </a:lnTo>
                <a:lnTo>
                  <a:pt x="9089792" y="243407"/>
                </a:lnTo>
                <a:close/>
                <a:moveTo>
                  <a:pt x="8854496" y="239369"/>
                </a:moveTo>
                <a:lnTo>
                  <a:pt x="8864407" y="239369"/>
                </a:lnTo>
                <a:lnTo>
                  <a:pt x="8868426" y="243407"/>
                </a:lnTo>
                <a:lnTo>
                  <a:pt x="8868426" y="253278"/>
                </a:lnTo>
                <a:lnTo>
                  <a:pt x="8864407" y="257317"/>
                </a:lnTo>
                <a:lnTo>
                  <a:pt x="8854496" y="257317"/>
                </a:lnTo>
                <a:lnTo>
                  <a:pt x="8850477" y="253278"/>
                </a:lnTo>
                <a:lnTo>
                  <a:pt x="8850477" y="243407"/>
                </a:lnTo>
                <a:close/>
                <a:moveTo>
                  <a:pt x="1918515" y="239361"/>
                </a:moveTo>
                <a:lnTo>
                  <a:pt x="1928425" y="239361"/>
                </a:lnTo>
                <a:lnTo>
                  <a:pt x="1932444" y="243400"/>
                </a:lnTo>
                <a:lnTo>
                  <a:pt x="1932444" y="253271"/>
                </a:lnTo>
                <a:lnTo>
                  <a:pt x="1928425" y="257310"/>
                </a:lnTo>
                <a:lnTo>
                  <a:pt x="1918515" y="257310"/>
                </a:lnTo>
                <a:lnTo>
                  <a:pt x="1914495" y="253271"/>
                </a:lnTo>
                <a:lnTo>
                  <a:pt x="1914495" y="243400"/>
                </a:lnTo>
                <a:close/>
                <a:moveTo>
                  <a:pt x="2157824" y="239359"/>
                </a:moveTo>
                <a:lnTo>
                  <a:pt x="2167734" y="239359"/>
                </a:lnTo>
                <a:lnTo>
                  <a:pt x="2171753" y="243397"/>
                </a:lnTo>
                <a:lnTo>
                  <a:pt x="2171753" y="253268"/>
                </a:lnTo>
                <a:lnTo>
                  <a:pt x="2167734" y="257307"/>
                </a:lnTo>
                <a:lnTo>
                  <a:pt x="2157824" y="257307"/>
                </a:lnTo>
                <a:lnTo>
                  <a:pt x="2153804" y="253268"/>
                </a:lnTo>
                <a:lnTo>
                  <a:pt x="2153804" y="243397"/>
                </a:lnTo>
                <a:close/>
                <a:moveTo>
                  <a:pt x="9572438" y="239357"/>
                </a:moveTo>
                <a:lnTo>
                  <a:pt x="9582349" y="239357"/>
                </a:lnTo>
                <a:lnTo>
                  <a:pt x="9586368" y="243395"/>
                </a:lnTo>
                <a:lnTo>
                  <a:pt x="9586368" y="253267"/>
                </a:lnTo>
                <a:lnTo>
                  <a:pt x="9582349" y="257306"/>
                </a:lnTo>
                <a:lnTo>
                  <a:pt x="9572438" y="257306"/>
                </a:lnTo>
                <a:lnTo>
                  <a:pt x="9568419" y="253267"/>
                </a:lnTo>
                <a:lnTo>
                  <a:pt x="9568419" y="243395"/>
                </a:lnTo>
                <a:close/>
                <a:moveTo>
                  <a:pt x="721976" y="239330"/>
                </a:moveTo>
                <a:lnTo>
                  <a:pt x="731887" y="239330"/>
                </a:lnTo>
                <a:lnTo>
                  <a:pt x="735906" y="243368"/>
                </a:lnTo>
                <a:lnTo>
                  <a:pt x="735906" y="253239"/>
                </a:lnTo>
                <a:lnTo>
                  <a:pt x="731887" y="257278"/>
                </a:lnTo>
                <a:lnTo>
                  <a:pt x="721976" y="257278"/>
                </a:lnTo>
                <a:lnTo>
                  <a:pt x="717958" y="253239"/>
                </a:lnTo>
                <a:lnTo>
                  <a:pt x="717958" y="243368"/>
                </a:lnTo>
                <a:close/>
                <a:moveTo>
                  <a:pt x="482664" y="239330"/>
                </a:moveTo>
                <a:lnTo>
                  <a:pt x="492575" y="239330"/>
                </a:lnTo>
                <a:lnTo>
                  <a:pt x="496594" y="243368"/>
                </a:lnTo>
                <a:lnTo>
                  <a:pt x="496594" y="253239"/>
                </a:lnTo>
                <a:lnTo>
                  <a:pt x="492575" y="257278"/>
                </a:lnTo>
                <a:lnTo>
                  <a:pt x="482664" y="257278"/>
                </a:lnTo>
                <a:lnTo>
                  <a:pt x="478645" y="253239"/>
                </a:lnTo>
                <a:lnTo>
                  <a:pt x="478645" y="243368"/>
                </a:lnTo>
                <a:close/>
                <a:moveTo>
                  <a:pt x="243350" y="239330"/>
                </a:moveTo>
                <a:lnTo>
                  <a:pt x="253261" y="239330"/>
                </a:lnTo>
                <a:lnTo>
                  <a:pt x="257280" y="243368"/>
                </a:lnTo>
                <a:lnTo>
                  <a:pt x="257280" y="253239"/>
                </a:lnTo>
                <a:lnTo>
                  <a:pt x="253261" y="257278"/>
                </a:lnTo>
                <a:lnTo>
                  <a:pt x="243350" y="257278"/>
                </a:lnTo>
                <a:lnTo>
                  <a:pt x="239332" y="253239"/>
                </a:lnTo>
                <a:lnTo>
                  <a:pt x="239332" y="243368"/>
                </a:lnTo>
                <a:close/>
                <a:moveTo>
                  <a:pt x="4037" y="239330"/>
                </a:moveTo>
                <a:lnTo>
                  <a:pt x="13948" y="239330"/>
                </a:lnTo>
                <a:lnTo>
                  <a:pt x="17967" y="243368"/>
                </a:lnTo>
                <a:lnTo>
                  <a:pt x="17967" y="253239"/>
                </a:lnTo>
                <a:lnTo>
                  <a:pt x="13948" y="257278"/>
                </a:lnTo>
                <a:lnTo>
                  <a:pt x="4037" y="257278"/>
                </a:lnTo>
                <a:lnTo>
                  <a:pt x="18" y="253239"/>
                </a:lnTo>
                <a:lnTo>
                  <a:pt x="18" y="243368"/>
                </a:lnTo>
                <a:close/>
                <a:moveTo>
                  <a:pt x="3111048" y="106"/>
                </a:moveTo>
                <a:lnTo>
                  <a:pt x="3120959" y="106"/>
                </a:lnTo>
                <a:lnTo>
                  <a:pt x="3124977" y="4144"/>
                </a:lnTo>
                <a:lnTo>
                  <a:pt x="3124977" y="14015"/>
                </a:lnTo>
                <a:lnTo>
                  <a:pt x="3120959" y="18054"/>
                </a:lnTo>
                <a:lnTo>
                  <a:pt x="3111048" y="18054"/>
                </a:lnTo>
                <a:lnTo>
                  <a:pt x="3107029" y="14015"/>
                </a:lnTo>
                <a:lnTo>
                  <a:pt x="3107029" y="4144"/>
                </a:lnTo>
                <a:close/>
                <a:moveTo>
                  <a:pt x="2871737" y="106"/>
                </a:moveTo>
                <a:lnTo>
                  <a:pt x="2881646" y="106"/>
                </a:lnTo>
                <a:lnTo>
                  <a:pt x="2885666" y="4145"/>
                </a:lnTo>
                <a:lnTo>
                  <a:pt x="2885666" y="14015"/>
                </a:lnTo>
                <a:lnTo>
                  <a:pt x="2881646" y="18054"/>
                </a:lnTo>
                <a:lnTo>
                  <a:pt x="2871737" y="18054"/>
                </a:lnTo>
                <a:lnTo>
                  <a:pt x="2867717" y="14015"/>
                </a:lnTo>
                <a:lnTo>
                  <a:pt x="2867717" y="4145"/>
                </a:lnTo>
                <a:close/>
                <a:moveTo>
                  <a:pt x="2632423" y="106"/>
                </a:moveTo>
                <a:lnTo>
                  <a:pt x="2642334" y="106"/>
                </a:lnTo>
                <a:lnTo>
                  <a:pt x="2646352" y="4145"/>
                </a:lnTo>
                <a:lnTo>
                  <a:pt x="2646352" y="14016"/>
                </a:lnTo>
                <a:lnTo>
                  <a:pt x="2642334" y="18055"/>
                </a:lnTo>
                <a:lnTo>
                  <a:pt x="2632423" y="18055"/>
                </a:lnTo>
                <a:lnTo>
                  <a:pt x="2628404" y="14016"/>
                </a:lnTo>
                <a:lnTo>
                  <a:pt x="2628404" y="4145"/>
                </a:lnTo>
                <a:close/>
                <a:moveTo>
                  <a:pt x="2393104" y="106"/>
                </a:moveTo>
                <a:lnTo>
                  <a:pt x="2403015" y="106"/>
                </a:lnTo>
                <a:lnTo>
                  <a:pt x="2407034" y="4145"/>
                </a:lnTo>
                <a:lnTo>
                  <a:pt x="2407034" y="14016"/>
                </a:lnTo>
                <a:lnTo>
                  <a:pt x="2403015" y="18055"/>
                </a:lnTo>
                <a:lnTo>
                  <a:pt x="2393104" y="18055"/>
                </a:lnTo>
                <a:lnTo>
                  <a:pt x="2389087" y="14016"/>
                </a:lnTo>
                <a:lnTo>
                  <a:pt x="2389087" y="4145"/>
                </a:lnTo>
                <a:close/>
                <a:moveTo>
                  <a:pt x="3350359" y="106"/>
                </a:moveTo>
                <a:lnTo>
                  <a:pt x="3360268" y="106"/>
                </a:lnTo>
                <a:lnTo>
                  <a:pt x="3364287" y="4144"/>
                </a:lnTo>
                <a:lnTo>
                  <a:pt x="3364287" y="14015"/>
                </a:lnTo>
                <a:lnTo>
                  <a:pt x="3360268" y="18054"/>
                </a:lnTo>
                <a:lnTo>
                  <a:pt x="3350359" y="18054"/>
                </a:lnTo>
                <a:lnTo>
                  <a:pt x="3346340" y="14015"/>
                </a:lnTo>
                <a:lnTo>
                  <a:pt x="3346340" y="4144"/>
                </a:lnTo>
                <a:close/>
                <a:moveTo>
                  <a:pt x="4546929" y="93"/>
                </a:moveTo>
                <a:lnTo>
                  <a:pt x="4556840" y="93"/>
                </a:lnTo>
                <a:lnTo>
                  <a:pt x="4560859" y="4132"/>
                </a:lnTo>
                <a:lnTo>
                  <a:pt x="4560859" y="14002"/>
                </a:lnTo>
                <a:lnTo>
                  <a:pt x="4556840" y="18041"/>
                </a:lnTo>
                <a:lnTo>
                  <a:pt x="4546929" y="18041"/>
                </a:lnTo>
                <a:lnTo>
                  <a:pt x="4542910" y="14002"/>
                </a:lnTo>
                <a:lnTo>
                  <a:pt x="4542910" y="4132"/>
                </a:lnTo>
                <a:close/>
                <a:moveTo>
                  <a:pt x="4307612" y="93"/>
                </a:moveTo>
                <a:lnTo>
                  <a:pt x="4317523" y="93"/>
                </a:lnTo>
                <a:lnTo>
                  <a:pt x="4321543" y="4132"/>
                </a:lnTo>
                <a:lnTo>
                  <a:pt x="4321543" y="14003"/>
                </a:lnTo>
                <a:lnTo>
                  <a:pt x="4317523" y="18042"/>
                </a:lnTo>
                <a:lnTo>
                  <a:pt x="4307612" y="18042"/>
                </a:lnTo>
                <a:lnTo>
                  <a:pt x="4303595" y="14003"/>
                </a:lnTo>
                <a:lnTo>
                  <a:pt x="4303595" y="4132"/>
                </a:lnTo>
                <a:close/>
                <a:moveTo>
                  <a:pt x="4068297" y="93"/>
                </a:moveTo>
                <a:lnTo>
                  <a:pt x="4078210" y="93"/>
                </a:lnTo>
                <a:lnTo>
                  <a:pt x="4082229" y="4132"/>
                </a:lnTo>
                <a:lnTo>
                  <a:pt x="4082229" y="14003"/>
                </a:lnTo>
                <a:lnTo>
                  <a:pt x="4078210" y="18042"/>
                </a:lnTo>
                <a:lnTo>
                  <a:pt x="4068297" y="18042"/>
                </a:lnTo>
                <a:lnTo>
                  <a:pt x="4064278" y="14003"/>
                </a:lnTo>
                <a:lnTo>
                  <a:pt x="4064278" y="4132"/>
                </a:lnTo>
                <a:close/>
                <a:moveTo>
                  <a:pt x="3828990" y="93"/>
                </a:moveTo>
                <a:lnTo>
                  <a:pt x="3838899" y="93"/>
                </a:lnTo>
                <a:lnTo>
                  <a:pt x="3842917" y="4132"/>
                </a:lnTo>
                <a:lnTo>
                  <a:pt x="3842917" y="14003"/>
                </a:lnTo>
                <a:lnTo>
                  <a:pt x="3838899" y="18042"/>
                </a:lnTo>
                <a:lnTo>
                  <a:pt x="3828990" y="18042"/>
                </a:lnTo>
                <a:lnTo>
                  <a:pt x="3824971" y="14003"/>
                </a:lnTo>
                <a:lnTo>
                  <a:pt x="3824971" y="4132"/>
                </a:lnTo>
                <a:close/>
                <a:moveTo>
                  <a:pt x="3589676" y="93"/>
                </a:moveTo>
                <a:lnTo>
                  <a:pt x="3599585" y="93"/>
                </a:lnTo>
                <a:lnTo>
                  <a:pt x="3603604" y="4132"/>
                </a:lnTo>
                <a:lnTo>
                  <a:pt x="3603604" y="14003"/>
                </a:lnTo>
                <a:lnTo>
                  <a:pt x="3599585" y="18042"/>
                </a:lnTo>
                <a:lnTo>
                  <a:pt x="3589676" y="18042"/>
                </a:lnTo>
                <a:lnTo>
                  <a:pt x="3585657" y="14003"/>
                </a:lnTo>
                <a:lnTo>
                  <a:pt x="3585657" y="4132"/>
                </a:lnTo>
                <a:close/>
                <a:moveTo>
                  <a:pt x="4786241" y="81"/>
                </a:moveTo>
                <a:lnTo>
                  <a:pt x="4796152" y="81"/>
                </a:lnTo>
                <a:lnTo>
                  <a:pt x="4800171" y="4119"/>
                </a:lnTo>
                <a:lnTo>
                  <a:pt x="4800171" y="13990"/>
                </a:lnTo>
                <a:lnTo>
                  <a:pt x="4796152" y="18029"/>
                </a:lnTo>
                <a:lnTo>
                  <a:pt x="4786241" y="18029"/>
                </a:lnTo>
                <a:lnTo>
                  <a:pt x="4782224" y="13990"/>
                </a:lnTo>
                <a:lnTo>
                  <a:pt x="4782224" y="4119"/>
                </a:lnTo>
                <a:close/>
                <a:moveTo>
                  <a:pt x="5743412" y="80"/>
                </a:moveTo>
                <a:lnTo>
                  <a:pt x="5753323" y="80"/>
                </a:lnTo>
                <a:lnTo>
                  <a:pt x="5757342" y="4119"/>
                </a:lnTo>
                <a:lnTo>
                  <a:pt x="5757342" y="13990"/>
                </a:lnTo>
                <a:lnTo>
                  <a:pt x="5753323" y="18029"/>
                </a:lnTo>
                <a:lnTo>
                  <a:pt x="5743412" y="18029"/>
                </a:lnTo>
                <a:lnTo>
                  <a:pt x="5739393" y="13990"/>
                </a:lnTo>
                <a:lnTo>
                  <a:pt x="5739393" y="4119"/>
                </a:lnTo>
                <a:close/>
                <a:moveTo>
                  <a:pt x="5504099" y="80"/>
                </a:moveTo>
                <a:lnTo>
                  <a:pt x="5514010" y="80"/>
                </a:lnTo>
                <a:lnTo>
                  <a:pt x="5518029" y="4119"/>
                </a:lnTo>
                <a:lnTo>
                  <a:pt x="5518029" y="13990"/>
                </a:lnTo>
                <a:lnTo>
                  <a:pt x="5514010" y="18029"/>
                </a:lnTo>
                <a:lnTo>
                  <a:pt x="5504099" y="18029"/>
                </a:lnTo>
                <a:lnTo>
                  <a:pt x="5500080" y="13990"/>
                </a:lnTo>
                <a:lnTo>
                  <a:pt x="5500080" y="4119"/>
                </a:lnTo>
                <a:close/>
                <a:moveTo>
                  <a:pt x="5264784" y="80"/>
                </a:moveTo>
                <a:lnTo>
                  <a:pt x="5274694" y="80"/>
                </a:lnTo>
                <a:lnTo>
                  <a:pt x="5278713" y="4119"/>
                </a:lnTo>
                <a:lnTo>
                  <a:pt x="5278713" y="13990"/>
                </a:lnTo>
                <a:lnTo>
                  <a:pt x="5274694" y="18029"/>
                </a:lnTo>
                <a:lnTo>
                  <a:pt x="5264784" y="18029"/>
                </a:lnTo>
                <a:lnTo>
                  <a:pt x="5260765" y="13990"/>
                </a:lnTo>
                <a:lnTo>
                  <a:pt x="5260765" y="4119"/>
                </a:lnTo>
                <a:close/>
                <a:moveTo>
                  <a:pt x="5025470" y="80"/>
                </a:moveTo>
                <a:lnTo>
                  <a:pt x="5035381" y="80"/>
                </a:lnTo>
                <a:lnTo>
                  <a:pt x="5039400" y="4119"/>
                </a:lnTo>
                <a:lnTo>
                  <a:pt x="5039400" y="13990"/>
                </a:lnTo>
                <a:lnTo>
                  <a:pt x="5035381" y="18029"/>
                </a:lnTo>
                <a:lnTo>
                  <a:pt x="5025470" y="18029"/>
                </a:lnTo>
                <a:lnTo>
                  <a:pt x="5021451" y="13990"/>
                </a:lnTo>
                <a:lnTo>
                  <a:pt x="5021451" y="4119"/>
                </a:lnTo>
                <a:close/>
                <a:moveTo>
                  <a:pt x="6461356" y="68"/>
                </a:moveTo>
                <a:lnTo>
                  <a:pt x="6471266" y="68"/>
                </a:lnTo>
                <a:lnTo>
                  <a:pt x="6475285" y="4106"/>
                </a:lnTo>
                <a:lnTo>
                  <a:pt x="6475285" y="13976"/>
                </a:lnTo>
                <a:lnTo>
                  <a:pt x="6471266" y="18015"/>
                </a:lnTo>
                <a:lnTo>
                  <a:pt x="6461356" y="18015"/>
                </a:lnTo>
                <a:lnTo>
                  <a:pt x="6457337" y="13976"/>
                </a:lnTo>
                <a:lnTo>
                  <a:pt x="6457337" y="4106"/>
                </a:lnTo>
                <a:close/>
                <a:moveTo>
                  <a:pt x="6222042" y="68"/>
                </a:moveTo>
                <a:lnTo>
                  <a:pt x="6231952" y="68"/>
                </a:lnTo>
                <a:lnTo>
                  <a:pt x="6235971" y="4106"/>
                </a:lnTo>
                <a:lnTo>
                  <a:pt x="6235971" y="13977"/>
                </a:lnTo>
                <a:lnTo>
                  <a:pt x="6231952" y="18016"/>
                </a:lnTo>
                <a:lnTo>
                  <a:pt x="6222042" y="18016"/>
                </a:lnTo>
                <a:lnTo>
                  <a:pt x="6218023" y="13977"/>
                </a:lnTo>
                <a:lnTo>
                  <a:pt x="6218023" y="4106"/>
                </a:lnTo>
                <a:close/>
                <a:moveTo>
                  <a:pt x="5982729" y="68"/>
                </a:moveTo>
                <a:lnTo>
                  <a:pt x="5992639" y="68"/>
                </a:lnTo>
                <a:lnTo>
                  <a:pt x="5996658" y="4106"/>
                </a:lnTo>
                <a:lnTo>
                  <a:pt x="5996658" y="13977"/>
                </a:lnTo>
                <a:lnTo>
                  <a:pt x="5992639" y="18016"/>
                </a:lnTo>
                <a:lnTo>
                  <a:pt x="5982729" y="18016"/>
                </a:lnTo>
                <a:lnTo>
                  <a:pt x="5978710" y="13977"/>
                </a:lnTo>
                <a:lnTo>
                  <a:pt x="5978710" y="4106"/>
                </a:lnTo>
                <a:close/>
                <a:moveTo>
                  <a:pt x="6939983" y="67"/>
                </a:moveTo>
                <a:lnTo>
                  <a:pt x="6949894" y="67"/>
                </a:lnTo>
                <a:lnTo>
                  <a:pt x="6953913" y="4105"/>
                </a:lnTo>
                <a:lnTo>
                  <a:pt x="6953913" y="13976"/>
                </a:lnTo>
                <a:lnTo>
                  <a:pt x="6949894" y="18015"/>
                </a:lnTo>
                <a:lnTo>
                  <a:pt x="6939983" y="18015"/>
                </a:lnTo>
                <a:lnTo>
                  <a:pt x="6935964" y="13976"/>
                </a:lnTo>
                <a:lnTo>
                  <a:pt x="6935964" y="4105"/>
                </a:lnTo>
                <a:close/>
                <a:moveTo>
                  <a:pt x="6700670" y="67"/>
                </a:moveTo>
                <a:lnTo>
                  <a:pt x="6710581" y="67"/>
                </a:lnTo>
                <a:lnTo>
                  <a:pt x="6714600" y="4105"/>
                </a:lnTo>
                <a:lnTo>
                  <a:pt x="6714600" y="13976"/>
                </a:lnTo>
                <a:lnTo>
                  <a:pt x="6710581" y="18015"/>
                </a:lnTo>
                <a:lnTo>
                  <a:pt x="6700670" y="18015"/>
                </a:lnTo>
                <a:lnTo>
                  <a:pt x="6696651" y="13976"/>
                </a:lnTo>
                <a:lnTo>
                  <a:pt x="6696651" y="4105"/>
                </a:lnTo>
                <a:close/>
                <a:moveTo>
                  <a:pt x="8136553" y="54"/>
                </a:moveTo>
                <a:lnTo>
                  <a:pt x="8146464" y="54"/>
                </a:lnTo>
                <a:lnTo>
                  <a:pt x="8150483" y="4093"/>
                </a:lnTo>
                <a:lnTo>
                  <a:pt x="8150483" y="13963"/>
                </a:lnTo>
                <a:lnTo>
                  <a:pt x="8146464" y="18002"/>
                </a:lnTo>
                <a:lnTo>
                  <a:pt x="8136553" y="18002"/>
                </a:lnTo>
                <a:lnTo>
                  <a:pt x="8132534" y="13963"/>
                </a:lnTo>
                <a:lnTo>
                  <a:pt x="8132534" y="4093"/>
                </a:lnTo>
                <a:close/>
                <a:moveTo>
                  <a:pt x="7897241" y="54"/>
                </a:moveTo>
                <a:lnTo>
                  <a:pt x="7907151" y="54"/>
                </a:lnTo>
                <a:lnTo>
                  <a:pt x="7911170" y="4093"/>
                </a:lnTo>
                <a:lnTo>
                  <a:pt x="7911170" y="13964"/>
                </a:lnTo>
                <a:lnTo>
                  <a:pt x="7907151" y="18003"/>
                </a:lnTo>
                <a:lnTo>
                  <a:pt x="7897241" y="18003"/>
                </a:lnTo>
                <a:lnTo>
                  <a:pt x="7893222" y="13964"/>
                </a:lnTo>
                <a:lnTo>
                  <a:pt x="7893222" y="4093"/>
                </a:lnTo>
                <a:close/>
                <a:moveTo>
                  <a:pt x="7657926" y="54"/>
                </a:moveTo>
                <a:lnTo>
                  <a:pt x="7667836" y="54"/>
                </a:lnTo>
                <a:lnTo>
                  <a:pt x="7671855" y="4093"/>
                </a:lnTo>
                <a:lnTo>
                  <a:pt x="7671855" y="13964"/>
                </a:lnTo>
                <a:lnTo>
                  <a:pt x="7667836" y="18003"/>
                </a:lnTo>
                <a:lnTo>
                  <a:pt x="7657926" y="18003"/>
                </a:lnTo>
                <a:lnTo>
                  <a:pt x="7653906" y="13964"/>
                </a:lnTo>
                <a:lnTo>
                  <a:pt x="7653906" y="4093"/>
                </a:lnTo>
                <a:close/>
                <a:moveTo>
                  <a:pt x="7418611" y="54"/>
                </a:moveTo>
                <a:lnTo>
                  <a:pt x="7428521" y="54"/>
                </a:lnTo>
                <a:lnTo>
                  <a:pt x="7432540" y="4093"/>
                </a:lnTo>
                <a:lnTo>
                  <a:pt x="7432540" y="13964"/>
                </a:lnTo>
                <a:lnTo>
                  <a:pt x="7428521" y="18003"/>
                </a:lnTo>
                <a:lnTo>
                  <a:pt x="7418611" y="18003"/>
                </a:lnTo>
                <a:lnTo>
                  <a:pt x="7414592" y="13964"/>
                </a:lnTo>
                <a:lnTo>
                  <a:pt x="7414592" y="4093"/>
                </a:lnTo>
                <a:close/>
                <a:moveTo>
                  <a:pt x="7179298" y="54"/>
                </a:moveTo>
                <a:lnTo>
                  <a:pt x="7189209" y="54"/>
                </a:lnTo>
                <a:lnTo>
                  <a:pt x="7193228" y="4093"/>
                </a:lnTo>
                <a:lnTo>
                  <a:pt x="7193228" y="13964"/>
                </a:lnTo>
                <a:lnTo>
                  <a:pt x="7189209" y="18003"/>
                </a:lnTo>
                <a:lnTo>
                  <a:pt x="7179298" y="18003"/>
                </a:lnTo>
                <a:lnTo>
                  <a:pt x="7175279" y="13964"/>
                </a:lnTo>
                <a:lnTo>
                  <a:pt x="7175279" y="4093"/>
                </a:lnTo>
                <a:close/>
                <a:moveTo>
                  <a:pt x="8375869" y="42"/>
                </a:moveTo>
                <a:lnTo>
                  <a:pt x="8385779" y="42"/>
                </a:lnTo>
                <a:lnTo>
                  <a:pt x="8389799" y="4080"/>
                </a:lnTo>
                <a:lnTo>
                  <a:pt x="8389799" y="13951"/>
                </a:lnTo>
                <a:lnTo>
                  <a:pt x="8385779" y="17990"/>
                </a:lnTo>
                <a:lnTo>
                  <a:pt x="8375869" y="17990"/>
                </a:lnTo>
                <a:lnTo>
                  <a:pt x="8371850" y="13951"/>
                </a:lnTo>
                <a:lnTo>
                  <a:pt x="8371850" y="4080"/>
                </a:lnTo>
                <a:close/>
                <a:moveTo>
                  <a:pt x="9333125" y="41"/>
                </a:moveTo>
                <a:lnTo>
                  <a:pt x="9343036" y="41"/>
                </a:lnTo>
                <a:lnTo>
                  <a:pt x="9347055" y="4080"/>
                </a:lnTo>
                <a:lnTo>
                  <a:pt x="9347055" y="13951"/>
                </a:lnTo>
                <a:lnTo>
                  <a:pt x="9343036" y="17990"/>
                </a:lnTo>
                <a:lnTo>
                  <a:pt x="9333125" y="17990"/>
                </a:lnTo>
                <a:lnTo>
                  <a:pt x="9329106" y="13951"/>
                </a:lnTo>
                <a:lnTo>
                  <a:pt x="9329106" y="4080"/>
                </a:lnTo>
                <a:close/>
                <a:moveTo>
                  <a:pt x="9093811" y="41"/>
                </a:moveTo>
                <a:lnTo>
                  <a:pt x="9103722" y="41"/>
                </a:lnTo>
                <a:lnTo>
                  <a:pt x="9107741" y="4080"/>
                </a:lnTo>
                <a:lnTo>
                  <a:pt x="9107741" y="13951"/>
                </a:lnTo>
                <a:lnTo>
                  <a:pt x="9103722" y="17990"/>
                </a:lnTo>
                <a:lnTo>
                  <a:pt x="9093811" y="17990"/>
                </a:lnTo>
                <a:lnTo>
                  <a:pt x="9089792" y="13951"/>
                </a:lnTo>
                <a:lnTo>
                  <a:pt x="9089792" y="4080"/>
                </a:lnTo>
                <a:close/>
                <a:moveTo>
                  <a:pt x="8854496" y="41"/>
                </a:moveTo>
                <a:lnTo>
                  <a:pt x="8864407" y="41"/>
                </a:lnTo>
                <a:lnTo>
                  <a:pt x="8868426" y="4080"/>
                </a:lnTo>
                <a:lnTo>
                  <a:pt x="8868426" y="13951"/>
                </a:lnTo>
                <a:lnTo>
                  <a:pt x="8864407" y="17990"/>
                </a:lnTo>
                <a:lnTo>
                  <a:pt x="8854496" y="17990"/>
                </a:lnTo>
                <a:lnTo>
                  <a:pt x="8850477" y="13951"/>
                </a:lnTo>
                <a:lnTo>
                  <a:pt x="8850477" y="4080"/>
                </a:lnTo>
                <a:close/>
                <a:moveTo>
                  <a:pt x="8615184" y="41"/>
                </a:moveTo>
                <a:lnTo>
                  <a:pt x="8625095" y="41"/>
                </a:lnTo>
                <a:lnTo>
                  <a:pt x="8629114" y="4080"/>
                </a:lnTo>
                <a:lnTo>
                  <a:pt x="8629114" y="13951"/>
                </a:lnTo>
                <a:lnTo>
                  <a:pt x="8625095" y="17990"/>
                </a:lnTo>
                <a:lnTo>
                  <a:pt x="8615184" y="17990"/>
                </a:lnTo>
                <a:lnTo>
                  <a:pt x="8611165" y="13951"/>
                </a:lnTo>
                <a:lnTo>
                  <a:pt x="8611165" y="4080"/>
                </a:lnTo>
                <a:close/>
                <a:moveTo>
                  <a:pt x="961275" y="41"/>
                </a:moveTo>
                <a:lnTo>
                  <a:pt x="971184" y="41"/>
                </a:lnTo>
                <a:lnTo>
                  <a:pt x="975204" y="4080"/>
                </a:lnTo>
                <a:lnTo>
                  <a:pt x="975204" y="13951"/>
                </a:lnTo>
                <a:lnTo>
                  <a:pt x="971184" y="17990"/>
                </a:lnTo>
                <a:lnTo>
                  <a:pt x="961275" y="17990"/>
                </a:lnTo>
                <a:lnTo>
                  <a:pt x="957256" y="13951"/>
                </a:lnTo>
                <a:lnTo>
                  <a:pt x="957256" y="4080"/>
                </a:lnTo>
                <a:close/>
                <a:moveTo>
                  <a:pt x="1679221" y="41"/>
                </a:moveTo>
                <a:lnTo>
                  <a:pt x="1689131" y="41"/>
                </a:lnTo>
                <a:lnTo>
                  <a:pt x="1693151" y="4079"/>
                </a:lnTo>
                <a:lnTo>
                  <a:pt x="1693151" y="13950"/>
                </a:lnTo>
                <a:lnTo>
                  <a:pt x="1689131" y="17989"/>
                </a:lnTo>
                <a:lnTo>
                  <a:pt x="1679221" y="17989"/>
                </a:lnTo>
                <a:lnTo>
                  <a:pt x="1675203" y="13950"/>
                </a:lnTo>
                <a:lnTo>
                  <a:pt x="1675203" y="4079"/>
                </a:lnTo>
                <a:close/>
                <a:moveTo>
                  <a:pt x="1439904" y="41"/>
                </a:moveTo>
                <a:lnTo>
                  <a:pt x="1449813" y="41"/>
                </a:lnTo>
                <a:lnTo>
                  <a:pt x="1453833" y="4079"/>
                </a:lnTo>
                <a:lnTo>
                  <a:pt x="1453833" y="13950"/>
                </a:lnTo>
                <a:lnTo>
                  <a:pt x="1449813" y="17989"/>
                </a:lnTo>
                <a:lnTo>
                  <a:pt x="1439904" y="17989"/>
                </a:lnTo>
                <a:lnTo>
                  <a:pt x="1435885" y="13950"/>
                </a:lnTo>
                <a:lnTo>
                  <a:pt x="1435885" y="4079"/>
                </a:lnTo>
                <a:close/>
                <a:moveTo>
                  <a:pt x="1200587" y="41"/>
                </a:moveTo>
                <a:lnTo>
                  <a:pt x="1210497" y="41"/>
                </a:lnTo>
                <a:lnTo>
                  <a:pt x="1214516" y="4080"/>
                </a:lnTo>
                <a:lnTo>
                  <a:pt x="1214516" y="13951"/>
                </a:lnTo>
                <a:lnTo>
                  <a:pt x="1210497" y="17989"/>
                </a:lnTo>
                <a:lnTo>
                  <a:pt x="1200587" y="17989"/>
                </a:lnTo>
                <a:lnTo>
                  <a:pt x="1196568" y="13951"/>
                </a:lnTo>
                <a:lnTo>
                  <a:pt x="1196568" y="4080"/>
                </a:lnTo>
                <a:close/>
                <a:moveTo>
                  <a:pt x="1918515" y="31"/>
                </a:moveTo>
                <a:lnTo>
                  <a:pt x="1928425" y="31"/>
                </a:lnTo>
                <a:lnTo>
                  <a:pt x="1932444" y="4069"/>
                </a:lnTo>
                <a:lnTo>
                  <a:pt x="1932444" y="13940"/>
                </a:lnTo>
                <a:lnTo>
                  <a:pt x="1928425" y="17979"/>
                </a:lnTo>
                <a:lnTo>
                  <a:pt x="1918515" y="17979"/>
                </a:lnTo>
                <a:lnTo>
                  <a:pt x="1914497" y="13940"/>
                </a:lnTo>
                <a:lnTo>
                  <a:pt x="1914497" y="4069"/>
                </a:lnTo>
                <a:close/>
                <a:moveTo>
                  <a:pt x="9572438" y="29"/>
                </a:moveTo>
                <a:lnTo>
                  <a:pt x="9582349" y="29"/>
                </a:lnTo>
                <a:lnTo>
                  <a:pt x="9586368" y="4067"/>
                </a:lnTo>
                <a:lnTo>
                  <a:pt x="9586368" y="13938"/>
                </a:lnTo>
                <a:lnTo>
                  <a:pt x="9582349" y="17977"/>
                </a:lnTo>
                <a:lnTo>
                  <a:pt x="9572438" y="17977"/>
                </a:lnTo>
                <a:lnTo>
                  <a:pt x="9568419" y="13938"/>
                </a:lnTo>
                <a:lnTo>
                  <a:pt x="9568419" y="4067"/>
                </a:lnTo>
                <a:close/>
                <a:moveTo>
                  <a:pt x="2157824" y="28"/>
                </a:moveTo>
                <a:lnTo>
                  <a:pt x="2167734" y="28"/>
                </a:lnTo>
                <a:lnTo>
                  <a:pt x="2171753" y="4067"/>
                </a:lnTo>
                <a:lnTo>
                  <a:pt x="2171753" y="13938"/>
                </a:lnTo>
                <a:lnTo>
                  <a:pt x="2167734" y="17977"/>
                </a:lnTo>
                <a:lnTo>
                  <a:pt x="2157824" y="17977"/>
                </a:lnTo>
                <a:lnTo>
                  <a:pt x="2153804" y="13938"/>
                </a:lnTo>
                <a:lnTo>
                  <a:pt x="2153804" y="4067"/>
                </a:lnTo>
                <a:close/>
                <a:moveTo>
                  <a:pt x="721977" y="0"/>
                </a:moveTo>
                <a:lnTo>
                  <a:pt x="731887" y="0"/>
                </a:lnTo>
                <a:lnTo>
                  <a:pt x="735906" y="4039"/>
                </a:lnTo>
                <a:lnTo>
                  <a:pt x="735906" y="13910"/>
                </a:lnTo>
                <a:lnTo>
                  <a:pt x="731887" y="17949"/>
                </a:lnTo>
                <a:lnTo>
                  <a:pt x="721977" y="17949"/>
                </a:lnTo>
                <a:lnTo>
                  <a:pt x="717959" y="13910"/>
                </a:lnTo>
                <a:lnTo>
                  <a:pt x="717959" y="4039"/>
                </a:lnTo>
                <a:close/>
                <a:moveTo>
                  <a:pt x="482665" y="0"/>
                </a:moveTo>
                <a:lnTo>
                  <a:pt x="492575" y="0"/>
                </a:lnTo>
                <a:lnTo>
                  <a:pt x="496594" y="4039"/>
                </a:lnTo>
                <a:lnTo>
                  <a:pt x="496594" y="13910"/>
                </a:lnTo>
                <a:lnTo>
                  <a:pt x="492575" y="17949"/>
                </a:lnTo>
                <a:lnTo>
                  <a:pt x="482665" y="17949"/>
                </a:lnTo>
                <a:lnTo>
                  <a:pt x="478646" y="13910"/>
                </a:lnTo>
                <a:lnTo>
                  <a:pt x="478646" y="4039"/>
                </a:lnTo>
                <a:close/>
                <a:moveTo>
                  <a:pt x="243351" y="0"/>
                </a:moveTo>
                <a:lnTo>
                  <a:pt x="253261" y="0"/>
                </a:lnTo>
                <a:lnTo>
                  <a:pt x="257281" y="4039"/>
                </a:lnTo>
                <a:lnTo>
                  <a:pt x="257281" y="13910"/>
                </a:lnTo>
                <a:lnTo>
                  <a:pt x="253261" y="17949"/>
                </a:lnTo>
                <a:lnTo>
                  <a:pt x="243351" y="17949"/>
                </a:lnTo>
                <a:lnTo>
                  <a:pt x="239332" y="13910"/>
                </a:lnTo>
                <a:lnTo>
                  <a:pt x="239332" y="4039"/>
                </a:lnTo>
                <a:close/>
                <a:moveTo>
                  <a:pt x="4039" y="0"/>
                </a:moveTo>
                <a:lnTo>
                  <a:pt x="13948" y="0"/>
                </a:lnTo>
                <a:lnTo>
                  <a:pt x="17967" y="4039"/>
                </a:lnTo>
                <a:lnTo>
                  <a:pt x="17967" y="13910"/>
                </a:lnTo>
                <a:lnTo>
                  <a:pt x="13948" y="17949"/>
                </a:lnTo>
                <a:lnTo>
                  <a:pt x="4039" y="17949"/>
                </a:lnTo>
                <a:lnTo>
                  <a:pt x="19" y="13910"/>
                </a:lnTo>
                <a:lnTo>
                  <a:pt x="19" y="4039"/>
                </a:lnTo>
                <a:close/>
              </a:path>
            </a:pathLst>
          </a:custGeom>
          <a:solidFill>
            <a:schemeClr val="tx1">
              <a:lumMod val="40000"/>
              <a:lumOff val="60000"/>
              <a:alpha val="29998"/>
            </a:schemeClr>
          </a:solidFill>
        </p:spPr>
        <p:txBody>
          <a:bodyPr wrap="square" lIns="0" tIns="0" rIns="0" bIns="0" rtlCol="0">
            <a:noAutofit/>
          </a:bodyPr>
          <a:lstStyle/>
          <a:p>
            <a:endParaRPr lang="en-GB" dirty="0">
              <a:solidFill>
                <a:srgbClr val="1F2023"/>
              </a:solidFill>
            </a:endParaRPr>
          </a:p>
        </p:txBody>
      </p:sp>
      <p:sp>
        <p:nvSpPr>
          <p:cNvPr id="11" name="Date_GeneralDate" hidden="1">
            <a:extLst>
              <a:ext uri="{FF2B5EF4-FFF2-40B4-BE49-F238E27FC236}">
                <a16:creationId xmlns:a16="http://schemas.microsoft.com/office/drawing/2014/main" id="{BC0ECE5E-0625-44AC-A24C-F5A9BBF2422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8" name="Text Placeholder 12">
            <a:extLst>
              <a:ext uri="{FF2B5EF4-FFF2-40B4-BE49-F238E27FC236}">
                <a16:creationId xmlns:a16="http://schemas.microsoft.com/office/drawing/2014/main" id="{FD54B9BB-2102-42C6-BBCA-C1EFCEC3C176}"/>
              </a:ext>
            </a:extLst>
          </p:cNvPr>
          <p:cNvSpPr>
            <a:spLocks noGrp="1"/>
          </p:cNvSpPr>
          <p:nvPr>
            <p:ph type="body" sz="quarter" idx="13" hasCustomPrompt="1"/>
          </p:nvPr>
        </p:nvSpPr>
        <p:spPr>
          <a:xfrm>
            <a:off x="269874" y="6502395"/>
            <a:ext cx="6744111" cy="106116"/>
          </a:xfrm>
        </p:spPr>
        <p:txBody>
          <a:bodyPr rIns="0" anchor="t" anchorCtr="0"/>
          <a:lstStyle>
            <a:lvl1pPr marL="0" indent="0"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spcBef>
                <a:spcPts val="0"/>
              </a:spcBef>
              <a:spcAft>
                <a:spcPts val="0"/>
              </a:spcAft>
              <a:buFont typeface="+mj-lt"/>
              <a:buAutoNum type="alphaUcPeriod"/>
              <a:defRPr lang="en-US" sz="650" kern="1200" dirty="0" smtClean="0">
                <a:solidFill>
                  <a:srgbClr val="1F2023"/>
                </a:solidFill>
                <a:latin typeface="Arial" panose="020B0604020202020204" pitchFamily="34" charset="0"/>
                <a:ea typeface="+mn-ea"/>
                <a:cs typeface="Arial" panose="020B0604020202020204" pitchFamily="34" charset="0"/>
              </a:defRPr>
            </a:lvl4pPr>
            <a:lvl5pPr marL="0" algn="l" defTabSz="742950" rtl="0" eaLnBrk="1" latinLnBrk="0" hangingPunct="1">
              <a:defRPr lang="en-GB" sz="894" kern="1200" dirty="0">
                <a:solidFill>
                  <a:schemeClr val="tx1"/>
                </a:solidFill>
                <a:latin typeface="Arial" panose="020B0604020202020204" pitchFamily="34" charset="0"/>
                <a:ea typeface="+mn-ea"/>
                <a:cs typeface="Arial" panose="020B0604020202020204" pitchFamily="34" charset="0"/>
              </a:defRPr>
            </a:lvl5pPr>
          </a:lstStyle>
          <a:p>
            <a:pPr lvl="0"/>
            <a:r>
              <a:rPr lang="en-GB" dirty="0"/>
              <a:t>Notes </a:t>
            </a:r>
          </a:p>
          <a:p>
            <a:pPr lvl="1"/>
            <a:r>
              <a:rPr lang="en-GB" dirty="0"/>
              <a:t>Notes </a:t>
            </a:r>
          </a:p>
          <a:p>
            <a:pPr lvl="2"/>
            <a:r>
              <a:rPr lang="en-GB" dirty="0"/>
              <a:t>Notes </a:t>
            </a:r>
          </a:p>
          <a:p>
            <a:pPr lvl="3"/>
            <a:r>
              <a:rPr lang="en-GB" dirty="0"/>
              <a:t>Notes </a:t>
            </a:r>
          </a:p>
        </p:txBody>
      </p:sp>
      <p:sp>
        <p:nvSpPr>
          <p:cNvPr id="12" name="FLD_PresentationTitle">
            <a:extLst>
              <a:ext uri="{FF2B5EF4-FFF2-40B4-BE49-F238E27FC236}">
                <a16:creationId xmlns:a16="http://schemas.microsoft.com/office/drawing/2014/main" id="{EC7F0388-6FCE-41D1-B11E-9E14E022A2DB}"/>
              </a:ext>
            </a:extLst>
          </p:cNvPr>
          <p:cNvSpPr>
            <a:spLocks noGrp="1"/>
          </p:cNvSpPr>
          <p:nvPr>
            <p:ph type="ftr" sz="quarter" idx="3"/>
          </p:nvPr>
        </p:nvSpPr>
        <p:spPr>
          <a:xfrm>
            <a:off x="5818326" y="6502394"/>
            <a:ext cx="1195659" cy="106116"/>
          </a:xfrm>
          <a:prstGeom prst="rect">
            <a:avLst/>
          </a:prstGeom>
        </p:spPr>
        <p:txBody>
          <a:bodyPr vert="horz" lIns="0" tIns="0" rIns="0" bIns="0" rtlCol="0" anchor="b" anchorCtr="0"/>
          <a:lstStyle>
            <a:lvl1pPr marL="0" indent="0" algn="r">
              <a:buFont typeface="Arial" panose="020B0604020202020204" pitchFamily="34" charset="0"/>
              <a:buNone/>
              <a:defRPr sz="650" cap="none" spc="0" baseline="0">
                <a:solidFill>
                  <a:srgbClr val="1F2023"/>
                </a:solidFill>
              </a:defRPr>
            </a:lvl1pPr>
          </a:lstStyle>
          <a:p>
            <a:r>
              <a:rPr lang="en-GB" dirty="0"/>
              <a:t>Footer</a:t>
            </a:r>
          </a:p>
        </p:txBody>
      </p:sp>
      <p:sp>
        <p:nvSpPr>
          <p:cNvPr id="9" name="Text Placeholder 3">
            <a:extLst>
              <a:ext uri="{FF2B5EF4-FFF2-40B4-BE49-F238E27FC236}">
                <a16:creationId xmlns:a16="http://schemas.microsoft.com/office/drawing/2014/main" id="{C6CBD183-1EF0-491F-A377-D77EB73A7143}"/>
              </a:ext>
            </a:extLst>
          </p:cNvPr>
          <p:cNvSpPr>
            <a:spLocks noGrp="1"/>
          </p:cNvSpPr>
          <p:nvPr>
            <p:ph type="body" sz="quarter" idx="14" hasCustomPrompt="1"/>
          </p:nvPr>
        </p:nvSpPr>
        <p:spPr>
          <a:xfrm>
            <a:off x="7209383" y="6504110"/>
            <a:ext cx="1978862" cy="106116"/>
          </a:xfrm>
        </p:spPr>
        <p:txBody>
          <a:bodyPr rIns="0"/>
          <a:lstStyle>
            <a:lvl1pPr algn="r">
              <a:defRPr sz="650">
                <a:solidFill>
                  <a:srgbClr val="1F2023"/>
                </a:solidFill>
              </a:defRPr>
            </a:lvl1pPr>
            <a:lvl2pPr>
              <a:defRPr sz="650"/>
            </a:lvl2pPr>
            <a:lvl3pPr>
              <a:defRPr sz="650"/>
            </a:lvl3pPr>
            <a:lvl4pPr>
              <a:defRPr sz="650"/>
            </a:lvl4pPr>
            <a:lvl5pPr>
              <a:defRPr sz="650"/>
            </a:lvl5pPr>
          </a:lstStyle>
          <a:p>
            <a:pPr lvl="0"/>
            <a:r>
              <a:rPr lang="en-GB" dirty="0"/>
              <a:t>Tracker</a:t>
            </a:r>
          </a:p>
        </p:txBody>
      </p:sp>
      <p:sp>
        <p:nvSpPr>
          <p:cNvPr id="13" name="Slide Number Placeholder 4">
            <a:extLst>
              <a:ext uri="{FF2B5EF4-FFF2-40B4-BE49-F238E27FC236}">
                <a16:creationId xmlns:a16="http://schemas.microsoft.com/office/drawing/2014/main" id="{3ABC578D-4FF7-42B0-BD9B-E85607A57166}"/>
              </a:ext>
            </a:extLst>
          </p:cNvPr>
          <p:cNvSpPr txBox="1">
            <a:spLocks/>
          </p:cNvSpPr>
          <p:nvPr userDrawn="1"/>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a:t>
            </a:fld>
            <a:endParaRPr lang="en-GB" dirty="0">
              <a:solidFill>
                <a:srgbClr val="1F2023"/>
              </a:solidFill>
            </a:endParaRPr>
          </a:p>
        </p:txBody>
      </p:sp>
    </p:spTree>
    <p:extLst>
      <p:ext uri="{BB962C8B-B14F-4D97-AF65-F5344CB8AC3E}">
        <p14:creationId xmlns:p14="http://schemas.microsoft.com/office/powerpoint/2010/main" val="347069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err="1"/>
              <a:t>Skriv</a:t>
            </a:r>
            <a:r>
              <a:rPr lang="en-GB" noProof="0" dirty="0"/>
              <a:t> </a:t>
            </a:r>
            <a:r>
              <a:rPr lang="en-GB" noProof="0" dirty="0" err="1"/>
              <a:t>overskrift</a:t>
            </a:r>
            <a:r>
              <a:rPr lang="en-GB" noProof="0" dirty="0"/>
              <a:t> her</a:t>
            </a:r>
            <a:br>
              <a:rPr lang="en-GB" noProof="0" dirty="0"/>
            </a:br>
            <a:r>
              <a:rPr lang="en-GB" noProof="0" dirty="0" err="1"/>
              <a:t>Maks</a:t>
            </a:r>
            <a:r>
              <a:rPr lang="en-GB" noProof="0" dirty="0"/>
              <a:t>. 2 </a:t>
            </a:r>
            <a:r>
              <a:rPr lang="en-GB" noProof="0" dirty="0" err="1"/>
              <a:t>linjer</a:t>
            </a:r>
            <a:endParaRPr lang="en-GB" noProof="0" dirty="0"/>
          </a:p>
        </p:txBody>
      </p:sp>
      <p:sp>
        <p:nvSpPr>
          <p:cNvPr id="5" name="Footer Placeholder 4"/>
          <p:cNvSpPr>
            <a:spLocks noGrp="1"/>
          </p:cNvSpPr>
          <p:nvPr>
            <p:ph type="ftr" sz="quarter" idx="11"/>
          </p:nvPr>
        </p:nvSpPr>
        <p:spPr>
          <a:xfrm>
            <a:off x="269875" y="7137319"/>
            <a:ext cx="1197769" cy="104400"/>
          </a:xfrm>
        </p:spPr>
        <p:txBody>
          <a:bodyPr>
            <a:spAutoFit/>
          </a:bodyPr>
          <a:lstStyle/>
          <a:p>
            <a:endParaRPr lang="en-GB" noProof="0" dirty="0"/>
          </a:p>
        </p:txBody>
      </p:sp>
      <p:sp>
        <p:nvSpPr>
          <p:cNvPr id="8" name="Content Placeholder 7"/>
          <p:cNvSpPr>
            <a:spLocks noGrp="1"/>
          </p:cNvSpPr>
          <p:nvPr>
            <p:ph sz="quarter" idx="13" hasCustomPrompt="1"/>
          </p:nvPr>
        </p:nvSpPr>
        <p:spPr>
          <a:xfrm>
            <a:off x="273050" y="981075"/>
            <a:ext cx="9359900" cy="5327650"/>
          </a:xfrm>
        </p:spPr>
        <p:txBody>
          <a:bodyPr>
            <a:noAutofit/>
          </a:bodyPr>
          <a:lstStyle>
            <a:lvl1pPr>
              <a:defRPr/>
            </a:lvl1pPr>
            <a:lvl2pPr>
              <a:defRPr baseline="0"/>
            </a:lvl2pPr>
            <a:lvl3pPr>
              <a:defRPr/>
            </a:lvl3pPr>
            <a:lvl4pPr>
              <a:defRPr/>
            </a:lvl4pPr>
            <a:lvl5pPr>
              <a:defRPr/>
            </a:lvl5pPr>
          </a:lstStyle>
          <a:p>
            <a:pPr lvl="0"/>
            <a:r>
              <a:rPr lang="en-GB" noProof="0" dirty="0" err="1"/>
              <a:t>Skriv</a:t>
            </a:r>
            <a:r>
              <a:rPr lang="en-GB" noProof="0" dirty="0"/>
              <a:t> </a:t>
            </a:r>
            <a:r>
              <a:rPr lang="en-GB" noProof="0" dirty="0" err="1"/>
              <a:t>tekst</a:t>
            </a:r>
            <a:r>
              <a:rPr lang="en-GB" noProof="0" dirty="0"/>
              <a:t> her </a:t>
            </a:r>
          </a:p>
          <a:p>
            <a:pPr lvl="1"/>
            <a:r>
              <a:rPr lang="en-GB" noProof="0" dirty="0" err="1"/>
              <a:t>Andet</a:t>
            </a:r>
            <a:r>
              <a:rPr lang="en-GB" noProof="0" dirty="0"/>
              <a:t> </a:t>
            </a:r>
            <a:r>
              <a:rPr lang="en-GB" noProof="0" dirty="0" err="1"/>
              <a:t>niveau</a:t>
            </a:r>
            <a:endParaRPr lang="en-GB" noProof="0" dirty="0"/>
          </a:p>
          <a:p>
            <a:pPr lvl="2"/>
            <a:r>
              <a:rPr lang="en-GB" noProof="0" dirty="0" err="1"/>
              <a:t>Tredje</a:t>
            </a:r>
            <a:r>
              <a:rPr lang="en-GB" noProof="0" dirty="0"/>
              <a:t> </a:t>
            </a:r>
            <a:r>
              <a:rPr lang="en-GB" noProof="0" dirty="0" err="1"/>
              <a:t>niveau</a:t>
            </a:r>
            <a:endParaRPr lang="en-GB" noProof="0" dirty="0"/>
          </a:p>
          <a:p>
            <a:pPr lvl="3"/>
            <a:r>
              <a:rPr lang="en-GB" noProof="0" dirty="0" err="1"/>
              <a:t>Fjerde</a:t>
            </a:r>
            <a:r>
              <a:rPr lang="en-GB" noProof="0" dirty="0"/>
              <a:t> </a:t>
            </a:r>
            <a:r>
              <a:rPr lang="en-GB" noProof="0" dirty="0" err="1"/>
              <a:t>niveau</a:t>
            </a:r>
            <a:r>
              <a:rPr lang="en-GB" noProof="0" dirty="0"/>
              <a:t> </a:t>
            </a:r>
          </a:p>
          <a:p>
            <a:pPr lvl="4"/>
            <a:r>
              <a:rPr lang="en-GB" noProof="0" dirty="0" err="1"/>
              <a:t>Femte</a:t>
            </a:r>
            <a:r>
              <a:rPr lang="en-GB" noProof="0" dirty="0"/>
              <a:t> </a:t>
            </a:r>
            <a:r>
              <a:rPr lang="en-GB" noProof="0" dirty="0" err="1"/>
              <a:t>niveau</a:t>
            </a:r>
            <a:r>
              <a:rPr lang="en-GB" noProof="0" dirty="0"/>
              <a:t> </a:t>
            </a:r>
          </a:p>
        </p:txBody>
      </p:sp>
    </p:spTree>
    <p:extLst>
      <p:ext uri="{BB962C8B-B14F-4D97-AF65-F5344CB8AC3E}">
        <p14:creationId xmlns:p14="http://schemas.microsoft.com/office/powerpoint/2010/main" val="380935636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err="1"/>
              <a:t>Skriv</a:t>
            </a:r>
            <a:r>
              <a:rPr lang="en-GB" noProof="0" dirty="0"/>
              <a:t> </a:t>
            </a:r>
            <a:r>
              <a:rPr lang="en-GB" noProof="0" dirty="0" err="1"/>
              <a:t>overskrift</a:t>
            </a:r>
            <a:r>
              <a:rPr lang="en-GB" noProof="0" dirty="0"/>
              <a:t> her</a:t>
            </a:r>
            <a:br>
              <a:rPr lang="en-GB" noProof="0" dirty="0"/>
            </a:br>
            <a:r>
              <a:rPr lang="en-GB" noProof="0" dirty="0" err="1"/>
              <a:t>Maks</a:t>
            </a:r>
            <a:r>
              <a:rPr lang="en-GB" noProof="0" dirty="0"/>
              <a:t>. 2 </a:t>
            </a:r>
            <a:r>
              <a:rPr lang="en-GB" noProof="0" dirty="0" err="1"/>
              <a:t>linjer</a:t>
            </a:r>
            <a:endParaRPr lang="en-GB" noProof="0" dirty="0"/>
          </a:p>
        </p:txBody>
      </p:sp>
      <p:sp>
        <p:nvSpPr>
          <p:cNvPr id="5" name="Footer Placeholder 4"/>
          <p:cNvSpPr>
            <a:spLocks noGrp="1"/>
          </p:cNvSpPr>
          <p:nvPr>
            <p:ph type="ftr" sz="quarter" idx="11"/>
          </p:nvPr>
        </p:nvSpPr>
        <p:spPr>
          <a:xfrm>
            <a:off x="269875" y="7137319"/>
            <a:ext cx="1197769" cy="104400"/>
          </a:xfrm>
        </p:spPr>
        <p:txBody>
          <a:bodyPr>
            <a:spAutoFit/>
          </a:bodyPr>
          <a:lstStyle/>
          <a:p>
            <a:endParaRPr lang="en-GB" noProof="0" dirty="0"/>
          </a:p>
        </p:txBody>
      </p:sp>
      <p:sp>
        <p:nvSpPr>
          <p:cNvPr id="8" name="Content Placeholder 7"/>
          <p:cNvSpPr>
            <a:spLocks noGrp="1"/>
          </p:cNvSpPr>
          <p:nvPr>
            <p:ph sz="quarter" idx="13" hasCustomPrompt="1"/>
          </p:nvPr>
        </p:nvSpPr>
        <p:spPr>
          <a:xfrm>
            <a:off x="273050" y="981075"/>
            <a:ext cx="9359900" cy="5327650"/>
          </a:xfrm>
        </p:spPr>
        <p:txBody>
          <a:bodyPr>
            <a:noAutofit/>
          </a:bodyPr>
          <a:lstStyle>
            <a:lvl1pPr>
              <a:defRPr/>
            </a:lvl1pPr>
            <a:lvl2pPr>
              <a:defRPr baseline="0"/>
            </a:lvl2pPr>
            <a:lvl3pPr>
              <a:defRPr/>
            </a:lvl3pPr>
            <a:lvl4pPr>
              <a:defRPr/>
            </a:lvl4pPr>
            <a:lvl5pPr>
              <a:defRPr/>
            </a:lvl5pPr>
          </a:lstStyle>
          <a:p>
            <a:pPr lvl="0"/>
            <a:r>
              <a:rPr lang="en-GB" noProof="0" dirty="0" err="1"/>
              <a:t>Skriv</a:t>
            </a:r>
            <a:r>
              <a:rPr lang="en-GB" noProof="0" dirty="0"/>
              <a:t> </a:t>
            </a:r>
            <a:r>
              <a:rPr lang="en-GB" noProof="0" dirty="0" err="1"/>
              <a:t>tekst</a:t>
            </a:r>
            <a:r>
              <a:rPr lang="en-GB" noProof="0" dirty="0"/>
              <a:t> her </a:t>
            </a:r>
          </a:p>
          <a:p>
            <a:pPr lvl="1"/>
            <a:r>
              <a:rPr lang="en-GB" noProof="0" dirty="0" err="1"/>
              <a:t>Andet</a:t>
            </a:r>
            <a:r>
              <a:rPr lang="en-GB" noProof="0" dirty="0"/>
              <a:t> </a:t>
            </a:r>
            <a:r>
              <a:rPr lang="en-GB" noProof="0" dirty="0" err="1"/>
              <a:t>niveau</a:t>
            </a:r>
            <a:endParaRPr lang="en-GB" noProof="0" dirty="0"/>
          </a:p>
          <a:p>
            <a:pPr lvl="2"/>
            <a:r>
              <a:rPr lang="en-GB" noProof="0" dirty="0" err="1"/>
              <a:t>Tredje</a:t>
            </a:r>
            <a:r>
              <a:rPr lang="en-GB" noProof="0" dirty="0"/>
              <a:t> </a:t>
            </a:r>
            <a:r>
              <a:rPr lang="en-GB" noProof="0" dirty="0" err="1"/>
              <a:t>niveau</a:t>
            </a:r>
            <a:endParaRPr lang="en-GB" noProof="0" dirty="0"/>
          </a:p>
          <a:p>
            <a:pPr lvl="3"/>
            <a:r>
              <a:rPr lang="en-GB" noProof="0" dirty="0" err="1"/>
              <a:t>Fjerde</a:t>
            </a:r>
            <a:r>
              <a:rPr lang="en-GB" noProof="0" dirty="0"/>
              <a:t> </a:t>
            </a:r>
            <a:r>
              <a:rPr lang="en-GB" noProof="0" dirty="0" err="1"/>
              <a:t>niveau</a:t>
            </a:r>
            <a:r>
              <a:rPr lang="en-GB" noProof="0" dirty="0"/>
              <a:t> </a:t>
            </a:r>
          </a:p>
          <a:p>
            <a:pPr lvl="4"/>
            <a:r>
              <a:rPr lang="en-GB" noProof="0" dirty="0" err="1"/>
              <a:t>Femte</a:t>
            </a:r>
            <a:r>
              <a:rPr lang="en-GB" noProof="0" dirty="0"/>
              <a:t> </a:t>
            </a:r>
            <a:r>
              <a:rPr lang="en-GB" noProof="0" dirty="0" err="1"/>
              <a:t>niveau</a:t>
            </a:r>
            <a:r>
              <a:rPr lang="en-GB" noProof="0" dirty="0"/>
              <a:t> </a:t>
            </a:r>
          </a:p>
        </p:txBody>
      </p:sp>
    </p:spTree>
    <p:extLst>
      <p:ext uri="{BB962C8B-B14F-4D97-AF65-F5344CB8AC3E}">
        <p14:creationId xmlns:p14="http://schemas.microsoft.com/office/powerpoint/2010/main" val="3257859901"/>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5B5134"/>
                </a:solidFill>
              </a:defRPr>
            </a:lvl1pPr>
          </a:lstStyle>
          <a:p>
            <a:r>
              <a:rPr lang="en-GB" noProof="0" dirty="0" err="1"/>
              <a:t>Klik</a:t>
            </a:r>
            <a:r>
              <a:rPr lang="en-GB" noProof="0" dirty="0"/>
              <a:t> for at </a:t>
            </a:r>
            <a:r>
              <a:rPr lang="en-GB" noProof="0" dirty="0" err="1"/>
              <a:t>redigere</a:t>
            </a:r>
            <a:r>
              <a:rPr lang="en-GB" noProof="0" dirty="0"/>
              <a:t> i master</a:t>
            </a:r>
          </a:p>
        </p:txBody>
      </p:sp>
      <p:sp>
        <p:nvSpPr>
          <p:cNvPr id="3" name="Text Placeholder 2"/>
          <p:cNvSpPr>
            <a:spLocks noGrp="1"/>
          </p:cNvSpPr>
          <p:nvPr>
            <p:ph type="body" idx="1" hasCustomPrompt="1"/>
          </p:nvPr>
        </p:nvSpPr>
        <p:spPr>
          <a:xfrm>
            <a:off x="500462" y="1402724"/>
            <a:ext cx="8905081" cy="225126"/>
          </a:xfrm>
        </p:spPr>
        <p:txBody>
          <a:bodyPr anchor="b">
            <a:spAutoFit/>
          </a:bodyPr>
          <a:lstStyle>
            <a:lvl1pPr marL="0" indent="0">
              <a:buNone/>
              <a:defRPr sz="1463" b="1">
                <a:solidFill>
                  <a:schemeClr val="tx2"/>
                </a:solidFill>
              </a:defRPr>
            </a:lvl1pPr>
            <a:lvl2pPr marL="371444" indent="0">
              <a:buNone/>
              <a:defRPr sz="1625" b="1"/>
            </a:lvl2pPr>
            <a:lvl3pPr marL="742888" indent="0">
              <a:buNone/>
              <a:defRPr sz="1463" b="1"/>
            </a:lvl3pPr>
            <a:lvl4pPr marL="1114332" indent="0">
              <a:buNone/>
              <a:defRPr sz="1300" b="1"/>
            </a:lvl4pPr>
            <a:lvl5pPr marL="1485776" indent="0">
              <a:buNone/>
              <a:defRPr sz="1300" b="1"/>
            </a:lvl5pPr>
            <a:lvl6pPr marL="1857220" indent="0">
              <a:buNone/>
              <a:defRPr sz="1300" b="1"/>
            </a:lvl6pPr>
            <a:lvl7pPr marL="2228664" indent="0">
              <a:buNone/>
              <a:defRPr sz="1300" b="1"/>
            </a:lvl7pPr>
            <a:lvl8pPr marL="2600108" indent="0">
              <a:buNone/>
              <a:defRPr sz="1300" b="1"/>
            </a:lvl8pPr>
            <a:lvl9pPr marL="2971552" indent="0">
              <a:buNone/>
              <a:defRPr sz="1300" b="1"/>
            </a:lvl9pPr>
          </a:lstStyle>
          <a:p>
            <a:pPr lvl="0"/>
            <a:r>
              <a:rPr lang="en-GB" noProof="0" dirty="0" err="1"/>
              <a:t>Klik</a:t>
            </a:r>
            <a:r>
              <a:rPr lang="en-GB" noProof="0" dirty="0"/>
              <a:t> for at </a:t>
            </a:r>
            <a:r>
              <a:rPr lang="en-GB" noProof="0" dirty="0" err="1"/>
              <a:t>redigere</a:t>
            </a:r>
            <a:r>
              <a:rPr lang="en-GB" noProof="0" dirty="0"/>
              <a:t> i master</a:t>
            </a:r>
          </a:p>
        </p:txBody>
      </p:sp>
      <p:sp>
        <p:nvSpPr>
          <p:cNvPr id="4" name="Content Placeholder 3"/>
          <p:cNvSpPr>
            <a:spLocks noGrp="1"/>
          </p:cNvSpPr>
          <p:nvPr>
            <p:ph sz="half" idx="2" hasCustomPrompt="1"/>
          </p:nvPr>
        </p:nvSpPr>
        <p:spPr>
          <a:xfrm>
            <a:off x="500462" y="1700809"/>
            <a:ext cx="8905081" cy="1258293"/>
          </a:xfrm>
        </p:spPr>
        <p:txBody>
          <a:bodyPr>
            <a:spAutoFit/>
          </a:bodyPr>
          <a:lstStyle>
            <a:lvl1pPr marL="217966" indent="-217966">
              <a:defRPr sz="1463"/>
            </a:lvl1pPr>
            <a:lvl2pPr marL="363706" indent="-216676">
              <a:defRPr sz="1300"/>
            </a:lvl2pPr>
            <a:lvl3pPr marL="581671" indent="-147030">
              <a:tabLst/>
              <a:defRPr sz="1138"/>
            </a:lvl3pPr>
            <a:lvl4pPr marL="581671" indent="-147030">
              <a:defRPr sz="1138"/>
            </a:lvl4pPr>
            <a:lvl5pPr marL="581671" indent="-147030">
              <a:defRPr sz="1138"/>
            </a:lvl5pPr>
            <a:lvl6pPr>
              <a:defRPr sz="1300"/>
            </a:lvl6pPr>
            <a:lvl7pPr>
              <a:defRPr sz="1300"/>
            </a:lvl7pPr>
            <a:lvl8pPr>
              <a:defRPr sz="1300"/>
            </a:lvl8pPr>
            <a:lvl9pPr>
              <a:defRPr sz="1300"/>
            </a:lvl9pPr>
          </a:lstStyle>
          <a:p>
            <a:pPr lvl="0"/>
            <a:r>
              <a:rPr lang="en-GB" noProof="0" dirty="0" err="1"/>
              <a:t>Klik</a:t>
            </a:r>
            <a:r>
              <a:rPr lang="en-GB" noProof="0" dirty="0"/>
              <a:t> for at </a:t>
            </a:r>
            <a:r>
              <a:rPr lang="en-GB" noProof="0" dirty="0" err="1"/>
              <a:t>redigere</a:t>
            </a:r>
            <a:r>
              <a:rPr lang="en-GB" noProof="0" dirty="0"/>
              <a:t> i master</a:t>
            </a:r>
          </a:p>
          <a:p>
            <a:pPr lvl="1"/>
            <a:r>
              <a:rPr lang="en-GB" noProof="0" dirty="0" err="1"/>
              <a:t>Andet</a:t>
            </a:r>
            <a:r>
              <a:rPr lang="en-GB" noProof="0" dirty="0"/>
              <a:t> </a:t>
            </a:r>
            <a:r>
              <a:rPr lang="en-GB" noProof="0" dirty="0" err="1"/>
              <a:t>niveau</a:t>
            </a:r>
            <a:endParaRPr lang="en-GB" noProof="0" dirty="0"/>
          </a:p>
          <a:p>
            <a:pPr lvl="2"/>
            <a:r>
              <a:rPr lang="en-GB" noProof="0" dirty="0" err="1"/>
              <a:t>Tredje</a:t>
            </a:r>
            <a:r>
              <a:rPr lang="en-GB" noProof="0" dirty="0"/>
              <a:t> </a:t>
            </a:r>
            <a:r>
              <a:rPr lang="en-GB" noProof="0" dirty="0" err="1"/>
              <a:t>niveau</a:t>
            </a:r>
            <a:endParaRPr lang="en-GB" noProof="0" dirty="0"/>
          </a:p>
          <a:p>
            <a:pPr lvl="3"/>
            <a:r>
              <a:rPr lang="en-GB" noProof="0" dirty="0" err="1"/>
              <a:t>Fjerde</a:t>
            </a:r>
            <a:r>
              <a:rPr lang="en-GB" noProof="0" dirty="0"/>
              <a:t> </a:t>
            </a:r>
            <a:r>
              <a:rPr lang="en-GB" noProof="0" dirty="0" err="1"/>
              <a:t>niveau</a:t>
            </a:r>
            <a:endParaRPr lang="en-GB" noProof="0" dirty="0"/>
          </a:p>
          <a:p>
            <a:pPr lvl="4"/>
            <a:r>
              <a:rPr lang="en-GB" noProof="0" dirty="0" err="1"/>
              <a:t>Femte</a:t>
            </a:r>
            <a:r>
              <a:rPr lang="en-GB" noProof="0" dirty="0"/>
              <a:t> </a:t>
            </a:r>
            <a:r>
              <a:rPr lang="en-GB" noProof="0" dirty="0" err="1"/>
              <a:t>niveau</a:t>
            </a:r>
            <a:endParaRPr lang="en-GB" noProof="0" dirty="0"/>
          </a:p>
        </p:txBody>
      </p:sp>
      <p:sp>
        <p:nvSpPr>
          <p:cNvPr id="5" name="Pladsholder til dato 4">
            <a:extLst>
              <a:ext uri="{FF2B5EF4-FFF2-40B4-BE49-F238E27FC236}">
                <a16:creationId xmlns:a16="http://schemas.microsoft.com/office/drawing/2014/main" id="{6DF31F93-B4BF-4AAF-8217-44208164A1C1}"/>
              </a:ext>
            </a:extLst>
          </p:cNvPr>
          <p:cNvSpPr>
            <a:spLocks noGrp="1"/>
          </p:cNvSpPr>
          <p:nvPr>
            <p:ph type="dt" sz="half" idx="10"/>
          </p:nvPr>
        </p:nvSpPr>
        <p:spPr>
          <a:xfrm>
            <a:off x="3958961" y="6640514"/>
            <a:ext cx="1169458" cy="179387"/>
          </a:xfrm>
        </p:spPr>
        <p:txBody>
          <a:bodyPr/>
          <a:lstStyle>
            <a:lvl1pPr>
              <a:defRPr/>
            </a:lvl1pPr>
          </a:lstStyle>
          <a:p>
            <a:pPr>
              <a:defRPr/>
            </a:pPr>
            <a:endParaRPr lang="en-GB" dirty="0"/>
          </a:p>
        </p:txBody>
      </p:sp>
      <p:sp>
        <p:nvSpPr>
          <p:cNvPr id="6" name="Pladsholder til sidefod 5">
            <a:extLst>
              <a:ext uri="{FF2B5EF4-FFF2-40B4-BE49-F238E27FC236}">
                <a16:creationId xmlns:a16="http://schemas.microsoft.com/office/drawing/2014/main" id="{88395813-C974-4CE2-AF5B-009EB2C5DD95}"/>
              </a:ext>
            </a:extLst>
          </p:cNvPr>
          <p:cNvSpPr>
            <a:spLocks noGrp="1"/>
          </p:cNvSpPr>
          <p:nvPr>
            <p:ph type="ftr" sz="quarter" idx="11"/>
          </p:nvPr>
        </p:nvSpPr>
        <p:spPr>
          <a:xfrm>
            <a:off x="500461" y="6684042"/>
            <a:ext cx="3119702" cy="92333"/>
          </a:xfrm>
        </p:spPr>
        <p:txBody>
          <a:bodyPr>
            <a:spAutoFit/>
          </a:bodyPr>
          <a:lstStyle>
            <a:lvl1pPr>
              <a:defRPr/>
            </a:lvl1pPr>
          </a:lstStyle>
          <a:p>
            <a:pPr>
              <a:defRPr/>
            </a:pPr>
            <a:r>
              <a:rPr lang="en-GB" dirty="0"/>
              <a:t>NOT FOR PROMOTIONAL USE</a:t>
            </a:r>
          </a:p>
        </p:txBody>
      </p:sp>
      <p:sp>
        <p:nvSpPr>
          <p:cNvPr id="7" name="Pladsholder til diasnummer 6">
            <a:extLst>
              <a:ext uri="{FF2B5EF4-FFF2-40B4-BE49-F238E27FC236}">
                <a16:creationId xmlns:a16="http://schemas.microsoft.com/office/drawing/2014/main" id="{C3B37909-520F-4FF9-A371-AF117D61403F}"/>
              </a:ext>
            </a:extLst>
          </p:cNvPr>
          <p:cNvSpPr>
            <a:spLocks noGrp="1"/>
          </p:cNvSpPr>
          <p:nvPr>
            <p:ph type="sldNum" sz="quarter" idx="12"/>
          </p:nvPr>
        </p:nvSpPr>
        <p:spPr>
          <a:xfrm>
            <a:off x="500461" y="6338890"/>
            <a:ext cx="858176" cy="123825"/>
          </a:xfrm>
        </p:spPr>
        <p:txBody>
          <a:bodyPr/>
          <a:lstStyle>
            <a:lvl1pPr>
              <a:defRPr/>
            </a:lvl1pPr>
          </a:lstStyle>
          <a:p>
            <a:pPr>
              <a:defRPr/>
            </a:pPr>
            <a:fld id="{6DE4E82D-8CBF-4956-8A92-5A41AFE7B2C0}" type="slidenum">
              <a:rPr lang="en-GB" altLang="da-DK" smtClean="0"/>
              <a:pPr>
                <a:defRPr/>
              </a:pPr>
              <a:t>‹#›</a:t>
            </a:fld>
            <a:endParaRPr lang="en-GB" altLang="da-DK" dirty="0"/>
          </a:p>
        </p:txBody>
      </p:sp>
    </p:spTree>
    <p:extLst>
      <p:ext uri="{BB962C8B-B14F-4D97-AF65-F5344CB8AC3E}">
        <p14:creationId xmlns:p14="http://schemas.microsoft.com/office/powerpoint/2010/main" val="53727630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noProof="0" dirty="0"/>
          </a:p>
        </p:txBody>
      </p:sp>
      <p:sp>
        <p:nvSpPr>
          <p:cNvPr id="2" name="Title 1"/>
          <p:cNvSpPr>
            <a:spLocks noGrp="1"/>
          </p:cNvSpPr>
          <p:nvPr>
            <p:ph type="ctrTitle" hasCustomPrompt="1"/>
          </p:nvPr>
        </p:nvSpPr>
        <p:spPr>
          <a:xfrm>
            <a:off x="1352550" y="2276872"/>
            <a:ext cx="7200900" cy="1231106"/>
          </a:xfrm>
        </p:spPr>
        <p:txBody>
          <a:bodyPr lIns="0" tIns="0" rIns="0" bIns="0" anchor="b" anchorCtr="0">
            <a:noAutofit/>
          </a:bodyPr>
          <a:lstStyle>
            <a:lvl1pPr algn="l">
              <a:lnSpc>
                <a:spcPts val="4800"/>
              </a:lnSpc>
              <a:defRPr sz="4400" b="0" baseline="0">
                <a:solidFill>
                  <a:schemeClr val="bg1"/>
                </a:solidFill>
                <a:latin typeface="Georgia" pitchFamily="18" charset="0"/>
                <a:cs typeface="Arial" pitchFamily="34" charset="0"/>
              </a:defRPr>
            </a:lvl1pPr>
          </a:lstStyle>
          <a:p>
            <a:r>
              <a:rPr lang="en-GB" noProof="0" dirty="0"/>
              <a:t>Write your title here</a:t>
            </a:r>
            <a:br>
              <a:rPr lang="en-GB" noProof="0" dirty="0"/>
            </a:br>
            <a:r>
              <a:rPr lang="en-GB" noProof="0" dirty="0"/>
              <a:t>(White + Brown, accent 4)</a:t>
            </a:r>
          </a:p>
        </p:txBody>
      </p:sp>
      <p:sp>
        <p:nvSpPr>
          <p:cNvPr id="3" name="Subtitle 2"/>
          <p:cNvSpPr>
            <a:spLocks noGrp="1"/>
          </p:cNvSpPr>
          <p:nvPr>
            <p:ph type="subTitle" idx="1" hasCustomPrompt="1"/>
          </p:nvPr>
        </p:nvSpPr>
        <p:spPr>
          <a:xfrm>
            <a:off x="1352550" y="1469241"/>
            <a:ext cx="7200900" cy="246221"/>
          </a:xfrm>
        </p:spPr>
        <p:txBody>
          <a:bodyPr wrap="square" lIns="0" tIns="0" rIns="0" bIns="0">
            <a:spAutoFit/>
          </a:bodyPr>
          <a:lstStyle>
            <a:lvl1pPr marL="0" indent="0" algn="l">
              <a:buNone/>
              <a:defRPr sz="1600" cap="all" baseline="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noProof="0" dirty="0"/>
              <a:t>Date and place (</a:t>
            </a:r>
            <a:r>
              <a:rPr lang="en-GB" noProof="0" dirty="0" err="1"/>
              <a:t>fx</a:t>
            </a:r>
            <a:r>
              <a:rPr lang="en-GB" noProof="0" dirty="0"/>
              <a:t> 1 January 2016)</a:t>
            </a:r>
          </a:p>
        </p:txBody>
      </p:sp>
      <p:sp>
        <p:nvSpPr>
          <p:cNvPr id="8" name="Text Placeholder 7"/>
          <p:cNvSpPr>
            <a:spLocks noGrp="1"/>
          </p:cNvSpPr>
          <p:nvPr>
            <p:ph type="body" sz="quarter" idx="10" hasCustomPrompt="1"/>
          </p:nvPr>
        </p:nvSpPr>
        <p:spPr>
          <a:xfrm>
            <a:off x="1352550" y="3861048"/>
            <a:ext cx="7200900" cy="492443"/>
          </a:xfrm>
        </p:spPr>
        <p:txBody>
          <a:bodyPr wrap="square">
            <a:spAutoFit/>
          </a:bodyPr>
          <a:lstStyle>
            <a:lvl1pPr>
              <a:spcBef>
                <a:spcPts val="0"/>
              </a:spcBef>
              <a:defRPr sz="1600" baseline="0">
                <a:solidFill>
                  <a:schemeClr val="accent3"/>
                </a:solidFill>
                <a:latin typeface="Georgia" pitchFamily="18" charset="0"/>
              </a:defRPr>
            </a:lvl1pPr>
          </a:lstStyle>
          <a:p>
            <a:pPr lvl="0"/>
            <a:r>
              <a:rPr lang="en-GB" noProof="0" dirty="0"/>
              <a:t>Name</a:t>
            </a:r>
          </a:p>
          <a:p>
            <a:pPr lvl="0"/>
            <a:r>
              <a:rPr lang="en-GB" noProof="0" dirty="0"/>
              <a:t>Implement Consulting Group</a:t>
            </a:r>
          </a:p>
        </p:txBody>
      </p:sp>
      <p:pic>
        <p:nvPicPr>
          <p:cNvPr id="18" name="Picture 37" descr="I:\Implement\Graphic Design\_Grafisk materiale\Logoer\Implement Consulting Group\Farve\RGB_online\png\Implement-logo_RGB_hires.pn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90064" y="5831865"/>
            <a:ext cx="1725873" cy="367649"/>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userDrawn="1"/>
        </p:nvGrpSpPr>
        <p:grpSpPr>
          <a:xfrm>
            <a:off x="-1490839" y="0"/>
            <a:ext cx="1395940" cy="1872208"/>
            <a:chOff x="-1490839" y="2276872"/>
            <a:chExt cx="1395940" cy="1872208"/>
          </a:xfrm>
        </p:grpSpPr>
        <p:sp>
          <p:nvSpPr>
            <p:cNvPr id="9" name="Content Placeholder 7"/>
            <p:cNvSpPr txBox="1">
              <a:spLocks/>
            </p:cNvSpPr>
            <p:nvPr userDrawn="1"/>
          </p:nvSpPr>
          <p:spPr>
            <a:xfrm>
              <a:off x="-1490839" y="2276872"/>
              <a:ext cx="1395940" cy="1872208"/>
            </a:xfrm>
            <a:prstGeom prst="rect">
              <a:avLst/>
            </a:prstGeom>
            <a:solidFill>
              <a:schemeClr val="bg1"/>
            </a:solidFill>
          </p:spPr>
          <p:txBody>
            <a:bodyPr vert="horz" wrap="square" lIns="36000" tIns="36000" rIns="36000" bIns="36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00" b="1" dirty="0">
                  <a:solidFill>
                    <a:schemeClr val="accent6"/>
                  </a:solidFill>
                </a:rPr>
                <a:t>Title slide 2</a:t>
              </a:r>
              <a:br>
                <a:rPr lang="en-GB" sz="1200" b="1" dirty="0">
                  <a:solidFill>
                    <a:schemeClr val="accent6"/>
                  </a:solidFill>
                </a:rPr>
              </a:br>
              <a:r>
                <a:rPr lang="en-GB" sz="1200" dirty="0"/>
                <a:t>Use two colours in </a:t>
              </a:r>
              <a:br>
                <a:rPr lang="en-GB" sz="1200" dirty="0"/>
              </a:br>
              <a:r>
                <a:rPr lang="en-GB" sz="1200" dirty="0"/>
                <a:t>the title</a:t>
              </a:r>
              <a:r>
                <a:rPr lang="en-GB" sz="1200" b="1" dirty="0"/>
                <a:t>: White text</a:t>
              </a:r>
              <a:r>
                <a:rPr lang="en-GB" sz="1200" b="1" baseline="0" dirty="0"/>
                <a:t> </a:t>
              </a:r>
              <a:br>
                <a:rPr lang="en-GB" sz="1200" b="1" baseline="0" dirty="0"/>
              </a:br>
              <a:r>
                <a:rPr lang="en-GB" sz="1200" b="1" baseline="0" dirty="0"/>
                <a:t>+ Brown, Accent 4</a:t>
              </a:r>
              <a:endParaRPr lang="en-GB" sz="1200" b="1" dirty="0"/>
            </a:p>
          </p:txBody>
        </p:sp>
        <p:grpSp>
          <p:nvGrpSpPr>
            <p:cNvPr id="7" name="Group 6"/>
            <p:cNvGrpSpPr/>
            <p:nvPr userDrawn="1"/>
          </p:nvGrpSpPr>
          <p:grpSpPr>
            <a:xfrm>
              <a:off x="-1490839" y="3091157"/>
              <a:ext cx="1392063" cy="1021919"/>
              <a:chOff x="-1172643" y="3055153"/>
              <a:chExt cx="1073867" cy="788330"/>
            </a:xfrm>
          </p:grpSpPr>
          <p:grpSp>
            <p:nvGrpSpPr>
              <p:cNvPr id="11" name="Group 10"/>
              <p:cNvGrpSpPr/>
              <p:nvPr userDrawn="1"/>
            </p:nvGrpSpPr>
            <p:grpSpPr>
              <a:xfrm>
                <a:off x="-1172643" y="3055153"/>
                <a:ext cx="1073867" cy="788330"/>
                <a:chOff x="4129088" y="2824163"/>
                <a:chExt cx="1647825" cy="1209675"/>
              </a:xfrm>
            </p:grpSpPr>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9088" y="2824163"/>
                  <a:ext cx="1647825" cy="12096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4899" y="3140968"/>
                  <a:ext cx="581025" cy="266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Rectangle 5"/>
              <p:cNvSpPr/>
              <p:nvPr userDrawn="1"/>
            </p:nvSpPr>
            <p:spPr>
              <a:xfrm>
                <a:off x="-1146251" y="3325750"/>
                <a:ext cx="77069" cy="770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solidFill>
                    <a:schemeClr val="accent5"/>
                  </a:solidFill>
                </a:endParaRPr>
              </a:p>
            </p:txBody>
          </p:sp>
          <p:sp>
            <p:nvSpPr>
              <p:cNvPr id="14" name="Rectangle 13"/>
              <p:cNvSpPr/>
              <p:nvPr userDrawn="1"/>
            </p:nvSpPr>
            <p:spPr>
              <a:xfrm>
                <a:off x="-409215" y="3325750"/>
                <a:ext cx="77069" cy="7706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dirty="0">
                  <a:solidFill>
                    <a:schemeClr val="accent5"/>
                  </a:solidFill>
                </a:endParaRPr>
              </a:p>
            </p:txBody>
          </p:sp>
        </p:grpSp>
      </p:grpSp>
    </p:spTree>
    <p:extLst>
      <p:ext uri="{BB962C8B-B14F-4D97-AF65-F5344CB8AC3E}">
        <p14:creationId xmlns:p14="http://schemas.microsoft.com/office/powerpoint/2010/main" val="1644150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Kun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p>
            <a:r>
              <a:rPr lang="en-GB" noProof="0" dirty="0" err="1"/>
              <a:t>Skriv</a:t>
            </a:r>
            <a:r>
              <a:rPr lang="en-GB" noProof="0" dirty="0"/>
              <a:t> </a:t>
            </a:r>
            <a:r>
              <a:rPr lang="en-GB" noProof="0" dirty="0" err="1"/>
              <a:t>titel</a:t>
            </a:r>
            <a:r>
              <a:rPr lang="en-GB" noProof="0" dirty="0"/>
              <a:t> her</a:t>
            </a:r>
            <a:br>
              <a:rPr lang="en-GB" noProof="0" dirty="0"/>
            </a:br>
            <a:r>
              <a:rPr lang="en-GB" noProof="0" dirty="0" err="1"/>
              <a:t>Maks</a:t>
            </a:r>
            <a:r>
              <a:rPr lang="en-GB" noProof="0" dirty="0"/>
              <a:t>. 2 </a:t>
            </a:r>
            <a:r>
              <a:rPr lang="en-GB" noProof="0" dirty="0" err="1"/>
              <a:t>linjer</a:t>
            </a:r>
            <a:endParaRPr lang="en-GB" noProof="0" dirty="0"/>
          </a:p>
        </p:txBody>
      </p:sp>
      <p:sp>
        <p:nvSpPr>
          <p:cNvPr id="3" name="Pladsholder til dato 2"/>
          <p:cNvSpPr>
            <a:spLocks noGrp="1"/>
          </p:cNvSpPr>
          <p:nvPr>
            <p:ph type="dt" sz="half" idx="10"/>
          </p:nvPr>
        </p:nvSpPr>
        <p:spPr/>
        <p:txBody>
          <a:bodyPr/>
          <a:lstStyle/>
          <a:p>
            <a:fld id="{2D24AA69-117B-4B10-AC66-D56EAC9A1743}" type="datetime2">
              <a:rPr lang="en-GB" noProof="0" smtClean="0"/>
              <a:t>Thursday, 17 January 2019</a:t>
            </a:fld>
            <a:endParaRPr lang="en-GB" noProof="0" dirty="0"/>
          </a:p>
        </p:txBody>
      </p:sp>
      <p:sp>
        <p:nvSpPr>
          <p:cNvPr id="4" name="Pladsholder til sidefod 3"/>
          <p:cNvSpPr>
            <a:spLocks noGrp="1"/>
          </p:cNvSpPr>
          <p:nvPr>
            <p:ph type="ftr" sz="quarter" idx="11"/>
          </p:nvPr>
        </p:nvSpPr>
        <p:spPr>
          <a:xfrm>
            <a:off x="269875" y="7137319"/>
            <a:ext cx="1197769" cy="104400"/>
          </a:xfrm>
        </p:spPr>
        <p:txBody>
          <a:bodyPr>
            <a:spAutoFit/>
          </a:bodyPr>
          <a:lstStyle/>
          <a:p>
            <a:endParaRPr lang="en-GB" noProof="0" dirty="0"/>
          </a:p>
        </p:txBody>
      </p:sp>
      <p:sp>
        <p:nvSpPr>
          <p:cNvPr id="5" name="Pladsholder til tekst 5"/>
          <p:cNvSpPr>
            <a:spLocks noGrp="1"/>
          </p:cNvSpPr>
          <p:nvPr>
            <p:ph type="body" sz="quarter" idx="12" hasCustomPrompt="1"/>
          </p:nvPr>
        </p:nvSpPr>
        <p:spPr>
          <a:xfrm>
            <a:off x="415925" y="6352080"/>
            <a:ext cx="7273925" cy="142875"/>
          </a:xfrm>
        </p:spPr>
        <p:txBody>
          <a:bodyPr anchor="b">
            <a:spAutoFit/>
          </a:bodyPr>
          <a:lstStyle>
            <a:lvl1pPr>
              <a:defRPr sz="800"/>
            </a:lvl1pPr>
          </a:lstStyle>
          <a:p>
            <a:pPr lvl="0"/>
            <a:r>
              <a:rPr lang="en-GB" dirty="0"/>
              <a:t>Source: </a:t>
            </a:r>
          </a:p>
        </p:txBody>
      </p:sp>
    </p:spTree>
    <p:extLst>
      <p:ext uri="{BB962C8B-B14F-4D97-AF65-F5344CB8AC3E}">
        <p14:creationId xmlns:p14="http://schemas.microsoft.com/office/powerpoint/2010/main" val="2248295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591147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Click to write your title here</a:t>
            </a:r>
            <a:br>
              <a:rPr lang="en-GB" noProof="0" dirty="0"/>
            </a:br>
            <a:r>
              <a:rPr lang="en-GB" noProof="0" dirty="0"/>
              <a:t>Max. 2 lines</a:t>
            </a:r>
          </a:p>
        </p:txBody>
      </p:sp>
      <p:sp>
        <p:nvSpPr>
          <p:cNvPr id="4" name="Footer Placeholder 3"/>
          <p:cNvSpPr>
            <a:spLocks noGrp="1"/>
          </p:cNvSpPr>
          <p:nvPr>
            <p:ph type="ftr" sz="quarter" idx="11"/>
          </p:nvPr>
        </p:nvSpPr>
        <p:spPr/>
        <p:txBody>
          <a:bodyPr>
            <a:spAutoFit/>
          </a:bodyPr>
          <a:lstStyle/>
          <a:p>
            <a:endParaRPr lang="en-GB" dirty="0"/>
          </a:p>
        </p:txBody>
      </p:sp>
    </p:spTree>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lvl1pPr>
              <a:defRPr/>
            </a:lvl1pPr>
          </a:lstStyle>
          <a:p>
            <a:r>
              <a:rPr lang="en-GB" noProof="0" dirty="0"/>
              <a:t>Click to write your title here</a:t>
            </a:r>
            <a:br>
              <a:rPr lang="en-GB" noProof="0" dirty="0"/>
            </a:br>
            <a:r>
              <a:rPr lang="en-GB" noProof="0" dirty="0"/>
              <a:t>Max. 2 lines</a:t>
            </a:r>
          </a:p>
        </p:txBody>
      </p:sp>
      <p:sp>
        <p:nvSpPr>
          <p:cNvPr id="4" name="Footer Placeholder 3"/>
          <p:cNvSpPr>
            <a:spLocks noGrp="1"/>
          </p:cNvSpPr>
          <p:nvPr>
            <p:ph type="ftr" sz="quarter" idx="11"/>
          </p:nvPr>
        </p:nvSpPr>
        <p:spPr/>
        <p:txBody>
          <a:bodyPr>
            <a:spAutoFit/>
          </a:bodyPr>
          <a:lstStyle/>
          <a:p>
            <a:endParaRPr lang="en-GB" dirty="0"/>
          </a:p>
        </p:txBody>
      </p:sp>
    </p:spTree>
    <p:extLst>
      <p:ext uri="{BB962C8B-B14F-4D97-AF65-F5344CB8AC3E}">
        <p14:creationId xmlns:p14="http://schemas.microsoft.com/office/powerpoint/2010/main" val="335677691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dirty="0"/>
              <a:t>Click to edit Master title style</a:t>
            </a:r>
          </a:p>
        </p:txBody>
      </p:sp>
      <p:sp>
        <p:nvSpPr>
          <p:cNvPr id="3" name="Content Placeholder 2"/>
          <p:cNvSpPr>
            <a:spLocks noGrp="1"/>
          </p:cNvSpPr>
          <p:nvPr>
            <p:ph sz="half" idx="1"/>
          </p:nvPr>
        </p:nvSpPr>
        <p:spPr>
          <a:xfrm>
            <a:off x="482625" y="1457329"/>
            <a:ext cx="4283348" cy="4489451"/>
          </a:xfrm>
        </p:spPr>
        <p:txBody>
          <a:bodyPr/>
          <a:lstStyle>
            <a:lvl1pPr>
              <a:defRPr sz="135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a:xfrm>
            <a:off x="5138740" y="1457329"/>
            <a:ext cx="4282686" cy="4489451"/>
          </a:xfrm>
        </p:spPr>
        <p:txBody>
          <a:bodyPr/>
          <a:lstStyle>
            <a:lvl1pPr>
              <a:defRPr sz="135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Date_DateCustomA"/>
          <p:cNvSpPr>
            <a:spLocks noGrp="1"/>
          </p:cNvSpPr>
          <p:nvPr>
            <p:ph type="dt" sz="half" idx="10"/>
          </p:nvPr>
        </p:nvSpPr>
        <p:spPr/>
        <p:txBody>
          <a:bodyPr/>
          <a:lstStyle/>
          <a:p>
            <a:endParaRPr lang="en-GB" dirty="0"/>
          </a:p>
        </p:txBody>
      </p:sp>
      <p:sp>
        <p:nvSpPr>
          <p:cNvPr id="16" name="FLD_PresentationTitle"/>
          <p:cNvSpPr>
            <a:spLocks noGrp="1"/>
          </p:cNvSpPr>
          <p:nvPr>
            <p:ph type="ftr" sz="quarter" idx="11"/>
          </p:nvPr>
        </p:nvSpPr>
        <p:spPr/>
        <p:txBody>
          <a:bodyPr/>
          <a:lstStyle/>
          <a:p>
            <a:endParaRPr lang="en-GB" dirty="0"/>
          </a:p>
        </p:txBody>
      </p:sp>
      <p:sp>
        <p:nvSpPr>
          <p:cNvPr id="17" name="Slide Number Placeholder 16"/>
          <p:cNvSpPr>
            <a:spLocks noGrp="1"/>
          </p:cNvSpPr>
          <p:nvPr>
            <p:ph type="sldNum" sz="quarter" idx="12"/>
          </p:nvPr>
        </p:nvSpPr>
        <p:spPr/>
        <p:txBody>
          <a:bodyPr/>
          <a:lstStyle/>
          <a:p>
            <a:r>
              <a:rPr lang="en-GB" b="0" dirty="0"/>
              <a:t>|</a:t>
            </a:r>
            <a:fld id="{161BE2EA-AEDB-4948-88E1-594E5C4BF481}" type="slidenum">
              <a:rPr lang="en-GB" smtClean="0"/>
              <a:pPr/>
              <a:t>‹#›</a:t>
            </a:fld>
            <a:endParaRPr lang="en-GB" dirty="0"/>
          </a:p>
        </p:txBody>
      </p:sp>
      <p:cxnSp>
        <p:nvCxnSpPr>
          <p:cNvPr id="12" name="Straight Connector 11"/>
          <p:cNvCxnSpPr/>
          <p:nvPr userDrawn="1"/>
        </p:nvCxnSpPr>
        <p:spPr>
          <a:xfrm>
            <a:off x="5138737" y="1356567"/>
            <a:ext cx="428268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a:off x="482625" y="1356567"/>
            <a:ext cx="4283348"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3066137"/>
      </p:ext>
    </p:extLst>
  </p:cSld>
  <p:clrMapOvr>
    <a:masterClrMapping/>
  </p:clrMapOvr>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5"/>
            <a:ext cx="8420100" cy="1470025"/>
          </a:xfrm>
        </p:spPr>
        <p:txBody>
          <a:bodyPr/>
          <a:lstStyle/>
          <a:p>
            <a:r>
              <a:rPr lang="en-GB" dirty="0"/>
              <a:t>Click to edit Master title style</a:t>
            </a:r>
          </a:p>
        </p:txBody>
      </p:sp>
      <p:sp>
        <p:nvSpPr>
          <p:cNvPr id="3" name="Subtitle 2"/>
          <p:cNvSpPr>
            <a:spLocks noGrp="1"/>
          </p:cNvSpPr>
          <p:nvPr>
            <p:ph type="subTitle" idx="1"/>
          </p:nvPr>
        </p:nvSpPr>
        <p:spPr>
          <a:xfrm>
            <a:off x="1485900" y="3886200"/>
            <a:ext cx="6934200" cy="246221"/>
          </a:xfrm>
        </p:spPr>
        <p:txBody>
          <a:bodyPr>
            <a:spAutoFit/>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Click to edit Master subtitle style</a:t>
            </a:r>
          </a:p>
        </p:txBody>
      </p:sp>
      <p:sp>
        <p:nvSpPr>
          <p:cNvPr id="4" name="Footer Placeholder 3"/>
          <p:cNvSpPr>
            <a:spLocks noGrp="1"/>
          </p:cNvSpPr>
          <p:nvPr>
            <p:ph type="ftr" sz="quarter" idx="10"/>
          </p:nvPr>
        </p:nvSpPr>
        <p:spPr/>
        <p:txBody>
          <a:bodyPr>
            <a:spAutoFit/>
          </a:bodyPr>
          <a:lstStyle/>
          <a:p>
            <a:endParaRPr lang="en-GB" dirty="0"/>
          </a:p>
        </p:txBody>
      </p:sp>
    </p:spTree>
  </p:cSld>
  <p:clrMapOvr>
    <a:masterClrMapping/>
  </p:clrMapOvr>
  <p:transition>
    <p:fade/>
  </p:transition>
  <p:hf sldNum="0"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ver Dark">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11401" y="0"/>
            <a:ext cx="9917401"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8AA29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2F363B"/>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1401" y="0"/>
            <a:ext cx="7182932"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FFFFFF"/>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11400" y="1192713"/>
            <a:ext cx="8566312" cy="5665287"/>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30373B"/>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chemeClr val="bg2"/>
              </a:solidFill>
              <a:effectLst/>
              <a:uLnTx/>
              <a:uFillTx/>
            </a:endParaRPr>
          </a:p>
        </p:txBody>
      </p:sp>
      <p:sp>
        <p:nvSpPr>
          <p:cNvPr id="3" name="Subtitle 2"/>
          <p:cNvSpPr>
            <a:spLocks noGrp="1"/>
          </p:cNvSpPr>
          <p:nvPr>
            <p:ph type="subTitle" idx="1"/>
          </p:nvPr>
        </p:nvSpPr>
        <p:spPr>
          <a:xfrm>
            <a:off x="269999" y="5463127"/>
            <a:ext cx="5842800" cy="863537"/>
          </a:xfrm>
        </p:spPr>
        <p:txBody>
          <a:bodyPr anchor="b" anchorCtr="0"/>
          <a:lstStyle>
            <a:lvl1pPr marL="0" indent="0" algn="l">
              <a:spcBef>
                <a:spcPts val="0"/>
              </a:spcBef>
              <a:buFont typeface="Arial" panose="020B0604020202020204" pitchFamily="34" charset="0"/>
              <a:buChar char="​"/>
              <a:defRPr sz="900">
                <a:solidFill>
                  <a:srgbClr val="F8F5E7"/>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2" name="Title 1"/>
          <p:cNvSpPr>
            <a:spLocks noGrp="1"/>
          </p:cNvSpPr>
          <p:nvPr>
            <p:ph type="ctrTitle"/>
          </p:nvPr>
        </p:nvSpPr>
        <p:spPr>
          <a:xfrm>
            <a:off x="269874" y="2138963"/>
            <a:ext cx="5842800" cy="2224886"/>
          </a:xfrm>
        </p:spPr>
        <p:txBody>
          <a:bodyPr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en-GB" dirty="0"/>
              <a:t>Click to edit Master title style</a:t>
            </a:r>
          </a:p>
        </p:txBody>
      </p:sp>
      <p:sp>
        <p:nvSpPr>
          <p:cNvPr id="8" name="Text Placeholder 7">
            <a:extLst>
              <a:ext uri="{FF2B5EF4-FFF2-40B4-BE49-F238E27FC236}">
                <a16:creationId xmlns:a16="http://schemas.microsoft.com/office/drawing/2014/main" id="{24B46EDD-CF3B-49AB-826E-68B63D5E117C}"/>
              </a:ext>
            </a:extLst>
          </p:cNvPr>
          <p:cNvSpPr>
            <a:spLocks noGrp="1"/>
          </p:cNvSpPr>
          <p:nvPr>
            <p:ph type="body" sz="quarter" idx="13" hasCustomPrompt="1"/>
          </p:nvPr>
        </p:nvSpPr>
        <p:spPr>
          <a:xfrm>
            <a:off x="269999" y="6387016"/>
            <a:ext cx="5842800" cy="210634"/>
          </a:xfrm>
        </p:spPr>
        <p:txBody>
          <a:bodyPr rIns="0" anchor="b" anchorCtr="0"/>
          <a:lstStyle>
            <a:lvl1pPr>
              <a:defRPr sz="900">
                <a:solidFill>
                  <a:srgbClr val="F8F5E7"/>
                </a:solidFill>
              </a:defRPr>
            </a:lvl1pPr>
            <a:lvl5pPr>
              <a:defRPr/>
            </a:lvl5pPr>
          </a:lstStyle>
          <a:p>
            <a:pPr lvl="0"/>
            <a:r>
              <a:rPr lang="en-GB" dirty="0"/>
              <a:t>Date</a:t>
            </a:r>
          </a:p>
        </p:txBody>
      </p:sp>
      <p:sp>
        <p:nvSpPr>
          <p:cNvPr id="13" name="Date_GeneralDate" hidden="1">
            <a:extLst>
              <a:ext uri="{FF2B5EF4-FFF2-40B4-BE49-F238E27FC236}">
                <a16:creationId xmlns:a16="http://schemas.microsoft.com/office/drawing/2014/main" id="{649F2878-DF75-476E-9321-0911D8D1FC2B}"/>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14" name="FLD_PresentationTitle" hidden="1">
            <a:extLst>
              <a:ext uri="{FF2B5EF4-FFF2-40B4-BE49-F238E27FC236}">
                <a16:creationId xmlns:a16="http://schemas.microsoft.com/office/drawing/2014/main" id="{336355EA-6FA5-4B9D-B232-E77EBE1CA664}"/>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15" name="Slide Number Placeholder 5" hidden="1">
            <a:extLst>
              <a:ext uri="{FF2B5EF4-FFF2-40B4-BE49-F238E27FC236}">
                <a16:creationId xmlns:a16="http://schemas.microsoft.com/office/drawing/2014/main" id="{A280B4D8-6669-4983-ACDA-5286F766EC9F}"/>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6" name="Freeform: Shape 15">
            <a:extLst>
              <a:ext uri="{FF2B5EF4-FFF2-40B4-BE49-F238E27FC236}">
                <a16:creationId xmlns:a16="http://schemas.microsoft.com/office/drawing/2014/main" id="{FB0748D9-B4B7-46FB-99B6-A4449CF9F500}"/>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t> </a:t>
            </a:r>
          </a:p>
        </p:txBody>
      </p:sp>
    </p:spTree>
    <p:extLst>
      <p:ext uri="{BB962C8B-B14F-4D97-AF65-F5344CB8AC3E}">
        <p14:creationId xmlns:p14="http://schemas.microsoft.com/office/powerpoint/2010/main" val="1910806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ver Logo Image Dark A">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3452116" y="0"/>
            <a:ext cx="6453884"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4B73B"/>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2F363B"/>
              </a:solidFill>
              <a:effectLst/>
              <a:uLnTx/>
              <a:uFillTx/>
            </a:endParaRPr>
          </a:p>
        </p:txBody>
      </p:sp>
      <p:sp>
        <p:nvSpPr>
          <p:cNvPr id="3" name="Rectangle 2">
            <a:extLst>
              <a:ext uri="{FF2B5EF4-FFF2-40B4-BE49-F238E27FC236}">
                <a16:creationId xmlns:a16="http://schemas.microsoft.com/office/drawing/2014/main" id="{78FF8D86-B4F2-440A-9986-8206DC5C5D54}"/>
              </a:ext>
            </a:extLst>
          </p:cNvPr>
          <p:cNvSpPr/>
          <p:nvPr userDrawn="1"/>
        </p:nvSpPr>
        <p:spPr>
          <a:xfrm>
            <a:off x="0" y="0"/>
            <a:ext cx="8554911" cy="5502275"/>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dirty="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3452117" y="4011117"/>
            <a:ext cx="6453884" cy="2846883"/>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69875" y="4011117"/>
            <a:ext cx="2816225" cy="1003221"/>
          </a:xfrm>
        </p:spPr>
        <p:txBody>
          <a:bodyPr rIns="360000" anchor="t" anchorCtr="0"/>
          <a:lstStyle>
            <a:lvl1pPr marL="0" indent="0" algn="l">
              <a:spcBef>
                <a:spcPts val="0"/>
              </a:spcBef>
              <a:buFont typeface="Arial" panose="020B0604020202020204" pitchFamily="34" charset="0"/>
              <a:buChar char="​"/>
              <a:defRPr sz="975">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10" name="Text Placeholder 7">
            <a:extLst>
              <a:ext uri="{FF2B5EF4-FFF2-40B4-BE49-F238E27FC236}">
                <a16:creationId xmlns:a16="http://schemas.microsoft.com/office/drawing/2014/main" id="{49585976-AA21-42CB-B82F-826F94524238}"/>
              </a:ext>
            </a:extLst>
          </p:cNvPr>
          <p:cNvSpPr>
            <a:spLocks noGrp="1"/>
          </p:cNvSpPr>
          <p:nvPr>
            <p:ph type="body" sz="quarter" idx="13" hasCustomPrompt="1"/>
          </p:nvPr>
        </p:nvSpPr>
        <p:spPr>
          <a:xfrm>
            <a:off x="269875" y="5014338"/>
            <a:ext cx="2816226" cy="210634"/>
          </a:xfrm>
        </p:spPr>
        <p:txBody>
          <a:bodyPr rIns="0" anchor="b" anchorCtr="0"/>
          <a:lstStyle>
            <a:lvl1pPr>
              <a:defRPr sz="900">
                <a:solidFill>
                  <a:srgbClr val="F8F5E7"/>
                </a:solidFill>
              </a:defRPr>
            </a:lvl1pPr>
            <a:lvl5pPr>
              <a:defRPr/>
            </a:lvl5pPr>
          </a:lstStyle>
          <a:p>
            <a:pPr lvl="0"/>
            <a:r>
              <a:rPr lang="en-GB" dirty="0"/>
              <a:t>Date</a:t>
            </a:r>
          </a:p>
        </p:txBody>
      </p:sp>
      <p:sp>
        <p:nvSpPr>
          <p:cNvPr id="20" name="Title 1">
            <a:extLst>
              <a:ext uri="{FF2B5EF4-FFF2-40B4-BE49-F238E27FC236}">
                <a16:creationId xmlns:a16="http://schemas.microsoft.com/office/drawing/2014/main" id="{2F6935FD-E8E7-4B35-B4B1-C7059310FDE5}"/>
              </a:ext>
            </a:extLst>
          </p:cNvPr>
          <p:cNvSpPr>
            <a:spLocks noGrp="1"/>
          </p:cNvSpPr>
          <p:nvPr>
            <p:ph type="ctrTitle"/>
          </p:nvPr>
        </p:nvSpPr>
        <p:spPr>
          <a:xfrm>
            <a:off x="269875" y="539750"/>
            <a:ext cx="5841813" cy="3194064"/>
          </a:xfrm>
        </p:spPr>
        <p:txBody>
          <a:bodyPr anchor="t" anchorCtr="0">
            <a:noAutofit/>
          </a:bodyPr>
          <a:lstStyle>
            <a:lvl1pPr algn="l">
              <a:lnSpc>
                <a:spcPct val="83000"/>
              </a:lnSpc>
              <a:defRPr sz="6500" cap="all" baseline="0">
                <a:solidFill>
                  <a:srgbClr val="F8F5E7"/>
                </a:solidFill>
                <a:latin typeface="Impact" panose="020B0806030902050204" pitchFamily="34" charset="0"/>
              </a:defRPr>
            </a:lvl1pPr>
          </a:lstStyle>
          <a:p>
            <a:r>
              <a:rPr lang="en-GB" dirty="0"/>
              <a:t>Click to edit Master title style</a:t>
            </a:r>
          </a:p>
        </p:txBody>
      </p:sp>
      <p:sp>
        <p:nvSpPr>
          <p:cNvPr id="25" name="Date_GeneralDate" hidden="1">
            <a:extLst>
              <a:ext uri="{FF2B5EF4-FFF2-40B4-BE49-F238E27FC236}">
                <a16:creationId xmlns:a16="http://schemas.microsoft.com/office/drawing/2014/main" id="{00CB9581-A0C2-4723-A8F8-81640B2493EC}"/>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26" name="FLD_PresentationTitle" hidden="1">
            <a:extLst>
              <a:ext uri="{FF2B5EF4-FFF2-40B4-BE49-F238E27FC236}">
                <a16:creationId xmlns:a16="http://schemas.microsoft.com/office/drawing/2014/main" id="{47B59591-CF8E-4495-B39C-D866C0718FB7}"/>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27" name="Slide Number Placeholder 5" hidden="1">
            <a:extLst>
              <a:ext uri="{FF2B5EF4-FFF2-40B4-BE49-F238E27FC236}">
                <a16:creationId xmlns:a16="http://schemas.microsoft.com/office/drawing/2014/main" id="{0D64978B-8EE8-4A3A-AC5A-8C1D1BB2F169}"/>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2" name="Freeform: Shape 11">
            <a:extLst>
              <a:ext uri="{FF2B5EF4-FFF2-40B4-BE49-F238E27FC236}">
                <a16:creationId xmlns:a16="http://schemas.microsoft.com/office/drawing/2014/main" id="{A8E36132-A534-4EFF-8A7F-F188BAB49D88}"/>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t> </a:t>
            </a:r>
          </a:p>
        </p:txBody>
      </p:sp>
    </p:spTree>
    <p:extLst>
      <p:ext uri="{BB962C8B-B14F-4D97-AF65-F5344CB8AC3E}">
        <p14:creationId xmlns:p14="http://schemas.microsoft.com/office/powerpoint/2010/main" val="212342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ver Logo Image Dark B">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468EEBBF-213D-4D68-A9CE-7CE68854BF37}"/>
              </a:ext>
            </a:extLst>
          </p:cNvPr>
          <p:cNvSpPr/>
          <p:nvPr userDrawn="1"/>
        </p:nvSpPr>
        <p:spPr>
          <a:xfrm>
            <a:off x="2767292" y="0"/>
            <a:ext cx="7138708" cy="6858000"/>
          </a:xfrm>
          <a:prstGeom prst="rect">
            <a:avLst/>
          </a:prstGeom>
          <a:solidFill>
            <a:srgbClr val="E2DED9"/>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FFFFFF"/>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98929087-DD0C-46A9-A049-79CBB8A516FF}"/>
              </a:ext>
            </a:extLst>
          </p:cNvPr>
          <p:cNvSpPr/>
          <p:nvPr userDrawn="1"/>
        </p:nvSpPr>
        <p:spPr>
          <a:xfrm>
            <a:off x="0" y="1192710"/>
            <a:ext cx="8554911" cy="5665290"/>
          </a:xfrm>
          <a:prstGeom prst="rect">
            <a:avLst/>
          </a:prstGeom>
          <a:solidFill>
            <a:srgbClr val="30373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l"/>
            <a:endParaRPr lang="en-GB" sz="1000" noProof="0" dirty="0">
              <a:solidFill>
                <a:srgbClr val="2F363B"/>
              </a:solidFill>
            </a:endParaRPr>
          </a:p>
        </p:txBody>
      </p:sp>
      <p:sp>
        <p:nvSpPr>
          <p:cNvPr id="13" name="Picture Placeholder 13">
            <a:extLst>
              <a:ext uri="{FF2B5EF4-FFF2-40B4-BE49-F238E27FC236}">
                <a16:creationId xmlns:a16="http://schemas.microsoft.com/office/drawing/2014/main" id="{32CBD7CE-0C91-4290-9606-0942684C4652}"/>
              </a:ext>
            </a:extLst>
          </p:cNvPr>
          <p:cNvSpPr>
            <a:spLocks noGrp="1"/>
          </p:cNvSpPr>
          <p:nvPr>
            <p:ph type="pic" sz="quarter" idx="15"/>
          </p:nvPr>
        </p:nvSpPr>
        <p:spPr>
          <a:xfrm>
            <a:off x="5583518" y="2114551"/>
            <a:ext cx="3493808" cy="4743450"/>
          </a:xfrm>
          <a:solidFill>
            <a:srgbClr val="F3F2F0"/>
          </a:solidFill>
        </p:spPr>
        <p:txBody>
          <a:bodyPr vert="horz" lIns="0" tIns="0" rIns="0" bIns="0" rtlCol="0" anchor="ctr" anchorCtr="0">
            <a:noAutofit/>
          </a:bodyPr>
          <a:lstStyle>
            <a:lvl1pPr algn="ctr">
              <a:defRPr lang="da-DK" dirty="0"/>
            </a:lvl1pPr>
          </a:lstStyle>
          <a:p>
            <a:pPr lvl="0" algn="ctr">
              <a:buNone/>
            </a:pPr>
            <a:r>
              <a:rPr lang="en-GB" dirty="0"/>
              <a:t>Click icon to add picture</a:t>
            </a:r>
          </a:p>
        </p:txBody>
      </p:sp>
      <p:sp>
        <p:nvSpPr>
          <p:cNvPr id="18" name="Subtitle 2">
            <a:extLst>
              <a:ext uri="{FF2B5EF4-FFF2-40B4-BE49-F238E27FC236}">
                <a16:creationId xmlns:a16="http://schemas.microsoft.com/office/drawing/2014/main" id="{28390A0B-0148-4E4A-997F-3FF133263F31}"/>
              </a:ext>
            </a:extLst>
          </p:cNvPr>
          <p:cNvSpPr>
            <a:spLocks noGrp="1"/>
          </p:cNvSpPr>
          <p:nvPr>
            <p:ph type="subTitle" idx="1"/>
          </p:nvPr>
        </p:nvSpPr>
        <p:spPr>
          <a:xfrm>
            <a:off x="269875" y="5359204"/>
            <a:ext cx="2816225" cy="970159"/>
          </a:xfrm>
        </p:spPr>
        <p:txBody>
          <a:bodyPr rIns="360000" anchor="t" anchorCtr="0"/>
          <a:lstStyle>
            <a:lvl1pPr marL="0" indent="0" algn="l">
              <a:spcBef>
                <a:spcPts val="0"/>
              </a:spcBef>
              <a:buFont typeface="Arial" panose="020B0604020202020204" pitchFamily="34" charset="0"/>
              <a:buChar char="​"/>
              <a:defRPr sz="975">
                <a:solidFill>
                  <a:srgbClr val="F8F5E7"/>
                </a:solidFill>
              </a:defRPr>
            </a:lvl1pPr>
            <a:lvl2pPr marL="0" indent="0" algn="l">
              <a:buFont typeface="Arial" panose="020B0604020202020204" pitchFamily="34" charset="0"/>
              <a:buNone/>
              <a:defRPr sz="894">
                <a:solidFill>
                  <a:srgbClr val="2F363B"/>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16" name="Text Placeholder 7">
            <a:extLst>
              <a:ext uri="{FF2B5EF4-FFF2-40B4-BE49-F238E27FC236}">
                <a16:creationId xmlns:a16="http://schemas.microsoft.com/office/drawing/2014/main" id="{F7B5D086-4293-476B-B8D0-257542C6E7E9}"/>
              </a:ext>
            </a:extLst>
          </p:cNvPr>
          <p:cNvSpPr>
            <a:spLocks noGrp="1"/>
          </p:cNvSpPr>
          <p:nvPr>
            <p:ph type="body" sz="quarter" idx="13" hasCustomPrompt="1"/>
          </p:nvPr>
        </p:nvSpPr>
        <p:spPr>
          <a:xfrm>
            <a:off x="269875" y="6329363"/>
            <a:ext cx="2816226" cy="268287"/>
          </a:xfrm>
        </p:spPr>
        <p:txBody>
          <a:bodyPr rIns="0" anchor="b" anchorCtr="0"/>
          <a:lstStyle>
            <a:lvl1pPr>
              <a:defRPr sz="900">
                <a:solidFill>
                  <a:srgbClr val="F8F5E7"/>
                </a:solidFill>
              </a:defRPr>
            </a:lvl1pPr>
            <a:lvl5pPr>
              <a:defRPr/>
            </a:lvl5pPr>
          </a:lstStyle>
          <a:p>
            <a:pPr lvl="0"/>
            <a:r>
              <a:rPr lang="en-GB" dirty="0"/>
              <a:t>Date</a:t>
            </a:r>
          </a:p>
        </p:txBody>
      </p:sp>
      <p:sp>
        <p:nvSpPr>
          <p:cNvPr id="19" name="Title 1">
            <a:extLst>
              <a:ext uri="{FF2B5EF4-FFF2-40B4-BE49-F238E27FC236}">
                <a16:creationId xmlns:a16="http://schemas.microsoft.com/office/drawing/2014/main" id="{38211AF6-4BE0-4A99-8CF3-C8D588F5D8BD}"/>
              </a:ext>
            </a:extLst>
          </p:cNvPr>
          <p:cNvSpPr>
            <a:spLocks noGrp="1"/>
          </p:cNvSpPr>
          <p:nvPr>
            <p:ph type="ctrTitle"/>
          </p:nvPr>
        </p:nvSpPr>
        <p:spPr>
          <a:xfrm>
            <a:off x="269875" y="2114551"/>
            <a:ext cx="4818063" cy="2976366"/>
          </a:xfrm>
        </p:spPr>
        <p:txBody>
          <a:bodyPr anchor="t" anchorCtr="0">
            <a:noAutofit/>
          </a:bodyPr>
          <a:lstStyle>
            <a:lvl1pPr algn="l">
              <a:lnSpc>
                <a:spcPct val="83000"/>
              </a:lnSpc>
              <a:defRPr sz="6000" cap="all" baseline="0">
                <a:solidFill>
                  <a:srgbClr val="F8F5E7"/>
                </a:solidFill>
                <a:latin typeface="Impact" panose="020B0806030902050204" pitchFamily="34" charset="0"/>
              </a:defRPr>
            </a:lvl1pPr>
          </a:lstStyle>
          <a:p>
            <a:r>
              <a:rPr lang="en-GB" dirty="0"/>
              <a:t>Click to edit Master title style</a:t>
            </a:r>
          </a:p>
        </p:txBody>
      </p:sp>
      <p:sp>
        <p:nvSpPr>
          <p:cNvPr id="30" name="Date_GeneralDate" hidden="1">
            <a:extLst>
              <a:ext uri="{FF2B5EF4-FFF2-40B4-BE49-F238E27FC236}">
                <a16:creationId xmlns:a16="http://schemas.microsoft.com/office/drawing/2014/main" id="{8887585D-3668-43A5-8821-3E8F4360D29F}"/>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31" name="FLD_PresentationTitle" hidden="1">
            <a:extLst>
              <a:ext uri="{FF2B5EF4-FFF2-40B4-BE49-F238E27FC236}">
                <a16:creationId xmlns:a16="http://schemas.microsoft.com/office/drawing/2014/main" id="{FFA9C396-26C9-453C-9748-8CD8F69C0B76}"/>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32" name="Slide Number Placeholder 5" hidden="1">
            <a:extLst>
              <a:ext uri="{FF2B5EF4-FFF2-40B4-BE49-F238E27FC236}">
                <a16:creationId xmlns:a16="http://schemas.microsoft.com/office/drawing/2014/main" id="{050593E4-CEEF-4942-8DF6-C4D9845047A6}"/>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2" name="Freeform: Shape 11">
            <a:extLst>
              <a:ext uri="{FF2B5EF4-FFF2-40B4-BE49-F238E27FC236}">
                <a16:creationId xmlns:a16="http://schemas.microsoft.com/office/drawing/2014/main" id="{C4CB8047-8AE5-4556-9F42-1F69C5AB3EC2}"/>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t> </a:t>
            </a:r>
          </a:p>
        </p:txBody>
      </p:sp>
    </p:spTree>
    <p:extLst>
      <p:ext uri="{BB962C8B-B14F-4D97-AF65-F5344CB8AC3E}">
        <p14:creationId xmlns:p14="http://schemas.microsoft.com/office/powerpoint/2010/main" val="2289877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3" name="object 2">
            <a:extLst>
              <a:ext uri="{FF2B5EF4-FFF2-40B4-BE49-F238E27FC236}">
                <a16:creationId xmlns:a16="http://schemas.microsoft.com/office/drawing/2014/main" id="{A81EE220-AC53-4153-A0FE-1F2219FBF428}"/>
              </a:ext>
            </a:extLst>
          </p:cNvPr>
          <p:cNvSpPr/>
          <p:nvPr userDrawn="1"/>
        </p:nvSpPr>
        <p:spPr>
          <a:xfrm>
            <a:off x="7171530" y="0"/>
            <a:ext cx="2734469" cy="6858000"/>
          </a:xfrm>
          <a:custGeom>
            <a:avLst/>
            <a:gdLst/>
            <a:ahLst/>
            <a:cxnLst/>
            <a:rect l="l" t="t" r="r" b="b"/>
            <a:pathLst>
              <a:path w="20104100" h="11308715">
                <a:moveTo>
                  <a:pt x="0" y="11308556"/>
                </a:moveTo>
                <a:lnTo>
                  <a:pt x="20104099" y="11308556"/>
                </a:lnTo>
                <a:lnTo>
                  <a:pt x="20104099" y="0"/>
                </a:lnTo>
                <a:lnTo>
                  <a:pt x="0" y="0"/>
                </a:lnTo>
                <a:lnTo>
                  <a:pt x="0" y="11308556"/>
                </a:lnTo>
                <a:close/>
              </a:path>
            </a:pathLst>
          </a:custGeom>
          <a:solidFill>
            <a:srgbClr val="E0BCA6"/>
          </a:solidFill>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endParaRPr>
          </a:p>
        </p:txBody>
      </p:sp>
      <p:sp>
        <p:nvSpPr>
          <p:cNvPr id="24" name="Rectangle 23">
            <a:extLst>
              <a:ext uri="{FF2B5EF4-FFF2-40B4-BE49-F238E27FC236}">
                <a16:creationId xmlns:a16="http://schemas.microsoft.com/office/drawing/2014/main" id="{468EEBBF-213D-4D68-A9CE-7CE68854BF37}"/>
              </a:ext>
            </a:extLst>
          </p:cNvPr>
          <p:cNvSpPr/>
          <p:nvPr userDrawn="1"/>
        </p:nvSpPr>
        <p:spPr>
          <a:xfrm>
            <a:off x="-1" y="0"/>
            <a:ext cx="7171531" cy="1632813"/>
          </a:xfrm>
          <a:prstGeom prst="rect">
            <a:avLst/>
          </a:prstGeom>
          <a:solidFill>
            <a:srgbClr val="F8F5E7"/>
          </a:solidFill>
          <a:ln w="25400" cap="flat" cmpd="sng" algn="ctr">
            <a:noFill/>
            <a:prstDash val="solid"/>
          </a:ln>
          <a:effectLst/>
        </p:spPr>
        <p:txBody>
          <a:bodyPr rtlCol="0" anchor="ctr"/>
          <a:lstStyle/>
          <a:p>
            <a:pPr marL="0" marR="0" lvl="0" indent="0" algn="ctr"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latin typeface="Arial"/>
              <a:ea typeface="+mn-ea"/>
              <a:cs typeface="+mn-cs"/>
            </a:endParaRPr>
          </a:p>
        </p:txBody>
      </p:sp>
      <p:sp>
        <p:nvSpPr>
          <p:cNvPr id="25" name="object 3">
            <a:extLst>
              <a:ext uri="{FF2B5EF4-FFF2-40B4-BE49-F238E27FC236}">
                <a16:creationId xmlns:a16="http://schemas.microsoft.com/office/drawing/2014/main" id="{2F8E5E3C-C8FF-4ABE-B0BE-21762DA69433}"/>
              </a:ext>
            </a:extLst>
          </p:cNvPr>
          <p:cNvSpPr/>
          <p:nvPr userDrawn="1"/>
        </p:nvSpPr>
        <p:spPr>
          <a:xfrm>
            <a:off x="0" y="1355724"/>
            <a:ext cx="8554911" cy="5502275"/>
          </a:xfrm>
          <a:custGeom>
            <a:avLst/>
            <a:gdLst/>
            <a:ahLst/>
            <a:cxnLst/>
            <a:rect l="l" t="t" r="r" b="b"/>
            <a:pathLst>
              <a:path w="16670019" h="10303510">
                <a:moveTo>
                  <a:pt x="0" y="10303351"/>
                </a:moveTo>
                <a:lnTo>
                  <a:pt x="16669649" y="10303351"/>
                </a:lnTo>
                <a:lnTo>
                  <a:pt x="16669649" y="0"/>
                </a:lnTo>
                <a:lnTo>
                  <a:pt x="0" y="0"/>
                </a:lnTo>
                <a:lnTo>
                  <a:pt x="0" y="10303351"/>
                </a:lnTo>
                <a:close/>
              </a:path>
            </a:pathLst>
          </a:custGeom>
          <a:solidFill>
            <a:srgbClr val="E2DED9"/>
          </a:solidFill>
          <a:ln>
            <a:noFill/>
          </a:ln>
        </p:spPr>
        <p:txBody>
          <a:bodyPr wrap="square" lIns="0" tIns="0" rIns="0" bIns="0" rtlCol="0"/>
          <a:lstStyle/>
          <a:p>
            <a:pPr marL="0" marR="0" lvl="0" indent="0" defTabSz="450525" eaLnBrk="1" fontAlgn="auto" latinLnBrk="0" hangingPunct="1">
              <a:lnSpc>
                <a:spcPct val="100000"/>
              </a:lnSpc>
              <a:spcBef>
                <a:spcPts val="0"/>
              </a:spcBef>
              <a:spcAft>
                <a:spcPts val="0"/>
              </a:spcAft>
              <a:buClrTx/>
              <a:buSzTx/>
              <a:buFontTx/>
              <a:buNone/>
              <a:tabLst/>
              <a:defRPr/>
            </a:pPr>
            <a:endParaRPr kumimoji="0" lang="en-GB" sz="887" b="0" i="0" u="none" strike="noStrike" kern="0" cap="none" spc="0" normalizeH="0" baseline="0" noProof="0" dirty="0">
              <a:ln>
                <a:noFill/>
              </a:ln>
              <a:solidFill>
                <a:srgbClr val="1F2023"/>
              </a:solidFill>
              <a:effectLst/>
              <a:uLnTx/>
              <a:uFillTx/>
            </a:endParaRPr>
          </a:p>
        </p:txBody>
      </p:sp>
      <p:sp>
        <p:nvSpPr>
          <p:cNvPr id="16" name="Title 1">
            <a:extLst>
              <a:ext uri="{FF2B5EF4-FFF2-40B4-BE49-F238E27FC236}">
                <a16:creationId xmlns:a16="http://schemas.microsoft.com/office/drawing/2014/main" id="{D4352087-9FC5-44CB-9335-2EEFDAC76577}"/>
              </a:ext>
            </a:extLst>
          </p:cNvPr>
          <p:cNvSpPr>
            <a:spLocks noGrp="1"/>
          </p:cNvSpPr>
          <p:nvPr>
            <p:ph type="ctrTitle"/>
          </p:nvPr>
        </p:nvSpPr>
        <p:spPr>
          <a:xfrm>
            <a:off x="269874" y="2138963"/>
            <a:ext cx="5842800" cy="2224886"/>
          </a:xfrm>
        </p:spPr>
        <p:txBody>
          <a:bodyPr anchor="t" anchorCtr="0">
            <a:noAutofit/>
          </a:bodyPr>
          <a:lstStyle>
            <a:lvl1pPr algn="l">
              <a:lnSpc>
                <a:spcPct val="83000"/>
              </a:lnSpc>
              <a:defRPr sz="6500" cap="all" baseline="0">
                <a:solidFill>
                  <a:srgbClr val="30373B"/>
                </a:solidFill>
                <a:latin typeface="Impact" panose="020B0806030902050204" pitchFamily="34" charset="0"/>
              </a:defRPr>
            </a:lvl1pPr>
          </a:lstStyle>
          <a:p>
            <a:r>
              <a:rPr lang="en-GB" dirty="0"/>
              <a:t>Click to edit Master title style</a:t>
            </a:r>
          </a:p>
        </p:txBody>
      </p:sp>
      <p:sp>
        <p:nvSpPr>
          <p:cNvPr id="21" name="Subtitle 2">
            <a:extLst>
              <a:ext uri="{FF2B5EF4-FFF2-40B4-BE49-F238E27FC236}">
                <a16:creationId xmlns:a16="http://schemas.microsoft.com/office/drawing/2014/main" id="{F4872442-83A2-43AD-891C-C24ABE274253}"/>
              </a:ext>
            </a:extLst>
          </p:cNvPr>
          <p:cNvSpPr>
            <a:spLocks noGrp="1"/>
          </p:cNvSpPr>
          <p:nvPr>
            <p:ph type="subTitle" idx="1"/>
          </p:nvPr>
        </p:nvSpPr>
        <p:spPr>
          <a:xfrm>
            <a:off x="269999" y="5463127"/>
            <a:ext cx="5842800" cy="863537"/>
          </a:xfrm>
        </p:spPr>
        <p:txBody>
          <a:bodyPr anchor="b" anchorCtr="0"/>
          <a:lstStyle>
            <a:lvl1pPr marL="0" indent="0" algn="l">
              <a:spcBef>
                <a:spcPts val="0"/>
              </a:spcBef>
              <a:buFont typeface="Arial" panose="020B0604020202020204" pitchFamily="34" charset="0"/>
              <a:buChar char="​"/>
              <a:defRPr sz="900">
                <a:solidFill>
                  <a:srgbClr val="1F2023"/>
                </a:solidFill>
              </a:defRPr>
            </a:lvl1pPr>
            <a:lvl2pPr marL="0" indent="0" algn="l">
              <a:buFont typeface="Arial" panose="020B0604020202020204" pitchFamily="34" charset="0"/>
              <a:buNone/>
              <a:defRPr sz="894">
                <a:solidFill>
                  <a:schemeClr val="accent2"/>
                </a:solidFill>
              </a:defRPr>
            </a:lvl2pPr>
            <a:lvl3pPr marL="0" indent="0" algn="l">
              <a:buFont typeface="Arial" panose="020B0604020202020204" pitchFamily="34" charset="0"/>
              <a:buChar char="​"/>
              <a:defRPr sz="1625">
                <a:solidFill>
                  <a:schemeClr val="bg1"/>
                </a:solidFill>
              </a:defRPr>
            </a:lvl3pPr>
            <a:lvl4pPr marL="0" indent="0" algn="l">
              <a:buFont typeface="Arial" panose="020B0604020202020204" pitchFamily="34" charset="0"/>
              <a:buChar char="​"/>
              <a:defRPr sz="1625">
                <a:solidFill>
                  <a:schemeClr val="bg1"/>
                </a:solidFill>
              </a:defRPr>
            </a:lvl4pPr>
            <a:lvl5pPr marL="0" indent="0" algn="l">
              <a:buFont typeface="Arial" panose="020B0604020202020204" pitchFamily="34" charset="0"/>
              <a:buChar char="​"/>
              <a:defRPr sz="1625">
                <a:solidFill>
                  <a:schemeClr val="bg1"/>
                </a:solidFill>
              </a:defRPr>
            </a:lvl5pPr>
            <a:lvl6pPr marL="0" indent="0" algn="l">
              <a:buFont typeface="Arial" panose="020B0604020202020204" pitchFamily="34" charset="0"/>
              <a:buChar char="​"/>
              <a:defRPr sz="1625">
                <a:solidFill>
                  <a:schemeClr val="bg1"/>
                </a:solidFill>
              </a:defRPr>
            </a:lvl6pPr>
            <a:lvl7pPr marL="0" indent="0" algn="l">
              <a:buFont typeface="Arial" panose="020B0604020202020204" pitchFamily="34" charset="0"/>
              <a:buChar char="​"/>
              <a:defRPr sz="1625">
                <a:solidFill>
                  <a:schemeClr val="bg1"/>
                </a:solidFill>
              </a:defRPr>
            </a:lvl7pPr>
            <a:lvl8pPr marL="0" indent="0" algn="l">
              <a:buFont typeface="Arial" panose="020B0604020202020204" pitchFamily="34" charset="0"/>
              <a:buChar char="​"/>
              <a:defRPr sz="1625">
                <a:solidFill>
                  <a:schemeClr val="bg1"/>
                </a:solidFill>
              </a:defRPr>
            </a:lvl8pPr>
            <a:lvl9pPr marL="0" indent="0" algn="l">
              <a:buFont typeface="Arial" panose="020B0604020202020204" pitchFamily="34" charset="0"/>
              <a:buChar char="​"/>
              <a:defRPr sz="1625">
                <a:solidFill>
                  <a:schemeClr val="bg1"/>
                </a:solidFill>
              </a:defRPr>
            </a:lvl9pPr>
          </a:lstStyle>
          <a:p>
            <a:r>
              <a:rPr lang="en-GB" dirty="0"/>
              <a:t>Click to edit Master subtitle style</a:t>
            </a:r>
          </a:p>
        </p:txBody>
      </p:sp>
      <p:sp>
        <p:nvSpPr>
          <p:cNvPr id="22" name="Text Placeholder 7">
            <a:extLst>
              <a:ext uri="{FF2B5EF4-FFF2-40B4-BE49-F238E27FC236}">
                <a16:creationId xmlns:a16="http://schemas.microsoft.com/office/drawing/2014/main" id="{E1694F14-D4CB-400F-818F-B8F113DF8AE5}"/>
              </a:ext>
            </a:extLst>
          </p:cNvPr>
          <p:cNvSpPr>
            <a:spLocks noGrp="1"/>
          </p:cNvSpPr>
          <p:nvPr>
            <p:ph type="body" sz="quarter" idx="13" hasCustomPrompt="1"/>
          </p:nvPr>
        </p:nvSpPr>
        <p:spPr>
          <a:xfrm>
            <a:off x="269999" y="6387016"/>
            <a:ext cx="5842800" cy="210634"/>
          </a:xfrm>
        </p:spPr>
        <p:txBody>
          <a:bodyPr rIns="0" anchor="b" anchorCtr="0"/>
          <a:lstStyle>
            <a:lvl1pPr>
              <a:defRPr sz="900">
                <a:solidFill>
                  <a:srgbClr val="1F2023"/>
                </a:solidFill>
              </a:defRPr>
            </a:lvl1pPr>
            <a:lvl5pPr>
              <a:defRPr/>
            </a:lvl5pPr>
          </a:lstStyle>
          <a:p>
            <a:pPr lvl="0"/>
            <a:r>
              <a:rPr lang="en-GB" dirty="0"/>
              <a:t>Date</a:t>
            </a:r>
          </a:p>
        </p:txBody>
      </p:sp>
      <p:sp>
        <p:nvSpPr>
          <p:cNvPr id="29" name="Date_GeneralDate" hidden="1">
            <a:extLst>
              <a:ext uri="{FF2B5EF4-FFF2-40B4-BE49-F238E27FC236}">
                <a16:creationId xmlns:a16="http://schemas.microsoft.com/office/drawing/2014/main" id="{DB378BF8-E4C5-402E-B235-4E78F24CF4A8}"/>
              </a:ext>
            </a:extLst>
          </p:cNvPr>
          <p:cNvSpPr>
            <a:spLocks noGrp="1"/>
          </p:cNvSpPr>
          <p:nvPr>
            <p:ph type="dt" sz="half" idx="10"/>
          </p:nvPr>
        </p:nvSpPr>
        <p:spPr>
          <a:xfrm>
            <a:off x="269875" y="6978509"/>
            <a:ext cx="0" cy="0"/>
          </a:xfrm>
        </p:spPr>
        <p:txBody>
          <a:bodyPr/>
          <a:lstStyle>
            <a:lvl1pPr algn="l">
              <a:defRPr sz="100" cap="all" spc="163" baseline="0">
                <a:solidFill>
                  <a:schemeClr val="bg2"/>
                </a:solidFill>
              </a:defRPr>
            </a:lvl1pPr>
          </a:lstStyle>
          <a:p>
            <a:fld id="{8A6E0422-6ECB-43C9-8CFE-4C39AC685875}" type="datetime1">
              <a:rPr lang="en-GB" smtClean="0"/>
              <a:pPr/>
              <a:t>17/01/2019</a:t>
            </a:fld>
            <a:endParaRPr lang="en-GB" dirty="0"/>
          </a:p>
        </p:txBody>
      </p:sp>
      <p:sp>
        <p:nvSpPr>
          <p:cNvPr id="30" name="FLD_PresentationTitle" hidden="1">
            <a:extLst>
              <a:ext uri="{FF2B5EF4-FFF2-40B4-BE49-F238E27FC236}">
                <a16:creationId xmlns:a16="http://schemas.microsoft.com/office/drawing/2014/main" id="{FEC290B2-9F64-42B9-B7F8-ACEC0845A0B9}"/>
              </a:ext>
            </a:extLst>
          </p:cNvPr>
          <p:cNvSpPr>
            <a:spLocks noGrp="1"/>
          </p:cNvSpPr>
          <p:nvPr>
            <p:ph type="ftr" sz="quarter" idx="11"/>
          </p:nvPr>
        </p:nvSpPr>
        <p:spPr>
          <a:xfrm>
            <a:off x="269875" y="6978509"/>
            <a:ext cx="0" cy="0"/>
          </a:xfrm>
        </p:spPr>
        <p:txBody>
          <a:bodyPr anchor="t" anchorCtr="0"/>
          <a:lstStyle>
            <a:lvl1pPr algn="l">
              <a:defRPr sz="100">
                <a:solidFill>
                  <a:schemeClr val="tx2"/>
                </a:solidFill>
              </a:defRPr>
            </a:lvl1pPr>
          </a:lstStyle>
          <a:p>
            <a:r>
              <a:rPr lang="en-GB" dirty="0"/>
              <a:t>Footer</a:t>
            </a:r>
          </a:p>
        </p:txBody>
      </p:sp>
      <p:sp>
        <p:nvSpPr>
          <p:cNvPr id="31" name="Slide Number Placeholder 5" hidden="1">
            <a:extLst>
              <a:ext uri="{FF2B5EF4-FFF2-40B4-BE49-F238E27FC236}">
                <a16:creationId xmlns:a16="http://schemas.microsoft.com/office/drawing/2014/main" id="{C9567A95-A17F-4212-8785-660E104555AF}"/>
              </a:ext>
            </a:extLst>
          </p:cNvPr>
          <p:cNvSpPr>
            <a:spLocks noGrp="1"/>
          </p:cNvSpPr>
          <p:nvPr>
            <p:ph type="sldNum" sz="quarter" idx="12"/>
          </p:nvPr>
        </p:nvSpPr>
        <p:spPr>
          <a:xfrm>
            <a:off x="269875" y="6978509"/>
            <a:ext cx="0" cy="0"/>
          </a:xfrm>
        </p:spPr>
        <p:txBody>
          <a:bodyPr anchor="t" anchorCtr="0"/>
          <a:lstStyle>
            <a:lvl1pPr>
              <a:defRPr sz="100">
                <a:solidFill>
                  <a:schemeClr val="bg1"/>
                </a:solidFill>
              </a:defRPr>
            </a:lvl1pPr>
          </a:lstStyle>
          <a:p>
            <a:fld id="{24C8C45C-947F-4981-8B3F-4F32E973C901}" type="slidenum">
              <a:rPr lang="en-GB" smtClean="0"/>
              <a:pPr/>
              <a:t>‹#›</a:t>
            </a:fld>
            <a:endParaRPr lang="en-GB" dirty="0"/>
          </a:p>
        </p:txBody>
      </p:sp>
      <p:sp>
        <p:nvSpPr>
          <p:cNvPr id="12" name="Freeform: Shape 11">
            <a:extLst>
              <a:ext uri="{FF2B5EF4-FFF2-40B4-BE49-F238E27FC236}">
                <a16:creationId xmlns:a16="http://schemas.microsoft.com/office/drawing/2014/main" id="{4E4074B2-7DE7-48C5-B126-35D2D5B789C6}"/>
              </a:ext>
            </a:extLst>
          </p:cNvPr>
          <p:cNvSpPr/>
          <p:nvPr userDrawn="1">
            <p:custDataLst>
              <p:tags r:id="rId1"/>
            </p:custDataLst>
          </p:nvPr>
        </p:nvSpPr>
        <p:spPr bwMode="auto">
          <a:xfrm rot="5400000">
            <a:off x="8861146" y="788544"/>
            <a:ext cx="1258889" cy="287891"/>
          </a:xfrm>
          <a:custGeom>
            <a:avLst/>
            <a:gdLst>
              <a:gd name="connsiteX0" fmla="*/ 6778122 w 9905999"/>
              <a:gd name="connsiteY0" fmla="*/ 2222531 h 2265361"/>
              <a:gd name="connsiteX1" fmla="*/ 7135812 w 9905999"/>
              <a:gd name="connsiteY1" fmla="*/ 2222531 h 2265361"/>
              <a:gd name="connsiteX2" fmla="*/ 7135812 w 9905999"/>
              <a:gd name="connsiteY2" fmla="*/ 2265361 h 2265361"/>
              <a:gd name="connsiteX3" fmla="*/ 6778122 w 9905999"/>
              <a:gd name="connsiteY3" fmla="*/ 2265361 h 2265361"/>
              <a:gd name="connsiteX4" fmla="*/ 6778122 w 9905999"/>
              <a:gd name="connsiteY4" fmla="*/ 2222531 h 2265361"/>
              <a:gd name="connsiteX5" fmla="*/ 6449676 w 9905999"/>
              <a:gd name="connsiteY5" fmla="*/ 1769427 h 2265361"/>
              <a:gd name="connsiteX6" fmla="*/ 6449676 w 9905999"/>
              <a:gd name="connsiteY6" fmla="*/ 1965546 h 2265361"/>
              <a:gd name="connsiteX7" fmla="*/ 6575655 w 9905999"/>
              <a:gd name="connsiteY7" fmla="*/ 1965546 h 2265361"/>
              <a:gd name="connsiteX8" fmla="*/ 6679138 w 9905999"/>
              <a:gd name="connsiteY8" fmla="*/ 1864105 h 2265361"/>
              <a:gd name="connsiteX9" fmla="*/ 6575655 w 9905999"/>
              <a:gd name="connsiteY9" fmla="*/ 1769427 h 2265361"/>
              <a:gd name="connsiteX10" fmla="*/ 6449676 w 9905999"/>
              <a:gd name="connsiteY10" fmla="*/ 1769427 h 2265361"/>
              <a:gd name="connsiteX11" fmla="*/ 5021164 w 9905999"/>
              <a:gd name="connsiteY11" fmla="*/ 1769427 h 2265361"/>
              <a:gd name="connsiteX12" fmla="*/ 5021164 w 9905999"/>
              <a:gd name="connsiteY12" fmla="*/ 1949767 h 2265361"/>
              <a:gd name="connsiteX13" fmla="*/ 5158391 w 9905999"/>
              <a:gd name="connsiteY13" fmla="*/ 1949767 h 2265361"/>
              <a:gd name="connsiteX14" fmla="*/ 5261874 w 9905999"/>
              <a:gd name="connsiteY14" fmla="*/ 1859597 h 2265361"/>
              <a:gd name="connsiteX15" fmla="*/ 5158391 w 9905999"/>
              <a:gd name="connsiteY15" fmla="*/ 1769427 h 2265361"/>
              <a:gd name="connsiteX16" fmla="*/ 5021164 w 9905999"/>
              <a:gd name="connsiteY16" fmla="*/ 1769427 h 2265361"/>
              <a:gd name="connsiteX17" fmla="*/ 5597068 w 9905999"/>
              <a:gd name="connsiteY17" fmla="*/ 1762664 h 2265361"/>
              <a:gd name="connsiteX18" fmla="*/ 5504834 w 9905999"/>
              <a:gd name="connsiteY18" fmla="*/ 1800986 h 2265361"/>
              <a:gd name="connsiteX19" fmla="*/ 5459841 w 9905999"/>
              <a:gd name="connsiteY19" fmla="*/ 1967800 h 2265361"/>
              <a:gd name="connsiteX20" fmla="*/ 5504834 w 9905999"/>
              <a:gd name="connsiteY20" fmla="*/ 2132361 h 2265361"/>
              <a:gd name="connsiteX21" fmla="*/ 5597068 w 9905999"/>
              <a:gd name="connsiteY21" fmla="*/ 2170683 h 2265361"/>
              <a:gd name="connsiteX22" fmla="*/ 5691552 w 9905999"/>
              <a:gd name="connsiteY22" fmla="*/ 2132361 h 2265361"/>
              <a:gd name="connsiteX23" fmla="*/ 5734295 w 9905999"/>
              <a:gd name="connsiteY23" fmla="*/ 1967800 h 2265361"/>
              <a:gd name="connsiteX24" fmla="*/ 5691552 w 9905999"/>
              <a:gd name="connsiteY24" fmla="*/ 1800986 h 2265361"/>
              <a:gd name="connsiteX25" fmla="*/ 5597068 w 9905999"/>
              <a:gd name="connsiteY25" fmla="*/ 1762664 h 2265361"/>
              <a:gd name="connsiteX26" fmla="*/ 654642 w 9905999"/>
              <a:gd name="connsiteY26" fmla="*/ 1762664 h 2265361"/>
              <a:gd name="connsiteX27" fmla="*/ 560157 w 9905999"/>
              <a:gd name="connsiteY27" fmla="*/ 1800986 h 2265361"/>
              <a:gd name="connsiteX28" fmla="*/ 517414 w 9905999"/>
              <a:gd name="connsiteY28" fmla="*/ 1967800 h 2265361"/>
              <a:gd name="connsiteX29" fmla="*/ 560157 w 9905999"/>
              <a:gd name="connsiteY29" fmla="*/ 2132361 h 2265361"/>
              <a:gd name="connsiteX30" fmla="*/ 654642 w 9905999"/>
              <a:gd name="connsiteY30" fmla="*/ 2170683 h 2265361"/>
              <a:gd name="connsiteX31" fmla="*/ 746876 w 9905999"/>
              <a:gd name="connsiteY31" fmla="*/ 2132361 h 2265361"/>
              <a:gd name="connsiteX32" fmla="*/ 791868 w 9905999"/>
              <a:gd name="connsiteY32" fmla="*/ 1967800 h 2265361"/>
              <a:gd name="connsiteX33" fmla="*/ 746876 w 9905999"/>
              <a:gd name="connsiteY33" fmla="*/ 1800986 h 2265361"/>
              <a:gd name="connsiteX34" fmla="*/ 654642 w 9905999"/>
              <a:gd name="connsiteY34" fmla="*/ 1762664 h 2265361"/>
              <a:gd name="connsiteX35" fmla="*/ 6386687 w 9905999"/>
              <a:gd name="connsiteY35" fmla="*/ 1710816 h 2265361"/>
              <a:gd name="connsiteX36" fmla="*/ 6575655 w 9905999"/>
              <a:gd name="connsiteY36" fmla="*/ 1710816 h 2265361"/>
              <a:gd name="connsiteX37" fmla="*/ 6706134 w 9905999"/>
              <a:gd name="connsiteY37" fmla="*/ 1755901 h 2265361"/>
              <a:gd name="connsiteX38" fmla="*/ 6744377 w 9905999"/>
              <a:gd name="connsiteY38" fmla="*/ 1864105 h 2265361"/>
              <a:gd name="connsiteX39" fmla="*/ 6701634 w 9905999"/>
              <a:gd name="connsiteY39" fmla="*/ 1981326 h 2265361"/>
              <a:gd name="connsiteX40" fmla="*/ 6577905 w 9905999"/>
              <a:gd name="connsiteY40" fmla="*/ 2024157 h 2265361"/>
              <a:gd name="connsiteX41" fmla="*/ 6449676 w 9905999"/>
              <a:gd name="connsiteY41" fmla="*/ 2024157 h 2265361"/>
              <a:gd name="connsiteX42" fmla="*/ 6449676 w 9905999"/>
              <a:gd name="connsiteY42" fmla="*/ 2222531 h 2265361"/>
              <a:gd name="connsiteX43" fmla="*/ 6386687 w 9905999"/>
              <a:gd name="connsiteY43" fmla="*/ 2222531 h 2265361"/>
              <a:gd name="connsiteX44" fmla="*/ 6386687 w 9905999"/>
              <a:gd name="connsiteY44" fmla="*/ 1710816 h 2265361"/>
              <a:gd name="connsiteX45" fmla="*/ 5889520 w 9905999"/>
              <a:gd name="connsiteY45" fmla="*/ 1710816 h 2265361"/>
              <a:gd name="connsiteX46" fmla="*/ 5954759 w 9905999"/>
              <a:gd name="connsiteY46" fmla="*/ 1710816 h 2265361"/>
              <a:gd name="connsiteX47" fmla="*/ 5954759 w 9905999"/>
              <a:gd name="connsiteY47" fmla="*/ 2035428 h 2265361"/>
              <a:gd name="connsiteX48" fmla="*/ 6076239 w 9905999"/>
              <a:gd name="connsiteY48" fmla="*/ 2172937 h 2265361"/>
              <a:gd name="connsiteX49" fmla="*/ 6199968 w 9905999"/>
              <a:gd name="connsiteY49" fmla="*/ 2035428 h 2265361"/>
              <a:gd name="connsiteX50" fmla="*/ 6199968 w 9905999"/>
              <a:gd name="connsiteY50" fmla="*/ 1710816 h 2265361"/>
              <a:gd name="connsiteX51" fmla="*/ 6262957 w 9905999"/>
              <a:gd name="connsiteY51" fmla="*/ 1710816 h 2265361"/>
              <a:gd name="connsiteX52" fmla="*/ 6262957 w 9905999"/>
              <a:gd name="connsiteY52" fmla="*/ 2035428 h 2265361"/>
              <a:gd name="connsiteX53" fmla="*/ 6076239 w 9905999"/>
              <a:gd name="connsiteY53" fmla="*/ 2231547 h 2265361"/>
              <a:gd name="connsiteX54" fmla="*/ 5889520 w 9905999"/>
              <a:gd name="connsiteY54" fmla="*/ 2035428 h 2265361"/>
              <a:gd name="connsiteX55" fmla="*/ 5889520 w 9905999"/>
              <a:gd name="connsiteY55" fmla="*/ 1710816 h 2265361"/>
              <a:gd name="connsiteX56" fmla="*/ 4958174 w 9905999"/>
              <a:gd name="connsiteY56" fmla="*/ 1710816 h 2265361"/>
              <a:gd name="connsiteX57" fmla="*/ 5158391 w 9905999"/>
              <a:gd name="connsiteY57" fmla="*/ 1710816 h 2265361"/>
              <a:gd name="connsiteX58" fmla="*/ 5288869 w 9905999"/>
              <a:gd name="connsiteY58" fmla="*/ 1755901 h 2265361"/>
              <a:gd name="connsiteX59" fmla="*/ 5329363 w 9905999"/>
              <a:gd name="connsiteY59" fmla="*/ 1859597 h 2265361"/>
              <a:gd name="connsiteX60" fmla="*/ 5288869 w 9905999"/>
              <a:gd name="connsiteY60" fmla="*/ 1961038 h 2265361"/>
              <a:gd name="connsiteX61" fmla="*/ 5228130 w 9905999"/>
              <a:gd name="connsiteY61" fmla="*/ 1997106 h 2265361"/>
              <a:gd name="connsiteX62" fmla="*/ 5331612 w 9905999"/>
              <a:gd name="connsiteY62" fmla="*/ 2222531 h 2265361"/>
              <a:gd name="connsiteX63" fmla="*/ 5259624 w 9905999"/>
              <a:gd name="connsiteY63" fmla="*/ 2222531 h 2265361"/>
              <a:gd name="connsiteX64" fmla="*/ 5162890 w 9905999"/>
              <a:gd name="connsiteY64" fmla="*/ 2010631 h 2265361"/>
              <a:gd name="connsiteX65" fmla="*/ 5021164 w 9905999"/>
              <a:gd name="connsiteY65" fmla="*/ 2010631 h 2265361"/>
              <a:gd name="connsiteX66" fmla="*/ 5021164 w 9905999"/>
              <a:gd name="connsiteY66" fmla="*/ 2222531 h 2265361"/>
              <a:gd name="connsiteX67" fmla="*/ 4958174 w 9905999"/>
              <a:gd name="connsiteY67" fmla="*/ 2222531 h 2265361"/>
              <a:gd name="connsiteX68" fmla="*/ 4958174 w 9905999"/>
              <a:gd name="connsiteY68" fmla="*/ 1710816 h 2265361"/>
              <a:gd name="connsiteX69" fmla="*/ 3309199 w 9905999"/>
              <a:gd name="connsiteY69" fmla="*/ 1710816 h 2265361"/>
              <a:gd name="connsiteX70" fmla="*/ 3381187 w 9905999"/>
              <a:gd name="connsiteY70" fmla="*/ 1710816 h 2265361"/>
              <a:gd name="connsiteX71" fmla="*/ 3633145 w 9905999"/>
              <a:gd name="connsiteY71" fmla="*/ 2123344 h 2265361"/>
              <a:gd name="connsiteX72" fmla="*/ 3633145 w 9905999"/>
              <a:gd name="connsiteY72" fmla="*/ 1710816 h 2265361"/>
              <a:gd name="connsiteX73" fmla="*/ 3693885 w 9905999"/>
              <a:gd name="connsiteY73" fmla="*/ 1710816 h 2265361"/>
              <a:gd name="connsiteX74" fmla="*/ 3693885 w 9905999"/>
              <a:gd name="connsiteY74" fmla="*/ 2222531 h 2265361"/>
              <a:gd name="connsiteX75" fmla="*/ 3621897 w 9905999"/>
              <a:gd name="connsiteY75" fmla="*/ 2222531 h 2265361"/>
              <a:gd name="connsiteX76" fmla="*/ 3372188 w 9905999"/>
              <a:gd name="connsiteY76" fmla="*/ 1810003 h 2265361"/>
              <a:gd name="connsiteX77" fmla="*/ 3372188 w 9905999"/>
              <a:gd name="connsiteY77" fmla="*/ 2222531 h 2265361"/>
              <a:gd name="connsiteX78" fmla="*/ 3309199 w 9905999"/>
              <a:gd name="connsiteY78" fmla="*/ 2222531 h 2265361"/>
              <a:gd name="connsiteX79" fmla="*/ 3309199 w 9905999"/>
              <a:gd name="connsiteY79" fmla="*/ 1710816 h 2265361"/>
              <a:gd name="connsiteX80" fmla="*/ 3106732 w 9905999"/>
              <a:gd name="connsiteY80" fmla="*/ 1710816 h 2265361"/>
              <a:gd name="connsiteX81" fmla="*/ 3171971 w 9905999"/>
              <a:gd name="connsiteY81" fmla="*/ 1710816 h 2265361"/>
              <a:gd name="connsiteX82" fmla="*/ 3171971 w 9905999"/>
              <a:gd name="connsiteY82" fmla="*/ 2222531 h 2265361"/>
              <a:gd name="connsiteX83" fmla="*/ 3106732 w 9905999"/>
              <a:gd name="connsiteY83" fmla="*/ 2222531 h 2265361"/>
              <a:gd name="connsiteX84" fmla="*/ 3106732 w 9905999"/>
              <a:gd name="connsiteY84" fmla="*/ 1710816 h 2265361"/>
              <a:gd name="connsiteX85" fmla="*/ 2663557 w 9905999"/>
              <a:gd name="connsiteY85" fmla="*/ 1710816 h 2265361"/>
              <a:gd name="connsiteX86" fmla="*/ 3032495 w 9905999"/>
              <a:gd name="connsiteY86" fmla="*/ 1710816 h 2265361"/>
              <a:gd name="connsiteX87" fmla="*/ 3032495 w 9905999"/>
              <a:gd name="connsiteY87" fmla="*/ 1769427 h 2265361"/>
              <a:gd name="connsiteX88" fmla="*/ 2879521 w 9905999"/>
              <a:gd name="connsiteY88" fmla="*/ 1769427 h 2265361"/>
              <a:gd name="connsiteX89" fmla="*/ 2879521 w 9905999"/>
              <a:gd name="connsiteY89" fmla="*/ 2222531 h 2265361"/>
              <a:gd name="connsiteX90" fmla="*/ 2814282 w 9905999"/>
              <a:gd name="connsiteY90" fmla="*/ 2222531 h 2265361"/>
              <a:gd name="connsiteX91" fmla="*/ 2814282 w 9905999"/>
              <a:gd name="connsiteY91" fmla="*/ 1769427 h 2265361"/>
              <a:gd name="connsiteX92" fmla="*/ 2663557 w 9905999"/>
              <a:gd name="connsiteY92" fmla="*/ 1769427 h 2265361"/>
              <a:gd name="connsiteX93" fmla="*/ 2663557 w 9905999"/>
              <a:gd name="connsiteY93" fmla="*/ 1710816 h 2265361"/>
              <a:gd name="connsiteX94" fmla="*/ 2416099 w 9905999"/>
              <a:gd name="connsiteY94" fmla="*/ 1710816 h 2265361"/>
              <a:gd name="connsiteX95" fmla="*/ 2481338 w 9905999"/>
              <a:gd name="connsiteY95" fmla="*/ 1710816 h 2265361"/>
              <a:gd name="connsiteX96" fmla="*/ 2481338 w 9905999"/>
              <a:gd name="connsiteY96" fmla="*/ 2163920 h 2265361"/>
              <a:gd name="connsiteX97" fmla="*/ 2726547 w 9905999"/>
              <a:gd name="connsiteY97" fmla="*/ 2163920 h 2265361"/>
              <a:gd name="connsiteX98" fmla="*/ 2726547 w 9905999"/>
              <a:gd name="connsiteY98" fmla="*/ 2222531 h 2265361"/>
              <a:gd name="connsiteX99" fmla="*/ 2416099 w 9905999"/>
              <a:gd name="connsiteY99" fmla="*/ 2222531 h 2265361"/>
              <a:gd name="connsiteX100" fmla="*/ 2416099 w 9905999"/>
              <a:gd name="connsiteY100" fmla="*/ 1710816 h 2265361"/>
              <a:gd name="connsiteX101" fmla="*/ 1918931 w 9905999"/>
              <a:gd name="connsiteY101" fmla="*/ 1710816 h 2265361"/>
              <a:gd name="connsiteX102" fmla="*/ 1984171 w 9905999"/>
              <a:gd name="connsiteY102" fmla="*/ 1710816 h 2265361"/>
              <a:gd name="connsiteX103" fmla="*/ 1984171 w 9905999"/>
              <a:gd name="connsiteY103" fmla="*/ 2035428 h 2265361"/>
              <a:gd name="connsiteX104" fmla="*/ 2105651 w 9905999"/>
              <a:gd name="connsiteY104" fmla="*/ 2172937 h 2265361"/>
              <a:gd name="connsiteX105" fmla="*/ 2229380 w 9905999"/>
              <a:gd name="connsiteY105" fmla="*/ 2035428 h 2265361"/>
              <a:gd name="connsiteX106" fmla="*/ 2229380 w 9905999"/>
              <a:gd name="connsiteY106" fmla="*/ 1710816 h 2265361"/>
              <a:gd name="connsiteX107" fmla="*/ 2292369 w 9905999"/>
              <a:gd name="connsiteY107" fmla="*/ 1710816 h 2265361"/>
              <a:gd name="connsiteX108" fmla="*/ 2292369 w 9905999"/>
              <a:gd name="connsiteY108" fmla="*/ 2035428 h 2265361"/>
              <a:gd name="connsiteX109" fmla="*/ 2105651 w 9905999"/>
              <a:gd name="connsiteY109" fmla="*/ 2231547 h 2265361"/>
              <a:gd name="connsiteX110" fmla="*/ 1918931 w 9905999"/>
              <a:gd name="connsiteY110" fmla="*/ 2035428 h 2265361"/>
              <a:gd name="connsiteX111" fmla="*/ 1918931 w 9905999"/>
              <a:gd name="connsiteY111" fmla="*/ 1710816 h 2265361"/>
              <a:gd name="connsiteX112" fmla="*/ 960591 w 9905999"/>
              <a:gd name="connsiteY112" fmla="*/ 1710816 h 2265361"/>
              <a:gd name="connsiteX113" fmla="*/ 1032578 w 9905999"/>
              <a:gd name="connsiteY113" fmla="*/ 1710816 h 2265361"/>
              <a:gd name="connsiteX114" fmla="*/ 1284537 w 9905999"/>
              <a:gd name="connsiteY114" fmla="*/ 2123344 h 2265361"/>
              <a:gd name="connsiteX115" fmla="*/ 1284537 w 9905999"/>
              <a:gd name="connsiteY115" fmla="*/ 1710816 h 2265361"/>
              <a:gd name="connsiteX116" fmla="*/ 1345276 w 9905999"/>
              <a:gd name="connsiteY116" fmla="*/ 1710816 h 2265361"/>
              <a:gd name="connsiteX117" fmla="*/ 1345276 w 9905999"/>
              <a:gd name="connsiteY117" fmla="*/ 2222531 h 2265361"/>
              <a:gd name="connsiteX118" fmla="*/ 1273289 w 9905999"/>
              <a:gd name="connsiteY118" fmla="*/ 2222531 h 2265361"/>
              <a:gd name="connsiteX119" fmla="*/ 1023580 w 9905999"/>
              <a:gd name="connsiteY119" fmla="*/ 1810003 h 2265361"/>
              <a:gd name="connsiteX120" fmla="*/ 1023580 w 9905999"/>
              <a:gd name="connsiteY120" fmla="*/ 2222531 h 2265361"/>
              <a:gd name="connsiteX121" fmla="*/ 960591 w 9905999"/>
              <a:gd name="connsiteY121" fmla="*/ 2222531 h 2265361"/>
              <a:gd name="connsiteX122" fmla="*/ 960591 w 9905999"/>
              <a:gd name="connsiteY122" fmla="*/ 1710816 h 2265361"/>
              <a:gd name="connsiteX123" fmla="*/ 5597068 w 9905999"/>
              <a:gd name="connsiteY123" fmla="*/ 1701799 h 2265361"/>
              <a:gd name="connsiteX124" fmla="*/ 5736545 w 9905999"/>
              <a:gd name="connsiteY124" fmla="*/ 1755901 h 2265361"/>
              <a:gd name="connsiteX125" fmla="*/ 5801784 w 9905999"/>
              <a:gd name="connsiteY125" fmla="*/ 1967800 h 2265361"/>
              <a:gd name="connsiteX126" fmla="*/ 5736545 w 9905999"/>
              <a:gd name="connsiteY126" fmla="*/ 2177446 h 2265361"/>
              <a:gd name="connsiteX127" fmla="*/ 5597068 w 9905999"/>
              <a:gd name="connsiteY127" fmla="*/ 2233802 h 2265361"/>
              <a:gd name="connsiteX128" fmla="*/ 5459841 w 9905999"/>
              <a:gd name="connsiteY128" fmla="*/ 2177446 h 2265361"/>
              <a:gd name="connsiteX129" fmla="*/ 5394602 w 9905999"/>
              <a:gd name="connsiteY129" fmla="*/ 1967800 h 2265361"/>
              <a:gd name="connsiteX130" fmla="*/ 5459841 w 9905999"/>
              <a:gd name="connsiteY130" fmla="*/ 1755901 h 2265361"/>
              <a:gd name="connsiteX131" fmla="*/ 5597068 w 9905999"/>
              <a:gd name="connsiteY131" fmla="*/ 1701799 h 2265361"/>
              <a:gd name="connsiteX132" fmla="*/ 4645477 w 9905999"/>
              <a:gd name="connsiteY132" fmla="*/ 1701799 h 2265361"/>
              <a:gd name="connsiteX133" fmla="*/ 4791702 w 9905999"/>
              <a:gd name="connsiteY133" fmla="*/ 1758155 h 2265361"/>
              <a:gd name="connsiteX134" fmla="*/ 4834445 w 9905999"/>
              <a:gd name="connsiteY134" fmla="*/ 1859597 h 2265361"/>
              <a:gd name="connsiteX135" fmla="*/ 4766956 w 9905999"/>
              <a:gd name="connsiteY135" fmla="*/ 1859597 h 2265361"/>
              <a:gd name="connsiteX136" fmla="*/ 4744460 w 9905999"/>
              <a:gd name="connsiteY136" fmla="*/ 1803240 h 2265361"/>
              <a:gd name="connsiteX137" fmla="*/ 4645477 w 9905999"/>
              <a:gd name="connsiteY137" fmla="*/ 1762664 h 2265361"/>
              <a:gd name="connsiteX138" fmla="*/ 4550992 w 9905999"/>
              <a:gd name="connsiteY138" fmla="*/ 1800986 h 2265361"/>
              <a:gd name="connsiteX139" fmla="*/ 4506000 w 9905999"/>
              <a:gd name="connsiteY139" fmla="*/ 1967800 h 2265361"/>
              <a:gd name="connsiteX140" fmla="*/ 4553242 w 9905999"/>
              <a:gd name="connsiteY140" fmla="*/ 2134615 h 2265361"/>
              <a:gd name="connsiteX141" fmla="*/ 4645477 w 9905999"/>
              <a:gd name="connsiteY141" fmla="*/ 2172937 h 2265361"/>
              <a:gd name="connsiteX142" fmla="*/ 4737711 w 9905999"/>
              <a:gd name="connsiteY142" fmla="*/ 2136869 h 2265361"/>
              <a:gd name="connsiteX143" fmla="*/ 4780454 w 9905999"/>
              <a:gd name="connsiteY143" fmla="*/ 2006123 h 2265361"/>
              <a:gd name="connsiteX144" fmla="*/ 4645477 w 9905999"/>
              <a:gd name="connsiteY144" fmla="*/ 2006123 h 2265361"/>
              <a:gd name="connsiteX145" fmla="*/ 4645477 w 9905999"/>
              <a:gd name="connsiteY145" fmla="*/ 1947512 h 2265361"/>
              <a:gd name="connsiteX146" fmla="*/ 4838944 w 9905999"/>
              <a:gd name="connsiteY146" fmla="*/ 1947512 h 2265361"/>
              <a:gd name="connsiteX147" fmla="*/ 4838944 w 9905999"/>
              <a:gd name="connsiteY147" fmla="*/ 2222531 h 2265361"/>
              <a:gd name="connsiteX148" fmla="*/ 4793952 w 9905999"/>
              <a:gd name="connsiteY148" fmla="*/ 2222531 h 2265361"/>
              <a:gd name="connsiteX149" fmla="*/ 4782704 w 9905999"/>
              <a:gd name="connsiteY149" fmla="*/ 2161666 h 2265361"/>
              <a:gd name="connsiteX150" fmla="*/ 4645477 w 9905999"/>
              <a:gd name="connsiteY150" fmla="*/ 2233802 h 2265361"/>
              <a:gd name="connsiteX151" fmla="*/ 4506000 w 9905999"/>
              <a:gd name="connsiteY151" fmla="*/ 2179700 h 2265361"/>
              <a:gd name="connsiteX152" fmla="*/ 4440761 w 9905999"/>
              <a:gd name="connsiteY152" fmla="*/ 1967800 h 2265361"/>
              <a:gd name="connsiteX153" fmla="*/ 4506000 w 9905999"/>
              <a:gd name="connsiteY153" fmla="*/ 1755901 h 2265361"/>
              <a:gd name="connsiteX154" fmla="*/ 4645477 w 9905999"/>
              <a:gd name="connsiteY154" fmla="*/ 1701799 h 2265361"/>
              <a:gd name="connsiteX155" fmla="*/ 4002083 w 9905999"/>
              <a:gd name="connsiteY155" fmla="*/ 1701799 h 2265361"/>
              <a:gd name="connsiteX156" fmla="*/ 4148309 w 9905999"/>
              <a:gd name="connsiteY156" fmla="*/ 1758155 h 2265361"/>
              <a:gd name="connsiteX157" fmla="*/ 4193302 w 9905999"/>
              <a:gd name="connsiteY157" fmla="*/ 1859597 h 2265361"/>
              <a:gd name="connsiteX158" fmla="*/ 4125813 w 9905999"/>
              <a:gd name="connsiteY158" fmla="*/ 1859597 h 2265361"/>
              <a:gd name="connsiteX159" fmla="*/ 4103317 w 9905999"/>
              <a:gd name="connsiteY159" fmla="*/ 1803240 h 2265361"/>
              <a:gd name="connsiteX160" fmla="*/ 4002083 w 9905999"/>
              <a:gd name="connsiteY160" fmla="*/ 1762664 h 2265361"/>
              <a:gd name="connsiteX161" fmla="*/ 3909849 w 9905999"/>
              <a:gd name="connsiteY161" fmla="*/ 1800986 h 2265361"/>
              <a:gd name="connsiteX162" fmla="*/ 3864856 w 9905999"/>
              <a:gd name="connsiteY162" fmla="*/ 1967800 h 2265361"/>
              <a:gd name="connsiteX163" fmla="*/ 3909849 w 9905999"/>
              <a:gd name="connsiteY163" fmla="*/ 2134615 h 2265361"/>
              <a:gd name="connsiteX164" fmla="*/ 4002083 w 9905999"/>
              <a:gd name="connsiteY164" fmla="*/ 2172937 h 2265361"/>
              <a:gd name="connsiteX165" fmla="*/ 4094318 w 9905999"/>
              <a:gd name="connsiteY165" fmla="*/ 2136869 h 2265361"/>
              <a:gd name="connsiteX166" fmla="*/ 4139311 w 9905999"/>
              <a:gd name="connsiteY166" fmla="*/ 2006123 h 2265361"/>
              <a:gd name="connsiteX167" fmla="*/ 4002083 w 9905999"/>
              <a:gd name="connsiteY167" fmla="*/ 2006123 h 2265361"/>
              <a:gd name="connsiteX168" fmla="*/ 4002083 w 9905999"/>
              <a:gd name="connsiteY168" fmla="*/ 1947512 h 2265361"/>
              <a:gd name="connsiteX169" fmla="*/ 4197801 w 9905999"/>
              <a:gd name="connsiteY169" fmla="*/ 1947512 h 2265361"/>
              <a:gd name="connsiteX170" fmla="*/ 4197801 w 9905999"/>
              <a:gd name="connsiteY170" fmla="*/ 2222531 h 2265361"/>
              <a:gd name="connsiteX171" fmla="*/ 4152808 w 9905999"/>
              <a:gd name="connsiteY171" fmla="*/ 2222531 h 2265361"/>
              <a:gd name="connsiteX172" fmla="*/ 4141560 w 9905999"/>
              <a:gd name="connsiteY172" fmla="*/ 2161666 h 2265361"/>
              <a:gd name="connsiteX173" fmla="*/ 4002083 w 9905999"/>
              <a:gd name="connsiteY173" fmla="*/ 2233802 h 2265361"/>
              <a:gd name="connsiteX174" fmla="*/ 3864856 w 9905999"/>
              <a:gd name="connsiteY174" fmla="*/ 2179700 h 2265361"/>
              <a:gd name="connsiteX175" fmla="*/ 3797367 w 9905999"/>
              <a:gd name="connsiteY175" fmla="*/ 1967800 h 2265361"/>
              <a:gd name="connsiteX176" fmla="*/ 3864856 w 9905999"/>
              <a:gd name="connsiteY176" fmla="*/ 1755901 h 2265361"/>
              <a:gd name="connsiteX177" fmla="*/ 4002083 w 9905999"/>
              <a:gd name="connsiteY177" fmla="*/ 1701799 h 2265361"/>
              <a:gd name="connsiteX178" fmla="*/ 1642228 w 9905999"/>
              <a:gd name="connsiteY178" fmla="*/ 1701799 h 2265361"/>
              <a:gd name="connsiteX179" fmla="*/ 1774955 w 9905999"/>
              <a:gd name="connsiteY179" fmla="*/ 1749138 h 2265361"/>
              <a:gd name="connsiteX180" fmla="*/ 1824447 w 9905999"/>
              <a:gd name="connsiteY180" fmla="*/ 1859597 h 2265361"/>
              <a:gd name="connsiteX181" fmla="*/ 1756958 w 9905999"/>
              <a:gd name="connsiteY181" fmla="*/ 1859597 h 2265361"/>
              <a:gd name="connsiteX182" fmla="*/ 1732212 w 9905999"/>
              <a:gd name="connsiteY182" fmla="*/ 1796478 h 2265361"/>
              <a:gd name="connsiteX183" fmla="*/ 1639978 w 9905999"/>
              <a:gd name="connsiteY183" fmla="*/ 1760410 h 2265361"/>
              <a:gd name="connsiteX184" fmla="*/ 1549993 w 9905999"/>
              <a:gd name="connsiteY184" fmla="*/ 1796478 h 2265361"/>
              <a:gd name="connsiteX185" fmla="*/ 1529746 w 9905999"/>
              <a:gd name="connsiteY185" fmla="*/ 1850580 h 2265361"/>
              <a:gd name="connsiteX186" fmla="*/ 1606234 w 9905999"/>
              <a:gd name="connsiteY186" fmla="*/ 1922716 h 2265361"/>
              <a:gd name="connsiteX187" fmla="*/ 1691719 w 9905999"/>
              <a:gd name="connsiteY187" fmla="*/ 1936241 h 2265361"/>
              <a:gd name="connsiteX188" fmla="*/ 1833445 w 9905999"/>
              <a:gd name="connsiteY188" fmla="*/ 2082767 h 2265361"/>
              <a:gd name="connsiteX189" fmla="*/ 1790703 w 9905999"/>
              <a:gd name="connsiteY189" fmla="*/ 2181954 h 2265361"/>
              <a:gd name="connsiteX190" fmla="*/ 1644477 w 9905999"/>
              <a:gd name="connsiteY190" fmla="*/ 2231547 h 2265361"/>
              <a:gd name="connsiteX191" fmla="*/ 1498251 w 9905999"/>
              <a:gd name="connsiteY191" fmla="*/ 2184208 h 2265361"/>
              <a:gd name="connsiteX192" fmla="*/ 1444260 w 9905999"/>
              <a:gd name="connsiteY192" fmla="*/ 2060225 h 2265361"/>
              <a:gd name="connsiteX193" fmla="*/ 1509499 w 9905999"/>
              <a:gd name="connsiteY193" fmla="*/ 2060225 h 2265361"/>
              <a:gd name="connsiteX194" fmla="*/ 1545494 w 9905999"/>
              <a:gd name="connsiteY194" fmla="*/ 2141378 h 2265361"/>
              <a:gd name="connsiteX195" fmla="*/ 1644477 w 9905999"/>
              <a:gd name="connsiteY195" fmla="*/ 2172937 h 2265361"/>
              <a:gd name="connsiteX196" fmla="*/ 1738962 w 9905999"/>
              <a:gd name="connsiteY196" fmla="*/ 2143632 h 2265361"/>
              <a:gd name="connsiteX197" fmla="*/ 1765956 w 9905999"/>
              <a:gd name="connsiteY197" fmla="*/ 2082767 h 2265361"/>
              <a:gd name="connsiteX198" fmla="*/ 1680471 w 9905999"/>
              <a:gd name="connsiteY198" fmla="*/ 2001614 h 2265361"/>
              <a:gd name="connsiteX199" fmla="*/ 1599484 w 9905999"/>
              <a:gd name="connsiteY199" fmla="*/ 1988089 h 2265361"/>
              <a:gd name="connsiteX200" fmla="*/ 1462257 w 9905999"/>
              <a:gd name="connsiteY200" fmla="*/ 1852834 h 2265361"/>
              <a:gd name="connsiteX201" fmla="*/ 1507249 w 9905999"/>
              <a:gd name="connsiteY201" fmla="*/ 1751393 h 2265361"/>
              <a:gd name="connsiteX202" fmla="*/ 1642228 w 9905999"/>
              <a:gd name="connsiteY202" fmla="*/ 1701799 h 2265361"/>
              <a:gd name="connsiteX203" fmla="*/ 654642 w 9905999"/>
              <a:gd name="connsiteY203" fmla="*/ 1701799 h 2265361"/>
              <a:gd name="connsiteX204" fmla="*/ 791868 w 9905999"/>
              <a:gd name="connsiteY204" fmla="*/ 1755901 h 2265361"/>
              <a:gd name="connsiteX205" fmla="*/ 857108 w 9905999"/>
              <a:gd name="connsiteY205" fmla="*/ 1967800 h 2265361"/>
              <a:gd name="connsiteX206" fmla="*/ 791868 w 9905999"/>
              <a:gd name="connsiteY206" fmla="*/ 2177446 h 2265361"/>
              <a:gd name="connsiteX207" fmla="*/ 654642 w 9905999"/>
              <a:gd name="connsiteY207" fmla="*/ 2233802 h 2265361"/>
              <a:gd name="connsiteX208" fmla="*/ 515164 w 9905999"/>
              <a:gd name="connsiteY208" fmla="*/ 2177446 h 2265361"/>
              <a:gd name="connsiteX209" fmla="*/ 449925 w 9905999"/>
              <a:gd name="connsiteY209" fmla="*/ 1967800 h 2265361"/>
              <a:gd name="connsiteX210" fmla="*/ 515164 w 9905999"/>
              <a:gd name="connsiteY210" fmla="*/ 1755901 h 2265361"/>
              <a:gd name="connsiteX211" fmla="*/ 654642 w 9905999"/>
              <a:gd name="connsiteY211" fmla="*/ 1701799 h 2265361"/>
              <a:gd name="connsiteX212" fmla="*/ 202466 w 9905999"/>
              <a:gd name="connsiteY212" fmla="*/ 1701799 h 2265361"/>
              <a:gd name="connsiteX213" fmla="*/ 339693 w 9905999"/>
              <a:gd name="connsiteY213" fmla="*/ 1753647 h 2265361"/>
              <a:gd name="connsiteX214" fmla="*/ 389185 w 9905999"/>
              <a:gd name="connsiteY214" fmla="*/ 1870868 h 2265361"/>
              <a:gd name="connsiteX215" fmla="*/ 323946 w 9905999"/>
              <a:gd name="connsiteY215" fmla="*/ 1870868 h 2265361"/>
              <a:gd name="connsiteX216" fmla="*/ 294701 w 9905999"/>
              <a:gd name="connsiteY216" fmla="*/ 1798732 h 2265361"/>
              <a:gd name="connsiteX217" fmla="*/ 202466 w 9905999"/>
              <a:gd name="connsiteY217" fmla="*/ 1762664 h 2265361"/>
              <a:gd name="connsiteX218" fmla="*/ 110232 w 9905999"/>
              <a:gd name="connsiteY218" fmla="*/ 1800986 h 2265361"/>
              <a:gd name="connsiteX219" fmla="*/ 67489 w 9905999"/>
              <a:gd name="connsiteY219" fmla="*/ 1967800 h 2265361"/>
              <a:gd name="connsiteX220" fmla="*/ 110232 w 9905999"/>
              <a:gd name="connsiteY220" fmla="*/ 2132361 h 2265361"/>
              <a:gd name="connsiteX221" fmla="*/ 202466 w 9905999"/>
              <a:gd name="connsiteY221" fmla="*/ 2172937 h 2265361"/>
              <a:gd name="connsiteX222" fmla="*/ 296951 w 9905999"/>
              <a:gd name="connsiteY222" fmla="*/ 2132361 h 2265361"/>
              <a:gd name="connsiteX223" fmla="*/ 323946 w 9905999"/>
              <a:gd name="connsiteY223" fmla="*/ 2060225 h 2265361"/>
              <a:gd name="connsiteX224" fmla="*/ 391435 w 9905999"/>
              <a:gd name="connsiteY224" fmla="*/ 2060225 h 2265361"/>
              <a:gd name="connsiteX225" fmla="*/ 339693 w 9905999"/>
              <a:gd name="connsiteY225" fmla="*/ 2177446 h 2265361"/>
              <a:gd name="connsiteX226" fmla="*/ 202466 w 9905999"/>
              <a:gd name="connsiteY226" fmla="*/ 2233802 h 2265361"/>
              <a:gd name="connsiteX227" fmla="*/ 65239 w 9905999"/>
              <a:gd name="connsiteY227" fmla="*/ 2177446 h 2265361"/>
              <a:gd name="connsiteX228" fmla="*/ 0 w 9905999"/>
              <a:gd name="connsiteY228" fmla="*/ 1967800 h 2265361"/>
              <a:gd name="connsiteX229" fmla="*/ 65239 w 9905999"/>
              <a:gd name="connsiteY229" fmla="*/ 1755901 h 2265361"/>
              <a:gd name="connsiteX230" fmla="*/ 202466 w 9905999"/>
              <a:gd name="connsiteY230" fmla="*/ 1701799 h 2265361"/>
              <a:gd name="connsiteX231" fmla="*/ 2227389 w 9905999"/>
              <a:gd name="connsiteY231" fmla="*/ 214047 h 2265361"/>
              <a:gd name="connsiteX232" fmla="*/ 2227389 w 9905999"/>
              <a:gd name="connsiteY232" fmla="*/ 574548 h 2265361"/>
              <a:gd name="connsiteX233" fmla="*/ 2456649 w 9905999"/>
              <a:gd name="connsiteY233" fmla="*/ 574548 h 2265361"/>
              <a:gd name="connsiteX234" fmla="*/ 2654442 w 9905999"/>
              <a:gd name="connsiteY234" fmla="*/ 394298 h 2265361"/>
              <a:gd name="connsiteX235" fmla="*/ 2456649 w 9905999"/>
              <a:gd name="connsiteY235" fmla="*/ 214047 h 2265361"/>
              <a:gd name="connsiteX236" fmla="*/ 2227389 w 9905999"/>
              <a:gd name="connsiteY236" fmla="*/ 214047 h 2265361"/>
              <a:gd name="connsiteX237" fmla="*/ 8961436 w 9905999"/>
              <a:gd name="connsiteY237" fmla="*/ 0 h 2265361"/>
              <a:gd name="connsiteX238" fmla="*/ 9905999 w 9905999"/>
              <a:gd name="connsiteY238" fmla="*/ 0 h 2265361"/>
              <a:gd name="connsiteX239" fmla="*/ 9905999 w 9905999"/>
              <a:gd name="connsiteY239" fmla="*/ 225425 h 2265361"/>
              <a:gd name="connsiteX240" fmla="*/ 9555161 w 9905999"/>
              <a:gd name="connsiteY240" fmla="*/ 225425 h 2265361"/>
              <a:gd name="connsiteX241" fmla="*/ 9555161 w 9905999"/>
              <a:gd name="connsiteY241" fmla="*/ 1214437 h 2265361"/>
              <a:gd name="connsiteX242" fmla="*/ 9315449 w 9905999"/>
              <a:gd name="connsiteY242" fmla="*/ 1214437 h 2265361"/>
              <a:gd name="connsiteX243" fmla="*/ 9315449 w 9905999"/>
              <a:gd name="connsiteY243" fmla="*/ 225425 h 2265361"/>
              <a:gd name="connsiteX244" fmla="*/ 8961436 w 9905999"/>
              <a:gd name="connsiteY244" fmla="*/ 225425 h 2265361"/>
              <a:gd name="connsiteX245" fmla="*/ 7785099 w 9905999"/>
              <a:gd name="connsiteY245" fmla="*/ 0 h 2265361"/>
              <a:gd name="connsiteX246" fmla="*/ 8035924 w 9905999"/>
              <a:gd name="connsiteY246" fmla="*/ 0 h 2265361"/>
              <a:gd name="connsiteX247" fmla="*/ 8037512 w 9905999"/>
              <a:gd name="connsiteY247" fmla="*/ 3175 h 2265361"/>
              <a:gd name="connsiteX248" fmla="*/ 8523286 w 9905999"/>
              <a:gd name="connsiteY248" fmla="*/ 774700 h 2265361"/>
              <a:gd name="connsiteX249" fmla="*/ 8523286 w 9905999"/>
              <a:gd name="connsiteY249" fmla="*/ 0 h 2265361"/>
              <a:gd name="connsiteX250" fmla="*/ 8759824 w 9905999"/>
              <a:gd name="connsiteY250" fmla="*/ 0 h 2265361"/>
              <a:gd name="connsiteX251" fmla="*/ 8759824 w 9905999"/>
              <a:gd name="connsiteY251" fmla="*/ 1214437 h 2265361"/>
              <a:gd name="connsiteX252" fmla="*/ 8518524 w 9905999"/>
              <a:gd name="connsiteY252" fmla="*/ 1214437 h 2265361"/>
              <a:gd name="connsiteX253" fmla="*/ 8024812 w 9905999"/>
              <a:gd name="connsiteY253" fmla="*/ 425450 h 2265361"/>
              <a:gd name="connsiteX254" fmla="*/ 8024812 w 9905999"/>
              <a:gd name="connsiteY254" fmla="*/ 1214437 h 2265361"/>
              <a:gd name="connsiteX255" fmla="*/ 7785099 w 9905999"/>
              <a:gd name="connsiteY255" fmla="*/ 1214437 h 2265361"/>
              <a:gd name="connsiteX256" fmla="*/ 6665911 w 9905999"/>
              <a:gd name="connsiteY256" fmla="*/ 0 h 2265361"/>
              <a:gd name="connsiteX257" fmla="*/ 7535861 w 9905999"/>
              <a:gd name="connsiteY257" fmla="*/ 0 h 2265361"/>
              <a:gd name="connsiteX258" fmla="*/ 7535861 w 9905999"/>
              <a:gd name="connsiteY258" fmla="*/ 220663 h 2265361"/>
              <a:gd name="connsiteX259" fmla="*/ 6905624 w 9905999"/>
              <a:gd name="connsiteY259" fmla="*/ 220663 h 2265361"/>
              <a:gd name="connsiteX260" fmla="*/ 6905624 w 9905999"/>
              <a:gd name="connsiteY260" fmla="*/ 473075 h 2265361"/>
              <a:gd name="connsiteX261" fmla="*/ 7459661 w 9905999"/>
              <a:gd name="connsiteY261" fmla="*/ 473075 h 2265361"/>
              <a:gd name="connsiteX262" fmla="*/ 7459661 w 9905999"/>
              <a:gd name="connsiteY262" fmla="*/ 690562 h 2265361"/>
              <a:gd name="connsiteX263" fmla="*/ 6905624 w 9905999"/>
              <a:gd name="connsiteY263" fmla="*/ 690562 h 2265361"/>
              <a:gd name="connsiteX264" fmla="*/ 6905624 w 9905999"/>
              <a:gd name="connsiteY264" fmla="*/ 993775 h 2265361"/>
              <a:gd name="connsiteX265" fmla="*/ 7535861 w 9905999"/>
              <a:gd name="connsiteY265" fmla="*/ 993775 h 2265361"/>
              <a:gd name="connsiteX266" fmla="*/ 7535861 w 9905999"/>
              <a:gd name="connsiteY266" fmla="*/ 1214437 h 2265361"/>
              <a:gd name="connsiteX267" fmla="*/ 6665911 w 9905999"/>
              <a:gd name="connsiteY267" fmla="*/ 1214437 h 2265361"/>
              <a:gd name="connsiteX268" fmla="*/ 5221286 w 9905999"/>
              <a:gd name="connsiteY268" fmla="*/ 0 h 2265361"/>
              <a:gd name="connsiteX269" fmla="*/ 5534024 w 9905999"/>
              <a:gd name="connsiteY269" fmla="*/ 0 h 2265361"/>
              <a:gd name="connsiteX270" fmla="*/ 5835649 w 9905999"/>
              <a:gd name="connsiteY270" fmla="*/ 823912 h 2265361"/>
              <a:gd name="connsiteX271" fmla="*/ 6142037 w 9905999"/>
              <a:gd name="connsiteY271" fmla="*/ 0 h 2265361"/>
              <a:gd name="connsiteX272" fmla="*/ 6438899 w 9905999"/>
              <a:gd name="connsiteY272" fmla="*/ 0 h 2265361"/>
              <a:gd name="connsiteX273" fmla="*/ 6438899 w 9905999"/>
              <a:gd name="connsiteY273" fmla="*/ 1214437 h 2265361"/>
              <a:gd name="connsiteX274" fmla="*/ 6203949 w 9905999"/>
              <a:gd name="connsiteY274" fmla="*/ 1214437 h 2265361"/>
              <a:gd name="connsiteX275" fmla="*/ 6203949 w 9905999"/>
              <a:gd name="connsiteY275" fmla="*/ 419100 h 2265361"/>
              <a:gd name="connsiteX276" fmla="*/ 5916612 w 9905999"/>
              <a:gd name="connsiteY276" fmla="*/ 1196975 h 2265361"/>
              <a:gd name="connsiteX277" fmla="*/ 5740399 w 9905999"/>
              <a:gd name="connsiteY277" fmla="*/ 1196975 h 2265361"/>
              <a:gd name="connsiteX278" fmla="*/ 5454649 w 9905999"/>
              <a:gd name="connsiteY278" fmla="*/ 409575 h 2265361"/>
              <a:gd name="connsiteX279" fmla="*/ 5454649 w 9905999"/>
              <a:gd name="connsiteY279" fmla="*/ 1214437 h 2265361"/>
              <a:gd name="connsiteX280" fmla="*/ 5221286 w 9905999"/>
              <a:gd name="connsiteY280" fmla="*/ 1214437 h 2265361"/>
              <a:gd name="connsiteX281" fmla="*/ 4098924 w 9905999"/>
              <a:gd name="connsiteY281" fmla="*/ 0 h 2265361"/>
              <a:gd name="connsiteX282" fmla="*/ 4968874 w 9905999"/>
              <a:gd name="connsiteY282" fmla="*/ 0 h 2265361"/>
              <a:gd name="connsiteX283" fmla="*/ 4968874 w 9905999"/>
              <a:gd name="connsiteY283" fmla="*/ 220663 h 2265361"/>
              <a:gd name="connsiteX284" fmla="*/ 4340224 w 9905999"/>
              <a:gd name="connsiteY284" fmla="*/ 220663 h 2265361"/>
              <a:gd name="connsiteX285" fmla="*/ 4340224 w 9905999"/>
              <a:gd name="connsiteY285" fmla="*/ 473075 h 2265361"/>
              <a:gd name="connsiteX286" fmla="*/ 4895849 w 9905999"/>
              <a:gd name="connsiteY286" fmla="*/ 473075 h 2265361"/>
              <a:gd name="connsiteX287" fmla="*/ 4895849 w 9905999"/>
              <a:gd name="connsiteY287" fmla="*/ 690562 h 2265361"/>
              <a:gd name="connsiteX288" fmla="*/ 4340224 w 9905999"/>
              <a:gd name="connsiteY288" fmla="*/ 690562 h 2265361"/>
              <a:gd name="connsiteX289" fmla="*/ 4340224 w 9905999"/>
              <a:gd name="connsiteY289" fmla="*/ 993775 h 2265361"/>
              <a:gd name="connsiteX290" fmla="*/ 4968874 w 9905999"/>
              <a:gd name="connsiteY290" fmla="*/ 993775 h 2265361"/>
              <a:gd name="connsiteX291" fmla="*/ 4968874 w 9905999"/>
              <a:gd name="connsiteY291" fmla="*/ 1214437 h 2265361"/>
              <a:gd name="connsiteX292" fmla="*/ 4098924 w 9905999"/>
              <a:gd name="connsiteY292" fmla="*/ 1214437 h 2265361"/>
              <a:gd name="connsiteX293" fmla="*/ 3079749 w 9905999"/>
              <a:gd name="connsiteY293" fmla="*/ 0 h 2265361"/>
              <a:gd name="connsiteX294" fmla="*/ 3321049 w 9905999"/>
              <a:gd name="connsiteY294" fmla="*/ 0 h 2265361"/>
              <a:gd name="connsiteX295" fmla="*/ 3321049 w 9905999"/>
              <a:gd name="connsiteY295" fmla="*/ 984250 h 2265361"/>
              <a:gd name="connsiteX296" fmla="*/ 3871912 w 9905999"/>
              <a:gd name="connsiteY296" fmla="*/ 984250 h 2265361"/>
              <a:gd name="connsiteX297" fmla="*/ 3871912 w 9905999"/>
              <a:gd name="connsiteY297" fmla="*/ 1214437 h 2265361"/>
              <a:gd name="connsiteX298" fmla="*/ 3079749 w 9905999"/>
              <a:gd name="connsiteY298" fmla="*/ 1214437 h 2265361"/>
              <a:gd name="connsiteX299" fmla="*/ 1989138 w 9905999"/>
              <a:gd name="connsiteY299" fmla="*/ 0 h 2265361"/>
              <a:gd name="connsiteX300" fmla="*/ 2465639 w 9905999"/>
              <a:gd name="connsiteY300" fmla="*/ 0 h 2265361"/>
              <a:gd name="connsiteX301" fmla="*/ 2897188 w 9905999"/>
              <a:gd name="connsiteY301" fmla="*/ 392045 h 2265361"/>
              <a:gd name="connsiteX302" fmla="*/ 2465639 w 9905999"/>
              <a:gd name="connsiteY302" fmla="*/ 786342 h 2265361"/>
              <a:gd name="connsiteX303" fmla="*/ 2227389 w 9905999"/>
              <a:gd name="connsiteY303" fmla="*/ 786342 h 2265361"/>
              <a:gd name="connsiteX304" fmla="*/ 2227389 w 9905999"/>
              <a:gd name="connsiteY304" fmla="*/ 1214437 h 2265361"/>
              <a:gd name="connsiteX305" fmla="*/ 1989138 w 9905999"/>
              <a:gd name="connsiteY305" fmla="*/ 1214437 h 2265361"/>
              <a:gd name="connsiteX306" fmla="*/ 1989138 w 9905999"/>
              <a:gd name="connsiteY306" fmla="*/ 0 h 2265361"/>
              <a:gd name="connsiteX307" fmla="*/ 520699 w 9905999"/>
              <a:gd name="connsiteY307" fmla="*/ 0 h 2265361"/>
              <a:gd name="connsiteX308" fmla="*/ 833436 w 9905999"/>
              <a:gd name="connsiteY308" fmla="*/ 0 h 2265361"/>
              <a:gd name="connsiteX309" fmla="*/ 1135061 w 9905999"/>
              <a:gd name="connsiteY309" fmla="*/ 823912 h 2265361"/>
              <a:gd name="connsiteX310" fmla="*/ 1439862 w 9905999"/>
              <a:gd name="connsiteY310" fmla="*/ 0 h 2265361"/>
              <a:gd name="connsiteX311" fmla="*/ 1736724 w 9905999"/>
              <a:gd name="connsiteY311" fmla="*/ 0 h 2265361"/>
              <a:gd name="connsiteX312" fmla="*/ 1736724 w 9905999"/>
              <a:gd name="connsiteY312" fmla="*/ 1214437 h 2265361"/>
              <a:gd name="connsiteX313" fmla="*/ 1503362 w 9905999"/>
              <a:gd name="connsiteY313" fmla="*/ 1214437 h 2265361"/>
              <a:gd name="connsiteX314" fmla="*/ 1503362 w 9905999"/>
              <a:gd name="connsiteY314" fmla="*/ 419100 h 2265361"/>
              <a:gd name="connsiteX315" fmla="*/ 1216024 w 9905999"/>
              <a:gd name="connsiteY315" fmla="*/ 1196975 h 2265361"/>
              <a:gd name="connsiteX316" fmla="*/ 1039812 w 9905999"/>
              <a:gd name="connsiteY316" fmla="*/ 1196975 h 2265361"/>
              <a:gd name="connsiteX317" fmla="*/ 754062 w 9905999"/>
              <a:gd name="connsiteY317" fmla="*/ 409575 h 2265361"/>
              <a:gd name="connsiteX318" fmla="*/ 754062 w 9905999"/>
              <a:gd name="connsiteY318" fmla="*/ 1214437 h 2265361"/>
              <a:gd name="connsiteX319" fmla="*/ 520699 w 9905999"/>
              <a:gd name="connsiteY319" fmla="*/ 1214437 h 2265361"/>
              <a:gd name="connsiteX320" fmla="*/ 25400 w 9905999"/>
              <a:gd name="connsiteY320" fmla="*/ 0 h 2265361"/>
              <a:gd name="connsiteX321" fmla="*/ 268288 w 9905999"/>
              <a:gd name="connsiteY321" fmla="*/ 0 h 2265361"/>
              <a:gd name="connsiteX322" fmla="*/ 268288 w 9905999"/>
              <a:gd name="connsiteY322" fmla="*/ 1214437 h 2265361"/>
              <a:gd name="connsiteX323" fmla="*/ 25400 w 9905999"/>
              <a:gd name="connsiteY323" fmla="*/ 1214437 h 2265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Lst>
            <a:rect l="l" t="t" r="r" b="b"/>
            <a:pathLst>
              <a:path w="9905999" h="2265361">
                <a:moveTo>
                  <a:pt x="6778122" y="2222531"/>
                </a:moveTo>
                <a:cubicBezTo>
                  <a:pt x="6778122" y="2222531"/>
                  <a:pt x="6778122" y="2222531"/>
                  <a:pt x="7135812" y="2222531"/>
                </a:cubicBezTo>
                <a:lnTo>
                  <a:pt x="7135812" y="2265361"/>
                </a:lnTo>
                <a:cubicBezTo>
                  <a:pt x="7135812" y="2265361"/>
                  <a:pt x="7135812" y="2265361"/>
                  <a:pt x="6778122" y="2265361"/>
                </a:cubicBezTo>
                <a:cubicBezTo>
                  <a:pt x="6778122" y="2265361"/>
                  <a:pt x="6778122" y="2265361"/>
                  <a:pt x="6778122" y="2222531"/>
                </a:cubicBezTo>
                <a:close/>
                <a:moveTo>
                  <a:pt x="6449676" y="1769427"/>
                </a:moveTo>
                <a:cubicBezTo>
                  <a:pt x="6449676" y="1769427"/>
                  <a:pt x="6449676" y="1769427"/>
                  <a:pt x="6449676" y="1965546"/>
                </a:cubicBezTo>
                <a:cubicBezTo>
                  <a:pt x="6449676" y="1965546"/>
                  <a:pt x="6449676" y="1965546"/>
                  <a:pt x="6575655" y="1965546"/>
                </a:cubicBezTo>
                <a:cubicBezTo>
                  <a:pt x="6643144" y="1965546"/>
                  <a:pt x="6679138" y="1933987"/>
                  <a:pt x="6679138" y="1864105"/>
                </a:cubicBezTo>
                <a:cubicBezTo>
                  <a:pt x="6679138" y="1800986"/>
                  <a:pt x="6638645" y="1769427"/>
                  <a:pt x="6575655" y="1769427"/>
                </a:cubicBezTo>
                <a:cubicBezTo>
                  <a:pt x="6575655" y="1769427"/>
                  <a:pt x="6575655" y="1769427"/>
                  <a:pt x="6449676" y="1769427"/>
                </a:cubicBezTo>
                <a:close/>
                <a:moveTo>
                  <a:pt x="5021164" y="1769427"/>
                </a:moveTo>
                <a:cubicBezTo>
                  <a:pt x="5021164" y="1769427"/>
                  <a:pt x="5021164" y="1769427"/>
                  <a:pt x="5021164" y="1949767"/>
                </a:cubicBezTo>
                <a:cubicBezTo>
                  <a:pt x="5021164" y="1949767"/>
                  <a:pt x="5021164" y="1949767"/>
                  <a:pt x="5158391" y="1949767"/>
                </a:cubicBezTo>
                <a:cubicBezTo>
                  <a:pt x="5219131" y="1949767"/>
                  <a:pt x="5261874" y="1924970"/>
                  <a:pt x="5261874" y="1859597"/>
                </a:cubicBezTo>
                <a:cubicBezTo>
                  <a:pt x="5261874" y="1794223"/>
                  <a:pt x="5219131" y="1769427"/>
                  <a:pt x="5158391" y="1769427"/>
                </a:cubicBezTo>
                <a:cubicBezTo>
                  <a:pt x="5158391" y="1769427"/>
                  <a:pt x="5158391" y="1769427"/>
                  <a:pt x="5021164" y="1769427"/>
                </a:cubicBezTo>
                <a:close/>
                <a:moveTo>
                  <a:pt x="5597068" y="1762664"/>
                </a:moveTo>
                <a:cubicBezTo>
                  <a:pt x="5563324" y="1762664"/>
                  <a:pt x="5529579" y="1776189"/>
                  <a:pt x="5504834" y="1800986"/>
                </a:cubicBezTo>
                <a:cubicBezTo>
                  <a:pt x="5462091" y="1843817"/>
                  <a:pt x="5459841" y="1913699"/>
                  <a:pt x="5459841" y="1967800"/>
                </a:cubicBezTo>
                <a:cubicBezTo>
                  <a:pt x="5459841" y="2019648"/>
                  <a:pt x="5462091" y="2089530"/>
                  <a:pt x="5504834" y="2132361"/>
                </a:cubicBezTo>
                <a:cubicBezTo>
                  <a:pt x="5529579" y="2159412"/>
                  <a:pt x="5563324" y="2170683"/>
                  <a:pt x="5597068" y="2170683"/>
                </a:cubicBezTo>
                <a:cubicBezTo>
                  <a:pt x="5633062" y="2170683"/>
                  <a:pt x="5666807" y="2159412"/>
                  <a:pt x="5691552" y="2132361"/>
                </a:cubicBezTo>
                <a:cubicBezTo>
                  <a:pt x="5732046" y="2089530"/>
                  <a:pt x="5734295" y="2019648"/>
                  <a:pt x="5734295" y="1967800"/>
                </a:cubicBezTo>
                <a:cubicBezTo>
                  <a:pt x="5734295" y="1913699"/>
                  <a:pt x="5732046" y="1843817"/>
                  <a:pt x="5691552" y="1800986"/>
                </a:cubicBezTo>
                <a:cubicBezTo>
                  <a:pt x="5666807" y="1776189"/>
                  <a:pt x="5633062" y="1762664"/>
                  <a:pt x="5597068" y="1762664"/>
                </a:cubicBezTo>
                <a:close/>
                <a:moveTo>
                  <a:pt x="654642" y="1762664"/>
                </a:moveTo>
                <a:cubicBezTo>
                  <a:pt x="618647" y="1762664"/>
                  <a:pt x="584903" y="1776189"/>
                  <a:pt x="560157" y="1800986"/>
                </a:cubicBezTo>
                <a:cubicBezTo>
                  <a:pt x="519664" y="1843817"/>
                  <a:pt x="517414" y="1913699"/>
                  <a:pt x="517414" y="1967800"/>
                </a:cubicBezTo>
                <a:cubicBezTo>
                  <a:pt x="517414" y="2019648"/>
                  <a:pt x="519664" y="2089530"/>
                  <a:pt x="560157" y="2132361"/>
                </a:cubicBezTo>
                <a:cubicBezTo>
                  <a:pt x="584903" y="2159412"/>
                  <a:pt x="618647" y="2170683"/>
                  <a:pt x="654642" y="2170683"/>
                </a:cubicBezTo>
                <a:cubicBezTo>
                  <a:pt x="688386" y="2170683"/>
                  <a:pt x="722130" y="2159412"/>
                  <a:pt x="746876" y="2132361"/>
                </a:cubicBezTo>
                <a:cubicBezTo>
                  <a:pt x="789619" y="2089530"/>
                  <a:pt x="791868" y="2019648"/>
                  <a:pt x="791868" y="1967800"/>
                </a:cubicBezTo>
                <a:cubicBezTo>
                  <a:pt x="791868" y="1913699"/>
                  <a:pt x="789619" y="1843817"/>
                  <a:pt x="746876" y="1800986"/>
                </a:cubicBezTo>
                <a:cubicBezTo>
                  <a:pt x="722130" y="1776189"/>
                  <a:pt x="688386" y="1762664"/>
                  <a:pt x="654642" y="1762664"/>
                </a:cubicBezTo>
                <a:close/>
                <a:moveTo>
                  <a:pt x="6386687" y="1710816"/>
                </a:moveTo>
                <a:cubicBezTo>
                  <a:pt x="6386687" y="1710816"/>
                  <a:pt x="6386687" y="1710816"/>
                  <a:pt x="6575655" y="1710816"/>
                </a:cubicBezTo>
                <a:cubicBezTo>
                  <a:pt x="6636395" y="1710816"/>
                  <a:pt x="6679138" y="1726596"/>
                  <a:pt x="6706134" y="1755901"/>
                </a:cubicBezTo>
                <a:cubicBezTo>
                  <a:pt x="6730880" y="1782952"/>
                  <a:pt x="6744377" y="1821274"/>
                  <a:pt x="6744377" y="1864105"/>
                </a:cubicBezTo>
                <a:cubicBezTo>
                  <a:pt x="6744377" y="1915953"/>
                  <a:pt x="6730880" y="1954275"/>
                  <a:pt x="6701634" y="1981326"/>
                </a:cubicBezTo>
                <a:cubicBezTo>
                  <a:pt x="6674639" y="2008377"/>
                  <a:pt x="6634146" y="2024157"/>
                  <a:pt x="6577905" y="2024157"/>
                </a:cubicBezTo>
                <a:cubicBezTo>
                  <a:pt x="6577905" y="2024157"/>
                  <a:pt x="6577905" y="2024157"/>
                  <a:pt x="6449676" y="2024157"/>
                </a:cubicBezTo>
                <a:cubicBezTo>
                  <a:pt x="6449676" y="2024157"/>
                  <a:pt x="6449676" y="2024157"/>
                  <a:pt x="6449676" y="2222531"/>
                </a:cubicBezTo>
                <a:cubicBezTo>
                  <a:pt x="6449676" y="2222531"/>
                  <a:pt x="6449676" y="2222531"/>
                  <a:pt x="6386687" y="2222531"/>
                </a:cubicBezTo>
                <a:cubicBezTo>
                  <a:pt x="6386687" y="2222531"/>
                  <a:pt x="6386687" y="2222531"/>
                  <a:pt x="6386687" y="1710816"/>
                </a:cubicBezTo>
                <a:close/>
                <a:moveTo>
                  <a:pt x="5889520" y="1710816"/>
                </a:moveTo>
                <a:cubicBezTo>
                  <a:pt x="5889520" y="1710816"/>
                  <a:pt x="5889520" y="1710816"/>
                  <a:pt x="5954759" y="1710816"/>
                </a:cubicBezTo>
                <a:cubicBezTo>
                  <a:pt x="5954759" y="1710816"/>
                  <a:pt x="5954759" y="1710816"/>
                  <a:pt x="5954759" y="2035428"/>
                </a:cubicBezTo>
                <a:cubicBezTo>
                  <a:pt x="5954759" y="2118835"/>
                  <a:pt x="5988503" y="2172937"/>
                  <a:pt x="6076239" y="2172937"/>
                </a:cubicBezTo>
                <a:cubicBezTo>
                  <a:pt x="6166224" y="2172937"/>
                  <a:pt x="6199968" y="2118835"/>
                  <a:pt x="6199968" y="2035428"/>
                </a:cubicBezTo>
                <a:cubicBezTo>
                  <a:pt x="6199968" y="2035428"/>
                  <a:pt x="6199968" y="2035428"/>
                  <a:pt x="6199968" y="1710816"/>
                </a:cubicBezTo>
                <a:cubicBezTo>
                  <a:pt x="6199968" y="1710816"/>
                  <a:pt x="6199968" y="1710816"/>
                  <a:pt x="6262957" y="1710816"/>
                </a:cubicBezTo>
                <a:cubicBezTo>
                  <a:pt x="6262957" y="1710816"/>
                  <a:pt x="6262957" y="1710816"/>
                  <a:pt x="6262957" y="2035428"/>
                </a:cubicBezTo>
                <a:cubicBezTo>
                  <a:pt x="6262957" y="2163920"/>
                  <a:pt x="6190969" y="2231547"/>
                  <a:pt x="6076239" y="2231547"/>
                </a:cubicBezTo>
                <a:cubicBezTo>
                  <a:pt x="5961508" y="2231547"/>
                  <a:pt x="5889520" y="2163920"/>
                  <a:pt x="5889520" y="2035428"/>
                </a:cubicBezTo>
                <a:cubicBezTo>
                  <a:pt x="5889520" y="2035428"/>
                  <a:pt x="5889520" y="2035428"/>
                  <a:pt x="5889520" y="1710816"/>
                </a:cubicBezTo>
                <a:close/>
                <a:moveTo>
                  <a:pt x="4958174" y="1710816"/>
                </a:moveTo>
                <a:cubicBezTo>
                  <a:pt x="4958174" y="1710816"/>
                  <a:pt x="4958174" y="1710816"/>
                  <a:pt x="5158391" y="1710816"/>
                </a:cubicBezTo>
                <a:cubicBezTo>
                  <a:pt x="5219131" y="1710816"/>
                  <a:pt x="5259624" y="1726596"/>
                  <a:pt x="5288869" y="1755901"/>
                </a:cubicBezTo>
                <a:cubicBezTo>
                  <a:pt x="5313615" y="1782952"/>
                  <a:pt x="5329363" y="1814512"/>
                  <a:pt x="5329363" y="1859597"/>
                </a:cubicBezTo>
                <a:cubicBezTo>
                  <a:pt x="5329363" y="1904682"/>
                  <a:pt x="5313615" y="1936241"/>
                  <a:pt x="5288869" y="1961038"/>
                </a:cubicBezTo>
                <a:cubicBezTo>
                  <a:pt x="5275372" y="1976817"/>
                  <a:pt x="5252875" y="1990343"/>
                  <a:pt x="5228130" y="1997106"/>
                </a:cubicBezTo>
                <a:cubicBezTo>
                  <a:pt x="5228130" y="1997106"/>
                  <a:pt x="5228130" y="1997106"/>
                  <a:pt x="5331612" y="2222531"/>
                </a:cubicBezTo>
                <a:lnTo>
                  <a:pt x="5259624" y="2222531"/>
                </a:lnTo>
                <a:cubicBezTo>
                  <a:pt x="5259624" y="2222531"/>
                  <a:pt x="5259624" y="2222531"/>
                  <a:pt x="5162890" y="2010631"/>
                </a:cubicBezTo>
                <a:cubicBezTo>
                  <a:pt x="5162890" y="2010631"/>
                  <a:pt x="5162890" y="2010631"/>
                  <a:pt x="5021164" y="2010631"/>
                </a:cubicBezTo>
                <a:cubicBezTo>
                  <a:pt x="5021164" y="2010631"/>
                  <a:pt x="5021164" y="2010631"/>
                  <a:pt x="5021164" y="2222531"/>
                </a:cubicBezTo>
                <a:cubicBezTo>
                  <a:pt x="5021164" y="2222531"/>
                  <a:pt x="5021164" y="2222531"/>
                  <a:pt x="4958174" y="2222531"/>
                </a:cubicBezTo>
                <a:cubicBezTo>
                  <a:pt x="4958174" y="2222531"/>
                  <a:pt x="4958174" y="2222531"/>
                  <a:pt x="4958174" y="1710816"/>
                </a:cubicBezTo>
                <a:close/>
                <a:moveTo>
                  <a:pt x="3309199" y="1710816"/>
                </a:moveTo>
                <a:cubicBezTo>
                  <a:pt x="3309199" y="1710816"/>
                  <a:pt x="3309199" y="1710816"/>
                  <a:pt x="3381187" y="1710816"/>
                </a:cubicBezTo>
                <a:cubicBezTo>
                  <a:pt x="3381187" y="1710816"/>
                  <a:pt x="3381187" y="1710816"/>
                  <a:pt x="3633145" y="2123344"/>
                </a:cubicBezTo>
                <a:cubicBezTo>
                  <a:pt x="3633145" y="2123344"/>
                  <a:pt x="3633145" y="2123344"/>
                  <a:pt x="3633145" y="1710816"/>
                </a:cubicBezTo>
                <a:cubicBezTo>
                  <a:pt x="3633145" y="1710816"/>
                  <a:pt x="3633145" y="1710816"/>
                  <a:pt x="3693885" y="1710816"/>
                </a:cubicBezTo>
                <a:cubicBezTo>
                  <a:pt x="3693885" y="1710816"/>
                  <a:pt x="3693885" y="1710816"/>
                  <a:pt x="3693885" y="2222531"/>
                </a:cubicBezTo>
                <a:lnTo>
                  <a:pt x="3621897" y="2222531"/>
                </a:lnTo>
                <a:cubicBezTo>
                  <a:pt x="3621897" y="2222531"/>
                  <a:pt x="3621897" y="2222531"/>
                  <a:pt x="3372188" y="1810003"/>
                </a:cubicBezTo>
                <a:cubicBezTo>
                  <a:pt x="3372188" y="1810003"/>
                  <a:pt x="3372188" y="1810003"/>
                  <a:pt x="3372188" y="2222531"/>
                </a:cubicBezTo>
                <a:cubicBezTo>
                  <a:pt x="3372188" y="2222531"/>
                  <a:pt x="3372188" y="2222531"/>
                  <a:pt x="3309199" y="2222531"/>
                </a:cubicBezTo>
                <a:cubicBezTo>
                  <a:pt x="3309199" y="2222531"/>
                  <a:pt x="3309199" y="2222531"/>
                  <a:pt x="3309199" y="1710816"/>
                </a:cubicBezTo>
                <a:close/>
                <a:moveTo>
                  <a:pt x="3106732" y="1710816"/>
                </a:moveTo>
                <a:cubicBezTo>
                  <a:pt x="3106732" y="1710816"/>
                  <a:pt x="3106732" y="1710816"/>
                  <a:pt x="3171971" y="1710816"/>
                </a:cubicBezTo>
                <a:lnTo>
                  <a:pt x="3171971" y="2222531"/>
                </a:lnTo>
                <a:cubicBezTo>
                  <a:pt x="3171971" y="2222531"/>
                  <a:pt x="3171971" y="2222531"/>
                  <a:pt x="3106732" y="2222531"/>
                </a:cubicBezTo>
                <a:cubicBezTo>
                  <a:pt x="3106732" y="2222531"/>
                  <a:pt x="3106732" y="2222531"/>
                  <a:pt x="3106732" y="1710816"/>
                </a:cubicBezTo>
                <a:close/>
                <a:moveTo>
                  <a:pt x="2663557" y="1710816"/>
                </a:moveTo>
                <a:cubicBezTo>
                  <a:pt x="2663557" y="1710816"/>
                  <a:pt x="2663557" y="1710816"/>
                  <a:pt x="3032495" y="1710816"/>
                </a:cubicBezTo>
                <a:cubicBezTo>
                  <a:pt x="3032495" y="1710816"/>
                  <a:pt x="3032495" y="1710816"/>
                  <a:pt x="3032495" y="1769427"/>
                </a:cubicBezTo>
                <a:lnTo>
                  <a:pt x="2879521" y="1769427"/>
                </a:lnTo>
                <a:cubicBezTo>
                  <a:pt x="2879521" y="1769427"/>
                  <a:pt x="2879521" y="1769427"/>
                  <a:pt x="2879521" y="2222531"/>
                </a:cubicBezTo>
                <a:cubicBezTo>
                  <a:pt x="2879521" y="2222531"/>
                  <a:pt x="2879521" y="2222531"/>
                  <a:pt x="2814282" y="2222531"/>
                </a:cubicBezTo>
                <a:cubicBezTo>
                  <a:pt x="2814282" y="2222531"/>
                  <a:pt x="2814282" y="2222531"/>
                  <a:pt x="2814282" y="1769427"/>
                </a:cubicBezTo>
                <a:cubicBezTo>
                  <a:pt x="2814282" y="1769427"/>
                  <a:pt x="2814282" y="1769427"/>
                  <a:pt x="2663557" y="1769427"/>
                </a:cubicBezTo>
                <a:cubicBezTo>
                  <a:pt x="2663557" y="1769427"/>
                  <a:pt x="2663557" y="1769427"/>
                  <a:pt x="2663557" y="1710816"/>
                </a:cubicBezTo>
                <a:close/>
                <a:moveTo>
                  <a:pt x="2416099" y="1710816"/>
                </a:moveTo>
                <a:cubicBezTo>
                  <a:pt x="2416099" y="1710816"/>
                  <a:pt x="2416099" y="1710816"/>
                  <a:pt x="2481338" y="1710816"/>
                </a:cubicBezTo>
                <a:cubicBezTo>
                  <a:pt x="2481338" y="1710816"/>
                  <a:pt x="2481338" y="1710816"/>
                  <a:pt x="2481338" y="2163920"/>
                </a:cubicBezTo>
                <a:cubicBezTo>
                  <a:pt x="2481338" y="2163920"/>
                  <a:pt x="2481338" y="2163920"/>
                  <a:pt x="2726547" y="2163920"/>
                </a:cubicBezTo>
                <a:cubicBezTo>
                  <a:pt x="2726547" y="2163920"/>
                  <a:pt x="2726547" y="2163920"/>
                  <a:pt x="2726547" y="2222531"/>
                </a:cubicBezTo>
                <a:lnTo>
                  <a:pt x="2416099" y="2222531"/>
                </a:lnTo>
                <a:cubicBezTo>
                  <a:pt x="2416099" y="2222531"/>
                  <a:pt x="2416099" y="2222531"/>
                  <a:pt x="2416099" y="1710816"/>
                </a:cubicBezTo>
                <a:close/>
                <a:moveTo>
                  <a:pt x="1918931" y="1710816"/>
                </a:moveTo>
                <a:cubicBezTo>
                  <a:pt x="1918931" y="1710816"/>
                  <a:pt x="1918931" y="1710816"/>
                  <a:pt x="1984171" y="1710816"/>
                </a:cubicBezTo>
                <a:cubicBezTo>
                  <a:pt x="1984171" y="1710816"/>
                  <a:pt x="1984171" y="1710816"/>
                  <a:pt x="1984171" y="2035428"/>
                </a:cubicBezTo>
                <a:cubicBezTo>
                  <a:pt x="1984171" y="2118835"/>
                  <a:pt x="2017916" y="2172937"/>
                  <a:pt x="2105651" y="2172937"/>
                </a:cubicBezTo>
                <a:cubicBezTo>
                  <a:pt x="2195636" y="2172937"/>
                  <a:pt x="2229380" y="2118835"/>
                  <a:pt x="2229380" y="2035428"/>
                </a:cubicBezTo>
                <a:cubicBezTo>
                  <a:pt x="2229380" y="2035428"/>
                  <a:pt x="2229380" y="2035428"/>
                  <a:pt x="2229380" y="1710816"/>
                </a:cubicBezTo>
                <a:cubicBezTo>
                  <a:pt x="2229380" y="1710816"/>
                  <a:pt x="2229380" y="1710816"/>
                  <a:pt x="2292369" y="1710816"/>
                </a:cubicBezTo>
                <a:cubicBezTo>
                  <a:pt x="2292369" y="1710816"/>
                  <a:pt x="2292369" y="1710816"/>
                  <a:pt x="2292369" y="2035428"/>
                </a:cubicBezTo>
                <a:cubicBezTo>
                  <a:pt x="2292369" y="2163920"/>
                  <a:pt x="2220382" y="2231547"/>
                  <a:pt x="2105651" y="2231547"/>
                </a:cubicBezTo>
                <a:cubicBezTo>
                  <a:pt x="1990920" y="2231547"/>
                  <a:pt x="1918931" y="2163920"/>
                  <a:pt x="1918931" y="2035428"/>
                </a:cubicBezTo>
                <a:cubicBezTo>
                  <a:pt x="1918931" y="2035428"/>
                  <a:pt x="1918931" y="2035428"/>
                  <a:pt x="1918931" y="1710816"/>
                </a:cubicBezTo>
                <a:close/>
                <a:moveTo>
                  <a:pt x="960591" y="1710816"/>
                </a:moveTo>
                <a:cubicBezTo>
                  <a:pt x="960591" y="1710816"/>
                  <a:pt x="960591" y="1710816"/>
                  <a:pt x="1032578" y="1710816"/>
                </a:cubicBezTo>
                <a:cubicBezTo>
                  <a:pt x="1032578" y="1710816"/>
                  <a:pt x="1032578" y="1710816"/>
                  <a:pt x="1284537" y="2123344"/>
                </a:cubicBezTo>
                <a:cubicBezTo>
                  <a:pt x="1284537" y="2123344"/>
                  <a:pt x="1284537" y="2123344"/>
                  <a:pt x="1284537" y="1710816"/>
                </a:cubicBezTo>
                <a:cubicBezTo>
                  <a:pt x="1284537" y="1710816"/>
                  <a:pt x="1284537" y="1710816"/>
                  <a:pt x="1345276" y="1710816"/>
                </a:cubicBezTo>
                <a:cubicBezTo>
                  <a:pt x="1345276" y="1710816"/>
                  <a:pt x="1345276" y="1710816"/>
                  <a:pt x="1345276" y="2222531"/>
                </a:cubicBezTo>
                <a:lnTo>
                  <a:pt x="1273289" y="2222531"/>
                </a:lnTo>
                <a:cubicBezTo>
                  <a:pt x="1273289" y="2222531"/>
                  <a:pt x="1273289" y="2222531"/>
                  <a:pt x="1023580" y="1810003"/>
                </a:cubicBezTo>
                <a:cubicBezTo>
                  <a:pt x="1023580" y="1810003"/>
                  <a:pt x="1023580" y="1810003"/>
                  <a:pt x="1023580" y="2222531"/>
                </a:cubicBezTo>
                <a:cubicBezTo>
                  <a:pt x="1023580" y="2222531"/>
                  <a:pt x="1023580" y="2222531"/>
                  <a:pt x="960591" y="2222531"/>
                </a:cubicBezTo>
                <a:cubicBezTo>
                  <a:pt x="960591" y="2222531"/>
                  <a:pt x="960591" y="2222531"/>
                  <a:pt x="960591" y="1710816"/>
                </a:cubicBezTo>
                <a:close/>
                <a:moveTo>
                  <a:pt x="5597068" y="1701799"/>
                </a:moveTo>
                <a:cubicBezTo>
                  <a:pt x="5648810" y="1701799"/>
                  <a:pt x="5698301" y="1719833"/>
                  <a:pt x="5736545" y="1755901"/>
                </a:cubicBezTo>
                <a:cubicBezTo>
                  <a:pt x="5790536" y="1810003"/>
                  <a:pt x="5801784" y="1884393"/>
                  <a:pt x="5801784" y="1967800"/>
                </a:cubicBezTo>
                <a:cubicBezTo>
                  <a:pt x="5801784" y="2048953"/>
                  <a:pt x="5790536" y="2123344"/>
                  <a:pt x="5736545" y="2177446"/>
                </a:cubicBezTo>
                <a:cubicBezTo>
                  <a:pt x="5698301" y="2213514"/>
                  <a:pt x="5648810" y="2233802"/>
                  <a:pt x="5597068" y="2233802"/>
                </a:cubicBezTo>
                <a:cubicBezTo>
                  <a:pt x="5547576" y="2233802"/>
                  <a:pt x="5495835" y="2213514"/>
                  <a:pt x="5459841" y="2177446"/>
                </a:cubicBezTo>
                <a:cubicBezTo>
                  <a:pt x="5403600" y="2123344"/>
                  <a:pt x="5394602" y="2048953"/>
                  <a:pt x="5394602" y="1967800"/>
                </a:cubicBezTo>
                <a:cubicBezTo>
                  <a:pt x="5394602" y="1884393"/>
                  <a:pt x="5403600" y="1810003"/>
                  <a:pt x="5459841" y="1755901"/>
                </a:cubicBezTo>
                <a:cubicBezTo>
                  <a:pt x="5495835" y="1719833"/>
                  <a:pt x="5547576" y="1701799"/>
                  <a:pt x="5597068" y="1701799"/>
                </a:cubicBezTo>
                <a:close/>
                <a:moveTo>
                  <a:pt x="4645477" y="1701799"/>
                </a:moveTo>
                <a:cubicBezTo>
                  <a:pt x="4701717" y="1701799"/>
                  <a:pt x="4755708" y="1722087"/>
                  <a:pt x="4791702" y="1758155"/>
                </a:cubicBezTo>
                <a:cubicBezTo>
                  <a:pt x="4816448" y="1785206"/>
                  <a:pt x="4832195" y="1816766"/>
                  <a:pt x="4834445" y="1859597"/>
                </a:cubicBezTo>
                <a:cubicBezTo>
                  <a:pt x="4834445" y="1859597"/>
                  <a:pt x="4834445" y="1859597"/>
                  <a:pt x="4766956" y="1859597"/>
                </a:cubicBezTo>
                <a:cubicBezTo>
                  <a:pt x="4764707" y="1834800"/>
                  <a:pt x="4757958" y="1819020"/>
                  <a:pt x="4744460" y="1803240"/>
                </a:cubicBezTo>
                <a:cubicBezTo>
                  <a:pt x="4721964" y="1773935"/>
                  <a:pt x="4685970" y="1762664"/>
                  <a:pt x="4645477" y="1762664"/>
                </a:cubicBezTo>
                <a:cubicBezTo>
                  <a:pt x="4609482" y="1762664"/>
                  <a:pt x="4575738" y="1776189"/>
                  <a:pt x="4550992" y="1800986"/>
                </a:cubicBezTo>
                <a:cubicBezTo>
                  <a:pt x="4510499" y="1843817"/>
                  <a:pt x="4506000" y="1913699"/>
                  <a:pt x="4506000" y="1967800"/>
                </a:cubicBezTo>
                <a:cubicBezTo>
                  <a:pt x="4506000" y="2017394"/>
                  <a:pt x="4510499" y="2091784"/>
                  <a:pt x="4553242" y="2134615"/>
                </a:cubicBezTo>
                <a:cubicBezTo>
                  <a:pt x="4577988" y="2161666"/>
                  <a:pt x="4609482" y="2172937"/>
                  <a:pt x="4645477" y="2172937"/>
                </a:cubicBezTo>
                <a:cubicBezTo>
                  <a:pt x="4681471" y="2172937"/>
                  <a:pt x="4715215" y="2159412"/>
                  <a:pt x="4737711" y="2136869"/>
                </a:cubicBezTo>
                <a:cubicBezTo>
                  <a:pt x="4771456" y="2103055"/>
                  <a:pt x="4780454" y="2053462"/>
                  <a:pt x="4780454" y="2006123"/>
                </a:cubicBezTo>
                <a:cubicBezTo>
                  <a:pt x="4780454" y="2006123"/>
                  <a:pt x="4780454" y="2006123"/>
                  <a:pt x="4645477" y="2006123"/>
                </a:cubicBezTo>
                <a:cubicBezTo>
                  <a:pt x="4645477" y="2006123"/>
                  <a:pt x="4645477" y="2006123"/>
                  <a:pt x="4645477" y="1947512"/>
                </a:cubicBezTo>
                <a:cubicBezTo>
                  <a:pt x="4645477" y="1947512"/>
                  <a:pt x="4645477" y="1947512"/>
                  <a:pt x="4838944" y="1947512"/>
                </a:cubicBezTo>
                <a:cubicBezTo>
                  <a:pt x="4838944" y="1947512"/>
                  <a:pt x="4838944" y="1947512"/>
                  <a:pt x="4838944" y="2222531"/>
                </a:cubicBezTo>
                <a:lnTo>
                  <a:pt x="4793952" y="2222531"/>
                </a:lnTo>
                <a:cubicBezTo>
                  <a:pt x="4793952" y="2222531"/>
                  <a:pt x="4793952" y="2222531"/>
                  <a:pt x="4782704" y="2161666"/>
                </a:cubicBezTo>
                <a:cubicBezTo>
                  <a:pt x="4757958" y="2204497"/>
                  <a:pt x="4701717" y="2233802"/>
                  <a:pt x="4645477" y="2233802"/>
                </a:cubicBezTo>
                <a:cubicBezTo>
                  <a:pt x="4593735" y="2233802"/>
                  <a:pt x="4544243" y="2215768"/>
                  <a:pt x="4506000" y="2179700"/>
                </a:cubicBezTo>
                <a:cubicBezTo>
                  <a:pt x="4454258" y="2130106"/>
                  <a:pt x="4440761" y="2057970"/>
                  <a:pt x="4440761" y="1967800"/>
                </a:cubicBezTo>
                <a:cubicBezTo>
                  <a:pt x="4440761" y="1884393"/>
                  <a:pt x="4452009" y="1810003"/>
                  <a:pt x="4506000" y="1755901"/>
                </a:cubicBezTo>
                <a:cubicBezTo>
                  <a:pt x="4544243" y="1719833"/>
                  <a:pt x="4593735" y="1701799"/>
                  <a:pt x="4645477" y="1701799"/>
                </a:cubicBezTo>
                <a:close/>
                <a:moveTo>
                  <a:pt x="4002083" y="1701799"/>
                </a:moveTo>
                <a:cubicBezTo>
                  <a:pt x="4060574" y="1701799"/>
                  <a:pt x="4112315" y="1722087"/>
                  <a:pt x="4148309" y="1758155"/>
                </a:cubicBezTo>
                <a:cubicBezTo>
                  <a:pt x="4173055" y="1785206"/>
                  <a:pt x="4191052" y="1816766"/>
                  <a:pt x="4193302" y="1859597"/>
                </a:cubicBezTo>
                <a:cubicBezTo>
                  <a:pt x="4193302" y="1859597"/>
                  <a:pt x="4193302" y="1859597"/>
                  <a:pt x="4125813" y="1859597"/>
                </a:cubicBezTo>
                <a:cubicBezTo>
                  <a:pt x="4123563" y="1834800"/>
                  <a:pt x="4114565" y="1819020"/>
                  <a:pt x="4103317" y="1803240"/>
                </a:cubicBezTo>
                <a:cubicBezTo>
                  <a:pt x="4078571" y="1773935"/>
                  <a:pt x="4044826" y="1762664"/>
                  <a:pt x="4002083" y="1762664"/>
                </a:cubicBezTo>
                <a:cubicBezTo>
                  <a:pt x="3968339" y="1762664"/>
                  <a:pt x="3934595" y="1776189"/>
                  <a:pt x="3909849" y="1800986"/>
                </a:cubicBezTo>
                <a:cubicBezTo>
                  <a:pt x="3867106" y="1843817"/>
                  <a:pt x="3864856" y="1913699"/>
                  <a:pt x="3864856" y="1967800"/>
                </a:cubicBezTo>
                <a:cubicBezTo>
                  <a:pt x="3864856" y="2017394"/>
                  <a:pt x="3867106" y="2091784"/>
                  <a:pt x="3909849" y="2134615"/>
                </a:cubicBezTo>
                <a:cubicBezTo>
                  <a:pt x="3934595" y="2161666"/>
                  <a:pt x="3968339" y="2172937"/>
                  <a:pt x="4002083" y="2172937"/>
                </a:cubicBezTo>
                <a:cubicBezTo>
                  <a:pt x="4038077" y="2172937"/>
                  <a:pt x="4071822" y="2159412"/>
                  <a:pt x="4094318" y="2136869"/>
                </a:cubicBezTo>
                <a:cubicBezTo>
                  <a:pt x="4130312" y="2103055"/>
                  <a:pt x="4139311" y="2053462"/>
                  <a:pt x="4139311" y="2006123"/>
                </a:cubicBezTo>
                <a:cubicBezTo>
                  <a:pt x="4139311" y="2006123"/>
                  <a:pt x="4139311" y="2006123"/>
                  <a:pt x="4002083" y="2006123"/>
                </a:cubicBezTo>
                <a:cubicBezTo>
                  <a:pt x="4002083" y="2006123"/>
                  <a:pt x="4002083" y="2006123"/>
                  <a:pt x="4002083" y="1947512"/>
                </a:cubicBezTo>
                <a:cubicBezTo>
                  <a:pt x="4002083" y="1947512"/>
                  <a:pt x="4002083" y="1947512"/>
                  <a:pt x="4197801" y="1947512"/>
                </a:cubicBezTo>
                <a:cubicBezTo>
                  <a:pt x="4197801" y="1947512"/>
                  <a:pt x="4197801" y="1947512"/>
                  <a:pt x="4197801" y="2222531"/>
                </a:cubicBezTo>
                <a:lnTo>
                  <a:pt x="4152808" y="2222531"/>
                </a:lnTo>
                <a:cubicBezTo>
                  <a:pt x="4152808" y="2222531"/>
                  <a:pt x="4152808" y="2222531"/>
                  <a:pt x="4141560" y="2161666"/>
                </a:cubicBezTo>
                <a:cubicBezTo>
                  <a:pt x="4116814" y="2204497"/>
                  <a:pt x="4060574" y="2233802"/>
                  <a:pt x="4002083" y="2233802"/>
                </a:cubicBezTo>
                <a:cubicBezTo>
                  <a:pt x="3950342" y="2233802"/>
                  <a:pt x="3900850" y="2215768"/>
                  <a:pt x="3864856" y="2179700"/>
                </a:cubicBezTo>
                <a:cubicBezTo>
                  <a:pt x="3813115" y="2130106"/>
                  <a:pt x="3797367" y="2057970"/>
                  <a:pt x="3797367" y="1967800"/>
                </a:cubicBezTo>
                <a:cubicBezTo>
                  <a:pt x="3797367" y="1884393"/>
                  <a:pt x="3808616" y="1810003"/>
                  <a:pt x="3864856" y="1755901"/>
                </a:cubicBezTo>
                <a:cubicBezTo>
                  <a:pt x="3900850" y="1719833"/>
                  <a:pt x="3950342" y="1701799"/>
                  <a:pt x="4002083" y="1701799"/>
                </a:cubicBezTo>
                <a:close/>
                <a:moveTo>
                  <a:pt x="1642228" y="1701799"/>
                </a:moveTo>
                <a:cubicBezTo>
                  <a:pt x="1691719" y="1701799"/>
                  <a:pt x="1741211" y="1717579"/>
                  <a:pt x="1774955" y="1749138"/>
                </a:cubicBezTo>
                <a:cubicBezTo>
                  <a:pt x="1806450" y="1780698"/>
                  <a:pt x="1822198" y="1816766"/>
                  <a:pt x="1824447" y="1859597"/>
                </a:cubicBezTo>
                <a:cubicBezTo>
                  <a:pt x="1824447" y="1859597"/>
                  <a:pt x="1824447" y="1859597"/>
                  <a:pt x="1756958" y="1859597"/>
                </a:cubicBezTo>
                <a:cubicBezTo>
                  <a:pt x="1754708" y="1834800"/>
                  <a:pt x="1745710" y="1812257"/>
                  <a:pt x="1732212" y="1796478"/>
                </a:cubicBezTo>
                <a:cubicBezTo>
                  <a:pt x="1711966" y="1773935"/>
                  <a:pt x="1680471" y="1760410"/>
                  <a:pt x="1639978" y="1760410"/>
                </a:cubicBezTo>
                <a:cubicBezTo>
                  <a:pt x="1603983" y="1760410"/>
                  <a:pt x="1572489" y="1769427"/>
                  <a:pt x="1549993" y="1796478"/>
                </a:cubicBezTo>
                <a:cubicBezTo>
                  <a:pt x="1536494" y="1810003"/>
                  <a:pt x="1529746" y="1828037"/>
                  <a:pt x="1529746" y="1850580"/>
                </a:cubicBezTo>
                <a:cubicBezTo>
                  <a:pt x="1529746" y="1897919"/>
                  <a:pt x="1567989" y="1918207"/>
                  <a:pt x="1606234" y="1922716"/>
                </a:cubicBezTo>
                <a:cubicBezTo>
                  <a:pt x="1635478" y="1927224"/>
                  <a:pt x="1662474" y="1931733"/>
                  <a:pt x="1691719" y="1936241"/>
                </a:cubicBezTo>
                <a:cubicBezTo>
                  <a:pt x="1774955" y="1949767"/>
                  <a:pt x="1833445" y="2001614"/>
                  <a:pt x="1833445" y="2082767"/>
                </a:cubicBezTo>
                <a:cubicBezTo>
                  <a:pt x="1833445" y="2125598"/>
                  <a:pt x="1815448" y="2157157"/>
                  <a:pt x="1790703" y="2181954"/>
                </a:cubicBezTo>
                <a:cubicBezTo>
                  <a:pt x="1754708" y="2215768"/>
                  <a:pt x="1698468" y="2231547"/>
                  <a:pt x="1644477" y="2231547"/>
                </a:cubicBezTo>
                <a:cubicBezTo>
                  <a:pt x="1581488" y="2231547"/>
                  <a:pt x="1531996" y="2215768"/>
                  <a:pt x="1498251" y="2184208"/>
                </a:cubicBezTo>
                <a:cubicBezTo>
                  <a:pt x="1466757" y="2152649"/>
                  <a:pt x="1444260" y="2109818"/>
                  <a:pt x="1444260" y="2060225"/>
                </a:cubicBezTo>
                <a:cubicBezTo>
                  <a:pt x="1444260" y="2060225"/>
                  <a:pt x="1444260" y="2060225"/>
                  <a:pt x="1509499" y="2060225"/>
                </a:cubicBezTo>
                <a:cubicBezTo>
                  <a:pt x="1509499" y="2091784"/>
                  <a:pt x="1525247" y="2121089"/>
                  <a:pt x="1545494" y="2141378"/>
                </a:cubicBezTo>
                <a:cubicBezTo>
                  <a:pt x="1570239" y="2163920"/>
                  <a:pt x="1608483" y="2172937"/>
                  <a:pt x="1644477" y="2172937"/>
                </a:cubicBezTo>
                <a:cubicBezTo>
                  <a:pt x="1682720" y="2172937"/>
                  <a:pt x="1716465" y="2166174"/>
                  <a:pt x="1738962" y="2143632"/>
                </a:cubicBezTo>
                <a:cubicBezTo>
                  <a:pt x="1754708" y="2130106"/>
                  <a:pt x="1765956" y="2109818"/>
                  <a:pt x="1765956" y="2082767"/>
                </a:cubicBezTo>
                <a:cubicBezTo>
                  <a:pt x="1765956" y="2044445"/>
                  <a:pt x="1741211" y="2010631"/>
                  <a:pt x="1680471" y="2001614"/>
                </a:cubicBezTo>
                <a:cubicBezTo>
                  <a:pt x="1680471" y="2001614"/>
                  <a:pt x="1680471" y="2001614"/>
                  <a:pt x="1599484" y="1988089"/>
                </a:cubicBezTo>
                <a:cubicBezTo>
                  <a:pt x="1522997" y="1976817"/>
                  <a:pt x="1462257" y="1933987"/>
                  <a:pt x="1462257" y="1852834"/>
                </a:cubicBezTo>
                <a:cubicBezTo>
                  <a:pt x="1462257" y="1814512"/>
                  <a:pt x="1480254" y="1778444"/>
                  <a:pt x="1507249" y="1751393"/>
                </a:cubicBezTo>
                <a:cubicBezTo>
                  <a:pt x="1543244" y="1717579"/>
                  <a:pt x="1588236" y="1701799"/>
                  <a:pt x="1642228" y="1701799"/>
                </a:cubicBezTo>
                <a:close/>
                <a:moveTo>
                  <a:pt x="654642" y="1701799"/>
                </a:moveTo>
                <a:cubicBezTo>
                  <a:pt x="704133" y="1701799"/>
                  <a:pt x="755874" y="1719833"/>
                  <a:pt x="791868" y="1755901"/>
                </a:cubicBezTo>
                <a:cubicBezTo>
                  <a:pt x="848110" y="1810003"/>
                  <a:pt x="857108" y="1884393"/>
                  <a:pt x="857108" y="1967800"/>
                </a:cubicBezTo>
                <a:cubicBezTo>
                  <a:pt x="857108" y="2048953"/>
                  <a:pt x="848110" y="2123344"/>
                  <a:pt x="791868" y="2177446"/>
                </a:cubicBezTo>
                <a:cubicBezTo>
                  <a:pt x="755874" y="2213514"/>
                  <a:pt x="704133" y="2233802"/>
                  <a:pt x="654642" y="2233802"/>
                </a:cubicBezTo>
                <a:cubicBezTo>
                  <a:pt x="602900" y="2233802"/>
                  <a:pt x="553408" y="2213514"/>
                  <a:pt x="515164" y="2177446"/>
                </a:cubicBezTo>
                <a:cubicBezTo>
                  <a:pt x="461173" y="2123344"/>
                  <a:pt x="449925" y="2048953"/>
                  <a:pt x="449925" y="1967800"/>
                </a:cubicBezTo>
                <a:cubicBezTo>
                  <a:pt x="449925" y="1884393"/>
                  <a:pt x="461173" y="1810003"/>
                  <a:pt x="515164" y="1755901"/>
                </a:cubicBezTo>
                <a:cubicBezTo>
                  <a:pt x="553408" y="1719833"/>
                  <a:pt x="602900" y="1701799"/>
                  <a:pt x="654642" y="1701799"/>
                </a:cubicBezTo>
                <a:close/>
                <a:moveTo>
                  <a:pt x="202466" y="1701799"/>
                </a:moveTo>
                <a:cubicBezTo>
                  <a:pt x="258707" y="1701799"/>
                  <a:pt x="308199" y="1722087"/>
                  <a:pt x="339693" y="1753647"/>
                </a:cubicBezTo>
                <a:cubicBezTo>
                  <a:pt x="368939" y="1782952"/>
                  <a:pt x="386936" y="1823529"/>
                  <a:pt x="389185" y="1870868"/>
                </a:cubicBezTo>
                <a:cubicBezTo>
                  <a:pt x="389185" y="1870868"/>
                  <a:pt x="389185" y="1870868"/>
                  <a:pt x="323946" y="1870868"/>
                </a:cubicBezTo>
                <a:cubicBezTo>
                  <a:pt x="321697" y="1841563"/>
                  <a:pt x="312698" y="1819020"/>
                  <a:pt x="294701" y="1798732"/>
                </a:cubicBezTo>
                <a:cubicBezTo>
                  <a:pt x="274454" y="1776189"/>
                  <a:pt x="240710" y="1762664"/>
                  <a:pt x="202466" y="1762664"/>
                </a:cubicBezTo>
                <a:cubicBezTo>
                  <a:pt x="168722" y="1762664"/>
                  <a:pt x="134978" y="1776189"/>
                  <a:pt x="110232" y="1800986"/>
                </a:cubicBezTo>
                <a:cubicBezTo>
                  <a:pt x="67489" y="1843817"/>
                  <a:pt x="67489" y="1913699"/>
                  <a:pt x="67489" y="1967800"/>
                </a:cubicBezTo>
                <a:cubicBezTo>
                  <a:pt x="67489" y="2019648"/>
                  <a:pt x="67489" y="2089530"/>
                  <a:pt x="110232" y="2132361"/>
                </a:cubicBezTo>
                <a:cubicBezTo>
                  <a:pt x="134978" y="2159412"/>
                  <a:pt x="168722" y="2172937"/>
                  <a:pt x="202466" y="2172937"/>
                </a:cubicBezTo>
                <a:cubicBezTo>
                  <a:pt x="240710" y="2172937"/>
                  <a:pt x="276704" y="2154903"/>
                  <a:pt x="296951" y="2132361"/>
                </a:cubicBezTo>
                <a:cubicBezTo>
                  <a:pt x="312698" y="2114327"/>
                  <a:pt x="323946" y="2087276"/>
                  <a:pt x="323946" y="2060225"/>
                </a:cubicBezTo>
                <a:cubicBezTo>
                  <a:pt x="323946" y="2060225"/>
                  <a:pt x="323946" y="2060225"/>
                  <a:pt x="391435" y="2060225"/>
                </a:cubicBezTo>
                <a:cubicBezTo>
                  <a:pt x="389185" y="2107564"/>
                  <a:pt x="368939" y="2148140"/>
                  <a:pt x="339693" y="2177446"/>
                </a:cubicBezTo>
                <a:cubicBezTo>
                  <a:pt x="308199" y="2209005"/>
                  <a:pt x="258707" y="2233802"/>
                  <a:pt x="202466" y="2233802"/>
                </a:cubicBezTo>
                <a:cubicBezTo>
                  <a:pt x="150725" y="2233802"/>
                  <a:pt x="101233" y="2213514"/>
                  <a:pt x="65239" y="2177446"/>
                </a:cubicBezTo>
                <a:cubicBezTo>
                  <a:pt x="8999" y="2123344"/>
                  <a:pt x="0" y="2048953"/>
                  <a:pt x="0" y="1967800"/>
                </a:cubicBezTo>
                <a:cubicBezTo>
                  <a:pt x="0" y="1884393"/>
                  <a:pt x="8999" y="1810003"/>
                  <a:pt x="65239" y="1755901"/>
                </a:cubicBezTo>
                <a:cubicBezTo>
                  <a:pt x="101233" y="1719833"/>
                  <a:pt x="150725" y="1701799"/>
                  <a:pt x="202466" y="1701799"/>
                </a:cubicBezTo>
                <a:close/>
                <a:moveTo>
                  <a:pt x="2227389" y="214047"/>
                </a:moveTo>
                <a:cubicBezTo>
                  <a:pt x="2227389" y="214047"/>
                  <a:pt x="2227389" y="214047"/>
                  <a:pt x="2227389" y="574548"/>
                </a:cubicBezTo>
                <a:cubicBezTo>
                  <a:pt x="2227389" y="574548"/>
                  <a:pt x="2227389" y="574548"/>
                  <a:pt x="2456649" y="574548"/>
                </a:cubicBezTo>
                <a:cubicBezTo>
                  <a:pt x="2584765" y="574548"/>
                  <a:pt x="2654442" y="509207"/>
                  <a:pt x="2654442" y="394298"/>
                </a:cubicBezTo>
                <a:cubicBezTo>
                  <a:pt x="2654442" y="277135"/>
                  <a:pt x="2584765" y="214047"/>
                  <a:pt x="2456649" y="214047"/>
                </a:cubicBezTo>
                <a:cubicBezTo>
                  <a:pt x="2456649" y="214047"/>
                  <a:pt x="2456649" y="214047"/>
                  <a:pt x="2227389" y="214047"/>
                </a:cubicBezTo>
                <a:close/>
                <a:moveTo>
                  <a:pt x="8961436" y="0"/>
                </a:moveTo>
                <a:lnTo>
                  <a:pt x="9905999" y="0"/>
                </a:lnTo>
                <a:lnTo>
                  <a:pt x="9905999" y="225425"/>
                </a:lnTo>
                <a:lnTo>
                  <a:pt x="9555161" y="225425"/>
                </a:lnTo>
                <a:lnTo>
                  <a:pt x="9555161" y="1214437"/>
                </a:lnTo>
                <a:lnTo>
                  <a:pt x="9315449" y="1214437"/>
                </a:lnTo>
                <a:lnTo>
                  <a:pt x="9315449" y="225425"/>
                </a:lnTo>
                <a:lnTo>
                  <a:pt x="8961436" y="225425"/>
                </a:lnTo>
                <a:close/>
                <a:moveTo>
                  <a:pt x="7785099" y="0"/>
                </a:moveTo>
                <a:lnTo>
                  <a:pt x="8035924" y="0"/>
                </a:lnTo>
                <a:lnTo>
                  <a:pt x="8037512" y="3175"/>
                </a:lnTo>
                <a:lnTo>
                  <a:pt x="8523286" y="774700"/>
                </a:lnTo>
                <a:lnTo>
                  <a:pt x="8523286" y="0"/>
                </a:lnTo>
                <a:lnTo>
                  <a:pt x="8759824" y="0"/>
                </a:lnTo>
                <a:lnTo>
                  <a:pt x="8759824" y="1214437"/>
                </a:lnTo>
                <a:lnTo>
                  <a:pt x="8518524" y="1214437"/>
                </a:lnTo>
                <a:lnTo>
                  <a:pt x="8024812" y="425450"/>
                </a:lnTo>
                <a:lnTo>
                  <a:pt x="8024812" y="1214437"/>
                </a:lnTo>
                <a:lnTo>
                  <a:pt x="7785099" y="1214437"/>
                </a:lnTo>
                <a:close/>
                <a:moveTo>
                  <a:pt x="6665911" y="0"/>
                </a:moveTo>
                <a:lnTo>
                  <a:pt x="7535861" y="0"/>
                </a:lnTo>
                <a:lnTo>
                  <a:pt x="7535861" y="220663"/>
                </a:lnTo>
                <a:lnTo>
                  <a:pt x="6905624" y="220663"/>
                </a:lnTo>
                <a:lnTo>
                  <a:pt x="6905624" y="473075"/>
                </a:lnTo>
                <a:lnTo>
                  <a:pt x="7459661" y="473075"/>
                </a:lnTo>
                <a:lnTo>
                  <a:pt x="7459661" y="690562"/>
                </a:lnTo>
                <a:lnTo>
                  <a:pt x="6905624" y="690562"/>
                </a:lnTo>
                <a:lnTo>
                  <a:pt x="6905624" y="993775"/>
                </a:lnTo>
                <a:lnTo>
                  <a:pt x="7535861" y="993775"/>
                </a:lnTo>
                <a:lnTo>
                  <a:pt x="7535861" y="1214437"/>
                </a:lnTo>
                <a:lnTo>
                  <a:pt x="6665911" y="1214437"/>
                </a:lnTo>
                <a:close/>
                <a:moveTo>
                  <a:pt x="5221286" y="0"/>
                </a:moveTo>
                <a:lnTo>
                  <a:pt x="5534024" y="0"/>
                </a:lnTo>
                <a:lnTo>
                  <a:pt x="5835649" y="823912"/>
                </a:lnTo>
                <a:lnTo>
                  <a:pt x="6142037" y="0"/>
                </a:lnTo>
                <a:lnTo>
                  <a:pt x="6438899" y="0"/>
                </a:lnTo>
                <a:lnTo>
                  <a:pt x="6438899" y="1214437"/>
                </a:lnTo>
                <a:lnTo>
                  <a:pt x="6203949" y="1214437"/>
                </a:lnTo>
                <a:lnTo>
                  <a:pt x="6203949" y="419100"/>
                </a:lnTo>
                <a:lnTo>
                  <a:pt x="5916612" y="1196975"/>
                </a:lnTo>
                <a:lnTo>
                  <a:pt x="5740399" y="1196975"/>
                </a:lnTo>
                <a:lnTo>
                  <a:pt x="5454649" y="409575"/>
                </a:lnTo>
                <a:lnTo>
                  <a:pt x="5454649" y="1214437"/>
                </a:lnTo>
                <a:lnTo>
                  <a:pt x="5221286" y="1214437"/>
                </a:lnTo>
                <a:close/>
                <a:moveTo>
                  <a:pt x="4098924" y="0"/>
                </a:moveTo>
                <a:lnTo>
                  <a:pt x="4968874" y="0"/>
                </a:lnTo>
                <a:lnTo>
                  <a:pt x="4968874" y="220663"/>
                </a:lnTo>
                <a:lnTo>
                  <a:pt x="4340224" y="220663"/>
                </a:lnTo>
                <a:lnTo>
                  <a:pt x="4340224" y="473075"/>
                </a:lnTo>
                <a:lnTo>
                  <a:pt x="4895849" y="473075"/>
                </a:lnTo>
                <a:lnTo>
                  <a:pt x="4895849" y="690562"/>
                </a:lnTo>
                <a:lnTo>
                  <a:pt x="4340224" y="690562"/>
                </a:lnTo>
                <a:lnTo>
                  <a:pt x="4340224" y="993775"/>
                </a:lnTo>
                <a:lnTo>
                  <a:pt x="4968874" y="993775"/>
                </a:lnTo>
                <a:lnTo>
                  <a:pt x="4968874" y="1214437"/>
                </a:lnTo>
                <a:lnTo>
                  <a:pt x="4098924" y="1214437"/>
                </a:lnTo>
                <a:close/>
                <a:moveTo>
                  <a:pt x="3079749" y="0"/>
                </a:moveTo>
                <a:lnTo>
                  <a:pt x="3321049" y="0"/>
                </a:lnTo>
                <a:lnTo>
                  <a:pt x="3321049" y="984250"/>
                </a:lnTo>
                <a:lnTo>
                  <a:pt x="3871912" y="984250"/>
                </a:lnTo>
                <a:lnTo>
                  <a:pt x="3871912" y="1214437"/>
                </a:lnTo>
                <a:lnTo>
                  <a:pt x="3079749" y="1214437"/>
                </a:lnTo>
                <a:close/>
                <a:moveTo>
                  <a:pt x="1989138" y="0"/>
                </a:moveTo>
                <a:cubicBezTo>
                  <a:pt x="1989138" y="0"/>
                  <a:pt x="1989138" y="0"/>
                  <a:pt x="2465639" y="0"/>
                </a:cubicBezTo>
                <a:cubicBezTo>
                  <a:pt x="2735357" y="0"/>
                  <a:pt x="2897188" y="146454"/>
                  <a:pt x="2897188" y="392045"/>
                </a:cubicBezTo>
                <a:cubicBezTo>
                  <a:pt x="2897188" y="639889"/>
                  <a:pt x="2735357" y="786342"/>
                  <a:pt x="2465639" y="786342"/>
                </a:cubicBezTo>
                <a:cubicBezTo>
                  <a:pt x="2465639" y="786342"/>
                  <a:pt x="2465639" y="786342"/>
                  <a:pt x="2227389" y="786342"/>
                </a:cubicBezTo>
                <a:cubicBezTo>
                  <a:pt x="2227389" y="786342"/>
                  <a:pt x="2227389" y="786342"/>
                  <a:pt x="2227389" y="1214437"/>
                </a:cubicBezTo>
                <a:cubicBezTo>
                  <a:pt x="2227389" y="1214437"/>
                  <a:pt x="2227389" y="1214437"/>
                  <a:pt x="1989138" y="1214437"/>
                </a:cubicBezTo>
                <a:cubicBezTo>
                  <a:pt x="1989138" y="1214437"/>
                  <a:pt x="1989138" y="1214437"/>
                  <a:pt x="1989138" y="0"/>
                </a:cubicBezTo>
                <a:close/>
                <a:moveTo>
                  <a:pt x="520699" y="0"/>
                </a:moveTo>
                <a:lnTo>
                  <a:pt x="833436" y="0"/>
                </a:lnTo>
                <a:lnTo>
                  <a:pt x="1135061" y="823912"/>
                </a:lnTo>
                <a:lnTo>
                  <a:pt x="1439862" y="0"/>
                </a:lnTo>
                <a:lnTo>
                  <a:pt x="1736724" y="0"/>
                </a:lnTo>
                <a:lnTo>
                  <a:pt x="1736724" y="1214437"/>
                </a:lnTo>
                <a:lnTo>
                  <a:pt x="1503362" y="1214437"/>
                </a:lnTo>
                <a:lnTo>
                  <a:pt x="1503362" y="419100"/>
                </a:lnTo>
                <a:lnTo>
                  <a:pt x="1216024" y="1196975"/>
                </a:lnTo>
                <a:lnTo>
                  <a:pt x="1039812" y="1196975"/>
                </a:lnTo>
                <a:lnTo>
                  <a:pt x="754062" y="409575"/>
                </a:lnTo>
                <a:lnTo>
                  <a:pt x="754062" y="1214437"/>
                </a:lnTo>
                <a:lnTo>
                  <a:pt x="520699" y="1214437"/>
                </a:lnTo>
                <a:close/>
                <a:moveTo>
                  <a:pt x="25400" y="0"/>
                </a:moveTo>
                <a:lnTo>
                  <a:pt x="268288" y="0"/>
                </a:lnTo>
                <a:lnTo>
                  <a:pt x="268288" y="1214437"/>
                </a:lnTo>
                <a:lnTo>
                  <a:pt x="25400" y="12144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r>
              <a:rPr lang="en-GB" dirty="0">
                <a:solidFill>
                  <a:srgbClr val="1F2023"/>
                </a:solidFill>
              </a:rPr>
              <a:t> </a:t>
            </a:r>
          </a:p>
        </p:txBody>
      </p:sp>
    </p:spTree>
    <p:extLst>
      <p:ext uri="{BB962C8B-B14F-4D97-AF65-F5344CB8AC3E}">
        <p14:creationId xmlns:p14="http://schemas.microsoft.com/office/powerpoint/2010/main" val="4027892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pn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26" Type="http://schemas.openxmlformats.org/officeDocument/2006/relationships/slideLayout" Target="../slideLayouts/slideLayout31.xml"/><Relationship Id="rId3" Type="http://schemas.openxmlformats.org/officeDocument/2006/relationships/slideLayout" Target="../slideLayouts/slideLayout8.xml"/><Relationship Id="rId21" Type="http://schemas.openxmlformats.org/officeDocument/2006/relationships/slideLayout" Target="../slideLayouts/slideLayout26.xml"/><Relationship Id="rId34" Type="http://schemas.openxmlformats.org/officeDocument/2006/relationships/slideLayout" Target="../slideLayouts/slideLayout39.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slideLayout" Target="../slideLayouts/slideLayout30.xml"/><Relationship Id="rId33" Type="http://schemas.openxmlformats.org/officeDocument/2006/relationships/slideLayout" Target="../slideLayouts/slideLayout38.xml"/><Relationship Id="rId38" Type="http://schemas.openxmlformats.org/officeDocument/2006/relationships/tags" Target="../tags/tag7.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29" Type="http://schemas.openxmlformats.org/officeDocument/2006/relationships/slideLayout" Target="../slideLayouts/slideLayout34.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slideLayout" Target="../slideLayouts/slideLayout29.xml"/><Relationship Id="rId32" Type="http://schemas.openxmlformats.org/officeDocument/2006/relationships/slideLayout" Target="../slideLayouts/slideLayout37.xml"/><Relationship Id="rId37" Type="http://schemas.openxmlformats.org/officeDocument/2006/relationships/theme" Target="../theme/theme2.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slideLayout" Target="../slideLayouts/slideLayout28.xml"/><Relationship Id="rId28" Type="http://schemas.openxmlformats.org/officeDocument/2006/relationships/slideLayout" Target="../slideLayouts/slideLayout33.xml"/><Relationship Id="rId36" Type="http://schemas.openxmlformats.org/officeDocument/2006/relationships/slideLayout" Target="../slideLayouts/slideLayout41.xml"/><Relationship Id="rId10" Type="http://schemas.openxmlformats.org/officeDocument/2006/relationships/slideLayout" Target="../slideLayouts/slideLayout15.xml"/><Relationship Id="rId19" Type="http://schemas.openxmlformats.org/officeDocument/2006/relationships/slideLayout" Target="../slideLayouts/slideLayout24.xml"/><Relationship Id="rId31" Type="http://schemas.openxmlformats.org/officeDocument/2006/relationships/slideLayout" Target="../slideLayouts/slideLayout36.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slideLayout" Target="../slideLayouts/slideLayout27.xml"/><Relationship Id="rId27" Type="http://schemas.openxmlformats.org/officeDocument/2006/relationships/slideLayout" Target="../slideLayouts/slideLayout32.xml"/><Relationship Id="rId30" Type="http://schemas.openxmlformats.org/officeDocument/2006/relationships/slideLayout" Target="../slideLayouts/slideLayout35.xml"/><Relationship Id="rId35"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8"/>
            </p:custDataLst>
            <p:extLst>
              <p:ext uri="{D42A27DB-BD31-4B8C-83A1-F6EECF244321}">
                <p14:modId xmlns:p14="http://schemas.microsoft.com/office/powerpoint/2010/main" val="13130061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9" imgW="360" imgH="360" progId="TCLayout.ActiveDocument.1">
                  <p:embed/>
                </p:oleObj>
              </mc:Choice>
              <mc:Fallback>
                <p:oleObj name="think-cell Slide" r:id="rId9" imgW="360" imgH="360" progId="TCLayout.ActiveDocument.1">
                  <p:embed/>
                  <p:pic>
                    <p:nvPicPr>
                      <p:cNvPr id="4" name="Object 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273050" y="123802"/>
            <a:ext cx="9359900" cy="714380"/>
          </a:xfrm>
          <a:prstGeom prst="rect">
            <a:avLst/>
          </a:prstGeom>
        </p:spPr>
        <p:txBody>
          <a:bodyPr vert="horz" lIns="0" tIns="0" rIns="0" bIns="0" rtlCol="0" anchor="b" anchorCtr="0">
            <a:normAutofit/>
          </a:bodyPr>
          <a:lstStyle/>
          <a:p>
            <a:r>
              <a:rPr lang="en-GB" noProof="0" dirty="0"/>
              <a:t>Click to write your title here</a:t>
            </a:r>
            <a:br>
              <a:rPr lang="en-GB" noProof="0" dirty="0"/>
            </a:br>
            <a:r>
              <a:rPr lang="en-GB" noProof="0" dirty="0"/>
              <a:t>Max. 2 lines</a:t>
            </a:r>
          </a:p>
        </p:txBody>
      </p:sp>
      <p:sp>
        <p:nvSpPr>
          <p:cNvPr id="3" name="Text Placeholder 2"/>
          <p:cNvSpPr>
            <a:spLocks noGrp="1"/>
          </p:cNvSpPr>
          <p:nvPr>
            <p:ph type="body" idx="1"/>
          </p:nvPr>
        </p:nvSpPr>
        <p:spPr>
          <a:xfrm>
            <a:off x="273050" y="1125538"/>
            <a:ext cx="9359899" cy="1538883"/>
          </a:xfrm>
          <a:prstGeom prst="rect">
            <a:avLst/>
          </a:prstGeom>
        </p:spPr>
        <p:txBody>
          <a:bodyPr vert="horz" lIns="0" tIns="0" rIns="0" bIns="0" rtlCol="0">
            <a:spAutoFit/>
          </a:bodyPr>
          <a:lstStyle/>
          <a:p>
            <a:pPr lvl="0"/>
            <a:r>
              <a:rPr lang="en-GB" noProof="0" dirty="0"/>
              <a:t>Click to write here</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Footer Placeholder 4"/>
          <p:cNvSpPr>
            <a:spLocks noGrp="1"/>
          </p:cNvSpPr>
          <p:nvPr>
            <p:ph type="ftr" sz="quarter" idx="3"/>
          </p:nvPr>
        </p:nvSpPr>
        <p:spPr>
          <a:xfrm>
            <a:off x="273050" y="6573709"/>
            <a:ext cx="3960000" cy="92333"/>
          </a:xfrm>
          <a:prstGeom prst="rect">
            <a:avLst/>
          </a:prstGeom>
        </p:spPr>
        <p:txBody>
          <a:bodyPr vert="horz" lIns="0" tIns="0" rIns="0" bIns="0" rtlCol="0" anchor="ctr">
            <a:spAutoFit/>
          </a:bodyPr>
          <a:lstStyle>
            <a:lvl1pPr algn="l">
              <a:defRPr sz="600">
                <a:solidFill>
                  <a:schemeClr val="accent3"/>
                </a:solidFill>
                <a:latin typeface="Arial" pitchFamily="34" charset="0"/>
                <a:cs typeface="Arial" pitchFamily="34" charset="0"/>
              </a:defRPr>
            </a:lvl1pPr>
          </a:lstStyle>
          <a:p>
            <a:endParaRPr lang="en-GB" dirty="0"/>
          </a:p>
        </p:txBody>
      </p:sp>
      <p:cxnSp>
        <p:nvCxnSpPr>
          <p:cNvPr id="8" name="Straight Connector 7"/>
          <p:cNvCxnSpPr/>
          <p:nvPr/>
        </p:nvCxnSpPr>
        <p:spPr>
          <a:xfrm>
            <a:off x="268941" y="900104"/>
            <a:ext cx="9364009" cy="0"/>
          </a:xfrm>
          <a:prstGeom prst="line">
            <a:avLst/>
          </a:prstGeom>
          <a:ln w="12700" cap="flat" cmpd="sng" algn="ctr">
            <a:solidFill>
              <a:schemeClr val="accent4"/>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a:off x="268941" y="6381750"/>
            <a:ext cx="9366837" cy="0"/>
          </a:xfrm>
          <a:prstGeom prst="line">
            <a:avLst/>
          </a:prstGeom>
          <a:ln w="12700" cap="flat" cmpd="sng" algn="ctr">
            <a:solidFill>
              <a:schemeClr val="accent2"/>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7" name="Slide Number Placeholder 5"/>
          <p:cNvSpPr txBox="1">
            <a:spLocks/>
          </p:cNvSpPr>
          <p:nvPr/>
        </p:nvSpPr>
        <p:spPr>
          <a:xfrm>
            <a:off x="4720446" y="6542931"/>
            <a:ext cx="465108" cy="153888"/>
          </a:xfrm>
          <a:prstGeom prst="rect">
            <a:avLst/>
          </a:prstGeom>
        </p:spPr>
        <p:txBody>
          <a:bodyPr vert="horz" wrap="square" lIns="0" tIns="0" rIns="0" bIns="0" rtlCol="0" anchor="ctr" anchorCtr="1">
            <a:spAutoFit/>
          </a:bodyPr>
          <a:lstStyle>
            <a:lvl1pPr algn="ctr">
              <a:defRPr sz="1000">
                <a:solidFill>
                  <a:schemeClr val="accent4"/>
                </a:solidFill>
                <a:latin typeface="Arial" pitchFamily="34" charset="0"/>
                <a:cs typeface="Arial"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fld id="{992DDF7D-0CEF-42FE-B359-C4D7CCC70143}" type="slidenum">
              <a:rPr kumimoji="0" lang="en-GB" sz="1000" b="0" i="0" u="none" strike="noStrike" kern="1200" cap="none" spc="0" normalizeH="0" baseline="0" noProof="0" smtClean="0">
                <a:ln>
                  <a:noFill/>
                </a:ln>
                <a:solidFill>
                  <a:schemeClr val="accent3"/>
                </a:solidFill>
                <a:effectLst/>
                <a:uLnTx/>
                <a:uFillTx/>
                <a:latin typeface="Arial" pitchFamily="34" charset="0"/>
                <a:ea typeface="+mn-ea"/>
                <a:cs typeface="Arial"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GB" sz="1000" b="0" i="0" u="none" strike="noStrike" kern="1200" cap="none" spc="0" normalizeH="0" baseline="0" noProof="0" dirty="0">
              <a:ln>
                <a:noFill/>
              </a:ln>
              <a:solidFill>
                <a:schemeClr val="accent3"/>
              </a:solidFill>
              <a:effectLst/>
              <a:uLnTx/>
              <a:uFillTx/>
              <a:latin typeface="Arial" pitchFamily="34" charset="0"/>
              <a:ea typeface="+mn-ea"/>
              <a:cs typeface="Arial" pitchFamily="34" charset="0"/>
            </a:endParaRPr>
          </a:p>
        </p:txBody>
      </p:sp>
      <p:grpSp>
        <p:nvGrpSpPr>
          <p:cNvPr id="7" name="Group 142"/>
          <p:cNvGrpSpPr>
            <a:grpSpLocks/>
          </p:cNvGrpSpPr>
          <p:nvPr/>
        </p:nvGrpSpPr>
        <p:grpSpPr bwMode="auto">
          <a:xfrm>
            <a:off x="273050" y="-206375"/>
            <a:ext cx="196850" cy="152400"/>
            <a:chOff x="315" y="-144"/>
            <a:chExt cx="124" cy="96"/>
          </a:xfrm>
        </p:grpSpPr>
        <p:sp>
          <p:nvSpPr>
            <p:cNvPr id="19" name="Line 143"/>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20" name="Line 144"/>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grpSp>
        <p:nvGrpSpPr>
          <p:cNvPr id="10" name="Group 145"/>
          <p:cNvGrpSpPr>
            <a:grpSpLocks/>
          </p:cNvGrpSpPr>
          <p:nvPr/>
        </p:nvGrpSpPr>
        <p:grpSpPr bwMode="auto">
          <a:xfrm flipH="1">
            <a:off x="9436100" y="-206375"/>
            <a:ext cx="196850" cy="152400"/>
            <a:chOff x="315" y="-144"/>
            <a:chExt cx="124" cy="96"/>
          </a:xfrm>
        </p:grpSpPr>
        <p:sp>
          <p:nvSpPr>
            <p:cNvPr id="22" name="Line 146"/>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23" name="Line 147"/>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sp>
        <p:nvSpPr>
          <p:cNvPr id="24" name="Line 148"/>
          <p:cNvSpPr>
            <a:spLocks noChangeShapeType="1"/>
          </p:cNvSpPr>
          <p:nvPr/>
        </p:nvSpPr>
        <p:spPr bwMode="auto">
          <a:xfrm>
            <a:off x="4953000" y="-250825"/>
            <a:ext cx="0" cy="196850"/>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nvGrpSpPr>
          <p:cNvPr id="13" name="Group 142"/>
          <p:cNvGrpSpPr>
            <a:grpSpLocks/>
          </p:cNvGrpSpPr>
          <p:nvPr/>
        </p:nvGrpSpPr>
        <p:grpSpPr bwMode="auto">
          <a:xfrm>
            <a:off x="273050" y="-206375"/>
            <a:ext cx="196850" cy="152400"/>
            <a:chOff x="315" y="-144"/>
            <a:chExt cx="124" cy="96"/>
          </a:xfrm>
        </p:grpSpPr>
        <p:sp>
          <p:nvSpPr>
            <p:cNvPr id="26" name="Line 143"/>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27" name="Line 144"/>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grpSp>
        <p:nvGrpSpPr>
          <p:cNvPr id="18" name="Group 145"/>
          <p:cNvGrpSpPr>
            <a:grpSpLocks/>
          </p:cNvGrpSpPr>
          <p:nvPr/>
        </p:nvGrpSpPr>
        <p:grpSpPr bwMode="auto">
          <a:xfrm flipH="1">
            <a:off x="9436100" y="-206375"/>
            <a:ext cx="196850" cy="152400"/>
            <a:chOff x="315" y="-144"/>
            <a:chExt cx="124" cy="96"/>
          </a:xfrm>
        </p:grpSpPr>
        <p:sp>
          <p:nvSpPr>
            <p:cNvPr id="30" name="Line 146"/>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31" name="Line 147"/>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sp>
        <p:nvSpPr>
          <p:cNvPr id="32" name="Line 148"/>
          <p:cNvSpPr>
            <a:spLocks noChangeShapeType="1"/>
          </p:cNvSpPr>
          <p:nvPr/>
        </p:nvSpPr>
        <p:spPr bwMode="auto">
          <a:xfrm>
            <a:off x="4953000" y="-250825"/>
            <a:ext cx="0" cy="196850"/>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nvGrpSpPr>
          <p:cNvPr id="34" name="Group 142"/>
          <p:cNvGrpSpPr>
            <a:grpSpLocks/>
          </p:cNvGrpSpPr>
          <p:nvPr/>
        </p:nvGrpSpPr>
        <p:grpSpPr bwMode="auto">
          <a:xfrm>
            <a:off x="273050" y="-206375"/>
            <a:ext cx="196850" cy="152400"/>
            <a:chOff x="315" y="-144"/>
            <a:chExt cx="124" cy="96"/>
          </a:xfrm>
        </p:grpSpPr>
        <p:sp>
          <p:nvSpPr>
            <p:cNvPr id="35" name="Line 143"/>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36" name="Line 144"/>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grpSp>
        <p:nvGrpSpPr>
          <p:cNvPr id="37" name="Group 145"/>
          <p:cNvGrpSpPr>
            <a:grpSpLocks/>
          </p:cNvGrpSpPr>
          <p:nvPr/>
        </p:nvGrpSpPr>
        <p:grpSpPr bwMode="auto">
          <a:xfrm flipH="1">
            <a:off x="9436100" y="-206375"/>
            <a:ext cx="196850" cy="152400"/>
            <a:chOff x="315" y="-144"/>
            <a:chExt cx="124" cy="96"/>
          </a:xfrm>
        </p:grpSpPr>
        <p:sp>
          <p:nvSpPr>
            <p:cNvPr id="38" name="Line 146"/>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39" name="Line 147"/>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sp>
        <p:nvSpPr>
          <p:cNvPr id="40" name="Line 148"/>
          <p:cNvSpPr>
            <a:spLocks noChangeShapeType="1"/>
          </p:cNvSpPr>
          <p:nvPr/>
        </p:nvSpPr>
        <p:spPr bwMode="auto">
          <a:xfrm>
            <a:off x="4953000" y="-250825"/>
            <a:ext cx="0" cy="196850"/>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nvGrpSpPr>
          <p:cNvPr id="42" name="Group 142"/>
          <p:cNvGrpSpPr>
            <a:grpSpLocks/>
          </p:cNvGrpSpPr>
          <p:nvPr/>
        </p:nvGrpSpPr>
        <p:grpSpPr bwMode="auto">
          <a:xfrm rot="16200000" flipV="1">
            <a:off x="-222285" y="6026150"/>
            <a:ext cx="196850" cy="152400"/>
            <a:chOff x="315" y="-144"/>
            <a:chExt cx="124" cy="96"/>
          </a:xfrm>
        </p:grpSpPr>
        <p:sp>
          <p:nvSpPr>
            <p:cNvPr id="43" name="Line 143"/>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ctr"/>
            <a:lstStyle/>
            <a:p>
              <a:pPr eaLnBrk="1"/>
              <a:endParaRPr lang="en-GB" noProof="0" dirty="0"/>
            </a:p>
          </p:txBody>
        </p:sp>
        <p:sp>
          <p:nvSpPr>
            <p:cNvPr id="44" name="Line 144"/>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sp>
        <p:nvSpPr>
          <p:cNvPr id="45" name="Line 148"/>
          <p:cNvSpPr>
            <a:spLocks noChangeShapeType="1"/>
          </p:cNvSpPr>
          <p:nvPr/>
        </p:nvSpPr>
        <p:spPr bwMode="auto">
          <a:xfrm rot="16200000">
            <a:off x="-146085" y="3582190"/>
            <a:ext cx="0" cy="196850"/>
          </a:xfrm>
          <a:prstGeom prst="line">
            <a:avLst/>
          </a:prstGeom>
          <a:noFill/>
          <a:ln w="9525">
            <a:solidFill>
              <a:schemeClr val="bg1"/>
            </a:solidFill>
            <a:round/>
            <a:headEnd/>
            <a:tailEnd type="triangle" w="med" len="med"/>
          </a:ln>
          <a:effectLst/>
        </p:spPr>
        <p:txBody>
          <a:bodyPr wrap="none" anchor="ctr"/>
          <a:lstStyle/>
          <a:p>
            <a:pPr eaLnBrk="1"/>
            <a:endParaRPr lang="en-GB" noProof="0" dirty="0"/>
          </a:p>
        </p:txBody>
      </p:sp>
      <p:grpSp>
        <p:nvGrpSpPr>
          <p:cNvPr id="46" name="Group 142"/>
          <p:cNvGrpSpPr>
            <a:grpSpLocks/>
          </p:cNvGrpSpPr>
          <p:nvPr/>
        </p:nvGrpSpPr>
        <p:grpSpPr bwMode="auto">
          <a:xfrm rot="5400000">
            <a:off x="-222285" y="1147768"/>
            <a:ext cx="196850" cy="152400"/>
            <a:chOff x="315" y="-144"/>
            <a:chExt cx="124" cy="96"/>
          </a:xfrm>
        </p:grpSpPr>
        <p:sp>
          <p:nvSpPr>
            <p:cNvPr id="47" name="Line 143"/>
            <p:cNvSpPr>
              <a:spLocks noChangeShapeType="1"/>
            </p:cNvSpPr>
            <p:nvPr userDrawn="1"/>
          </p:nvSpPr>
          <p:spPr bwMode="auto">
            <a:xfrm>
              <a:off x="315" y="-144"/>
              <a:ext cx="0" cy="96"/>
            </a:xfrm>
            <a:prstGeom prst="line">
              <a:avLst/>
            </a:prstGeom>
            <a:noFill/>
            <a:ln w="9525">
              <a:solidFill>
                <a:schemeClr val="bg1"/>
              </a:solidFill>
              <a:round/>
              <a:headEnd/>
              <a:tailEnd/>
            </a:ln>
            <a:effectLst/>
          </p:spPr>
          <p:txBody>
            <a:bodyPr wrap="none" anchor="t"/>
            <a:lstStyle/>
            <a:p>
              <a:pPr eaLnBrk="1"/>
              <a:endParaRPr lang="en-GB" noProof="0" dirty="0"/>
            </a:p>
          </p:txBody>
        </p:sp>
        <p:sp>
          <p:nvSpPr>
            <p:cNvPr id="48" name="Line 144"/>
            <p:cNvSpPr>
              <a:spLocks noChangeShapeType="1"/>
            </p:cNvSpPr>
            <p:nvPr userDrawn="1"/>
          </p:nvSpPr>
          <p:spPr bwMode="auto">
            <a:xfrm rot="16200000">
              <a:off x="377" y="-158"/>
              <a:ext cx="0" cy="124"/>
            </a:xfrm>
            <a:prstGeom prst="line">
              <a:avLst/>
            </a:prstGeom>
            <a:noFill/>
            <a:ln w="9525">
              <a:solidFill>
                <a:schemeClr val="bg1"/>
              </a:solidFill>
              <a:round/>
              <a:headEnd/>
              <a:tailEnd type="triangle" w="med" len="med"/>
            </a:ln>
            <a:effectLst/>
          </p:spPr>
          <p:txBody>
            <a:bodyPr wrap="none" anchor="t"/>
            <a:lstStyle/>
            <a:p>
              <a:pPr eaLnBrk="1"/>
              <a:endParaRPr lang="en-GB" noProof="0" dirty="0"/>
            </a:p>
          </p:txBody>
        </p:sp>
      </p:grpSp>
      <p:pic>
        <p:nvPicPr>
          <p:cNvPr id="50" name="Picture 49"/>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8449734" y="6493875"/>
            <a:ext cx="1183215" cy="252000"/>
          </a:xfrm>
          <a:prstGeom prst="rect">
            <a:avLst/>
          </a:prstGeom>
        </p:spPr>
      </p:pic>
    </p:spTree>
  </p:cSld>
  <p:clrMap bg1="lt1" tx1="dk1" bg2="lt2" tx2="dk2" accent1="accent1" accent2="accent2" accent3="accent3" accent4="accent4" accent5="accent5" accent6="accent6" hlink="hlink" folHlink="folHlink"/>
  <p:sldLayoutIdLst>
    <p:sldLayoutId id="2147483693" r:id="rId1"/>
    <p:sldLayoutId id="2147483691" r:id="rId2"/>
    <p:sldLayoutId id="2147483692" r:id="rId3"/>
    <p:sldLayoutId id="2147483687" r:id="rId4"/>
    <p:sldLayoutId id="2147483694" r:id="rId5"/>
  </p:sldLayoutIdLst>
  <p:transition>
    <p:fade/>
  </p:transition>
  <p:hf sldNum="0" hdr="0" dt="0"/>
  <p:txStyles>
    <p:titleStyle>
      <a:lvl1pPr algn="l" defTabSz="914400" rtl="0" eaLnBrk="1" latinLnBrk="0" hangingPunct="1">
        <a:spcBef>
          <a:spcPct val="0"/>
        </a:spcBef>
        <a:buNone/>
        <a:defRPr sz="2200" b="1" kern="1200">
          <a:solidFill>
            <a:schemeClr val="tx1"/>
          </a:solidFill>
          <a:latin typeface="+mj-lt"/>
          <a:ea typeface="+mj-ea"/>
          <a:cs typeface="Arial" pitchFamily="34" charset="0"/>
        </a:defRPr>
      </a:lvl1pPr>
    </p:titleStyle>
    <p:bodyStyle>
      <a:lvl1pPr marL="0" indent="0" algn="l" defTabSz="914400" rtl="0" eaLnBrk="1" latinLnBrk="0" hangingPunct="1">
        <a:spcBef>
          <a:spcPts val="600"/>
        </a:spcBef>
        <a:buFont typeface="Arial" pitchFamily="34" charset="0"/>
        <a:buNone/>
        <a:defRPr sz="1600" kern="1200">
          <a:solidFill>
            <a:schemeClr val="tx1"/>
          </a:solidFill>
          <a:latin typeface="Arial" pitchFamily="34" charset="0"/>
          <a:ea typeface="+mn-ea"/>
          <a:cs typeface="Arial" pitchFamily="34" charset="0"/>
        </a:defRPr>
      </a:lvl1pPr>
      <a:lvl2pPr marL="180000" indent="-180000" algn="l" defTabSz="914400" rtl="0" eaLnBrk="1" latinLnBrk="0" hangingPunct="1">
        <a:spcBef>
          <a:spcPts val="600"/>
        </a:spcBef>
        <a:buClr>
          <a:schemeClr val="tx1"/>
        </a:buClr>
        <a:buFont typeface="Arial" pitchFamily="34" charset="0"/>
        <a:buChar char="•"/>
        <a:defRPr sz="1600" kern="1200">
          <a:solidFill>
            <a:schemeClr val="tx1"/>
          </a:solidFill>
          <a:latin typeface="Arial" pitchFamily="34" charset="0"/>
          <a:ea typeface="+mn-ea"/>
          <a:cs typeface="Arial" pitchFamily="34" charset="0"/>
        </a:defRPr>
      </a:lvl2pPr>
      <a:lvl3pPr marL="358775" indent="-180000" algn="l" defTabSz="914400" rtl="0" eaLnBrk="1" latinLnBrk="0" hangingPunct="1">
        <a:spcBef>
          <a:spcPts val="600"/>
        </a:spcBef>
        <a:buClr>
          <a:schemeClr val="tx1"/>
        </a:buClr>
        <a:buFont typeface="Arial" pitchFamily="34" charset="0"/>
        <a:buChar char="–"/>
        <a:defRPr sz="1600" kern="1200">
          <a:solidFill>
            <a:schemeClr val="tx1"/>
          </a:solidFill>
          <a:latin typeface="Arial" pitchFamily="34" charset="0"/>
          <a:ea typeface="+mn-ea"/>
          <a:cs typeface="Arial" pitchFamily="34" charset="0"/>
        </a:defRPr>
      </a:lvl3pPr>
      <a:lvl4pPr marL="541338" indent="-182563" algn="l" defTabSz="914400" rtl="0" eaLnBrk="1" latinLnBrk="0" hangingPunct="1">
        <a:spcBef>
          <a:spcPts val="600"/>
        </a:spcBef>
        <a:buClr>
          <a:schemeClr val="tx1"/>
        </a:buClr>
        <a:buFont typeface="Arial" pitchFamily="34" charset="0"/>
        <a:buChar char="»"/>
        <a:tabLst/>
        <a:defRPr sz="1600" kern="1200">
          <a:solidFill>
            <a:schemeClr val="tx1"/>
          </a:solidFill>
          <a:latin typeface="Arial" pitchFamily="34" charset="0"/>
          <a:ea typeface="+mn-ea"/>
          <a:cs typeface="Arial" pitchFamily="34" charset="0"/>
        </a:defRPr>
      </a:lvl4pPr>
      <a:lvl5pPr marL="715963" indent="-174625" algn="l" defTabSz="914400" rtl="0" eaLnBrk="1" latinLnBrk="0" hangingPunct="1">
        <a:spcBef>
          <a:spcPts val="600"/>
        </a:spcBef>
        <a:buClr>
          <a:schemeClr val="tx1"/>
        </a:buClr>
        <a:buFont typeface="Arial" pitchFamily="34" charset="0"/>
        <a:buChar char="·"/>
        <a:defRPr sz="16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69876" y="1624015"/>
            <a:ext cx="9364662" cy="4693985"/>
          </a:xfrm>
          <a:prstGeom prst="rect">
            <a:avLst/>
          </a:prstGeom>
        </p:spPr>
        <p:txBody>
          <a:bodyPr vert="horz" lIns="0" tIns="0" rIns="36000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_GeneralDate"/>
          <p:cNvSpPr>
            <a:spLocks noGrp="1"/>
          </p:cNvSpPr>
          <p:nvPr>
            <p:ph type="dt" sz="half" idx="2"/>
          </p:nvPr>
        </p:nvSpPr>
        <p:spPr>
          <a:xfrm>
            <a:off x="269875" y="7032919"/>
            <a:ext cx="1197769" cy="104400"/>
          </a:xfrm>
          <a:prstGeom prst="rect">
            <a:avLst/>
          </a:prstGeom>
        </p:spPr>
        <p:txBody>
          <a:bodyPr vert="horz" lIns="0" tIns="0" rIns="0" bIns="0" rtlCol="0" anchor="b" anchorCtr="0"/>
          <a:lstStyle>
            <a:lvl1pPr algn="ctr">
              <a:defRPr sz="650" cap="none" spc="0" baseline="0">
                <a:solidFill>
                  <a:srgbClr val="2F363B"/>
                </a:solidFill>
              </a:defRPr>
            </a:lvl1pPr>
          </a:lstStyle>
          <a:p>
            <a:fld id="{5F25E855-B1C6-4351-81C8-5300E9078878}" type="datetime1">
              <a:rPr lang="en-GB" smtClean="0"/>
              <a:t>17/01/2019</a:t>
            </a:fld>
            <a:endParaRPr lang="en-GB" dirty="0"/>
          </a:p>
        </p:txBody>
      </p:sp>
      <p:sp>
        <p:nvSpPr>
          <p:cNvPr id="5" name="FLD_PresentationTitle"/>
          <p:cNvSpPr>
            <a:spLocks noGrp="1"/>
          </p:cNvSpPr>
          <p:nvPr>
            <p:ph type="ftr" sz="quarter" idx="3"/>
          </p:nvPr>
        </p:nvSpPr>
        <p:spPr>
          <a:xfrm>
            <a:off x="269875" y="7137319"/>
            <a:ext cx="1197769" cy="104400"/>
          </a:xfrm>
          <a:prstGeom prst="rect">
            <a:avLst/>
          </a:prstGeom>
        </p:spPr>
        <p:txBody>
          <a:bodyPr vert="horz" lIns="0" tIns="0" rIns="0" bIns="0" rtlCol="0" anchor="b" anchorCtr="0"/>
          <a:lstStyle>
            <a:lvl1pPr marL="0" indent="0" algn="l">
              <a:buFont typeface="Arial" panose="020B0604020202020204" pitchFamily="34" charset="0"/>
              <a:buNone/>
              <a:defRPr sz="650" cap="none" spc="0" baseline="0">
                <a:solidFill>
                  <a:srgbClr val="2F363B"/>
                </a:solidFill>
              </a:defRPr>
            </a:lvl1pPr>
          </a:lstStyle>
          <a:p>
            <a:r>
              <a:rPr lang="en-GB" dirty="0"/>
              <a:t>Footer</a:t>
            </a:r>
          </a:p>
        </p:txBody>
      </p:sp>
      <p:sp>
        <p:nvSpPr>
          <p:cNvPr id="6" name="Slide Number Placeholder 5"/>
          <p:cNvSpPr>
            <a:spLocks noGrp="1"/>
          </p:cNvSpPr>
          <p:nvPr>
            <p:ph type="sldNum" sz="quarter" idx="4"/>
          </p:nvPr>
        </p:nvSpPr>
        <p:spPr>
          <a:xfrm>
            <a:off x="9378179" y="6496424"/>
            <a:ext cx="256359" cy="112086"/>
          </a:xfrm>
          <a:prstGeom prst="rect">
            <a:avLst/>
          </a:prstGeom>
        </p:spPr>
        <p:txBody>
          <a:bodyPr vert="horz" lIns="0" tIns="0" rIns="0" bIns="0" rtlCol="0" anchor="b" anchorCtr="0"/>
          <a:lstStyle>
            <a:lvl1pPr algn="r">
              <a:defRPr sz="650" spc="0" baseline="0">
                <a:solidFill>
                  <a:srgbClr val="1F2023"/>
                </a:solidFill>
              </a:defRPr>
            </a:lvl1pPr>
          </a:lstStyle>
          <a:p>
            <a:fld id="{24C8C45C-947F-4981-8B3F-4F32E973C901}" type="slidenum">
              <a:rPr lang="en-GB" smtClean="0"/>
              <a:pPr/>
              <a:t>‹#›</a:t>
            </a:fld>
            <a:endParaRPr lang="en-GB" dirty="0"/>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269876" y="269876"/>
            <a:ext cx="8559232" cy="692336"/>
          </a:xfrm>
          <a:prstGeom prst="rect">
            <a:avLst/>
          </a:prstGeom>
        </p:spPr>
        <p:txBody>
          <a:bodyPr vert="horz" lIns="0" tIns="0" rIns="0" bIns="0" rtlCol="0" anchor="t" anchorCtr="0">
            <a:noAutofit/>
          </a:bodyPr>
          <a:lstStyle/>
          <a:p>
            <a:r>
              <a:rPr lang="en-GB" dirty="0" err="1"/>
              <a:t>Klik</a:t>
            </a:r>
            <a:r>
              <a:rPr lang="en-GB" dirty="0"/>
              <a:t> for at </a:t>
            </a:r>
            <a:r>
              <a:rPr lang="en-GB" dirty="0" err="1"/>
              <a:t>redigere</a:t>
            </a:r>
            <a:r>
              <a:rPr lang="en-GB" dirty="0"/>
              <a:t> </a:t>
            </a:r>
            <a:r>
              <a:rPr lang="en-GB" dirty="0" err="1"/>
              <a:t>titeltypografien</a:t>
            </a:r>
            <a:r>
              <a:rPr lang="en-GB" dirty="0"/>
              <a:t> i </a:t>
            </a:r>
            <a:r>
              <a:rPr lang="en-GB" dirty="0" err="1"/>
              <a:t>masteren</a:t>
            </a:r>
            <a:endParaRPr lang="en-GB" dirty="0"/>
          </a:p>
        </p:txBody>
      </p:sp>
      <p:sp>
        <p:nvSpPr>
          <p:cNvPr id="19" name="AutoShape 3">
            <a:extLst>
              <a:ext uri="{FF2B5EF4-FFF2-40B4-BE49-F238E27FC236}">
                <a16:creationId xmlns:a16="http://schemas.microsoft.com/office/drawing/2014/main" id="{E2867147-DB81-464E-BD80-6F15445ABCC8}"/>
              </a:ext>
            </a:extLst>
          </p:cNvPr>
          <p:cNvSpPr>
            <a:spLocks noChangeAspect="1" noChangeArrowheads="1" noTextEdit="1"/>
          </p:cNvSpPr>
          <p:nvPr userDrawn="1"/>
        </p:nvSpPr>
        <p:spPr bwMode="auto">
          <a:xfrm>
            <a:off x="2827338" y="1446213"/>
            <a:ext cx="6551612" cy="286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AutoShape 9">
            <a:extLst>
              <a:ext uri="{FF2B5EF4-FFF2-40B4-BE49-F238E27FC236}">
                <a16:creationId xmlns:a16="http://schemas.microsoft.com/office/drawing/2014/main" id="{6A98865A-4F5A-43E4-A695-43D74ED35345}"/>
              </a:ext>
            </a:extLst>
          </p:cNvPr>
          <p:cNvSpPr>
            <a:spLocks noChangeAspect="1" noChangeArrowheads="1" noTextEdit="1"/>
          </p:cNvSpPr>
          <p:nvPr userDrawn="1"/>
        </p:nvSpPr>
        <p:spPr bwMode="auto">
          <a:xfrm>
            <a:off x="2474913" y="3278188"/>
            <a:ext cx="9906000" cy="2265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Shape 21">
            <a:extLst>
              <a:ext uri="{FF2B5EF4-FFF2-40B4-BE49-F238E27FC236}">
                <a16:creationId xmlns:a16="http://schemas.microsoft.com/office/drawing/2014/main" id="{44CFCE70-1EB6-4E62-B436-A8AE9BF44EE3}"/>
              </a:ext>
            </a:extLst>
          </p:cNvPr>
          <p:cNvSpPr/>
          <p:nvPr userDrawn="1">
            <p:custDataLst>
              <p:tags r:id="rId38"/>
            </p:custDataLst>
          </p:nvPr>
        </p:nvSpPr>
        <p:spPr bwMode="auto">
          <a:xfrm rot="5400000">
            <a:off x="9382133" y="400810"/>
            <a:ext cx="350168" cy="154638"/>
          </a:xfrm>
          <a:custGeom>
            <a:avLst/>
            <a:gdLst>
              <a:gd name="connsiteX0" fmla="*/ 242136 w 350168"/>
              <a:gd name="connsiteY0" fmla="*/ 154638 h 154638"/>
              <a:gd name="connsiteX1" fmla="*/ 242136 w 350168"/>
              <a:gd name="connsiteY1" fmla="*/ 141700 h 154638"/>
              <a:gd name="connsiteX2" fmla="*/ 350168 w 350168"/>
              <a:gd name="connsiteY2" fmla="*/ 141700 h 154638"/>
              <a:gd name="connsiteX3" fmla="*/ 350168 w 350168"/>
              <a:gd name="connsiteY3" fmla="*/ 154638 h 154638"/>
              <a:gd name="connsiteX4" fmla="*/ 62944 w 350168"/>
              <a:gd name="connsiteY4" fmla="*/ 154337 h 154638"/>
              <a:gd name="connsiteX5" fmla="*/ 62944 w 350168"/>
              <a:gd name="connsiteY5" fmla="*/ 0 h 154638"/>
              <a:gd name="connsiteX6" fmla="*/ 102688 w 350168"/>
              <a:gd name="connsiteY6" fmla="*/ 0 h 154638"/>
              <a:gd name="connsiteX7" fmla="*/ 141020 w 350168"/>
              <a:gd name="connsiteY7" fmla="*/ 104707 h 154638"/>
              <a:gd name="connsiteX8" fmla="*/ 179755 w 350168"/>
              <a:gd name="connsiteY8" fmla="*/ 0 h 154638"/>
              <a:gd name="connsiteX9" fmla="*/ 217481 w 350168"/>
              <a:gd name="connsiteY9" fmla="*/ 0 h 154638"/>
              <a:gd name="connsiteX10" fmla="*/ 217481 w 350168"/>
              <a:gd name="connsiteY10" fmla="*/ 154337 h 154638"/>
              <a:gd name="connsiteX11" fmla="*/ 187825 w 350168"/>
              <a:gd name="connsiteY11" fmla="*/ 154337 h 154638"/>
              <a:gd name="connsiteX12" fmla="*/ 187825 w 350168"/>
              <a:gd name="connsiteY12" fmla="*/ 53263 h 154638"/>
              <a:gd name="connsiteX13" fmla="*/ 151309 w 350168"/>
              <a:gd name="connsiteY13" fmla="*/ 152117 h 154638"/>
              <a:gd name="connsiteX14" fmla="*/ 128915 w 350168"/>
              <a:gd name="connsiteY14" fmla="*/ 152117 h 154638"/>
              <a:gd name="connsiteX15" fmla="*/ 92601 w 350168"/>
              <a:gd name="connsiteY15" fmla="*/ 52051 h 154638"/>
              <a:gd name="connsiteX16" fmla="*/ 92601 w 350168"/>
              <a:gd name="connsiteY16" fmla="*/ 154337 h 154638"/>
              <a:gd name="connsiteX17" fmla="*/ 0 w 350168"/>
              <a:gd name="connsiteY17" fmla="*/ 154337 h 154638"/>
              <a:gd name="connsiteX18" fmla="*/ 0 w 350168"/>
              <a:gd name="connsiteY18" fmla="*/ 0 h 154638"/>
              <a:gd name="connsiteX19" fmla="*/ 30867 w 350168"/>
              <a:gd name="connsiteY19" fmla="*/ 0 h 154638"/>
              <a:gd name="connsiteX20" fmla="*/ 30867 w 350168"/>
              <a:gd name="connsiteY20" fmla="*/ 154337 h 154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0168" h="154638">
                <a:moveTo>
                  <a:pt x="242136" y="154638"/>
                </a:moveTo>
                <a:lnTo>
                  <a:pt x="242136" y="141700"/>
                </a:lnTo>
                <a:lnTo>
                  <a:pt x="350168" y="141700"/>
                </a:lnTo>
                <a:lnTo>
                  <a:pt x="350168" y="154638"/>
                </a:lnTo>
                <a:close/>
                <a:moveTo>
                  <a:pt x="62944" y="154337"/>
                </a:moveTo>
                <a:lnTo>
                  <a:pt x="62944" y="0"/>
                </a:lnTo>
                <a:lnTo>
                  <a:pt x="102688" y="0"/>
                </a:lnTo>
                <a:lnTo>
                  <a:pt x="141020" y="104707"/>
                </a:lnTo>
                <a:lnTo>
                  <a:pt x="179755" y="0"/>
                </a:lnTo>
                <a:lnTo>
                  <a:pt x="217481" y="0"/>
                </a:lnTo>
                <a:lnTo>
                  <a:pt x="217481" y="154337"/>
                </a:lnTo>
                <a:lnTo>
                  <a:pt x="187825" y="154337"/>
                </a:lnTo>
                <a:lnTo>
                  <a:pt x="187825" y="53263"/>
                </a:lnTo>
                <a:lnTo>
                  <a:pt x="151309" y="152117"/>
                </a:lnTo>
                <a:lnTo>
                  <a:pt x="128915" y="152117"/>
                </a:lnTo>
                <a:lnTo>
                  <a:pt x="92601" y="52051"/>
                </a:lnTo>
                <a:lnTo>
                  <a:pt x="92601" y="154337"/>
                </a:lnTo>
                <a:close/>
                <a:moveTo>
                  <a:pt x="0" y="154337"/>
                </a:moveTo>
                <a:lnTo>
                  <a:pt x="0" y="0"/>
                </a:lnTo>
                <a:lnTo>
                  <a:pt x="30867" y="0"/>
                </a:lnTo>
                <a:lnTo>
                  <a:pt x="30867" y="154337"/>
                </a:lnTo>
                <a:close/>
              </a:path>
            </a:pathLst>
          </a:custGeom>
          <a:solidFill>
            <a:schemeClr val="tx1"/>
          </a:solidFill>
          <a:ln>
            <a:noFill/>
          </a:ln>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1747392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4" r:id="rId30"/>
    <p:sldLayoutId id="2147483735" r:id="rId31"/>
    <p:sldLayoutId id="2147483736" r:id="rId32"/>
    <p:sldLayoutId id="2147483737" r:id="rId33"/>
    <p:sldLayoutId id="2147483739" r:id="rId34"/>
    <p:sldLayoutId id="2147483740" r:id="rId35"/>
    <p:sldLayoutId id="2147483741" r:id="rId3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p:txStyles>
    <p:titleStyle>
      <a:lvl1pPr algn="l" defTabSz="742950" rtl="0" eaLnBrk="1" latinLnBrk="0" hangingPunct="1">
        <a:lnSpc>
          <a:spcPct val="90000"/>
        </a:lnSpc>
        <a:spcBef>
          <a:spcPct val="0"/>
        </a:spcBef>
        <a:buNone/>
        <a:defRPr sz="2100" kern="1200">
          <a:solidFill>
            <a:srgbClr val="1F2023"/>
          </a:solidFill>
          <a:latin typeface="+mj-lt"/>
          <a:ea typeface="+mj-ea"/>
          <a:cs typeface="+mj-cs"/>
        </a:defRPr>
      </a:lvl1pPr>
    </p:titleStyle>
    <p:body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bodyStyle>
    <p:otherStyle>
      <a:defPPr>
        <a:defRPr lang="en-US"/>
      </a:defPPr>
      <a:lvl1pPr marL="0" indent="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0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0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0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0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0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p:otherStyle>
  </p:txStyles>
  <p:extLst mod="1">
    <p:ext uri="{27BBF7A9-308A-43DC-89C8-2F10F3537804}">
      <p15:sldGuideLst xmlns:p15="http://schemas.microsoft.com/office/powerpoint/2012/main">
        <p15:guide id="1" pos="3205">
          <p15:clr>
            <a:srgbClr val="F26B43"/>
          </p15:clr>
        </p15:guide>
        <p15:guide id="2" pos="6068">
          <p15:clr>
            <a:srgbClr val="F26B43"/>
          </p15:clr>
        </p15:guide>
        <p15:guide id="3" orient="horz" pos="1025">
          <p15:clr>
            <a:srgbClr val="F26B43"/>
          </p15:clr>
        </p15:guide>
        <p15:guide id="4" orient="horz" pos="3979">
          <p15:clr>
            <a:srgbClr val="F26B43"/>
          </p15:clr>
        </p15:guide>
        <p15:guide id="5" pos="170">
          <p15:clr>
            <a:srgbClr val="F26B43"/>
          </p15:clr>
        </p15:guide>
        <p15:guide id="6" orient="horz" pos="170">
          <p15:clr>
            <a:srgbClr val="F26B43"/>
          </p15:clr>
        </p15:guide>
        <p15:guide id="7" orient="horz" pos="606">
          <p15:clr>
            <a:srgbClr val="F26B43"/>
          </p15:clr>
        </p15:guide>
        <p15:guide id="8" pos="303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9.jpg"/><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hyperlink" Target="http://www.google.dk/url?sa=i&amp;rct=j&amp;q=&amp;esrc=s&amp;source=images&amp;cd=&amp;cad=rja&amp;uact=8&amp;ved=0ahUKEwiJyaWrxLHQAhWBpCwKHQWND1EQjRwIBw&amp;url=http://www.istockphoto.com/photos/people&amp;psig=AFQjCNH9u8IibudjpO9Hi5Xn8mX2g1sa2w&amp;ust=1479531974203874" TargetMode="External"/><Relationship Id="rId2" Type="http://schemas.openxmlformats.org/officeDocument/2006/relationships/notesSlide" Target="../notesSlides/notesSlide8.xml"/><Relationship Id="rId1" Type="http://schemas.openxmlformats.org/officeDocument/2006/relationships/slideLayout" Target="../slideLayouts/slideLayout18.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22.jpg"/><Relationship Id="rId2" Type="http://schemas.openxmlformats.org/officeDocument/2006/relationships/slideLayout" Target="../slideLayouts/slideLayout16.xml"/><Relationship Id="rId1" Type="http://schemas.openxmlformats.org/officeDocument/2006/relationships/tags" Target="../tags/tag26.xml"/><Relationship Id="rId6" Type="http://schemas.openxmlformats.org/officeDocument/2006/relationships/image" Target="../media/image21.jpg"/><Relationship Id="rId5" Type="http://schemas.openxmlformats.org/officeDocument/2006/relationships/image" Target="../media/image20.jpg"/><Relationship Id="rId4" Type="http://schemas.openxmlformats.org/officeDocument/2006/relationships/image" Target="../media/image19.jpeg"/></Relationships>
</file>

<file path=ppt/slides/_rels/slide14.xml.rels><?xml version="1.0" encoding="UTF-8" standalone="yes"?>
<Relationships xmlns="http://schemas.openxmlformats.org/package/2006/relationships"><Relationship Id="rId3" Type="http://schemas.openxmlformats.org/officeDocument/2006/relationships/hyperlink" Target="http://www.google.dk/url?sa=i&amp;rct=j&amp;q=&amp;esrc=s&amp;source=images&amp;cd=&amp;cad=rja&amp;uact=8&amp;ved=0ahUKEwj-l8--6djJAhXG2ywKHXt-Ct4QjRwIBw&amp;url=http://msinthebiz.com/2015/07/24/the-ms-pac-man-method-to-self-motivation/&amp;bvm=bv.109910813,d.bGg&amp;psig=AFQjCNFOZm5eiLRT9gxGLage300TCwqX9A&amp;ust=1450095643698952" TargetMode="External"/><Relationship Id="rId2" Type="http://schemas.openxmlformats.org/officeDocument/2006/relationships/notesSlide" Target="../notesSlides/notesSlide11.xml"/><Relationship Id="rId1" Type="http://schemas.openxmlformats.org/officeDocument/2006/relationships/slideLayout" Target="../slideLayouts/slideLayout40.xml"/><Relationship Id="rId5" Type="http://schemas.microsoft.com/office/2007/relationships/hdphoto" Target="../media/hdphoto6.wdp"/><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6.xml"/><Relationship Id="rId1" Type="http://schemas.openxmlformats.org/officeDocument/2006/relationships/tags" Target="../tags/tag27.xml"/><Relationship Id="rId5" Type="http://schemas.openxmlformats.org/officeDocument/2006/relationships/image" Target="../media/image24.jpeg"/><Relationship Id="rId4" Type="http://schemas.openxmlformats.org/officeDocument/2006/relationships/hyperlink" Target="http://www.google.dk/url?sa=i&amp;rct=j&amp;q=&amp;esrc=s&amp;source=images&amp;cd=&amp;cad=rja&amp;uact=8&amp;ved=0ahUKEwjtj5658PnQAhXGGCwKHUtUCEUQjRwIBw&amp;url=http://classiccarsunder80.blogspot.com/2012/04/classic-cars-for-sale-by-private-owner_165.html&amp;bvm=bv.142059868,d.d2s&amp;psig=AFQjCNHrptCFsuTozCoRJg_i60_O026krw&amp;ust=1482017679332284" TargetMode="Externa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microsoft.com/office/2007/relationships/hdphoto" Target="../media/hdphoto1.wdp"/><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3" Type="http://schemas.openxmlformats.org/officeDocument/2006/relationships/hyperlink" Target="https://www.google.dk/url?sa=i&amp;rct=j&amp;q=&amp;esrc=s&amp;source=images&amp;cd=&amp;cad=rja&amp;uact=8&amp;ved=0ahUKEwjajPOm6P7QAhUJ1SwKHW6dBv0QjRwIBw&amp;url=https://futurism.com/david-bohm-and-the-holographic-universe/&amp;psig=AFQjCNFz77drzNd2VdJvAGZWMF6iLo0rBw&amp;ust=1482187300012331" TargetMode="External"/><Relationship Id="rId2" Type="http://schemas.openxmlformats.org/officeDocument/2006/relationships/notesSlide" Target="../notesSlides/notesSlide15.xml"/><Relationship Id="rId1" Type="http://schemas.openxmlformats.org/officeDocument/2006/relationships/slideLayout" Target="../slideLayouts/slideLayout40.xml"/><Relationship Id="rId4" Type="http://schemas.openxmlformats.org/officeDocument/2006/relationships/image" Target="../media/image27.jpeg"/></Relationships>
</file>

<file path=ppt/slides/_rels/slide21.xml.rels><?xml version="1.0" encoding="UTF-8" standalone="yes"?>
<Relationships xmlns="http://schemas.openxmlformats.org/package/2006/relationships"><Relationship Id="rId3" Type="http://schemas.openxmlformats.org/officeDocument/2006/relationships/hyperlink" Target="http://www.google.dk/url?sa=i&amp;rct=j&amp;q=&amp;esrc=s&amp;source=images&amp;cd=&amp;cad=rja&amp;uact=8&amp;ved=0ahUKEwjDjbPZkszRAhUBGCwKHWvMAZEQjRwIBw&amp;url=http://pmaadvantage.com/tag/cognitive-dissonance/&amp;psig=AFQjCNEdupONXYlNVBzrOaDEOalSRyWKGg&amp;ust=1484844397609680" TargetMode="Externa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28.jpe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hyperlink" Target="https://www.centerforappreciativeinquiry.net/more-on-ai/principles-of-appreciative-inquiry/" TargetMode="External"/><Relationship Id="rId1" Type="http://schemas.openxmlformats.org/officeDocument/2006/relationships/slideLayout" Target="../slideLayouts/slideLayout1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3" Type="http://schemas.openxmlformats.org/officeDocument/2006/relationships/hyperlink" Target="http://www.gallup.com/services/193427/2016-strengths-meta-analysis.aspx?utm_source=gbj&amp;utm_campaign=20170103-gbj&amp;utm_medium=copy" TargetMode="External"/><Relationship Id="rId2" Type="http://schemas.openxmlformats.org/officeDocument/2006/relationships/hyperlink" Target="http://www.gallup.com/businessjournal/200123/strengths-based-cultures-attract-top-talent.aspx?utm_source=alert&amp;utm_medium=email&amp;utm_content=morelink&amp;utm_campaign=syndication" TargetMode="External"/><Relationship Id="rId1" Type="http://schemas.openxmlformats.org/officeDocument/2006/relationships/slideLayout" Target="../slideLayouts/slideLayout19.xml"/><Relationship Id="rId4" Type="http://schemas.openxmlformats.org/officeDocument/2006/relationships/image" Target="../media/image30.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chart" Target="../charts/chart4.xml"/><Relationship Id="rId2" Type="http://schemas.openxmlformats.org/officeDocument/2006/relationships/slideLayout" Target="../slideLayouts/slideLayout16.xml"/><Relationship Id="rId1" Type="http://schemas.openxmlformats.org/officeDocument/2006/relationships/tags" Target="../tags/tag2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23.xml"/><Relationship Id="rId7" Type="http://schemas.openxmlformats.org/officeDocument/2006/relationships/notesSlide" Target="../notesSlides/notesSlide2.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16.xml"/><Relationship Id="rId5" Type="http://schemas.openxmlformats.org/officeDocument/2006/relationships/tags" Target="../tags/tag25.xml"/><Relationship Id="rId4" Type="http://schemas.openxmlformats.org/officeDocument/2006/relationships/tags" Target="../tags/tag2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0.xml"/><Relationship Id="rId7" Type="http://schemas.openxmlformats.org/officeDocument/2006/relationships/oleObject" Target="../embeddings/oleObject8.bin"/><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notesSlide" Target="../notesSlides/notesSlide18.xml"/><Relationship Id="rId5" Type="http://schemas.openxmlformats.org/officeDocument/2006/relationships/slideLayout" Target="../slideLayouts/slideLayout16.xml"/><Relationship Id="rId10" Type="http://schemas.openxmlformats.org/officeDocument/2006/relationships/hyperlink" Target="http://www.npr.org/programs/ted-radio-hour/411697251/the-act-of-listening" TargetMode="External"/><Relationship Id="rId4" Type="http://schemas.openxmlformats.org/officeDocument/2006/relationships/tags" Target="../tags/tag31.xml"/><Relationship Id="rId9" Type="http://schemas.openxmlformats.org/officeDocument/2006/relationships/image" Target="../media/image3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20.xml"/><Relationship Id="rId1" Type="http://schemas.openxmlformats.org/officeDocument/2006/relationships/slideLayout" Target="../slideLayouts/slideLayout4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33.xml"/><Relationship Id="rId6" Type="http://schemas.microsoft.com/office/2007/relationships/hdphoto" Target="../media/hdphoto3.wdp"/><Relationship Id="rId5" Type="http://schemas.openxmlformats.org/officeDocument/2006/relationships/image" Target="../media/image13.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5.png"/></Relationships>
</file>

<file path=ppt/slides/_rels/slide40.xml.rels><?xml version="1.0" encoding="UTF-8" standalone="yes"?>
<Relationships xmlns="http://schemas.openxmlformats.org/package/2006/relationships"><Relationship Id="rId8" Type="http://schemas.openxmlformats.org/officeDocument/2006/relationships/image" Target="../media/image33.jp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22.xml"/><Relationship Id="rId4"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8.xml"/><Relationship Id="rId1" Type="http://schemas.openxmlformats.org/officeDocument/2006/relationships/video" Target="https://www.youtube.com/embed/FBDIl0ftIdc" TargetMode="External"/><Relationship Id="rId4" Type="http://schemas.openxmlformats.org/officeDocument/2006/relationships/image" Target="../media/image34.pn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6.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45.xml.rels><?xml version="1.0" encoding="UTF-8" standalone="yes"?>
<Relationships xmlns="http://schemas.openxmlformats.org/package/2006/relationships"><Relationship Id="rId3" Type="http://schemas.openxmlformats.org/officeDocument/2006/relationships/hyperlink" Target="http://www.google.dk/url?sa=i&amp;rct=j&amp;q=&amp;esrc=s&amp;source=images&amp;cd=&amp;cad=rja&amp;uact=8&amp;ved=0ahUKEwjCwNiC8MfSAhXD1RoKHQvJBb8QjRwIBw&amp;url=http://thetwinpowers.com/en/three-words&amp;bvm=bv.149093890,d.d2s&amp;psig=AFQjCNG5avRoHsh8GJjmRDsDzg9mKaTxtA&amp;ust=1489095687764886" TargetMode="External"/><Relationship Id="rId2" Type="http://schemas.openxmlformats.org/officeDocument/2006/relationships/notesSlide" Target="../notesSlides/notesSlide26.xml"/><Relationship Id="rId1" Type="http://schemas.openxmlformats.org/officeDocument/2006/relationships/slideLayout" Target="../slideLayouts/slideLayout18.xml"/><Relationship Id="rId4" Type="http://schemas.openxmlformats.org/officeDocument/2006/relationships/image" Target="../media/image35.jpeg"/></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8.xml"/><Relationship Id="rId1" Type="http://schemas.openxmlformats.org/officeDocument/2006/relationships/slideLayout" Target="../slideLayouts/slideLayout29.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50.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5.xml"/><Relationship Id="rId7" Type="http://schemas.openxmlformats.org/officeDocument/2006/relationships/notesSlide" Target="../notesSlides/notesSlide29.xml"/><Relationship Id="rId2" Type="http://schemas.openxmlformats.org/officeDocument/2006/relationships/tags" Target="../tags/tag34.xml"/><Relationship Id="rId1" Type="http://schemas.openxmlformats.org/officeDocument/2006/relationships/vmlDrawing" Target="../drawings/vmlDrawing10.vml"/><Relationship Id="rId6" Type="http://schemas.openxmlformats.org/officeDocument/2006/relationships/slideLayout" Target="../slideLayouts/slideLayout16.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1.emf"/></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6.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notesSlide" Target="../notesSlides/notesSlide31.xml"/><Relationship Id="rId1" Type="http://schemas.openxmlformats.org/officeDocument/2006/relationships/slideLayout" Target="../slideLayouts/slideLayout33.xml"/><Relationship Id="rId6" Type="http://schemas.microsoft.com/office/2007/relationships/hdphoto" Target="../media/hdphoto3.wdp"/><Relationship Id="rId5" Type="http://schemas.openxmlformats.org/officeDocument/2006/relationships/image" Target="../media/image13.png"/><Relationship Id="rId10" Type="http://schemas.microsoft.com/office/2007/relationships/hdphoto" Target="../media/hdphoto5.wdp"/><Relationship Id="rId4" Type="http://schemas.microsoft.com/office/2007/relationships/hdphoto" Target="../media/hdphoto2.wdp"/><Relationship Id="rId9" Type="http://schemas.openxmlformats.org/officeDocument/2006/relationships/image" Target="../media/image15.png"/></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7.xml.rels><?xml version="1.0" encoding="UTF-8" standalone="yes"?>
<Relationships xmlns="http://schemas.openxmlformats.org/package/2006/relationships"><Relationship Id="rId8" Type="http://schemas.openxmlformats.org/officeDocument/2006/relationships/tags" Target="../tags/tag44.xml"/><Relationship Id="rId13" Type="http://schemas.openxmlformats.org/officeDocument/2006/relationships/tags" Target="../tags/tag49.xml"/><Relationship Id="rId18" Type="http://schemas.openxmlformats.org/officeDocument/2006/relationships/oleObject" Target="../embeddings/oleObject11.bin"/><Relationship Id="rId3" Type="http://schemas.openxmlformats.org/officeDocument/2006/relationships/tags" Target="../tags/tag39.xml"/><Relationship Id="rId21" Type="http://schemas.openxmlformats.org/officeDocument/2006/relationships/image" Target="../media/image39.jpeg"/><Relationship Id="rId7" Type="http://schemas.openxmlformats.org/officeDocument/2006/relationships/tags" Target="../tags/tag43.xml"/><Relationship Id="rId12" Type="http://schemas.openxmlformats.org/officeDocument/2006/relationships/tags" Target="../tags/tag48.xml"/><Relationship Id="rId17" Type="http://schemas.openxmlformats.org/officeDocument/2006/relationships/notesSlide" Target="../notesSlides/notesSlide32.xml"/><Relationship Id="rId25" Type="http://schemas.openxmlformats.org/officeDocument/2006/relationships/chart" Target="../charts/chart7.xml"/><Relationship Id="rId2" Type="http://schemas.openxmlformats.org/officeDocument/2006/relationships/tags" Target="../tags/tag38.xml"/><Relationship Id="rId16" Type="http://schemas.openxmlformats.org/officeDocument/2006/relationships/slideLayout" Target="../slideLayouts/slideLayout16.xml"/><Relationship Id="rId20" Type="http://schemas.openxmlformats.org/officeDocument/2006/relationships/image" Target="../media/image38.jpeg"/><Relationship Id="rId1" Type="http://schemas.openxmlformats.org/officeDocument/2006/relationships/vmlDrawing" Target="../drawings/vmlDrawing11.vml"/><Relationship Id="rId6" Type="http://schemas.openxmlformats.org/officeDocument/2006/relationships/tags" Target="../tags/tag42.xml"/><Relationship Id="rId11" Type="http://schemas.openxmlformats.org/officeDocument/2006/relationships/tags" Target="../tags/tag47.xml"/><Relationship Id="rId24" Type="http://schemas.openxmlformats.org/officeDocument/2006/relationships/chart" Target="../charts/chart6.xml"/><Relationship Id="rId5" Type="http://schemas.openxmlformats.org/officeDocument/2006/relationships/tags" Target="../tags/tag41.xml"/><Relationship Id="rId15" Type="http://schemas.openxmlformats.org/officeDocument/2006/relationships/tags" Target="../tags/tag51.xml"/><Relationship Id="rId23" Type="http://schemas.openxmlformats.org/officeDocument/2006/relationships/chart" Target="../charts/chart5.xml"/><Relationship Id="rId10" Type="http://schemas.openxmlformats.org/officeDocument/2006/relationships/tags" Target="../tags/tag46.xml"/><Relationship Id="rId19" Type="http://schemas.openxmlformats.org/officeDocument/2006/relationships/image" Target="../media/image1.emf"/><Relationship Id="rId4" Type="http://schemas.openxmlformats.org/officeDocument/2006/relationships/tags" Target="../tags/tag40.xml"/><Relationship Id="rId9" Type="http://schemas.openxmlformats.org/officeDocument/2006/relationships/tags" Target="../tags/tag45.xml"/><Relationship Id="rId14" Type="http://schemas.openxmlformats.org/officeDocument/2006/relationships/tags" Target="../tags/tag50.xml"/><Relationship Id="rId22" Type="http://schemas.openxmlformats.org/officeDocument/2006/relationships/image" Target="../media/image40.jpeg"/></Relationships>
</file>

<file path=ppt/slides/_rels/slide58.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6.xml"/><Relationship Id="rId7" Type="http://schemas.openxmlformats.org/officeDocument/2006/relationships/image" Target="../media/image41.png"/><Relationship Id="rId2" Type="http://schemas.openxmlformats.org/officeDocument/2006/relationships/tags" Target="../tags/tag5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4.xml"/><Relationship Id="rId9" Type="http://schemas.openxmlformats.org/officeDocument/2006/relationships/image" Target="../media/image43.jpg"/></Relationships>
</file>

<file path=ppt/slides/_rels/slide61.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49.png"/><Relationship Id="rId3" Type="http://schemas.openxmlformats.org/officeDocument/2006/relationships/hyperlink" Target="https://www.google.dk/url?sa=i&amp;rct=j&amp;q=&amp;esrc=s&amp;source=images&amp;cd=&amp;cad=rja&amp;uact=8&amp;ved=0ahUKEwjNkLyk-pbRAhWGiywKHTZPAfwQjRwIBw&amp;url=https://www.amazon.com/Handbook-Engagement-Motivation-Self-Determination-Psychology/dp/0190276991&amp;psig=AFQjCNGqG5GcAxCmS1ZYs0y0VZfYjSw8fg&amp;ust=1483016804940880" TargetMode="External"/><Relationship Id="rId7" Type="http://schemas.openxmlformats.org/officeDocument/2006/relationships/hyperlink" Target="https://www.google.dk/url?sa=i&amp;rct=j&amp;q=&amp;esrc=s&amp;source=images&amp;cd=&amp;cad=rja&amp;uact=8&amp;ved=0ahUKEwiXoMT96JbRAhXBhSwKHShYBqoQjRwIBw&amp;url=https://www.amazon.com/Start-Why-Leaders-Inspire-Everyone/dp/1591846447&amp;bvm=bv.142059868,d.bGg&amp;psig=AFQjCNEdS44pMzVzP8K5HjuNSsKYo3BWZA&amp;ust=1483012164093715" TargetMode="External"/><Relationship Id="rId12" Type="http://schemas.openxmlformats.org/officeDocument/2006/relationships/hyperlink" Target="http://www.google.dk/url?sa=i&amp;rct=j&amp;q=&amp;esrc=s&amp;source=images&amp;cd=&amp;cad=rja&amp;uact=8&amp;ved=0ahUKEwi6h4HN9JbRAhVFkSwKHVbcCKkQjRwIBw&amp;url=http://blog.ted.com/5-insights-from-brene-browns-new-book-daring-greatly-out-today/&amp;bvm=bv.142059868,d.bGg&amp;psig=AFQjCNHd06U7HnJrNoreD5-yofQwJ9mZHA&amp;ust=1483015213500059" TargetMode="External"/><Relationship Id="rId2" Type="http://schemas.openxmlformats.org/officeDocument/2006/relationships/notesSlide" Target="../notesSlides/notesSlide35.xml"/><Relationship Id="rId1" Type="http://schemas.openxmlformats.org/officeDocument/2006/relationships/slideLayout" Target="../slideLayouts/slideLayout16.xml"/><Relationship Id="rId6" Type="http://schemas.openxmlformats.org/officeDocument/2006/relationships/image" Target="../media/image45.jpeg"/><Relationship Id="rId11" Type="http://schemas.openxmlformats.org/officeDocument/2006/relationships/image" Target="../media/image48.jpeg"/><Relationship Id="rId5" Type="http://schemas.openxmlformats.org/officeDocument/2006/relationships/hyperlink" Target="https://www.google.dk/url?sa=i&amp;rct=j&amp;q=&amp;esrc=s&amp;source=images&amp;cd=&amp;cad=rja&amp;uact=8&amp;ved=0ahUKEwiby8HE6JbRAhVCiCwKHQcPC-gQjRwIBw&amp;url=https://www.amazon.com/Drive-Surprising-Truth-About-Motivates/dp/1594484805&amp;bvm=bv.142059868,d.bGg&amp;psig=AFQjCNHQjy3O7i4OTaRUDZ_uiYlWAvLaHA&amp;ust=1483012018054224" TargetMode="External"/><Relationship Id="rId10" Type="http://schemas.openxmlformats.org/officeDocument/2006/relationships/hyperlink" Target="https://www.google.dk/url?sa=i&amp;rct=j&amp;q=&amp;esrc=s&amp;source=images&amp;cd=&amp;cad=rja&amp;uact=8&amp;ved=0ahUKEwjZx72q75bRAhUB3iwKHTdeDDQQjRwIBw&amp;url=https://www.amazon.com/Appreciative-Inquiry-Positive-Revolution-Change/dp/1576753565&amp;psig=AFQjCNFEtWl3DSkhCC9upYiVdXI6A4u8dw&amp;ust=1483013870421268" TargetMode="External"/><Relationship Id="rId4" Type="http://schemas.openxmlformats.org/officeDocument/2006/relationships/image" Target="../media/image44.jpeg"/><Relationship Id="rId9" Type="http://schemas.openxmlformats.org/officeDocument/2006/relationships/image" Target="../media/image47.png"/><Relationship Id="rId14" Type="http://schemas.openxmlformats.org/officeDocument/2006/relationships/image" Target="../media/image5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8FB5675-8B56-498A-80FA-CC33F6DD3B07}"/>
              </a:ext>
            </a:extLst>
          </p:cNvPr>
          <p:cNvSpPr>
            <a:spLocks noGrp="1"/>
          </p:cNvSpPr>
          <p:nvPr>
            <p:ph type="subTitle" idx="1"/>
          </p:nvPr>
        </p:nvSpPr>
        <p:spPr>
          <a:xfrm>
            <a:off x="269875" y="5315029"/>
            <a:ext cx="2816225" cy="1003221"/>
          </a:xfrm>
        </p:spPr>
        <p:txBody>
          <a:bodyPr/>
          <a:lstStyle/>
          <a:p>
            <a:r>
              <a:rPr lang="en-GB" dirty="0"/>
              <a:t>By Pernille Koch Erichsen</a:t>
            </a:r>
          </a:p>
        </p:txBody>
      </p:sp>
      <p:sp>
        <p:nvSpPr>
          <p:cNvPr id="7" name="Title 6">
            <a:extLst>
              <a:ext uri="{FF2B5EF4-FFF2-40B4-BE49-F238E27FC236}">
                <a16:creationId xmlns:a16="http://schemas.microsoft.com/office/drawing/2014/main" id="{9B9632FE-2CCB-43E2-B213-8657B89E7B6F}"/>
              </a:ext>
            </a:extLst>
          </p:cNvPr>
          <p:cNvSpPr>
            <a:spLocks noGrp="1"/>
          </p:cNvSpPr>
          <p:nvPr>
            <p:ph type="ctrTitle"/>
          </p:nvPr>
        </p:nvSpPr>
        <p:spPr/>
        <p:txBody>
          <a:bodyPr/>
          <a:lstStyle/>
          <a:p>
            <a:r>
              <a:rPr lang="en-GB" dirty="0"/>
              <a:t>REAL CONVERSATIONS</a:t>
            </a:r>
          </a:p>
        </p:txBody>
      </p:sp>
      <p:sp>
        <p:nvSpPr>
          <p:cNvPr id="6" name="Date Placeholder 5">
            <a:extLst>
              <a:ext uri="{FF2B5EF4-FFF2-40B4-BE49-F238E27FC236}">
                <a16:creationId xmlns:a16="http://schemas.microsoft.com/office/drawing/2014/main" id="{C05A7E08-A397-47E2-9EA3-9308DEC18EA8}"/>
              </a:ext>
            </a:extLst>
          </p:cNvPr>
          <p:cNvSpPr>
            <a:spLocks noGrp="1"/>
          </p:cNvSpPr>
          <p:nvPr>
            <p:ph type="dt" sz="half" idx="10"/>
          </p:nvPr>
        </p:nvSpPr>
        <p:spPr/>
        <p:txBody>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fld id="{8A6E0422-6ECB-43C9-8CFE-4C39AC685875}" type="datetime1">
              <a:rPr kumimoji="0" lang="en-GB" sz="100" b="0" i="0" u="none" strike="noStrike" kern="1200" cap="all" spc="163" normalizeH="0" baseline="0" noProof="0" smtClean="0">
                <a:ln>
                  <a:noFill/>
                </a:ln>
                <a:solidFill>
                  <a:srgbClr val="FFFFFF"/>
                </a:solidFill>
                <a:effectLst/>
                <a:uLnTx/>
                <a:uFillTx/>
                <a:latin typeface="Arial"/>
                <a:ea typeface="+mn-ea"/>
                <a:cs typeface="+mn-cs"/>
              </a:rPr>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t>17/01/2019</a:t>
            </a:fld>
            <a:endParaRPr kumimoji="0" lang="en-GB" sz="100" b="0" i="0" u="none" strike="noStrike" kern="1200" cap="all" spc="163" normalizeH="0" baseline="0" noProof="0" dirty="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F5BAF373-F97E-44E0-B142-29245A557554}"/>
              </a:ext>
            </a:extLst>
          </p:cNvPr>
          <p:cNvPicPr>
            <a:picLocks noChangeAspect="1"/>
          </p:cNvPicPr>
          <p:nvPr/>
        </p:nvPicPr>
        <p:blipFill>
          <a:blip r:embed="rId3">
            <a:extLst>
              <a:ext uri="{BEBA8EAE-BF5A-486C-A8C5-ECC9F3942E4B}">
                <a14:imgProps xmlns:a14="http://schemas.microsoft.com/office/drawing/2010/main">
                  <a14:imgLayer r:embed="rId4">
                    <a14:imgEffect>
                      <a14:artisticGlowEdges/>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69875" y="5867824"/>
            <a:ext cx="1526934" cy="637672"/>
          </a:xfrm>
          <a:prstGeom prst="rect">
            <a:avLst/>
          </a:prstGeom>
        </p:spPr>
      </p:pic>
      <p:pic>
        <p:nvPicPr>
          <p:cNvPr id="8" name="Picture Placeholder 7">
            <a:extLst>
              <a:ext uri="{FF2B5EF4-FFF2-40B4-BE49-F238E27FC236}">
                <a16:creationId xmlns:a16="http://schemas.microsoft.com/office/drawing/2014/main" id="{EE28E6A0-C7FF-4431-8585-2B70BBDFDE1C}"/>
              </a:ext>
            </a:extLst>
          </p:cNvPr>
          <p:cNvPicPr>
            <a:picLocks noGrp="1" noChangeAspect="1"/>
          </p:cNvPicPr>
          <p:nvPr>
            <p:ph type="pic" sz="quarter" idx="15"/>
          </p:nvPr>
        </p:nvPicPr>
        <p:blipFill rotWithShape="1">
          <a:blip r:embed="rId5"/>
          <a:srcRect t="-443" b="19369"/>
          <a:stretch/>
        </p:blipFill>
        <p:spPr>
          <a:xfrm>
            <a:off x="3452116" y="2812648"/>
            <a:ext cx="6453884" cy="4045352"/>
          </a:xfrm>
        </p:spPr>
      </p:pic>
    </p:spTree>
    <p:extLst>
      <p:ext uri="{BB962C8B-B14F-4D97-AF65-F5344CB8AC3E}">
        <p14:creationId xmlns:p14="http://schemas.microsoft.com/office/powerpoint/2010/main" val="104197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a:extLst>
              <a:ext uri="{FF2B5EF4-FFF2-40B4-BE49-F238E27FC236}">
                <a16:creationId xmlns:a16="http://schemas.microsoft.com/office/drawing/2014/main" id="{2D76650B-A29E-487A-91BE-383C14CF6020}"/>
              </a:ext>
            </a:extLst>
          </p:cNvPr>
          <p:cNvSpPr/>
          <p:nvPr/>
        </p:nvSpPr>
        <p:spPr>
          <a:xfrm>
            <a:off x="5624945" y="2299855"/>
            <a:ext cx="4281055" cy="4558145"/>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36" name="Rectangle 35">
            <a:extLst>
              <a:ext uri="{FF2B5EF4-FFF2-40B4-BE49-F238E27FC236}">
                <a16:creationId xmlns:a16="http://schemas.microsoft.com/office/drawing/2014/main" id="{AF9936E1-F100-4C46-89F2-5267E367F83B}"/>
              </a:ext>
            </a:extLst>
          </p:cNvPr>
          <p:cNvSpPr/>
          <p:nvPr/>
        </p:nvSpPr>
        <p:spPr>
          <a:xfrm>
            <a:off x="5092715" y="1627188"/>
            <a:ext cx="4546800" cy="4690800"/>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err="1">
              <a:solidFill>
                <a:srgbClr val="2F363B"/>
              </a:solidFill>
            </a:endParaRPr>
          </a:p>
        </p:txBody>
      </p:sp>
      <p:pic>
        <p:nvPicPr>
          <p:cNvPr id="13" name="Picture 2" descr="Image result for people">
            <a:hlinkClick r:id="rId3"/>
            <a:extLst>
              <a:ext uri="{FF2B5EF4-FFF2-40B4-BE49-F238E27FC236}">
                <a16:creationId xmlns:a16="http://schemas.microsoft.com/office/drawing/2014/main" id="{268C2E31-2E38-4CF0-9CA2-D8DDD60FAB80}"/>
              </a:ext>
            </a:extLst>
          </p:cNvPr>
          <p:cNvPicPr>
            <a:picLocks noGrp="1" noChangeAspect="1" noChangeArrowheads="1"/>
          </p:cNvPicPr>
          <p:nvPr>
            <p:ph type="pic" sz="quarter" idx="15"/>
          </p:nvPr>
        </p:nvPicPr>
        <p:blipFill>
          <a:blip r:embed="rId4">
            <a:extLst>
              <a:ext uri="{28A0092B-C50C-407E-A947-70E740481C1C}">
                <a14:useLocalDpi xmlns:a14="http://schemas.microsoft.com/office/drawing/2010/main" val="0"/>
              </a:ext>
            </a:extLst>
          </a:blip>
          <a:srcRect l="1523" r="1523"/>
          <a:stretch>
            <a:fillRect/>
          </a:stretch>
        </p:blipFill>
        <p:spPr bwMode="auto">
          <a:xfrm>
            <a:off x="5337178" y="1884258"/>
            <a:ext cx="4048122" cy="4175336"/>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17">
            <a:extLst>
              <a:ext uri="{FF2B5EF4-FFF2-40B4-BE49-F238E27FC236}">
                <a16:creationId xmlns:a16="http://schemas.microsoft.com/office/drawing/2014/main" id="{392A0511-EEC6-4468-BFB0-22667A09DA13}"/>
              </a:ext>
            </a:extLst>
          </p:cNvPr>
          <p:cNvSpPr>
            <a:spLocks noGrp="1"/>
          </p:cNvSpPr>
          <p:nvPr>
            <p:ph type="title"/>
          </p:nvPr>
        </p:nvSpPr>
        <p:spPr/>
        <p:txBody>
          <a:bodyPr/>
          <a:lstStyle/>
          <a:p>
            <a:endParaRPr lang="en-GB" dirty="0"/>
          </a:p>
        </p:txBody>
      </p:sp>
      <p:sp>
        <p:nvSpPr>
          <p:cNvPr id="10" name="Text Placeholder 9">
            <a:extLst>
              <a:ext uri="{FF2B5EF4-FFF2-40B4-BE49-F238E27FC236}">
                <a16:creationId xmlns:a16="http://schemas.microsoft.com/office/drawing/2014/main" id="{D269D59D-8B36-4A4F-8C63-211CF5199893}"/>
              </a:ext>
            </a:extLst>
          </p:cNvPr>
          <p:cNvSpPr>
            <a:spLocks noGrp="1"/>
          </p:cNvSpPr>
          <p:nvPr>
            <p:ph type="body" sz="quarter" idx="13"/>
          </p:nvPr>
        </p:nvSpPr>
        <p:spPr/>
        <p:txBody>
          <a:bodyPr/>
          <a:lstStyle/>
          <a:p>
            <a:pPr>
              <a:buNone/>
            </a:pPr>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noProof="0" dirty="0"/>
          </a:p>
        </p:txBody>
      </p:sp>
      <p:sp>
        <p:nvSpPr>
          <p:cNvPr id="20" name="Text Placeholder 19">
            <a:extLst>
              <a:ext uri="{FF2B5EF4-FFF2-40B4-BE49-F238E27FC236}">
                <a16:creationId xmlns:a16="http://schemas.microsoft.com/office/drawing/2014/main" id="{F0CDAA21-A8EF-4828-9FA4-3150D61904D2}"/>
              </a:ext>
            </a:extLst>
          </p:cNvPr>
          <p:cNvSpPr>
            <a:spLocks noGrp="1"/>
          </p:cNvSpPr>
          <p:nvPr>
            <p:ph type="body" sz="quarter" idx="14"/>
          </p:nvPr>
        </p:nvSpPr>
        <p:spPr/>
        <p:txBody>
          <a:bodyPr/>
          <a:lstStyle/>
          <a:p>
            <a:endParaRPr lang="en-GB" dirty="0"/>
          </a:p>
        </p:txBody>
      </p:sp>
      <p:sp>
        <p:nvSpPr>
          <p:cNvPr id="22" name="Rectangle 21">
            <a:extLst>
              <a:ext uri="{FF2B5EF4-FFF2-40B4-BE49-F238E27FC236}">
                <a16:creationId xmlns:a16="http://schemas.microsoft.com/office/drawing/2014/main" id="{11C0D697-E014-4D37-80CB-67FC3184FC7B}"/>
              </a:ext>
            </a:extLst>
          </p:cNvPr>
          <p:cNvSpPr/>
          <p:nvPr/>
        </p:nvSpPr>
        <p:spPr>
          <a:xfrm>
            <a:off x="266485" y="6071767"/>
            <a:ext cx="4549989" cy="246221"/>
          </a:xfrm>
          <a:prstGeom prst="rect">
            <a:avLst/>
          </a:prstGeom>
        </p:spPr>
        <p:txBody>
          <a:bodyPr wrap="square" lIns="0" tIns="0" rIns="0" bIns="0">
            <a:spAutoFit/>
          </a:bodyPr>
          <a:lstStyle/>
          <a:p>
            <a:pPr lvl="0">
              <a:tabLst>
                <a:tab pos="320675" algn="r"/>
                <a:tab pos="388938" algn="l"/>
              </a:tabLst>
              <a:defRPr/>
            </a:pPr>
            <a:r>
              <a:rPr lang="en-GB" sz="800" kern="0" dirty="0">
                <a:solidFill>
                  <a:srgbClr val="000000"/>
                </a:solidFill>
              </a:rPr>
              <a:t>	Source:	</a:t>
            </a:r>
            <a:r>
              <a:rPr lang="en-GB" sz="800" kern="0" dirty="0" err="1">
                <a:solidFill>
                  <a:srgbClr val="000000"/>
                </a:solidFill>
              </a:rPr>
              <a:t>Metastudies</a:t>
            </a:r>
            <a:r>
              <a:rPr lang="en-GB" sz="800" kern="0" dirty="0">
                <a:solidFill>
                  <a:srgbClr val="000000"/>
                </a:solidFill>
              </a:rPr>
              <a:t> from Motivational Interviewing (Miller and Rollnick),</a:t>
            </a:r>
          </a:p>
          <a:p>
            <a:pPr lvl="0">
              <a:tabLst>
                <a:tab pos="320675" algn="r"/>
                <a:tab pos="388938" algn="l"/>
              </a:tabLst>
              <a:defRPr/>
            </a:pPr>
            <a:r>
              <a:rPr lang="en-GB" sz="800" kern="0" dirty="0">
                <a:solidFill>
                  <a:srgbClr val="000000"/>
                </a:solidFill>
              </a:rPr>
              <a:t>		Positive Psychology (Seligman), Self-Determination Theory (Deci and Ryan) </a:t>
            </a:r>
          </a:p>
        </p:txBody>
      </p:sp>
      <p:sp>
        <p:nvSpPr>
          <p:cNvPr id="37" name="Content Placeholder 7">
            <a:extLst>
              <a:ext uri="{FF2B5EF4-FFF2-40B4-BE49-F238E27FC236}">
                <a16:creationId xmlns:a16="http://schemas.microsoft.com/office/drawing/2014/main" id="{618A0BAC-42C2-48DF-AB15-3FC752D098F6}"/>
              </a:ext>
            </a:extLst>
          </p:cNvPr>
          <p:cNvSpPr txBox="1">
            <a:spLocks/>
          </p:cNvSpPr>
          <p:nvPr/>
        </p:nvSpPr>
        <p:spPr>
          <a:xfrm>
            <a:off x="273048" y="2598057"/>
            <a:ext cx="4210462" cy="2462213"/>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4000" dirty="0">
                <a:latin typeface="Impact" charset="0"/>
                <a:ea typeface="Impact" charset="0"/>
                <a:cs typeface="Impact" charset="0"/>
              </a:rPr>
              <a:t>WHAT WE HEAR OURSELVES SAY …</a:t>
            </a:r>
            <a:br>
              <a:rPr lang="en-GB" sz="4000" dirty="0">
                <a:latin typeface="Impact" charset="0"/>
                <a:ea typeface="Impact" charset="0"/>
                <a:cs typeface="Impact" charset="0"/>
              </a:rPr>
            </a:br>
            <a:r>
              <a:rPr lang="en-GB" sz="4000" dirty="0">
                <a:latin typeface="Impact" charset="0"/>
                <a:ea typeface="Impact" charset="0"/>
                <a:cs typeface="Impact" charset="0"/>
              </a:rPr>
              <a:t>IS WHAT WE GET MOTIVATED TO DO</a:t>
            </a:r>
          </a:p>
        </p:txBody>
      </p:sp>
      <p:sp>
        <p:nvSpPr>
          <p:cNvPr id="38" name="Content Placeholder 7">
            <a:extLst>
              <a:ext uri="{FF2B5EF4-FFF2-40B4-BE49-F238E27FC236}">
                <a16:creationId xmlns:a16="http://schemas.microsoft.com/office/drawing/2014/main" id="{F4937FED-E442-4287-BF83-C29FF19FDB34}"/>
              </a:ext>
            </a:extLst>
          </p:cNvPr>
          <p:cNvSpPr txBox="1">
            <a:spLocks/>
          </p:cNvSpPr>
          <p:nvPr/>
        </p:nvSpPr>
        <p:spPr>
          <a:xfrm>
            <a:off x="273048" y="5350575"/>
            <a:ext cx="3711389" cy="430887"/>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1400" i="1" dirty="0"/>
              <a:t>So therefore, it´s not without importance what we talk about, and how we talk about it</a:t>
            </a:r>
          </a:p>
        </p:txBody>
      </p:sp>
      <p:sp>
        <p:nvSpPr>
          <p:cNvPr id="39" name="TextBox 38">
            <a:extLst>
              <a:ext uri="{FF2B5EF4-FFF2-40B4-BE49-F238E27FC236}">
                <a16:creationId xmlns:a16="http://schemas.microsoft.com/office/drawing/2014/main" id="{4E65458E-BA40-48C8-9499-FC659D697430}"/>
              </a:ext>
            </a:extLst>
          </p:cNvPr>
          <p:cNvSpPr txBox="1"/>
          <p:nvPr/>
        </p:nvSpPr>
        <p:spPr>
          <a:xfrm>
            <a:off x="284163" y="1544064"/>
            <a:ext cx="2026391" cy="675907"/>
          </a:xfrm>
          <a:prstGeom prst="rect">
            <a:avLst/>
          </a:prstGeom>
          <a:noFill/>
          <a:ln w="6350">
            <a:noFill/>
            <a:prstDash val="sysDash"/>
          </a:ln>
        </p:spPr>
        <p:txBody>
          <a:bodyPr wrap="square" lIns="0" tIns="0" rIns="0" bIns="0" rtlCol="0" anchor="ctr" anchorCtr="0">
            <a:noAutofit/>
          </a:bodyPr>
          <a:lstStyle/>
          <a:p>
            <a:pPr algn="l">
              <a:buFontTx/>
              <a:buNone/>
            </a:pPr>
            <a:r>
              <a:rPr lang="en-GB" sz="9600" dirty="0">
                <a:solidFill>
                  <a:srgbClr val="30373B"/>
                </a:solidFill>
                <a:latin typeface="Impact" panose="020B0806030902050204" pitchFamily="34" charset="0"/>
              </a:rPr>
              <a:t>«</a:t>
            </a:r>
          </a:p>
        </p:txBody>
      </p:sp>
      <p:cxnSp>
        <p:nvCxnSpPr>
          <p:cNvPr id="40" name="Straight Connector 39">
            <a:extLst>
              <a:ext uri="{FF2B5EF4-FFF2-40B4-BE49-F238E27FC236}">
                <a16:creationId xmlns:a16="http://schemas.microsoft.com/office/drawing/2014/main" id="{7C1D00D4-D708-4D04-AA31-D549E63921F2}"/>
              </a:ext>
            </a:extLst>
          </p:cNvPr>
          <p:cNvCxnSpPr>
            <a:cxnSpLocks/>
          </p:cNvCxnSpPr>
          <p:nvPr/>
        </p:nvCxnSpPr>
        <p:spPr>
          <a:xfrm>
            <a:off x="284163" y="5205423"/>
            <a:ext cx="3567401"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7" name="Slide Number Placeholder 4">
            <a:extLst>
              <a:ext uri="{FF2B5EF4-FFF2-40B4-BE49-F238E27FC236}">
                <a16:creationId xmlns:a16="http://schemas.microsoft.com/office/drawing/2014/main" id="{7665564E-0CAE-4D6E-B6F5-91528B5A1720}"/>
              </a:ext>
            </a:extLst>
          </p:cNvPr>
          <p:cNvSpPr txBox="1">
            <a:spLocks/>
          </p:cNvSpPr>
          <p:nvPr/>
        </p:nvSpPr>
        <p:spPr>
          <a:xfrm>
            <a:off x="9313665" y="6504110"/>
            <a:ext cx="320873" cy="104400"/>
          </a:xfrm>
          <a:prstGeom prst="rect">
            <a:avLst/>
          </a:prstGeom>
        </p:spPr>
        <p:txBody>
          <a:bodyPr vert="horz" lIns="0" tIns="0" rIns="0" bIns="0" rtlCol="0" anchor="t" anchorCtr="0"/>
          <a:lstStyle>
            <a:defPPr>
              <a:defRPr lang="en-US"/>
            </a:defPPr>
            <a:lvl1pPr marL="0" algn="r" defTabSz="914400" rtl="0" eaLnBrk="1" latinLnBrk="0" hangingPunct="1">
              <a:defRPr sz="650" kern="1200" spc="0" baseline="0">
                <a:solidFill>
                  <a:srgbClr val="2F363B"/>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4C8C45C-947F-4981-8B3F-4F32E973C901}" type="slidenum">
              <a:rPr lang="en-GB" smtClean="0">
                <a:solidFill>
                  <a:srgbClr val="1F2023"/>
                </a:solidFill>
              </a:rPr>
              <a:pPr/>
              <a:t>10</a:t>
            </a:fld>
            <a:endParaRPr lang="en-GB" dirty="0">
              <a:solidFill>
                <a:srgbClr val="1F2023"/>
              </a:solidFill>
            </a:endParaRPr>
          </a:p>
        </p:txBody>
      </p:sp>
    </p:spTree>
    <p:extLst>
      <p:ext uri="{BB962C8B-B14F-4D97-AF65-F5344CB8AC3E}">
        <p14:creationId xmlns:p14="http://schemas.microsoft.com/office/powerpoint/2010/main" val="503247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D73C276-8B94-4073-AA2F-292C556EDB10}"/>
              </a:ext>
            </a:extLst>
          </p:cNvPr>
          <p:cNvSpPr/>
          <p:nvPr/>
        </p:nvSpPr>
        <p:spPr>
          <a:xfrm>
            <a:off x="0" y="1549400"/>
            <a:ext cx="9906000" cy="477012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2" name="Title 1"/>
          <p:cNvSpPr>
            <a:spLocks noGrp="1"/>
          </p:cNvSpPr>
          <p:nvPr>
            <p:ph type="title"/>
          </p:nvPr>
        </p:nvSpPr>
        <p:spPr/>
        <p:txBody>
          <a:bodyPr/>
          <a:lstStyle/>
          <a:p>
            <a:r>
              <a:rPr lang="en-GB" dirty="0"/>
              <a:t>This is NOT a REAL conversation</a:t>
            </a:r>
          </a:p>
        </p:txBody>
      </p:sp>
      <p:sp>
        <p:nvSpPr>
          <p:cNvPr id="12" name="Text Placeholder 11">
            <a:extLst>
              <a:ext uri="{FF2B5EF4-FFF2-40B4-BE49-F238E27FC236}">
                <a16:creationId xmlns:a16="http://schemas.microsoft.com/office/drawing/2014/main" id="{BF2D1666-D9E0-47C9-A92A-AA07C347FD70}"/>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noProof="0" dirty="0"/>
          </a:p>
        </p:txBody>
      </p:sp>
      <p:sp>
        <p:nvSpPr>
          <p:cNvPr id="13" name="Text Placeholder 12">
            <a:extLst>
              <a:ext uri="{FF2B5EF4-FFF2-40B4-BE49-F238E27FC236}">
                <a16:creationId xmlns:a16="http://schemas.microsoft.com/office/drawing/2014/main" id="{90F6F723-D60A-49D4-B01E-74CB42EEEE31}"/>
              </a:ext>
            </a:extLst>
          </p:cNvPr>
          <p:cNvSpPr>
            <a:spLocks noGrp="1"/>
          </p:cNvSpPr>
          <p:nvPr>
            <p:ph type="body" sz="quarter" idx="14"/>
          </p:nvPr>
        </p:nvSpPr>
        <p:spPr/>
        <p:txBody>
          <a:bodyPr/>
          <a:lstStyle/>
          <a:p>
            <a:endParaRPr lang="en-GB" dirty="0"/>
          </a:p>
        </p:txBody>
      </p:sp>
      <p:pic>
        <p:nvPicPr>
          <p:cNvPr id="11" name="Picture 10" descr="05-07-~1">
            <a:extLst>
              <a:ext uri="{FF2B5EF4-FFF2-40B4-BE49-F238E27FC236}">
                <a16:creationId xmlns:a16="http://schemas.microsoft.com/office/drawing/2014/main" id="{90BC3805-4DA7-4AD4-B6BC-B720F1A4B4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5223" t="105" r="11"/>
          <a:stretch>
            <a:fillRect/>
          </a:stretch>
        </p:blipFill>
        <p:spPr bwMode="auto">
          <a:xfrm rot="60000">
            <a:off x="1281668" y="2243072"/>
            <a:ext cx="7342664" cy="3786634"/>
          </a:xfrm>
          <a:custGeom>
            <a:avLst/>
            <a:gdLst>
              <a:gd name="connsiteX0" fmla="*/ 0 w 8578726"/>
              <a:gd name="connsiteY0" fmla="*/ 148436 h 4424074"/>
              <a:gd name="connsiteX1" fmla="*/ 8503898 w 8578726"/>
              <a:gd name="connsiteY1" fmla="*/ 0 h 4424074"/>
              <a:gd name="connsiteX2" fmla="*/ 8578726 w 8578726"/>
              <a:gd name="connsiteY2" fmla="*/ 4286867 h 4424074"/>
              <a:gd name="connsiteX3" fmla="*/ 718154 w 8578726"/>
              <a:gd name="connsiteY3" fmla="*/ 4424074 h 4424074"/>
              <a:gd name="connsiteX4" fmla="*/ 0 w 8578726"/>
              <a:gd name="connsiteY4" fmla="*/ 4424074 h 4424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8726" h="4424074">
                <a:moveTo>
                  <a:pt x="0" y="148436"/>
                </a:moveTo>
                <a:lnTo>
                  <a:pt x="8503898" y="0"/>
                </a:lnTo>
                <a:lnTo>
                  <a:pt x="8578726" y="4286867"/>
                </a:lnTo>
                <a:lnTo>
                  <a:pt x="718154" y="4424074"/>
                </a:lnTo>
                <a:lnTo>
                  <a:pt x="0" y="4424074"/>
                </a:lnTo>
                <a:close/>
              </a:path>
            </a:pathLst>
          </a:custGeom>
          <a:noFill/>
          <a:ln w="1016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1415036C-6341-400B-B41C-5B7BD7923B10}"/>
              </a:ext>
            </a:extLst>
          </p:cNvPr>
          <p:cNvSpPr/>
          <p:nvPr/>
        </p:nvSpPr>
        <p:spPr>
          <a:xfrm>
            <a:off x="4439920" y="994714"/>
            <a:ext cx="1026160" cy="1026160"/>
          </a:xfrm>
          <a:prstGeom prst="ellipse">
            <a:avLst/>
          </a:prstGeom>
          <a:solidFill>
            <a:srgbClr val="D0DAD6"/>
          </a:solidFill>
          <a:ln w="444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16" name="Group 15">
            <a:extLst>
              <a:ext uri="{FF2B5EF4-FFF2-40B4-BE49-F238E27FC236}">
                <a16:creationId xmlns:a16="http://schemas.microsoft.com/office/drawing/2014/main" id="{381D544F-D0C3-4FBD-A6E3-CB3C2BF0B9AC}"/>
              </a:ext>
            </a:extLst>
          </p:cNvPr>
          <p:cNvGrpSpPr/>
          <p:nvPr/>
        </p:nvGrpSpPr>
        <p:grpSpPr>
          <a:xfrm>
            <a:off x="4687317" y="1298044"/>
            <a:ext cx="531366" cy="419500"/>
            <a:chOff x="4051300" y="3319463"/>
            <a:chExt cx="512763" cy="404813"/>
          </a:xfrm>
        </p:grpSpPr>
        <p:sp>
          <p:nvSpPr>
            <p:cNvPr id="17" name="Freeform 22">
              <a:extLst>
                <a:ext uri="{FF2B5EF4-FFF2-40B4-BE49-F238E27FC236}">
                  <a16:creationId xmlns:a16="http://schemas.microsoft.com/office/drawing/2014/main" id="{8DC876D2-2171-4DF5-BEE4-42B33E24EAF4}"/>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6681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3">
              <a:extLst>
                <a:ext uri="{FF2B5EF4-FFF2-40B4-BE49-F238E27FC236}">
                  <a16:creationId xmlns:a16="http://schemas.microsoft.com/office/drawing/2014/main" id="{A6D20613-C263-48AF-A8B4-D2B5927B1547}"/>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4">
              <a:extLst>
                <a:ext uri="{FF2B5EF4-FFF2-40B4-BE49-F238E27FC236}">
                  <a16:creationId xmlns:a16="http://schemas.microsoft.com/office/drawing/2014/main" id="{7DB0A0DF-CAD7-4632-B09C-6474493AC97B}"/>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191011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D8F32686-405B-4646-A642-03B107AE7DE9}"/>
              </a:ext>
            </a:extLst>
          </p:cNvPr>
          <p:cNvSpPr/>
          <p:nvPr/>
        </p:nvSpPr>
        <p:spPr>
          <a:xfrm>
            <a:off x="4475659" y="2036962"/>
            <a:ext cx="5430342" cy="3583559"/>
          </a:xfrm>
          <a:prstGeom prst="rect">
            <a:avLst/>
          </a:prstGeom>
          <a:solidFill>
            <a:srgbClr val="FCFBF5"/>
          </a:solidFill>
        </p:spPr>
        <p:txBody>
          <a:bodyPr wrap="square" anchor="ctr">
            <a:noAutofit/>
          </a:bodyPr>
          <a:lstStyle/>
          <a:p>
            <a:pPr algn="ctr"/>
            <a:endParaRPr lang="en-GB" sz="1400" b="1" dirty="0"/>
          </a:p>
        </p:txBody>
      </p:sp>
      <p:sp>
        <p:nvSpPr>
          <p:cNvPr id="158" name="Title 157">
            <a:extLst>
              <a:ext uri="{FF2B5EF4-FFF2-40B4-BE49-F238E27FC236}">
                <a16:creationId xmlns:a16="http://schemas.microsoft.com/office/drawing/2014/main" id="{C8B68FF2-35FA-4DF2-A0D5-D008C72700E1}"/>
              </a:ext>
            </a:extLst>
          </p:cNvPr>
          <p:cNvSpPr>
            <a:spLocks noGrp="1"/>
          </p:cNvSpPr>
          <p:nvPr>
            <p:ph type="title"/>
          </p:nvPr>
        </p:nvSpPr>
        <p:spPr/>
        <p:txBody>
          <a:bodyPr/>
          <a:lstStyle/>
          <a:p>
            <a:r>
              <a:rPr lang="en-GB" dirty="0"/>
              <a:t>Exercise – The Fixer (advocating)</a:t>
            </a:r>
          </a:p>
        </p:txBody>
      </p:sp>
      <p:sp>
        <p:nvSpPr>
          <p:cNvPr id="6" name="Date Placeholder 5">
            <a:extLst>
              <a:ext uri="{FF2B5EF4-FFF2-40B4-BE49-F238E27FC236}">
                <a16:creationId xmlns:a16="http://schemas.microsoft.com/office/drawing/2014/main" id="{7F5C58A5-54C1-4746-99DE-4329CF5345AE}"/>
              </a:ext>
            </a:extLst>
          </p:cNvPr>
          <p:cNvSpPr>
            <a:spLocks noGrp="1"/>
          </p:cNvSpPr>
          <p:nvPr>
            <p:ph type="dt" sz="half" idx="10"/>
          </p:nvPr>
        </p:nvSpPr>
        <p:spPr/>
        <p:txBody>
          <a:bodyPr/>
          <a:lstStyle/>
          <a:p>
            <a:fld id="{8A6E0422-6ECB-43C9-8CFE-4C39AC685875}" type="datetime1">
              <a:rPr lang="en-GB" smtClean="0"/>
              <a:pPr/>
              <a:t>17/01/2019</a:t>
            </a:fld>
            <a:endParaRPr lang="en-GB" dirty="0"/>
          </a:p>
        </p:txBody>
      </p:sp>
      <p:sp>
        <p:nvSpPr>
          <p:cNvPr id="131" name="Text Placeholder 130">
            <a:extLst>
              <a:ext uri="{FF2B5EF4-FFF2-40B4-BE49-F238E27FC236}">
                <a16:creationId xmlns:a16="http://schemas.microsoft.com/office/drawing/2014/main" id="{789B442F-D39E-4BC2-8A60-C7BF35235921}"/>
              </a:ext>
            </a:extLst>
          </p:cNvPr>
          <p:cNvSpPr>
            <a:spLocks noGrp="1"/>
          </p:cNvSpPr>
          <p:nvPr>
            <p:ph type="body" sz="quarter" idx="13"/>
          </p:nvPr>
        </p:nvSpPr>
        <p:spPr/>
        <p:txBody>
          <a:bodyPr/>
          <a:lstStyle/>
          <a:p>
            <a:endParaRPr lang="en-GB" dirty="0"/>
          </a:p>
        </p:txBody>
      </p:sp>
      <p:sp>
        <p:nvSpPr>
          <p:cNvPr id="132" name="Text Placeholder 131">
            <a:extLst>
              <a:ext uri="{FF2B5EF4-FFF2-40B4-BE49-F238E27FC236}">
                <a16:creationId xmlns:a16="http://schemas.microsoft.com/office/drawing/2014/main" id="{B4077E9D-45D0-4805-B3E5-A460EAD2D9E6}"/>
              </a:ext>
            </a:extLst>
          </p:cNvPr>
          <p:cNvSpPr>
            <a:spLocks noGrp="1"/>
          </p:cNvSpPr>
          <p:nvPr>
            <p:ph type="body" sz="quarter" idx="14"/>
          </p:nvPr>
        </p:nvSpPr>
        <p:spPr/>
        <p:txBody>
          <a:bodyPr/>
          <a:lstStyle/>
          <a:p>
            <a:endParaRPr lang="en-GB" dirty="0"/>
          </a:p>
        </p:txBody>
      </p:sp>
      <p:grpSp>
        <p:nvGrpSpPr>
          <p:cNvPr id="13" name="Group 12">
            <a:extLst>
              <a:ext uri="{FF2B5EF4-FFF2-40B4-BE49-F238E27FC236}">
                <a16:creationId xmlns:a16="http://schemas.microsoft.com/office/drawing/2014/main" id="{C0B4DF23-C69C-4304-9B5C-F49914EF3E48}"/>
              </a:ext>
            </a:extLst>
          </p:cNvPr>
          <p:cNvGrpSpPr/>
          <p:nvPr/>
        </p:nvGrpSpPr>
        <p:grpSpPr>
          <a:xfrm>
            <a:off x="8298832" y="309514"/>
            <a:ext cx="847612" cy="669167"/>
            <a:chOff x="4051300" y="3319463"/>
            <a:chExt cx="512763" cy="404813"/>
          </a:xfrm>
        </p:grpSpPr>
        <p:sp>
          <p:nvSpPr>
            <p:cNvPr id="14" name="Freeform 22">
              <a:extLst>
                <a:ext uri="{FF2B5EF4-FFF2-40B4-BE49-F238E27FC236}">
                  <a16:creationId xmlns:a16="http://schemas.microsoft.com/office/drawing/2014/main" id="{AD594187-601E-45E5-8BCE-94809426ED19}"/>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23">
              <a:extLst>
                <a:ext uri="{FF2B5EF4-FFF2-40B4-BE49-F238E27FC236}">
                  <a16:creationId xmlns:a16="http://schemas.microsoft.com/office/drawing/2014/main" id="{42480240-E4DD-46D6-92BF-5BB62469FF3A}"/>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24">
              <a:extLst>
                <a:ext uri="{FF2B5EF4-FFF2-40B4-BE49-F238E27FC236}">
                  <a16:creationId xmlns:a16="http://schemas.microsoft.com/office/drawing/2014/main" id="{A286D7C9-5990-46B7-8B9A-2C3E6D1A2A84}"/>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3" name="Rectangle 42">
            <a:extLst>
              <a:ext uri="{FF2B5EF4-FFF2-40B4-BE49-F238E27FC236}">
                <a16:creationId xmlns:a16="http://schemas.microsoft.com/office/drawing/2014/main" id="{34128655-E1BE-4E03-97A1-E1903AB132FA}"/>
              </a:ext>
            </a:extLst>
          </p:cNvPr>
          <p:cNvSpPr/>
          <p:nvPr/>
        </p:nvSpPr>
        <p:spPr>
          <a:xfrm>
            <a:off x="282400" y="1895610"/>
            <a:ext cx="1983280" cy="492443"/>
          </a:xfrm>
          <a:prstGeom prst="rect">
            <a:avLst/>
          </a:prstGeom>
        </p:spPr>
        <p:txBody>
          <a:bodyPr wrap="square" lIns="0" tIns="0" rIns="0" bIns="0">
            <a:spAutoFit/>
          </a:bodyPr>
          <a:lstStyle/>
          <a:p>
            <a:pPr marL="0" lvl="2">
              <a:buFont typeface="Arial" panose="020B0604020202020204" pitchFamily="34" charset="0"/>
              <a:buNone/>
              <a:tabLst>
                <a:tab pos="2870200" algn="l"/>
              </a:tabLst>
            </a:pPr>
            <a:r>
              <a:rPr lang="en-GB" sz="3200" dirty="0">
                <a:solidFill>
                  <a:srgbClr val="1F2023"/>
                </a:solidFill>
                <a:latin typeface="Impact" charset="0"/>
                <a:ea typeface="Impact" charset="0"/>
                <a:cs typeface="Impact" charset="0"/>
              </a:rPr>
              <a:t>IN PAIRS</a:t>
            </a:r>
          </a:p>
        </p:txBody>
      </p:sp>
      <p:cxnSp>
        <p:nvCxnSpPr>
          <p:cNvPr id="54" name="Straight Connector 53">
            <a:extLst>
              <a:ext uri="{FF2B5EF4-FFF2-40B4-BE49-F238E27FC236}">
                <a16:creationId xmlns:a16="http://schemas.microsoft.com/office/drawing/2014/main" id="{48D1D077-E44C-4F5F-BB8E-B91EDA9463F5}"/>
              </a:ext>
            </a:extLst>
          </p:cNvPr>
          <p:cNvCxnSpPr>
            <a:cxnSpLocks/>
          </p:cNvCxnSpPr>
          <p:nvPr/>
        </p:nvCxnSpPr>
        <p:spPr>
          <a:xfrm flipH="1">
            <a:off x="5328862" y="3536354"/>
            <a:ext cx="4200455"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nvGrpSpPr>
          <p:cNvPr id="137" name="Group 136">
            <a:extLst>
              <a:ext uri="{FF2B5EF4-FFF2-40B4-BE49-F238E27FC236}">
                <a16:creationId xmlns:a16="http://schemas.microsoft.com/office/drawing/2014/main" id="{0C80E5E9-7683-46DD-A183-D96DE733C1E2}"/>
              </a:ext>
            </a:extLst>
          </p:cNvPr>
          <p:cNvGrpSpPr/>
          <p:nvPr/>
        </p:nvGrpSpPr>
        <p:grpSpPr>
          <a:xfrm>
            <a:off x="5328862" y="3846118"/>
            <a:ext cx="4200455" cy="1464640"/>
            <a:chOff x="5309812" y="3632349"/>
            <a:chExt cx="4200455" cy="1464640"/>
          </a:xfrm>
        </p:grpSpPr>
        <p:sp>
          <p:nvSpPr>
            <p:cNvPr id="29" name="Content Placeholder 4">
              <a:extLst>
                <a:ext uri="{FF2B5EF4-FFF2-40B4-BE49-F238E27FC236}">
                  <a16:creationId xmlns:a16="http://schemas.microsoft.com/office/drawing/2014/main" id="{EF81FBBE-3A71-4F1A-B961-1B4C21CE9F0C}"/>
                </a:ext>
              </a:extLst>
            </p:cNvPr>
            <p:cNvSpPr txBox="1">
              <a:spLocks/>
            </p:cNvSpPr>
            <p:nvPr/>
          </p:nvSpPr>
          <p:spPr>
            <a:xfrm>
              <a:off x="5309812" y="3958216"/>
              <a:ext cx="4200455" cy="1138773"/>
            </a:xfrm>
            <a:prstGeom prst="rect">
              <a:avLst/>
            </a:prstGeom>
          </p:spPr>
          <p:txBody>
            <a:bodyPr lIns="0" tIns="0" rIns="0" bIns="0">
              <a:sp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marL="180000" lvl="1" indent="-180000">
                <a:spcBef>
                  <a:spcPts val="600"/>
                </a:spcBef>
                <a:spcAft>
                  <a:spcPts val="0"/>
                </a:spcAft>
                <a:defRPr/>
              </a:pPr>
              <a:r>
                <a:rPr lang="en-GB" sz="1200" dirty="0"/>
                <a:t>Explain why B should change </a:t>
              </a:r>
              <a:r>
                <a:rPr lang="en-GB" sz="1200" dirty="0" err="1"/>
                <a:t>behavior</a:t>
              </a:r>
              <a:endParaRPr lang="en-GB" sz="1200" dirty="0"/>
            </a:p>
            <a:p>
              <a:pPr marL="180000" lvl="1" indent="-180000">
                <a:spcBef>
                  <a:spcPts val="600"/>
                </a:spcBef>
                <a:spcAft>
                  <a:spcPts val="0"/>
                </a:spcAft>
                <a:defRPr/>
              </a:pPr>
              <a:r>
                <a:rPr lang="en-GB" sz="1200" dirty="0"/>
                <a:t>Tell B at least 3 advantages by changing </a:t>
              </a:r>
              <a:r>
                <a:rPr lang="en-GB" sz="1200" dirty="0" err="1"/>
                <a:t>behavior</a:t>
              </a:r>
              <a:endParaRPr lang="en-GB" sz="1200" dirty="0"/>
            </a:p>
            <a:p>
              <a:pPr marL="180000" lvl="1" indent="-180000">
                <a:spcBef>
                  <a:spcPts val="600"/>
                </a:spcBef>
                <a:spcAft>
                  <a:spcPts val="0"/>
                </a:spcAft>
                <a:defRPr/>
              </a:pPr>
              <a:r>
                <a:rPr lang="en-GB" sz="1200" dirty="0"/>
                <a:t>Tell B how she/he can change the </a:t>
              </a:r>
              <a:r>
                <a:rPr lang="en-GB" sz="1200" dirty="0" err="1"/>
                <a:t>behavior</a:t>
              </a:r>
              <a:endParaRPr lang="en-GB" sz="1200" dirty="0"/>
            </a:p>
            <a:p>
              <a:pPr marL="180000" lvl="1" indent="-180000">
                <a:spcBef>
                  <a:spcPts val="600"/>
                </a:spcBef>
                <a:spcAft>
                  <a:spcPts val="0"/>
                </a:spcAft>
                <a:defRPr/>
              </a:pPr>
              <a:r>
                <a:rPr lang="en-GB" sz="1200" dirty="0"/>
                <a:t>Stress how important it is to B to change the </a:t>
              </a:r>
              <a:r>
                <a:rPr lang="en-GB" sz="1200" dirty="0" err="1"/>
                <a:t>behavior</a:t>
              </a:r>
              <a:endParaRPr lang="en-GB" sz="1200" dirty="0"/>
            </a:p>
            <a:p>
              <a:pPr marL="180000" lvl="1" indent="-180000">
                <a:spcBef>
                  <a:spcPts val="600"/>
                </a:spcBef>
                <a:spcAft>
                  <a:spcPts val="0"/>
                </a:spcAft>
                <a:defRPr/>
              </a:pPr>
              <a:r>
                <a:rPr lang="en-GB" sz="1200" dirty="0"/>
                <a:t>If needed order B to do it!</a:t>
              </a:r>
            </a:p>
          </p:txBody>
        </p:sp>
        <p:sp>
          <p:nvSpPr>
            <p:cNvPr id="133" name="Rectangle 132">
              <a:extLst>
                <a:ext uri="{FF2B5EF4-FFF2-40B4-BE49-F238E27FC236}">
                  <a16:creationId xmlns:a16="http://schemas.microsoft.com/office/drawing/2014/main" id="{D3448061-A280-40F0-9059-664DE5A33500}"/>
                </a:ext>
              </a:extLst>
            </p:cNvPr>
            <p:cNvSpPr/>
            <p:nvPr/>
          </p:nvSpPr>
          <p:spPr>
            <a:xfrm>
              <a:off x="5309812" y="3632349"/>
              <a:ext cx="587981" cy="215444"/>
            </a:xfrm>
            <a:prstGeom prst="rect">
              <a:avLst/>
            </a:prstGeom>
          </p:spPr>
          <p:txBody>
            <a:bodyPr wrap="none" lIns="0" tIns="0" rIns="0" bIns="0">
              <a:spAutoFit/>
            </a:bodyPr>
            <a:lstStyle/>
            <a:p>
              <a:pPr marL="180975" lvl="1" indent="-179388">
                <a:spcBef>
                  <a:spcPts val="600"/>
                </a:spcBef>
              </a:pPr>
              <a:r>
                <a:rPr lang="en-GB" sz="1400" b="1" dirty="0">
                  <a:solidFill>
                    <a:srgbClr val="1F2023"/>
                  </a:solidFill>
                </a:rPr>
                <a:t>Step 2 </a:t>
              </a:r>
            </a:p>
          </p:txBody>
        </p:sp>
      </p:grpSp>
      <p:grpSp>
        <p:nvGrpSpPr>
          <p:cNvPr id="138" name="Group 137">
            <a:extLst>
              <a:ext uri="{FF2B5EF4-FFF2-40B4-BE49-F238E27FC236}">
                <a16:creationId xmlns:a16="http://schemas.microsoft.com/office/drawing/2014/main" id="{DD088440-CE84-409E-9952-2842616FFF49}"/>
              </a:ext>
            </a:extLst>
          </p:cNvPr>
          <p:cNvGrpSpPr/>
          <p:nvPr/>
        </p:nvGrpSpPr>
        <p:grpSpPr>
          <a:xfrm>
            <a:off x="5328862" y="2346726"/>
            <a:ext cx="3836632" cy="879865"/>
            <a:chOff x="5309812" y="2132956"/>
            <a:chExt cx="3836632" cy="879865"/>
          </a:xfrm>
        </p:grpSpPr>
        <p:sp>
          <p:nvSpPr>
            <p:cNvPr id="56" name="Rectangle 55">
              <a:extLst>
                <a:ext uri="{FF2B5EF4-FFF2-40B4-BE49-F238E27FC236}">
                  <a16:creationId xmlns:a16="http://schemas.microsoft.com/office/drawing/2014/main" id="{432A5EA9-B34E-47DF-8E81-A0A492C0C6E0}"/>
                </a:ext>
              </a:extLst>
            </p:cNvPr>
            <p:cNvSpPr/>
            <p:nvPr/>
          </p:nvSpPr>
          <p:spPr>
            <a:xfrm>
              <a:off x="5309812" y="2132956"/>
              <a:ext cx="538289" cy="215444"/>
            </a:xfrm>
            <a:prstGeom prst="rect">
              <a:avLst/>
            </a:prstGeom>
          </p:spPr>
          <p:txBody>
            <a:bodyPr wrap="none" lIns="0" tIns="0" rIns="0" bIns="0">
              <a:spAutoFit/>
            </a:bodyPr>
            <a:lstStyle/>
            <a:p>
              <a:pPr marL="180975" lvl="1" indent="-179388">
                <a:spcBef>
                  <a:spcPts val="600"/>
                </a:spcBef>
              </a:pPr>
              <a:r>
                <a:rPr lang="en-GB" sz="1400" b="1" dirty="0">
                  <a:solidFill>
                    <a:srgbClr val="1F2023"/>
                  </a:solidFill>
                </a:rPr>
                <a:t>Step 1</a:t>
              </a:r>
            </a:p>
          </p:txBody>
        </p:sp>
        <p:sp>
          <p:nvSpPr>
            <p:cNvPr id="134" name="Rectangle 133">
              <a:extLst>
                <a:ext uri="{FF2B5EF4-FFF2-40B4-BE49-F238E27FC236}">
                  <a16:creationId xmlns:a16="http://schemas.microsoft.com/office/drawing/2014/main" id="{174E0E14-2C70-4C92-BB2F-85A237B6AAB9}"/>
                </a:ext>
              </a:extLst>
            </p:cNvPr>
            <p:cNvSpPr/>
            <p:nvPr/>
          </p:nvSpPr>
          <p:spPr>
            <a:xfrm>
              <a:off x="5309812" y="2458823"/>
              <a:ext cx="3836632" cy="553998"/>
            </a:xfrm>
            <a:prstGeom prst="rect">
              <a:avLst/>
            </a:prstGeom>
          </p:spPr>
          <p:txBody>
            <a:bodyPr wrap="square" lIns="0" tIns="0" rIns="0" bIns="0">
              <a:spAutoFit/>
            </a:bodyPr>
            <a:lstStyle/>
            <a:p>
              <a:pPr marL="0" lvl="1">
                <a:spcAft>
                  <a:spcPts val="1200"/>
                </a:spcAft>
                <a:tabLst>
                  <a:tab pos="269875" algn="l"/>
                </a:tabLst>
                <a:defRPr/>
              </a:pPr>
              <a:r>
                <a:rPr lang="en-GB" sz="1200" b="1" dirty="0">
                  <a:solidFill>
                    <a:srgbClr val="1F2023"/>
                  </a:solidFill>
                </a:rPr>
                <a:t>A:	</a:t>
              </a:r>
              <a:r>
                <a:rPr lang="en-GB" sz="1200" dirty="0">
                  <a:solidFill>
                    <a:srgbClr val="1F2023"/>
                  </a:solidFill>
                </a:rPr>
                <a:t>Listen to B’s story – But not too long – You do not 	have that much time and you normally figure out 	answers quickly </a:t>
              </a:r>
            </a:p>
          </p:txBody>
        </p:sp>
      </p:grpSp>
      <p:sp>
        <p:nvSpPr>
          <p:cNvPr id="30" name="Rectangle 29">
            <a:extLst>
              <a:ext uri="{FF2B5EF4-FFF2-40B4-BE49-F238E27FC236}">
                <a16:creationId xmlns:a16="http://schemas.microsoft.com/office/drawing/2014/main" id="{9D8F2861-5471-4949-AB30-093794FF6C96}"/>
              </a:ext>
            </a:extLst>
          </p:cNvPr>
          <p:cNvSpPr/>
          <p:nvPr/>
        </p:nvSpPr>
        <p:spPr>
          <a:xfrm>
            <a:off x="269874" y="2429186"/>
            <a:ext cx="4818063" cy="2799110"/>
          </a:xfrm>
          <a:prstGeom prst="rect">
            <a:avLst/>
          </a:prstGeom>
          <a:solidFill>
            <a:srgbClr val="E2DED9"/>
          </a:solidFill>
        </p:spPr>
        <p:txBody>
          <a:bodyPr wrap="square" lIns="360000" tIns="576000" rIns="396000" anchor="ctr">
            <a:noAutofit/>
          </a:bodyPr>
          <a:lstStyle/>
          <a:p>
            <a:pPr marL="0" lvl="1" indent="1588">
              <a:spcBef>
                <a:spcPts val="1200"/>
              </a:spcBef>
              <a:spcAft>
                <a:spcPts val="0"/>
              </a:spcAft>
              <a:buClr>
                <a:schemeClr val="tx1"/>
              </a:buClr>
              <a:buNone/>
            </a:pPr>
            <a:endParaRPr lang="en-GB" sz="1200" dirty="0">
              <a:solidFill>
                <a:srgbClr val="1F2023"/>
              </a:solidFill>
            </a:endParaRPr>
          </a:p>
        </p:txBody>
      </p:sp>
      <p:grpSp>
        <p:nvGrpSpPr>
          <p:cNvPr id="147" name="Group 146">
            <a:extLst>
              <a:ext uri="{FF2B5EF4-FFF2-40B4-BE49-F238E27FC236}">
                <a16:creationId xmlns:a16="http://schemas.microsoft.com/office/drawing/2014/main" id="{565AA7EA-0200-4663-9047-0642B61E4283}"/>
              </a:ext>
            </a:extLst>
          </p:cNvPr>
          <p:cNvGrpSpPr/>
          <p:nvPr/>
        </p:nvGrpSpPr>
        <p:grpSpPr>
          <a:xfrm>
            <a:off x="663194" y="2659579"/>
            <a:ext cx="4048060" cy="2210016"/>
            <a:chOff x="525900" y="2659579"/>
            <a:chExt cx="4048060" cy="2210016"/>
          </a:xfrm>
        </p:grpSpPr>
        <p:grpSp>
          <p:nvGrpSpPr>
            <p:cNvPr id="65" name="Group 64">
              <a:extLst>
                <a:ext uri="{FF2B5EF4-FFF2-40B4-BE49-F238E27FC236}">
                  <a16:creationId xmlns:a16="http://schemas.microsoft.com/office/drawing/2014/main" id="{C6F0B851-36B1-488A-8E68-47658AA741C2}"/>
                </a:ext>
              </a:extLst>
            </p:cNvPr>
            <p:cNvGrpSpPr/>
            <p:nvPr/>
          </p:nvGrpSpPr>
          <p:grpSpPr>
            <a:xfrm>
              <a:off x="525900" y="2659579"/>
              <a:ext cx="464502" cy="352432"/>
              <a:chOff x="3902076" y="3484563"/>
              <a:chExt cx="500063" cy="379413"/>
            </a:xfrm>
          </p:grpSpPr>
          <p:sp>
            <p:nvSpPr>
              <p:cNvPr id="66" name="Freeform 92">
                <a:extLst>
                  <a:ext uri="{FF2B5EF4-FFF2-40B4-BE49-F238E27FC236}">
                    <a16:creationId xmlns:a16="http://schemas.microsoft.com/office/drawing/2014/main" id="{16417C0B-F234-4DBA-B3FC-FA34E26D616D}"/>
                  </a:ext>
                </a:extLst>
              </p:cNvPr>
              <p:cNvSpPr>
                <a:spLocks/>
              </p:cNvSpPr>
              <p:nvPr/>
            </p:nvSpPr>
            <p:spPr bwMode="auto">
              <a:xfrm>
                <a:off x="3902076" y="3694113"/>
                <a:ext cx="458788" cy="169863"/>
              </a:xfrm>
              <a:custGeom>
                <a:avLst/>
                <a:gdLst>
                  <a:gd name="T0" fmla="*/ 289 w 289"/>
                  <a:gd name="T1" fmla="*/ 0 h 107"/>
                  <a:gd name="T2" fmla="*/ 289 w 289"/>
                  <a:gd name="T3" fmla="*/ 107 h 107"/>
                  <a:gd name="T4" fmla="*/ 225 w 289"/>
                  <a:gd name="T5" fmla="*/ 107 h 107"/>
                  <a:gd name="T6" fmla="*/ 0 w 289"/>
                  <a:gd name="T7" fmla="*/ 107 h 107"/>
                  <a:gd name="T8" fmla="*/ 0 w 289"/>
                  <a:gd name="T9" fmla="*/ 0 h 107"/>
                  <a:gd name="T10" fmla="*/ 289 w 289"/>
                  <a:gd name="T11" fmla="*/ 0 h 107"/>
                </a:gdLst>
                <a:ahLst/>
                <a:cxnLst>
                  <a:cxn ang="0">
                    <a:pos x="T0" y="T1"/>
                  </a:cxn>
                  <a:cxn ang="0">
                    <a:pos x="T2" y="T3"/>
                  </a:cxn>
                  <a:cxn ang="0">
                    <a:pos x="T4" y="T5"/>
                  </a:cxn>
                  <a:cxn ang="0">
                    <a:pos x="T6" y="T7"/>
                  </a:cxn>
                  <a:cxn ang="0">
                    <a:pos x="T8" y="T9"/>
                  </a:cxn>
                  <a:cxn ang="0">
                    <a:pos x="T10" y="T11"/>
                  </a:cxn>
                </a:cxnLst>
                <a:rect l="0" t="0" r="r" b="b"/>
                <a:pathLst>
                  <a:path w="289" h="107">
                    <a:moveTo>
                      <a:pt x="289" y="0"/>
                    </a:moveTo>
                    <a:lnTo>
                      <a:pt x="289" y="107"/>
                    </a:lnTo>
                    <a:lnTo>
                      <a:pt x="225" y="107"/>
                    </a:lnTo>
                    <a:lnTo>
                      <a:pt x="0" y="107"/>
                    </a:lnTo>
                    <a:lnTo>
                      <a:pt x="0" y="0"/>
                    </a:lnTo>
                    <a:lnTo>
                      <a:pt x="289" y="0"/>
                    </a:lnTo>
                    <a:close/>
                  </a:path>
                </a:pathLst>
              </a:cu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Line 93">
                <a:extLst>
                  <a:ext uri="{FF2B5EF4-FFF2-40B4-BE49-F238E27FC236}">
                    <a16:creationId xmlns:a16="http://schemas.microsoft.com/office/drawing/2014/main" id="{383D3D45-9A75-48C8-AB71-14FBF86DCF5D}"/>
                  </a:ext>
                </a:extLst>
              </p:cNvPr>
              <p:cNvSpPr>
                <a:spLocks noChangeShapeType="1"/>
              </p:cNvSpPr>
              <p:nvPr/>
            </p:nvSpPr>
            <p:spPr bwMode="auto">
              <a:xfrm flipV="1">
                <a:off x="4286251" y="3559175"/>
                <a:ext cx="0" cy="1206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8" name="Line 94">
                <a:extLst>
                  <a:ext uri="{FF2B5EF4-FFF2-40B4-BE49-F238E27FC236}">
                    <a16:creationId xmlns:a16="http://schemas.microsoft.com/office/drawing/2014/main" id="{CB865581-260A-4EF1-B375-A0E0EFB91841}"/>
                  </a:ext>
                </a:extLst>
              </p:cNvPr>
              <p:cNvSpPr>
                <a:spLocks noChangeShapeType="1"/>
              </p:cNvSpPr>
              <p:nvPr/>
            </p:nvSpPr>
            <p:spPr bwMode="auto">
              <a:xfrm>
                <a:off x="4330701" y="3556000"/>
                <a:ext cx="0" cy="12858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95">
                <a:extLst>
                  <a:ext uri="{FF2B5EF4-FFF2-40B4-BE49-F238E27FC236}">
                    <a16:creationId xmlns:a16="http://schemas.microsoft.com/office/drawing/2014/main" id="{9F2052A9-945D-47E6-9B9D-05386C72B82D}"/>
                  </a:ext>
                </a:extLst>
              </p:cNvPr>
              <p:cNvSpPr>
                <a:spLocks/>
              </p:cNvSpPr>
              <p:nvPr/>
            </p:nvSpPr>
            <p:spPr bwMode="auto">
              <a:xfrm>
                <a:off x="4254501" y="3502025"/>
                <a:ext cx="147638" cy="53975"/>
              </a:xfrm>
              <a:custGeom>
                <a:avLst/>
                <a:gdLst>
                  <a:gd name="T0" fmla="*/ 93 w 93"/>
                  <a:gd name="T1" fmla="*/ 34 h 34"/>
                  <a:gd name="T2" fmla="*/ 0 w 93"/>
                  <a:gd name="T3" fmla="*/ 34 h 34"/>
                  <a:gd name="T4" fmla="*/ 0 w 93"/>
                  <a:gd name="T5" fmla="*/ 0 h 34"/>
                  <a:gd name="T6" fmla="*/ 73 w 93"/>
                  <a:gd name="T7" fmla="*/ 0 h 34"/>
                  <a:gd name="T8" fmla="*/ 93 w 93"/>
                  <a:gd name="T9" fmla="*/ 34 h 34"/>
                </a:gdLst>
                <a:ahLst/>
                <a:cxnLst>
                  <a:cxn ang="0">
                    <a:pos x="T0" y="T1"/>
                  </a:cxn>
                  <a:cxn ang="0">
                    <a:pos x="T2" y="T3"/>
                  </a:cxn>
                  <a:cxn ang="0">
                    <a:pos x="T4" y="T5"/>
                  </a:cxn>
                  <a:cxn ang="0">
                    <a:pos x="T6" y="T7"/>
                  </a:cxn>
                  <a:cxn ang="0">
                    <a:pos x="T8" y="T9"/>
                  </a:cxn>
                </a:cxnLst>
                <a:rect l="0" t="0" r="r" b="b"/>
                <a:pathLst>
                  <a:path w="93" h="34">
                    <a:moveTo>
                      <a:pt x="93" y="34"/>
                    </a:moveTo>
                    <a:lnTo>
                      <a:pt x="0" y="34"/>
                    </a:lnTo>
                    <a:lnTo>
                      <a:pt x="0" y="0"/>
                    </a:lnTo>
                    <a:lnTo>
                      <a:pt x="73" y="0"/>
                    </a:lnTo>
                    <a:lnTo>
                      <a:pt x="93" y="34"/>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96">
                <a:extLst>
                  <a:ext uri="{FF2B5EF4-FFF2-40B4-BE49-F238E27FC236}">
                    <a16:creationId xmlns:a16="http://schemas.microsoft.com/office/drawing/2014/main" id="{30062825-87D6-47A6-9986-F4EADB5D2469}"/>
                  </a:ext>
                </a:extLst>
              </p:cNvPr>
              <p:cNvSpPr>
                <a:spLocks/>
              </p:cNvSpPr>
              <p:nvPr/>
            </p:nvSpPr>
            <p:spPr bwMode="auto">
              <a:xfrm>
                <a:off x="4111626" y="3509963"/>
                <a:ext cx="111125" cy="169863"/>
              </a:xfrm>
              <a:custGeom>
                <a:avLst/>
                <a:gdLst>
                  <a:gd name="T0" fmla="*/ 17 w 25"/>
                  <a:gd name="T1" fmla="*/ 38 h 38"/>
                  <a:gd name="T2" fmla="*/ 17 w 25"/>
                  <a:gd name="T3" fmla="*/ 22 h 38"/>
                  <a:gd name="T4" fmla="*/ 25 w 25"/>
                  <a:gd name="T5" fmla="*/ 11 h 38"/>
                  <a:gd name="T6" fmla="*/ 19 w 25"/>
                  <a:gd name="T7" fmla="*/ 0 h 38"/>
                  <a:gd name="T8" fmla="*/ 19 w 25"/>
                  <a:gd name="T9" fmla="*/ 11 h 38"/>
                  <a:gd name="T10" fmla="*/ 13 w 25"/>
                  <a:gd name="T11" fmla="*/ 14 h 38"/>
                  <a:gd name="T12" fmla="*/ 6 w 25"/>
                  <a:gd name="T13" fmla="*/ 11 h 38"/>
                  <a:gd name="T14" fmla="*/ 6 w 25"/>
                  <a:gd name="T15" fmla="*/ 0 h 38"/>
                  <a:gd name="T16" fmla="*/ 0 w 25"/>
                  <a:gd name="T17" fmla="*/ 11 h 38"/>
                  <a:gd name="T18" fmla="*/ 8 w 25"/>
                  <a:gd name="T19" fmla="*/ 22 h 38"/>
                  <a:gd name="T20" fmla="*/ 8 w 25"/>
                  <a:gd name="T21"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8">
                    <a:moveTo>
                      <a:pt x="17" y="38"/>
                    </a:moveTo>
                    <a:cubicBezTo>
                      <a:pt x="17" y="22"/>
                      <a:pt x="17" y="22"/>
                      <a:pt x="17" y="22"/>
                    </a:cubicBezTo>
                    <a:cubicBezTo>
                      <a:pt x="22" y="21"/>
                      <a:pt x="25" y="16"/>
                      <a:pt x="25" y="11"/>
                    </a:cubicBezTo>
                    <a:cubicBezTo>
                      <a:pt x="25" y="6"/>
                      <a:pt x="23" y="2"/>
                      <a:pt x="19" y="0"/>
                    </a:cubicBezTo>
                    <a:cubicBezTo>
                      <a:pt x="19" y="11"/>
                      <a:pt x="19" y="11"/>
                      <a:pt x="19" y="11"/>
                    </a:cubicBezTo>
                    <a:cubicBezTo>
                      <a:pt x="13" y="14"/>
                      <a:pt x="13" y="14"/>
                      <a:pt x="13" y="14"/>
                    </a:cubicBezTo>
                    <a:cubicBezTo>
                      <a:pt x="6" y="11"/>
                      <a:pt x="6" y="11"/>
                      <a:pt x="6" y="11"/>
                    </a:cubicBezTo>
                    <a:cubicBezTo>
                      <a:pt x="6" y="0"/>
                      <a:pt x="6" y="0"/>
                      <a:pt x="6" y="0"/>
                    </a:cubicBezTo>
                    <a:cubicBezTo>
                      <a:pt x="2" y="2"/>
                      <a:pt x="0" y="6"/>
                      <a:pt x="0" y="11"/>
                    </a:cubicBezTo>
                    <a:cubicBezTo>
                      <a:pt x="0" y="16"/>
                      <a:pt x="3" y="21"/>
                      <a:pt x="8" y="22"/>
                    </a:cubicBezTo>
                    <a:cubicBezTo>
                      <a:pt x="8" y="38"/>
                      <a:pt x="8" y="38"/>
                      <a:pt x="8" y="3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97">
                <a:extLst>
                  <a:ext uri="{FF2B5EF4-FFF2-40B4-BE49-F238E27FC236}">
                    <a16:creationId xmlns:a16="http://schemas.microsoft.com/office/drawing/2014/main" id="{FC4FE152-1D0F-4107-9645-9141C76B64CE}"/>
                  </a:ext>
                </a:extLst>
              </p:cNvPr>
              <p:cNvSpPr>
                <a:spLocks/>
              </p:cNvSpPr>
              <p:nvPr/>
            </p:nvSpPr>
            <p:spPr bwMode="auto">
              <a:xfrm>
                <a:off x="3946526" y="3684588"/>
                <a:ext cx="352425" cy="169863"/>
              </a:xfrm>
              <a:custGeom>
                <a:avLst/>
                <a:gdLst>
                  <a:gd name="T0" fmla="*/ 222 w 222"/>
                  <a:gd name="T1" fmla="*/ 107 h 107"/>
                  <a:gd name="T2" fmla="*/ 0 w 222"/>
                  <a:gd name="T3" fmla="*/ 107 h 107"/>
                  <a:gd name="T4" fmla="*/ 0 w 222"/>
                  <a:gd name="T5" fmla="*/ 0 h 107"/>
                </a:gdLst>
                <a:ahLst/>
                <a:cxnLst>
                  <a:cxn ang="0">
                    <a:pos x="T0" y="T1"/>
                  </a:cxn>
                  <a:cxn ang="0">
                    <a:pos x="T2" y="T3"/>
                  </a:cxn>
                  <a:cxn ang="0">
                    <a:pos x="T4" y="T5"/>
                  </a:cxn>
                </a:cxnLst>
                <a:rect l="0" t="0" r="r" b="b"/>
                <a:pathLst>
                  <a:path w="222" h="107">
                    <a:moveTo>
                      <a:pt x="222" y="107"/>
                    </a:moveTo>
                    <a:lnTo>
                      <a:pt x="0" y="107"/>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2" name="Line 98">
                <a:extLst>
                  <a:ext uri="{FF2B5EF4-FFF2-40B4-BE49-F238E27FC236}">
                    <a16:creationId xmlns:a16="http://schemas.microsoft.com/office/drawing/2014/main" id="{F9960AA3-E1FE-4AE8-8835-545C35E49B7A}"/>
                  </a:ext>
                </a:extLst>
              </p:cNvPr>
              <p:cNvSpPr>
                <a:spLocks noChangeShapeType="1"/>
              </p:cNvSpPr>
              <p:nvPr/>
            </p:nvSpPr>
            <p:spPr bwMode="auto">
              <a:xfrm>
                <a:off x="4402138" y="3684588"/>
                <a:ext cx="0" cy="1698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99">
                <a:extLst>
                  <a:ext uri="{FF2B5EF4-FFF2-40B4-BE49-F238E27FC236}">
                    <a16:creationId xmlns:a16="http://schemas.microsoft.com/office/drawing/2014/main" id="{BE086C51-9F2C-4AAB-A782-C00DB34187D5}"/>
                  </a:ext>
                </a:extLst>
              </p:cNvPr>
              <p:cNvSpPr>
                <a:spLocks/>
              </p:cNvSpPr>
              <p:nvPr/>
            </p:nvSpPr>
            <p:spPr bwMode="auto">
              <a:xfrm>
                <a:off x="4022726" y="3484563"/>
                <a:ext cx="52388" cy="200025"/>
              </a:xfrm>
              <a:custGeom>
                <a:avLst/>
                <a:gdLst>
                  <a:gd name="T0" fmla="*/ 0 w 33"/>
                  <a:gd name="T1" fmla="*/ 123 h 126"/>
                  <a:gd name="T2" fmla="*/ 0 w 33"/>
                  <a:gd name="T3" fmla="*/ 25 h 126"/>
                  <a:gd name="T4" fmla="*/ 16 w 33"/>
                  <a:gd name="T5" fmla="*/ 0 h 126"/>
                  <a:gd name="T6" fmla="*/ 33 w 33"/>
                  <a:gd name="T7" fmla="*/ 25 h 126"/>
                  <a:gd name="T8" fmla="*/ 33 w 33"/>
                  <a:gd name="T9" fmla="*/ 126 h 126"/>
                </a:gdLst>
                <a:ahLst/>
                <a:cxnLst>
                  <a:cxn ang="0">
                    <a:pos x="T0" y="T1"/>
                  </a:cxn>
                  <a:cxn ang="0">
                    <a:pos x="T2" y="T3"/>
                  </a:cxn>
                  <a:cxn ang="0">
                    <a:pos x="T4" y="T5"/>
                  </a:cxn>
                  <a:cxn ang="0">
                    <a:pos x="T6" y="T7"/>
                  </a:cxn>
                  <a:cxn ang="0">
                    <a:pos x="T8" y="T9"/>
                  </a:cxn>
                </a:cxnLst>
                <a:rect l="0" t="0" r="r" b="b"/>
                <a:pathLst>
                  <a:path w="33" h="126">
                    <a:moveTo>
                      <a:pt x="0" y="123"/>
                    </a:moveTo>
                    <a:lnTo>
                      <a:pt x="0" y="25"/>
                    </a:lnTo>
                    <a:lnTo>
                      <a:pt x="16" y="0"/>
                    </a:lnTo>
                    <a:lnTo>
                      <a:pt x="33" y="25"/>
                    </a:lnTo>
                    <a:lnTo>
                      <a:pt x="33" y="12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4" name="Line 100">
                <a:extLst>
                  <a:ext uri="{FF2B5EF4-FFF2-40B4-BE49-F238E27FC236}">
                    <a16:creationId xmlns:a16="http://schemas.microsoft.com/office/drawing/2014/main" id="{68DE9E70-14BA-43CA-997D-B56A7352E95D}"/>
                  </a:ext>
                </a:extLst>
              </p:cNvPr>
              <p:cNvSpPr>
                <a:spLocks noChangeShapeType="1"/>
              </p:cNvSpPr>
              <p:nvPr/>
            </p:nvSpPr>
            <p:spPr bwMode="auto">
              <a:xfrm flipH="1">
                <a:off x="4044951" y="3533775"/>
                <a:ext cx="3016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01">
                <a:extLst>
                  <a:ext uri="{FF2B5EF4-FFF2-40B4-BE49-F238E27FC236}">
                    <a16:creationId xmlns:a16="http://schemas.microsoft.com/office/drawing/2014/main" id="{BF17C53B-8E31-4EDA-B7F9-D3C548B3EDD6}"/>
                  </a:ext>
                </a:extLst>
              </p:cNvPr>
              <p:cNvSpPr>
                <a:spLocks/>
              </p:cNvSpPr>
              <p:nvPr/>
            </p:nvSpPr>
            <p:spPr bwMode="auto">
              <a:xfrm>
                <a:off x="3990976" y="3684588"/>
                <a:ext cx="369888" cy="0"/>
              </a:xfrm>
              <a:custGeom>
                <a:avLst/>
                <a:gdLst>
                  <a:gd name="T0" fmla="*/ 0 w 233"/>
                  <a:gd name="T1" fmla="*/ 191 w 233"/>
                  <a:gd name="T2" fmla="*/ 194 w 233"/>
                  <a:gd name="T3" fmla="*/ 233 w 233"/>
                </a:gdLst>
                <a:ahLst/>
                <a:cxnLst>
                  <a:cxn ang="0">
                    <a:pos x="T0" y="0"/>
                  </a:cxn>
                  <a:cxn ang="0">
                    <a:pos x="T1" y="0"/>
                  </a:cxn>
                  <a:cxn ang="0">
                    <a:pos x="T2" y="0"/>
                  </a:cxn>
                  <a:cxn ang="0">
                    <a:pos x="T3" y="0"/>
                  </a:cxn>
                </a:cxnLst>
                <a:rect l="0" t="0" r="r" b="b"/>
                <a:pathLst>
                  <a:path w="233">
                    <a:moveTo>
                      <a:pt x="0" y="0"/>
                    </a:moveTo>
                    <a:lnTo>
                      <a:pt x="191" y="0"/>
                    </a:lnTo>
                    <a:lnTo>
                      <a:pt x="194" y="0"/>
                    </a:lnTo>
                    <a:lnTo>
                      <a:pt x="233"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102">
                <a:extLst>
                  <a:ext uri="{FF2B5EF4-FFF2-40B4-BE49-F238E27FC236}">
                    <a16:creationId xmlns:a16="http://schemas.microsoft.com/office/drawing/2014/main" id="{F8CE8DDB-9D5F-43E3-A010-7DFF037600EB}"/>
                  </a:ext>
                </a:extLst>
              </p:cNvPr>
              <p:cNvSpPr>
                <a:spLocks/>
              </p:cNvSpPr>
              <p:nvPr/>
            </p:nvSpPr>
            <p:spPr bwMode="auto">
              <a:xfrm>
                <a:off x="4360863" y="3622675"/>
                <a:ext cx="41275" cy="61913"/>
              </a:xfrm>
              <a:custGeom>
                <a:avLst/>
                <a:gdLst>
                  <a:gd name="T0" fmla="*/ 0 w 9"/>
                  <a:gd name="T1" fmla="*/ 14 h 14"/>
                  <a:gd name="T2" fmla="*/ 0 w 9"/>
                  <a:gd name="T3" fmla="*/ 9 h 14"/>
                  <a:gd name="T4" fmla="*/ 9 w 9"/>
                  <a:gd name="T5" fmla="*/ 0 h 14"/>
                  <a:gd name="T6" fmla="*/ 9 w 9"/>
                  <a:gd name="T7" fmla="*/ 0 h 14"/>
                  <a:gd name="T8" fmla="*/ 9 w 9"/>
                  <a:gd name="T9" fmla="*/ 14 h 14"/>
                </a:gdLst>
                <a:ahLst/>
                <a:cxnLst>
                  <a:cxn ang="0">
                    <a:pos x="T0" y="T1"/>
                  </a:cxn>
                  <a:cxn ang="0">
                    <a:pos x="T2" y="T3"/>
                  </a:cxn>
                  <a:cxn ang="0">
                    <a:pos x="T4" y="T5"/>
                  </a:cxn>
                  <a:cxn ang="0">
                    <a:pos x="T6" y="T7"/>
                  </a:cxn>
                  <a:cxn ang="0">
                    <a:pos x="T8" y="T9"/>
                  </a:cxn>
                </a:cxnLst>
                <a:rect l="0" t="0" r="r" b="b"/>
                <a:pathLst>
                  <a:path w="9" h="14">
                    <a:moveTo>
                      <a:pt x="0" y="14"/>
                    </a:moveTo>
                    <a:cubicBezTo>
                      <a:pt x="0" y="9"/>
                      <a:pt x="0" y="9"/>
                      <a:pt x="0" y="9"/>
                    </a:cubicBezTo>
                    <a:cubicBezTo>
                      <a:pt x="0" y="4"/>
                      <a:pt x="4" y="0"/>
                      <a:pt x="9" y="0"/>
                    </a:cubicBezTo>
                    <a:cubicBezTo>
                      <a:pt x="9" y="0"/>
                      <a:pt x="9" y="0"/>
                      <a:pt x="9" y="0"/>
                    </a:cubicBezTo>
                    <a:cubicBezTo>
                      <a:pt x="9" y="14"/>
                      <a:pt x="9" y="14"/>
                      <a:pt x="9" y="1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103">
                <a:extLst>
                  <a:ext uri="{FF2B5EF4-FFF2-40B4-BE49-F238E27FC236}">
                    <a16:creationId xmlns:a16="http://schemas.microsoft.com/office/drawing/2014/main" id="{3135F622-AE2F-4B36-9C54-95EC72EC5D6F}"/>
                  </a:ext>
                </a:extLst>
              </p:cNvPr>
              <p:cNvSpPr>
                <a:spLocks/>
              </p:cNvSpPr>
              <p:nvPr/>
            </p:nvSpPr>
            <p:spPr bwMode="auto">
              <a:xfrm>
                <a:off x="3946526" y="3622675"/>
                <a:ext cx="39688" cy="61913"/>
              </a:xfrm>
              <a:custGeom>
                <a:avLst/>
                <a:gdLst>
                  <a:gd name="T0" fmla="*/ 0 w 9"/>
                  <a:gd name="T1" fmla="*/ 14 h 14"/>
                  <a:gd name="T2" fmla="*/ 0 w 9"/>
                  <a:gd name="T3" fmla="*/ 0 h 14"/>
                  <a:gd name="T4" fmla="*/ 0 w 9"/>
                  <a:gd name="T5" fmla="*/ 0 h 14"/>
                  <a:gd name="T6" fmla="*/ 9 w 9"/>
                  <a:gd name="T7" fmla="*/ 9 h 14"/>
                  <a:gd name="T8" fmla="*/ 9 w 9"/>
                  <a:gd name="T9" fmla="*/ 14 h 14"/>
                </a:gdLst>
                <a:ahLst/>
                <a:cxnLst>
                  <a:cxn ang="0">
                    <a:pos x="T0" y="T1"/>
                  </a:cxn>
                  <a:cxn ang="0">
                    <a:pos x="T2" y="T3"/>
                  </a:cxn>
                  <a:cxn ang="0">
                    <a:pos x="T4" y="T5"/>
                  </a:cxn>
                  <a:cxn ang="0">
                    <a:pos x="T6" y="T7"/>
                  </a:cxn>
                  <a:cxn ang="0">
                    <a:pos x="T8" y="T9"/>
                  </a:cxn>
                </a:cxnLst>
                <a:rect l="0" t="0" r="r" b="b"/>
                <a:pathLst>
                  <a:path w="9" h="14">
                    <a:moveTo>
                      <a:pt x="0" y="14"/>
                    </a:moveTo>
                    <a:cubicBezTo>
                      <a:pt x="0" y="0"/>
                      <a:pt x="0" y="0"/>
                      <a:pt x="0" y="0"/>
                    </a:cubicBezTo>
                    <a:cubicBezTo>
                      <a:pt x="0" y="0"/>
                      <a:pt x="0" y="0"/>
                      <a:pt x="0" y="0"/>
                    </a:cubicBezTo>
                    <a:cubicBezTo>
                      <a:pt x="5" y="0"/>
                      <a:pt x="9" y="4"/>
                      <a:pt x="9" y="9"/>
                    </a:cubicBezTo>
                    <a:cubicBezTo>
                      <a:pt x="9" y="14"/>
                      <a:pt x="9" y="14"/>
                      <a:pt x="9" y="1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78" name="Straight Connector 77">
              <a:extLst>
                <a:ext uri="{FF2B5EF4-FFF2-40B4-BE49-F238E27FC236}">
                  <a16:creationId xmlns:a16="http://schemas.microsoft.com/office/drawing/2014/main" id="{12E85F89-16EA-4AE1-9517-BA1D21031CF5}"/>
                </a:ext>
              </a:extLst>
            </p:cNvPr>
            <p:cNvCxnSpPr>
              <a:cxnSpLocks/>
            </p:cNvCxnSpPr>
            <p:nvPr/>
          </p:nvCxnSpPr>
          <p:spPr>
            <a:xfrm flipH="1">
              <a:off x="525900" y="3597396"/>
              <a:ext cx="3812464"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
          <p:nvSpPr>
            <p:cNvPr id="141" name="Rectangle 140">
              <a:extLst>
                <a:ext uri="{FF2B5EF4-FFF2-40B4-BE49-F238E27FC236}">
                  <a16:creationId xmlns:a16="http://schemas.microsoft.com/office/drawing/2014/main" id="{FAF76164-805E-4CAD-A5C8-D53A96606F33}"/>
                </a:ext>
              </a:extLst>
            </p:cNvPr>
            <p:cNvSpPr/>
            <p:nvPr/>
          </p:nvSpPr>
          <p:spPr>
            <a:xfrm>
              <a:off x="525900" y="3140804"/>
              <a:ext cx="1076257" cy="276999"/>
            </a:xfrm>
            <a:prstGeom prst="rect">
              <a:avLst/>
            </a:prstGeom>
          </p:spPr>
          <p:txBody>
            <a:bodyPr wrap="none">
              <a:spAutoFit/>
            </a:bodyPr>
            <a:lstStyle/>
            <a:p>
              <a:pPr marL="0" lvl="1" indent="1588">
                <a:spcBef>
                  <a:spcPts val="1200"/>
                </a:spcBef>
              </a:pPr>
              <a:r>
                <a:rPr lang="en-GB" sz="1200" b="1" dirty="0">
                  <a:solidFill>
                    <a:srgbClr val="1F2023"/>
                  </a:solidFill>
                </a:rPr>
                <a:t>A: The Fixer</a:t>
              </a:r>
            </a:p>
          </p:txBody>
        </p:sp>
        <p:sp>
          <p:nvSpPr>
            <p:cNvPr id="143" name="Rectangle 142">
              <a:extLst>
                <a:ext uri="{FF2B5EF4-FFF2-40B4-BE49-F238E27FC236}">
                  <a16:creationId xmlns:a16="http://schemas.microsoft.com/office/drawing/2014/main" id="{32E54992-FD08-4DDD-8679-C64C90D5F9CF}"/>
                </a:ext>
              </a:extLst>
            </p:cNvPr>
            <p:cNvSpPr/>
            <p:nvPr/>
          </p:nvSpPr>
          <p:spPr>
            <a:xfrm>
              <a:off x="525900" y="3776988"/>
              <a:ext cx="4048060" cy="1092607"/>
            </a:xfrm>
            <a:prstGeom prst="rect">
              <a:avLst/>
            </a:prstGeom>
          </p:spPr>
          <p:txBody>
            <a:bodyPr wrap="square">
              <a:spAutoFit/>
            </a:bodyPr>
            <a:lstStyle/>
            <a:p>
              <a:pPr marL="0" lvl="1" indent="1588">
                <a:spcBef>
                  <a:spcPts val="600"/>
                </a:spcBef>
                <a:buClr>
                  <a:srgbClr val="000000"/>
                </a:buClr>
              </a:pPr>
              <a:r>
                <a:rPr lang="en-GB" sz="1200" b="1" dirty="0">
                  <a:solidFill>
                    <a:srgbClr val="1F2023"/>
                  </a:solidFill>
                </a:rPr>
                <a:t>B: Choose a </a:t>
              </a:r>
              <a:r>
                <a:rPr lang="en-GB" sz="1200" b="1" dirty="0" err="1">
                  <a:solidFill>
                    <a:srgbClr val="1F2023"/>
                  </a:solidFill>
                </a:rPr>
                <a:t>behavior</a:t>
              </a:r>
              <a:r>
                <a:rPr lang="en-GB" sz="1200" b="1" dirty="0">
                  <a:solidFill>
                    <a:srgbClr val="1F2023"/>
                  </a:solidFill>
                </a:rPr>
                <a:t> or situation which:</a:t>
              </a:r>
              <a:endParaRPr lang="en-GB" sz="1200" dirty="0">
                <a:solidFill>
                  <a:srgbClr val="1F2023"/>
                </a:solidFill>
              </a:endParaRPr>
            </a:p>
            <a:p>
              <a:pPr marL="176213" lvl="1">
                <a:spcBef>
                  <a:spcPts val="600"/>
                </a:spcBef>
                <a:defRPr/>
              </a:pPr>
              <a:r>
                <a:rPr lang="en-GB" sz="1200" dirty="0">
                  <a:solidFill>
                    <a:srgbClr val="1F2023"/>
                  </a:solidFill>
                </a:rPr>
                <a:t>You want to change, but haven't changed yet because you are ambivalent (use of bicycle helmet, less candy/sugar, start an exercise program, working less in the weekends etc.)</a:t>
              </a:r>
            </a:p>
          </p:txBody>
        </p:sp>
      </p:grpSp>
    </p:spTree>
    <p:extLst>
      <p:ext uri="{BB962C8B-B14F-4D97-AF65-F5344CB8AC3E}">
        <p14:creationId xmlns:p14="http://schemas.microsoft.com/office/powerpoint/2010/main" val="3714046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EAB6692-12BA-40E9-901E-B27635545122}"/>
              </a:ext>
            </a:extLst>
          </p:cNvPr>
          <p:cNvSpPr/>
          <p:nvPr/>
        </p:nvSpPr>
        <p:spPr>
          <a:xfrm>
            <a:off x="273049" y="2685643"/>
            <a:ext cx="2338879" cy="743356"/>
          </a:xfrm>
          <a:prstGeom prst="rect">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400" noProof="0" dirty="0">
              <a:solidFill>
                <a:schemeClr val="bg1"/>
              </a:solidFill>
            </a:endParaRPr>
          </a:p>
        </p:txBody>
      </p:sp>
      <p:sp>
        <p:nvSpPr>
          <p:cNvPr id="30" name="Rectangle 29">
            <a:extLst>
              <a:ext uri="{FF2B5EF4-FFF2-40B4-BE49-F238E27FC236}">
                <a16:creationId xmlns:a16="http://schemas.microsoft.com/office/drawing/2014/main" id="{FA6FD050-E032-4FDB-9F5F-B5758D937449}"/>
              </a:ext>
            </a:extLst>
          </p:cNvPr>
          <p:cNvSpPr/>
          <p:nvPr/>
        </p:nvSpPr>
        <p:spPr>
          <a:xfrm>
            <a:off x="2612269" y="2685643"/>
            <a:ext cx="2340000" cy="743356"/>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n-US" sz="1400" noProof="0" dirty="0">
              <a:solidFill>
                <a:schemeClr val="bg1"/>
              </a:solidFill>
            </a:endParaRPr>
          </a:p>
        </p:txBody>
      </p:sp>
      <p:sp>
        <p:nvSpPr>
          <p:cNvPr id="31" name="Rectangle 30">
            <a:extLst>
              <a:ext uri="{FF2B5EF4-FFF2-40B4-BE49-F238E27FC236}">
                <a16:creationId xmlns:a16="http://schemas.microsoft.com/office/drawing/2014/main" id="{094672D0-A8F8-4FFC-8ED9-5ADE606E1B2D}"/>
              </a:ext>
            </a:extLst>
          </p:cNvPr>
          <p:cNvSpPr/>
          <p:nvPr/>
        </p:nvSpPr>
        <p:spPr>
          <a:xfrm>
            <a:off x="4952610" y="2685643"/>
            <a:ext cx="2340000" cy="743356"/>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n-US" sz="1400" noProof="0" dirty="0">
              <a:solidFill>
                <a:schemeClr val="bg1"/>
              </a:solidFill>
            </a:endParaRPr>
          </a:p>
        </p:txBody>
      </p:sp>
      <p:sp>
        <p:nvSpPr>
          <p:cNvPr id="32" name="Rectangle 31">
            <a:extLst>
              <a:ext uri="{FF2B5EF4-FFF2-40B4-BE49-F238E27FC236}">
                <a16:creationId xmlns:a16="http://schemas.microsoft.com/office/drawing/2014/main" id="{E2EDD98B-2371-4892-84F7-31783BAD998E}"/>
              </a:ext>
            </a:extLst>
          </p:cNvPr>
          <p:cNvSpPr/>
          <p:nvPr/>
        </p:nvSpPr>
        <p:spPr>
          <a:xfrm>
            <a:off x="7292950" y="2685643"/>
            <a:ext cx="2340000" cy="743356"/>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ctr"/>
            <a:endParaRPr lang="en-US" sz="1400" noProof="0" dirty="0">
              <a:solidFill>
                <a:schemeClr val="bg1"/>
              </a:solidFill>
            </a:endParaRPr>
          </a:p>
        </p:txBody>
      </p:sp>
      <p:sp>
        <p:nvSpPr>
          <p:cNvPr id="16" name="Rectangle 15">
            <a:extLst>
              <a:ext uri="{FF2B5EF4-FFF2-40B4-BE49-F238E27FC236}">
                <a16:creationId xmlns:a16="http://schemas.microsoft.com/office/drawing/2014/main" id="{020BD631-5C1D-4E64-BC2B-0752B62669F7}"/>
              </a:ext>
            </a:extLst>
          </p:cNvPr>
          <p:cNvSpPr/>
          <p:nvPr/>
        </p:nvSpPr>
        <p:spPr>
          <a:xfrm>
            <a:off x="273050" y="3429001"/>
            <a:ext cx="9359900" cy="186436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100" noProof="0" dirty="0">
              <a:solidFill>
                <a:srgbClr val="2F363B"/>
              </a:solidFill>
            </a:endParaRPr>
          </a:p>
        </p:txBody>
      </p:sp>
      <p:sp>
        <p:nvSpPr>
          <p:cNvPr id="26631" name="TextBox 1">
            <a:extLst>
              <a:ext uri="{FF2B5EF4-FFF2-40B4-BE49-F238E27FC236}">
                <a16:creationId xmlns:a16="http://schemas.microsoft.com/office/drawing/2014/main" id="{AB819407-93A6-4711-8B4B-917F7FAA1333}"/>
              </a:ext>
            </a:extLst>
          </p:cNvPr>
          <p:cNvSpPr txBox="1">
            <a:spLocks noChangeArrowheads="1"/>
          </p:cNvSpPr>
          <p:nvPr/>
        </p:nvSpPr>
        <p:spPr bwMode="auto">
          <a:xfrm>
            <a:off x="194665" y="5419998"/>
            <a:ext cx="5708548" cy="217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Century Gothic" panose="020B0502020202020204" pitchFamily="34" charset="0"/>
              </a:defRPr>
            </a:lvl1pPr>
            <a:lvl2pPr marL="742950" indent="-285750">
              <a:spcBef>
                <a:spcPct val="20000"/>
              </a:spcBef>
              <a:buChar char="–"/>
              <a:defRPr sz="2800">
                <a:solidFill>
                  <a:schemeClr val="tx1"/>
                </a:solidFill>
                <a:latin typeface="Century Gothic" panose="020B0502020202020204" pitchFamily="34" charset="0"/>
              </a:defRPr>
            </a:lvl2pPr>
            <a:lvl3pPr marL="1143000" indent="-228600">
              <a:spcBef>
                <a:spcPct val="20000"/>
              </a:spcBef>
              <a:buChar char="•"/>
              <a:defRPr sz="2400">
                <a:solidFill>
                  <a:schemeClr val="tx1"/>
                </a:solidFill>
                <a:latin typeface="Century Gothic" panose="020B0502020202020204" pitchFamily="34" charset="0"/>
              </a:defRPr>
            </a:lvl3pPr>
            <a:lvl4pPr marL="1600200" indent="-228600">
              <a:spcBef>
                <a:spcPct val="20000"/>
              </a:spcBef>
              <a:buChar char="–"/>
              <a:defRPr sz="2000">
                <a:solidFill>
                  <a:schemeClr val="tx1"/>
                </a:solidFill>
                <a:latin typeface="Century Gothic" panose="020B0502020202020204" pitchFamily="34" charset="0"/>
              </a:defRPr>
            </a:lvl4pPr>
            <a:lvl5pPr marL="2057400" indent="-228600">
              <a:spcBef>
                <a:spcPct val="20000"/>
              </a:spcBef>
              <a:buChar char="»"/>
              <a:defRPr sz="2000">
                <a:solidFill>
                  <a:schemeClr val="tx1"/>
                </a:solidFill>
                <a:latin typeface="Century Gothic" panose="020B0502020202020204" pitchFamily="34" charset="0"/>
              </a:defRPr>
            </a:lvl5pPr>
            <a:lvl6pPr marL="2514600" indent="-228600" eaLnBrk="0" fontAlgn="base" hangingPunct="0">
              <a:spcBef>
                <a:spcPct val="20000"/>
              </a:spcBef>
              <a:spcAft>
                <a:spcPct val="0"/>
              </a:spcAft>
              <a:buChar char="»"/>
              <a:defRPr sz="2000">
                <a:solidFill>
                  <a:schemeClr val="tx1"/>
                </a:solidFill>
                <a:latin typeface="Century Gothic" panose="020B0502020202020204" pitchFamily="34" charset="0"/>
              </a:defRPr>
            </a:lvl6pPr>
            <a:lvl7pPr marL="2971800" indent="-228600" eaLnBrk="0" fontAlgn="base" hangingPunct="0">
              <a:spcBef>
                <a:spcPct val="20000"/>
              </a:spcBef>
              <a:spcAft>
                <a:spcPct val="0"/>
              </a:spcAft>
              <a:buChar char="»"/>
              <a:defRPr sz="2000">
                <a:solidFill>
                  <a:schemeClr val="tx1"/>
                </a:solidFill>
                <a:latin typeface="Century Gothic" panose="020B0502020202020204" pitchFamily="34" charset="0"/>
              </a:defRPr>
            </a:lvl7pPr>
            <a:lvl8pPr marL="3429000" indent="-228600" eaLnBrk="0" fontAlgn="base" hangingPunct="0">
              <a:spcBef>
                <a:spcPct val="20000"/>
              </a:spcBef>
              <a:spcAft>
                <a:spcPct val="0"/>
              </a:spcAft>
              <a:buChar char="»"/>
              <a:defRPr sz="2000">
                <a:solidFill>
                  <a:schemeClr val="tx1"/>
                </a:solidFill>
                <a:latin typeface="Century Gothic" panose="020B0502020202020204" pitchFamily="34" charset="0"/>
              </a:defRPr>
            </a:lvl8pPr>
            <a:lvl9pPr marL="3886200" indent="-228600" eaLnBrk="0" fontAlgn="base" hangingPunct="0">
              <a:spcBef>
                <a:spcPct val="20000"/>
              </a:spcBef>
              <a:spcAft>
                <a:spcPct val="0"/>
              </a:spcAft>
              <a:buChar char="»"/>
              <a:defRPr sz="2000">
                <a:solidFill>
                  <a:schemeClr val="tx1"/>
                </a:solidFill>
                <a:latin typeface="Century Gothic" panose="020B0502020202020204" pitchFamily="34" charset="0"/>
              </a:defRPr>
            </a:lvl9pPr>
          </a:lstStyle>
          <a:p>
            <a:pPr>
              <a:spcBef>
                <a:spcPct val="0"/>
              </a:spcBef>
              <a:buNone/>
            </a:pPr>
            <a:r>
              <a:rPr lang="en-GB" altLang="da-DK" sz="800" dirty="0" err="1">
                <a:solidFill>
                  <a:schemeClr val="tx2"/>
                </a:solidFill>
                <a:latin typeface="Arial" panose="020B0604020202020204" pitchFamily="34" charset="0"/>
              </a:rPr>
              <a:t>Source:Self</a:t>
            </a:r>
            <a:r>
              <a:rPr lang="en-GB" altLang="da-DK" sz="800" dirty="0">
                <a:solidFill>
                  <a:schemeClr val="tx2"/>
                </a:solidFill>
                <a:latin typeface="Arial" panose="020B0604020202020204" pitchFamily="34" charset="0"/>
              </a:rPr>
              <a:t> Determination Theory, Deci and Ryan, Motivational Interviewing, Miller and Rollnick; Dan </a:t>
            </a:r>
            <a:r>
              <a:rPr lang="en-GB" altLang="da-DK" sz="800" dirty="0" err="1">
                <a:solidFill>
                  <a:schemeClr val="tx2"/>
                </a:solidFill>
                <a:latin typeface="Arial" panose="020B0604020202020204" pitchFamily="34" charset="0"/>
              </a:rPr>
              <a:t>Ariely</a:t>
            </a:r>
            <a:r>
              <a:rPr lang="en-GB" altLang="da-DK" sz="800" dirty="0">
                <a:solidFill>
                  <a:schemeClr val="tx2"/>
                </a:solidFill>
                <a:latin typeface="Arial" panose="020B0604020202020204" pitchFamily="34" charset="0"/>
              </a:rPr>
              <a:t>, Daniel Pink </a:t>
            </a:r>
          </a:p>
        </p:txBody>
      </p:sp>
      <p:pic>
        <p:nvPicPr>
          <p:cNvPr id="13" name="Picture 12">
            <a:extLst>
              <a:ext uri="{FF2B5EF4-FFF2-40B4-BE49-F238E27FC236}">
                <a16:creationId xmlns:a16="http://schemas.microsoft.com/office/drawing/2014/main" id="{BB923D3D-EFCF-4942-8562-490283B76B3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840" t="298" r="586" b="908"/>
          <a:stretch>
            <a:fillRect/>
          </a:stretch>
        </p:blipFill>
        <p:spPr bwMode="auto">
          <a:xfrm>
            <a:off x="7708823" y="3650157"/>
            <a:ext cx="1558381" cy="1405877"/>
          </a:xfrm>
          <a:custGeom>
            <a:avLst/>
            <a:gdLst>
              <a:gd name="connsiteX0" fmla="*/ 917748 w 1835496"/>
              <a:gd name="connsiteY0" fmla="*/ 0 h 1835496"/>
              <a:gd name="connsiteX1" fmla="*/ 1835496 w 1835496"/>
              <a:gd name="connsiteY1" fmla="*/ 917748 h 1835496"/>
              <a:gd name="connsiteX2" fmla="*/ 917748 w 1835496"/>
              <a:gd name="connsiteY2" fmla="*/ 1835496 h 1835496"/>
              <a:gd name="connsiteX3" fmla="*/ 0 w 1835496"/>
              <a:gd name="connsiteY3" fmla="*/ 917748 h 1835496"/>
              <a:gd name="connsiteX4" fmla="*/ 917748 w 1835496"/>
              <a:gd name="connsiteY4" fmla="*/ 0 h 18354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5496" h="1835496">
                <a:moveTo>
                  <a:pt x="917748" y="0"/>
                </a:moveTo>
                <a:cubicBezTo>
                  <a:pt x="1424606" y="0"/>
                  <a:pt x="1835496" y="410890"/>
                  <a:pt x="1835496" y="917748"/>
                </a:cubicBezTo>
                <a:cubicBezTo>
                  <a:pt x="1835496" y="1424606"/>
                  <a:pt x="1424606" y="1835496"/>
                  <a:pt x="917748" y="1835496"/>
                </a:cubicBezTo>
                <a:cubicBezTo>
                  <a:pt x="410890" y="1835496"/>
                  <a:pt x="0" y="1424606"/>
                  <a:pt x="0" y="917748"/>
                </a:cubicBezTo>
                <a:cubicBezTo>
                  <a:pt x="0" y="410890"/>
                  <a:pt x="410890" y="0"/>
                  <a:pt x="917748" y="0"/>
                </a:cubicBezTo>
                <a:close/>
              </a:path>
            </a:pathLst>
          </a:custGeom>
          <a:extLst>
            <a:ext uri="{909E8E84-426E-40DD-AFC4-6F175D3DCCD1}">
              <a14:hiddenFill xmlns:a14="http://schemas.microsoft.com/office/drawing/2010/main">
                <a:solidFill>
                  <a:schemeClr val="accent1"/>
                </a:solidFill>
              </a14:hiddenFill>
            </a:ext>
          </a:extLst>
        </p:spPr>
      </p:pic>
      <p:sp>
        <p:nvSpPr>
          <p:cNvPr id="26632" name="Title 3">
            <a:extLst>
              <a:ext uri="{FF2B5EF4-FFF2-40B4-BE49-F238E27FC236}">
                <a16:creationId xmlns:a16="http://schemas.microsoft.com/office/drawing/2014/main" id="{55706982-9E05-4B8F-A4B4-413A749659E5}"/>
              </a:ext>
            </a:extLst>
          </p:cNvPr>
          <p:cNvSpPr>
            <a:spLocks noGrp="1" noChangeArrowheads="1"/>
          </p:cNvSpPr>
          <p:nvPr>
            <p:ph type="title"/>
          </p:nvPr>
        </p:nvSpPr>
        <p:spPr/>
        <p:txBody>
          <a:bodyPr/>
          <a:lstStyle/>
          <a:p>
            <a:r>
              <a:rPr lang="en-GB" dirty="0"/>
              <a:t>Drivers of intrinsic motivation and engagement</a:t>
            </a:r>
            <a:br>
              <a:rPr lang="en-GB" dirty="0"/>
            </a:br>
            <a:r>
              <a:rPr lang="en-GB" dirty="0"/>
              <a:t>..…also in conversations</a:t>
            </a:r>
            <a:br>
              <a:rPr lang="en-GB" altLang="da-DK" dirty="0"/>
            </a:br>
            <a:endParaRPr lang="en-GB" altLang="da-DK" dirty="0"/>
          </a:p>
        </p:txBody>
      </p:sp>
      <p:sp>
        <p:nvSpPr>
          <p:cNvPr id="78" name="Text Placeholder 77">
            <a:extLst>
              <a:ext uri="{FF2B5EF4-FFF2-40B4-BE49-F238E27FC236}">
                <a16:creationId xmlns:a16="http://schemas.microsoft.com/office/drawing/2014/main" id="{1F5A226E-732D-4D14-B4EB-2B30CDAB3B0E}"/>
              </a:ext>
            </a:extLst>
          </p:cNvPr>
          <p:cNvSpPr>
            <a:spLocks noGrp="1"/>
          </p:cNvSpPr>
          <p:nvPr>
            <p:ph type="body" sz="quarter" idx="13"/>
          </p:nvPr>
        </p:nvSpPr>
        <p:spPr/>
        <p:txBody>
          <a:bodyPr/>
          <a:lstStyle/>
          <a:p>
            <a:endParaRPr lang="en-US"/>
          </a:p>
        </p:txBody>
      </p:sp>
      <p:sp>
        <p:nvSpPr>
          <p:cNvPr id="86" name="Text Placeholder 85">
            <a:extLst>
              <a:ext uri="{FF2B5EF4-FFF2-40B4-BE49-F238E27FC236}">
                <a16:creationId xmlns:a16="http://schemas.microsoft.com/office/drawing/2014/main" id="{FF5490CA-B20C-4EBC-A14B-615DA1045EA5}"/>
              </a:ext>
            </a:extLst>
          </p:cNvPr>
          <p:cNvSpPr>
            <a:spLocks noGrp="1"/>
          </p:cNvSpPr>
          <p:nvPr>
            <p:ph type="body" sz="quarter" idx="14"/>
          </p:nvPr>
        </p:nvSpPr>
        <p:spPr/>
        <p:txBody>
          <a:bodyPr/>
          <a:lstStyle/>
          <a:p>
            <a:endParaRPr lang="en-US"/>
          </a:p>
        </p:txBody>
      </p:sp>
      <p:sp>
        <p:nvSpPr>
          <p:cNvPr id="2" name="Rectangle 1">
            <a:extLst>
              <a:ext uri="{FF2B5EF4-FFF2-40B4-BE49-F238E27FC236}">
                <a16:creationId xmlns:a16="http://schemas.microsoft.com/office/drawing/2014/main" id="{4DB220B4-9258-4114-85FC-73210EBB39B7}"/>
              </a:ext>
            </a:extLst>
          </p:cNvPr>
          <p:cNvSpPr/>
          <p:nvPr/>
        </p:nvSpPr>
        <p:spPr>
          <a:xfrm>
            <a:off x="3130343" y="2811100"/>
            <a:ext cx="1237839" cy="492443"/>
          </a:xfrm>
          <a:prstGeom prst="rect">
            <a:avLst/>
          </a:prstGeom>
        </p:spPr>
        <p:txBody>
          <a:bodyPr wrap="none">
            <a:spAutoFit/>
          </a:bodyPr>
          <a:lstStyle/>
          <a:p>
            <a:pPr algn="ctr"/>
            <a:r>
              <a:rPr lang="en-GB" sz="1400" b="1" dirty="0">
                <a:solidFill>
                  <a:schemeClr val="bg1"/>
                </a:solidFill>
              </a:rPr>
              <a:t>Relatedness</a:t>
            </a:r>
          </a:p>
          <a:p>
            <a:pPr algn="ctr"/>
            <a:r>
              <a:rPr lang="en-GB" sz="1200" b="1" dirty="0">
                <a:solidFill>
                  <a:schemeClr val="bg1"/>
                </a:solidFill>
              </a:rPr>
              <a:t> </a:t>
            </a:r>
            <a:r>
              <a:rPr lang="en-GB" sz="1200" dirty="0">
                <a:solidFill>
                  <a:schemeClr val="bg1"/>
                </a:solidFill>
              </a:rPr>
              <a:t>(</a:t>
            </a:r>
            <a:r>
              <a:rPr lang="en-GB" sz="1200" dirty="0" err="1">
                <a:solidFill>
                  <a:schemeClr val="bg1"/>
                </a:solidFill>
              </a:rPr>
              <a:t>Fælleskab</a:t>
            </a:r>
            <a:r>
              <a:rPr lang="en-GB" sz="1200" dirty="0">
                <a:solidFill>
                  <a:schemeClr val="bg1"/>
                </a:solidFill>
              </a:rPr>
              <a:t>)</a:t>
            </a:r>
          </a:p>
        </p:txBody>
      </p:sp>
      <p:sp>
        <p:nvSpPr>
          <p:cNvPr id="3" name="Rectangle 2">
            <a:extLst>
              <a:ext uri="{FF2B5EF4-FFF2-40B4-BE49-F238E27FC236}">
                <a16:creationId xmlns:a16="http://schemas.microsoft.com/office/drawing/2014/main" id="{6C307D10-6B1A-4F9C-81D7-51F2BA86D1D8}"/>
              </a:ext>
            </a:extLst>
          </p:cNvPr>
          <p:cNvSpPr/>
          <p:nvPr/>
        </p:nvSpPr>
        <p:spPr>
          <a:xfrm>
            <a:off x="8029451" y="2811100"/>
            <a:ext cx="1069524" cy="492443"/>
          </a:xfrm>
          <a:prstGeom prst="rect">
            <a:avLst/>
          </a:prstGeom>
        </p:spPr>
        <p:txBody>
          <a:bodyPr wrap="none">
            <a:spAutoFit/>
          </a:bodyPr>
          <a:lstStyle/>
          <a:p>
            <a:pPr algn="ctr"/>
            <a:r>
              <a:rPr lang="en-GB" altLang="da-DK" sz="1400" b="1" dirty="0">
                <a:solidFill>
                  <a:schemeClr val="bg1"/>
                </a:solidFill>
              </a:rPr>
              <a:t>Autonomy</a:t>
            </a:r>
          </a:p>
          <a:p>
            <a:pPr algn="ctr"/>
            <a:r>
              <a:rPr lang="en-GB" altLang="da-DK" sz="1200" dirty="0">
                <a:solidFill>
                  <a:schemeClr val="bg1"/>
                </a:solidFill>
              </a:rPr>
              <a:t>(</a:t>
            </a:r>
            <a:r>
              <a:rPr lang="en-GB" altLang="da-DK" sz="1200" dirty="0" err="1">
                <a:solidFill>
                  <a:schemeClr val="bg1"/>
                </a:solidFill>
              </a:rPr>
              <a:t>Frihed</a:t>
            </a:r>
            <a:r>
              <a:rPr lang="en-GB" altLang="da-DK" sz="1200" dirty="0">
                <a:solidFill>
                  <a:schemeClr val="bg1"/>
                </a:solidFill>
              </a:rPr>
              <a:t>)</a:t>
            </a:r>
          </a:p>
        </p:txBody>
      </p:sp>
      <p:pic>
        <p:nvPicPr>
          <p:cNvPr id="82" name="Picture 81" descr="A close up of a country road&#10;&#10;Description generated with very high confidence">
            <a:extLst>
              <a:ext uri="{FF2B5EF4-FFF2-40B4-BE49-F238E27FC236}">
                <a16:creationId xmlns:a16="http://schemas.microsoft.com/office/drawing/2014/main" id="{80F24F2A-FAC0-4C63-B989-C38987DB1AB4}"/>
              </a:ext>
            </a:extLst>
          </p:cNvPr>
          <p:cNvPicPr>
            <a:picLocks noChangeAspect="1"/>
          </p:cNvPicPr>
          <p:nvPr/>
        </p:nvPicPr>
        <p:blipFill>
          <a:blip r:embed="rId5">
            <a:extLst>
              <a:ext uri="{28A0092B-C50C-407E-A947-70E740481C1C}">
                <a14:useLocalDpi xmlns:a14="http://schemas.microsoft.com/office/drawing/2010/main" val="0"/>
              </a:ext>
            </a:extLst>
          </a:blip>
          <a:srcRect l="15579" t="2198" r="18773" b="3016"/>
          <a:stretch>
            <a:fillRect/>
          </a:stretch>
        </p:blipFill>
        <p:spPr>
          <a:xfrm>
            <a:off x="509343" y="3630366"/>
            <a:ext cx="1632959" cy="1425710"/>
          </a:xfrm>
          <a:custGeom>
            <a:avLst/>
            <a:gdLst>
              <a:gd name="connsiteX0" fmla="*/ 712855 w 1425710"/>
              <a:gd name="connsiteY0" fmla="*/ 0 h 1425710"/>
              <a:gd name="connsiteX1" fmla="*/ 1425710 w 1425710"/>
              <a:gd name="connsiteY1" fmla="*/ 712855 h 1425710"/>
              <a:gd name="connsiteX2" fmla="*/ 712855 w 1425710"/>
              <a:gd name="connsiteY2" fmla="*/ 1425710 h 1425710"/>
              <a:gd name="connsiteX3" fmla="*/ 0 w 1425710"/>
              <a:gd name="connsiteY3" fmla="*/ 712855 h 1425710"/>
              <a:gd name="connsiteX4" fmla="*/ 712855 w 1425710"/>
              <a:gd name="connsiteY4" fmla="*/ 0 h 142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710" h="1425710">
                <a:moveTo>
                  <a:pt x="712855" y="0"/>
                </a:moveTo>
                <a:cubicBezTo>
                  <a:pt x="1106554" y="0"/>
                  <a:pt x="1425710" y="319156"/>
                  <a:pt x="1425710" y="712855"/>
                </a:cubicBezTo>
                <a:cubicBezTo>
                  <a:pt x="1425710" y="1106554"/>
                  <a:pt x="1106554" y="1425710"/>
                  <a:pt x="712855" y="1425710"/>
                </a:cubicBezTo>
                <a:cubicBezTo>
                  <a:pt x="319156" y="1425710"/>
                  <a:pt x="0" y="1106554"/>
                  <a:pt x="0" y="712855"/>
                </a:cubicBezTo>
                <a:cubicBezTo>
                  <a:pt x="0" y="319156"/>
                  <a:pt x="319156" y="0"/>
                  <a:pt x="712855" y="0"/>
                </a:cubicBezTo>
                <a:close/>
              </a:path>
            </a:pathLst>
          </a:custGeom>
        </p:spPr>
      </p:pic>
      <p:sp>
        <p:nvSpPr>
          <p:cNvPr id="15" name="Rectangle 14">
            <a:extLst>
              <a:ext uri="{FF2B5EF4-FFF2-40B4-BE49-F238E27FC236}">
                <a16:creationId xmlns:a16="http://schemas.microsoft.com/office/drawing/2014/main" id="{55A9B383-29DD-43CB-AFF2-61244AF0F2EA}"/>
              </a:ext>
            </a:extLst>
          </p:cNvPr>
          <p:cNvSpPr/>
          <p:nvPr/>
        </p:nvSpPr>
        <p:spPr>
          <a:xfrm>
            <a:off x="891183" y="2811100"/>
            <a:ext cx="901209" cy="492443"/>
          </a:xfrm>
          <a:prstGeom prst="rect">
            <a:avLst/>
          </a:prstGeom>
        </p:spPr>
        <p:txBody>
          <a:bodyPr wrap="none">
            <a:spAutoFit/>
          </a:bodyPr>
          <a:lstStyle/>
          <a:p>
            <a:pPr algn="ctr"/>
            <a:r>
              <a:rPr lang="en-GB" altLang="da-DK" sz="1400" b="1" dirty="0">
                <a:solidFill>
                  <a:schemeClr val="bg1"/>
                </a:solidFill>
              </a:rPr>
              <a:t>Purpose</a:t>
            </a:r>
          </a:p>
          <a:p>
            <a:pPr algn="ctr"/>
            <a:r>
              <a:rPr lang="en-GB" altLang="da-DK" sz="1200" dirty="0">
                <a:solidFill>
                  <a:schemeClr val="bg1"/>
                </a:solidFill>
              </a:rPr>
              <a:t>(</a:t>
            </a:r>
            <a:r>
              <a:rPr lang="en-GB" altLang="da-DK" sz="1200" dirty="0" err="1">
                <a:solidFill>
                  <a:schemeClr val="bg1"/>
                </a:solidFill>
              </a:rPr>
              <a:t>Formål</a:t>
            </a:r>
            <a:r>
              <a:rPr lang="en-GB" altLang="da-DK" sz="1200" dirty="0">
                <a:solidFill>
                  <a:schemeClr val="bg1"/>
                </a:solidFill>
              </a:rPr>
              <a:t>)</a:t>
            </a:r>
          </a:p>
        </p:txBody>
      </p:sp>
      <p:sp>
        <p:nvSpPr>
          <p:cNvPr id="4" name="Rectangle 3">
            <a:extLst>
              <a:ext uri="{FF2B5EF4-FFF2-40B4-BE49-F238E27FC236}">
                <a16:creationId xmlns:a16="http://schemas.microsoft.com/office/drawing/2014/main" id="{B80DADC1-F6D6-4E4E-9A44-623811729D8A}"/>
              </a:ext>
            </a:extLst>
          </p:cNvPr>
          <p:cNvSpPr/>
          <p:nvPr/>
        </p:nvSpPr>
        <p:spPr>
          <a:xfrm>
            <a:off x="5677279" y="2811100"/>
            <a:ext cx="958917" cy="492443"/>
          </a:xfrm>
          <a:prstGeom prst="rect">
            <a:avLst/>
          </a:prstGeom>
        </p:spPr>
        <p:txBody>
          <a:bodyPr wrap="none">
            <a:spAutoFit/>
          </a:bodyPr>
          <a:lstStyle/>
          <a:p>
            <a:pPr algn="ctr"/>
            <a:r>
              <a:rPr lang="en-GB" sz="1400" b="1" dirty="0">
                <a:solidFill>
                  <a:schemeClr val="bg1"/>
                </a:solidFill>
              </a:rPr>
              <a:t>Mastery</a:t>
            </a:r>
          </a:p>
          <a:p>
            <a:pPr algn="ctr"/>
            <a:r>
              <a:rPr lang="en-GB" sz="1200" dirty="0">
                <a:solidFill>
                  <a:schemeClr val="bg1"/>
                </a:solidFill>
              </a:rPr>
              <a:t>(</a:t>
            </a:r>
            <a:r>
              <a:rPr lang="en-GB" sz="1200" dirty="0" err="1">
                <a:solidFill>
                  <a:schemeClr val="bg1"/>
                </a:solidFill>
              </a:rPr>
              <a:t>Faglighed</a:t>
            </a:r>
            <a:r>
              <a:rPr lang="en-GB" sz="1200" dirty="0">
                <a:solidFill>
                  <a:schemeClr val="bg1"/>
                </a:solidFill>
              </a:rPr>
              <a:t>)</a:t>
            </a:r>
          </a:p>
        </p:txBody>
      </p:sp>
      <p:pic>
        <p:nvPicPr>
          <p:cNvPr id="84" name="Picture 83">
            <a:extLst>
              <a:ext uri="{FF2B5EF4-FFF2-40B4-BE49-F238E27FC236}">
                <a16:creationId xmlns:a16="http://schemas.microsoft.com/office/drawing/2014/main" id="{659803F9-2C4F-4E1B-A023-37B12DCEA3A7}"/>
              </a:ext>
            </a:extLst>
          </p:cNvPr>
          <p:cNvPicPr>
            <a:picLocks noChangeAspect="1"/>
          </p:cNvPicPr>
          <p:nvPr/>
        </p:nvPicPr>
        <p:blipFill rotWithShape="1">
          <a:blip r:embed="rId6"/>
          <a:srcRect l="24036" t="14810" r="21398" b="3384"/>
          <a:stretch/>
        </p:blipFill>
        <p:spPr>
          <a:xfrm>
            <a:off x="3078749" y="3634088"/>
            <a:ext cx="1583503" cy="1425710"/>
          </a:xfrm>
          <a:custGeom>
            <a:avLst/>
            <a:gdLst>
              <a:gd name="connsiteX0" fmla="*/ 712855 w 1425710"/>
              <a:gd name="connsiteY0" fmla="*/ 0 h 1425710"/>
              <a:gd name="connsiteX1" fmla="*/ 1425710 w 1425710"/>
              <a:gd name="connsiteY1" fmla="*/ 712855 h 1425710"/>
              <a:gd name="connsiteX2" fmla="*/ 712855 w 1425710"/>
              <a:gd name="connsiteY2" fmla="*/ 1425710 h 1425710"/>
              <a:gd name="connsiteX3" fmla="*/ 0 w 1425710"/>
              <a:gd name="connsiteY3" fmla="*/ 712855 h 1425710"/>
              <a:gd name="connsiteX4" fmla="*/ 712855 w 1425710"/>
              <a:gd name="connsiteY4" fmla="*/ 0 h 142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710" h="1425710">
                <a:moveTo>
                  <a:pt x="712855" y="0"/>
                </a:moveTo>
                <a:cubicBezTo>
                  <a:pt x="1106554" y="0"/>
                  <a:pt x="1425710" y="319156"/>
                  <a:pt x="1425710" y="712855"/>
                </a:cubicBezTo>
                <a:cubicBezTo>
                  <a:pt x="1425710" y="1106554"/>
                  <a:pt x="1106554" y="1425710"/>
                  <a:pt x="712855" y="1425710"/>
                </a:cubicBezTo>
                <a:cubicBezTo>
                  <a:pt x="319156" y="1425710"/>
                  <a:pt x="0" y="1106554"/>
                  <a:pt x="0" y="712855"/>
                </a:cubicBezTo>
                <a:cubicBezTo>
                  <a:pt x="0" y="319156"/>
                  <a:pt x="319156" y="0"/>
                  <a:pt x="712855" y="0"/>
                </a:cubicBezTo>
                <a:close/>
              </a:path>
            </a:pathLst>
          </a:custGeom>
        </p:spPr>
      </p:pic>
      <p:grpSp>
        <p:nvGrpSpPr>
          <p:cNvPr id="37" name="Group 36">
            <a:extLst>
              <a:ext uri="{FF2B5EF4-FFF2-40B4-BE49-F238E27FC236}">
                <a16:creationId xmlns:a16="http://schemas.microsoft.com/office/drawing/2014/main" id="{9DFD1B56-8A1F-40A1-8583-0F96D26EBC77}"/>
              </a:ext>
            </a:extLst>
          </p:cNvPr>
          <p:cNvGrpSpPr/>
          <p:nvPr/>
        </p:nvGrpSpPr>
        <p:grpSpPr>
          <a:xfrm>
            <a:off x="1058418" y="1972726"/>
            <a:ext cx="566738" cy="563563"/>
            <a:chOff x="1827213" y="3187701"/>
            <a:chExt cx="566738" cy="563563"/>
          </a:xfrm>
        </p:grpSpPr>
        <p:sp>
          <p:nvSpPr>
            <p:cNvPr id="38" name="Oval 9">
              <a:extLst>
                <a:ext uri="{FF2B5EF4-FFF2-40B4-BE49-F238E27FC236}">
                  <a16:creationId xmlns:a16="http://schemas.microsoft.com/office/drawing/2014/main" id="{5175070A-CAC5-484F-91C5-C9588A4BBEE7}"/>
                </a:ext>
              </a:extLst>
            </p:cNvPr>
            <p:cNvSpPr>
              <a:spLocks noChangeArrowheads="1"/>
            </p:cNvSpPr>
            <p:nvPr/>
          </p:nvSpPr>
          <p:spPr bwMode="auto">
            <a:xfrm>
              <a:off x="1871663" y="3390901"/>
              <a:ext cx="284163" cy="288925"/>
            </a:xfrm>
            <a:prstGeom prst="ellipse">
              <a:avLst/>
            </a:pr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39" name="Freeform 10">
              <a:extLst>
                <a:ext uri="{FF2B5EF4-FFF2-40B4-BE49-F238E27FC236}">
                  <a16:creationId xmlns:a16="http://schemas.microsoft.com/office/drawing/2014/main" id="{B5A78C44-9893-45C9-9779-CAA02A980904}"/>
                </a:ext>
              </a:extLst>
            </p:cNvPr>
            <p:cNvSpPr>
              <a:spLocks/>
            </p:cNvSpPr>
            <p:nvPr/>
          </p:nvSpPr>
          <p:spPr bwMode="auto">
            <a:xfrm>
              <a:off x="2232025" y="3187701"/>
              <a:ext cx="90488" cy="149225"/>
            </a:xfrm>
            <a:custGeom>
              <a:avLst/>
              <a:gdLst>
                <a:gd name="T0" fmla="*/ 9 w 57"/>
                <a:gd name="T1" fmla="*/ 94 h 94"/>
                <a:gd name="T2" fmla="*/ 0 w 57"/>
                <a:gd name="T3" fmla="*/ 49 h 94"/>
                <a:gd name="T4" fmla="*/ 48 w 57"/>
                <a:gd name="T5" fmla="*/ 0 h 94"/>
                <a:gd name="T6" fmla="*/ 57 w 57"/>
                <a:gd name="T7" fmla="*/ 46 h 94"/>
              </a:gdLst>
              <a:ahLst/>
              <a:cxnLst>
                <a:cxn ang="0">
                  <a:pos x="T0" y="T1"/>
                </a:cxn>
                <a:cxn ang="0">
                  <a:pos x="T2" y="T3"/>
                </a:cxn>
                <a:cxn ang="0">
                  <a:pos x="T4" y="T5"/>
                </a:cxn>
                <a:cxn ang="0">
                  <a:pos x="T6" y="T7"/>
                </a:cxn>
              </a:cxnLst>
              <a:rect l="0" t="0" r="r" b="b"/>
              <a:pathLst>
                <a:path w="57" h="94">
                  <a:moveTo>
                    <a:pt x="9" y="94"/>
                  </a:moveTo>
                  <a:lnTo>
                    <a:pt x="0" y="49"/>
                  </a:lnTo>
                  <a:lnTo>
                    <a:pt x="48" y="0"/>
                  </a:lnTo>
                  <a:lnTo>
                    <a:pt x="57" y="46"/>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0" name="Freeform 11">
              <a:extLst>
                <a:ext uri="{FF2B5EF4-FFF2-40B4-BE49-F238E27FC236}">
                  <a16:creationId xmlns:a16="http://schemas.microsoft.com/office/drawing/2014/main" id="{2C7899B4-12F1-449B-A30A-E2FEDBBA3D44}"/>
                </a:ext>
              </a:extLst>
            </p:cNvPr>
            <p:cNvSpPr>
              <a:spLocks/>
            </p:cNvSpPr>
            <p:nvPr/>
          </p:nvSpPr>
          <p:spPr bwMode="auto">
            <a:xfrm>
              <a:off x="2246313" y="3260726"/>
              <a:ext cx="147638" cy="90488"/>
            </a:xfrm>
            <a:custGeom>
              <a:avLst/>
              <a:gdLst>
                <a:gd name="T0" fmla="*/ 48 w 93"/>
                <a:gd name="T1" fmla="*/ 0 h 57"/>
                <a:gd name="T2" fmla="*/ 93 w 93"/>
                <a:gd name="T3" fmla="*/ 8 h 57"/>
                <a:gd name="T4" fmla="*/ 45 w 93"/>
                <a:gd name="T5" fmla="*/ 57 h 57"/>
                <a:gd name="T6" fmla="*/ 0 w 93"/>
                <a:gd name="T7" fmla="*/ 48 h 57"/>
              </a:gdLst>
              <a:ahLst/>
              <a:cxnLst>
                <a:cxn ang="0">
                  <a:pos x="T0" y="T1"/>
                </a:cxn>
                <a:cxn ang="0">
                  <a:pos x="T2" y="T3"/>
                </a:cxn>
                <a:cxn ang="0">
                  <a:pos x="T4" y="T5"/>
                </a:cxn>
                <a:cxn ang="0">
                  <a:pos x="T6" y="T7"/>
                </a:cxn>
              </a:cxnLst>
              <a:rect l="0" t="0" r="r" b="b"/>
              <a:pathLst>
                <a:path w="93" h="57">
                  <a:moveTo>
                    <a:pt x="48" y="0"/>
                  </a:moveTo>
                  <a:lnTo>
                    <a:pt x="93" y="8"/>
                  </a:lnTo>
                  <a:lnTo>
                    <a:pt x="45" y="57"/>
                  </a:lnTo>
                  <a:lnTo>
                    <a:pt x="0" y="48"/>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1" name="Line 12">
              <a:extLst>
                <a:ext uri="{FF2B5EF4-FFF2-40B4-BE49-F238E27FC236}">
                  <a16:creationId xmlns:a16="http://schemas.microsoft.com/office/drawing/2014/main" id="{81D5B59C-C2BA-4953-B500-4C9181CC0D0F}"/>
                </a:ext>
              </a:extLst>
            </p:cNvPr>
            <p:cNvSpPr>
              <a:spLocks noChangeShapeType="1"/>
            </p:cNvSpPr>
            <p:nvPr/>
          </p:nvSpPr>
          <p:spPr bwMode="auto">
            <a:xfrm flipV="1">
              <a:off x="2043113" y="3260726"/>
              <a:ext cx="279400" cy="2746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2" name="Freeform 13">
              <a:extLst>
                <a:ext uri="{FF2B5EF4-FFF2-40B4-BE49-F238E27FC236}">
                  <a16:creationId xmlns:a16="http://schemas.microsoft.com/office/drawing/2014/main" id="{857DB8D4-E5DD-41B1-AC47-5809B2F24118}"/>
                </a:ext>
              </a:extLst>
            </p:cNvPr>
            <p:cNvSpPr>
              <a:spLocks/>
            </p:cNvSpPr>
            <p:nvPr/>
          </p:nvSpPr>
          <p:spPr bwMode="auto">
            <a:xfrm>
              <a:off x="1827213" y="3314701"/>
              <a:ext cx="441325" cy="436563"/>
            </a:xfrm>
            <a:custGeom>
              <a:avLst/>
              <a:gdLst>
                <a:gd name="T0" fmla="*/ 88 w 98"/>
                <a:gd name="T1" fmla="*/ 20 h 97"/>
                <a:gd name="T2" fmla="*/ 98 w 98"/>
                <a:gd name="T3" fmla="*/ 49 h 97"/>
                <a:gd name="T4" fmla="*/ 49 w 98"/>
                <a:gd name="T5" fmla="*/ 97 h 97"/>
                <a:gd name="T6" fmla="*/ 0 w 98"/>
                <a:gd name="T7" fmla="*/ 49 h 97"/>
                <a:gd name="T8" fmla="*/ 49 w 98"/>
                <a:gd name="T9" fmla="*/ 0 h 97"/>
                <a:gd name="T10" fmla="*/ 76 w 98"/>
                <a:gd name="T11" fmla="*/ 8 h 97"/>
              </a:gdLst>
              <a:ahLst/>
              <a:cxnLst>
                <a:cxn ang="0">
                  <a:pos x="T0" y="T1"/>
                </a:cxn>
                <a:cxn ang="0">
                  <a:pos x="T2" y="T3"/>
                </a:cxn>
                <a:cxn ang="0">
                  <a:pos x="T4" y="T5"/>
                </a:cxn>
                <a:cxn ang="0">
                  <a:pos x="T6" y="T7"/>
                </a:cxn>
                <a:cxn ang="0">
                  <a:pos x="T8" y="T9"/>
                </a:cxn>
                <a:cxn ang="0">
                  <a:pos x="T10" y="T11"/>
                </a:cxn>
              </a:cxnLst>
              <a:rect l="0" t="0" r="r" b="b"/>
              <a:pathLst>
                <a:path w="98" h="97">
                  <a:moveTo>
                    <a:pt x="88" y="20"/>
                  </a:moveTo>
                  <a:cubicBezTo>
                    <a:pt x="94" y="28"/>
                    <a:pt x="98" y="38"/>
                    <a:pt x="98" y="49"/>
                  </a:cubicBezTo>
                  <a:cubicBezTo>
                    <a:pt x="98" y="76"/>
                    <a:pt x="76" y="97"/>
                    <a:pt x="49" y="97"/>
                  </a:cubicBezTo>
                  <a:cubicBezTo>
                    <a:pt x="22" y="97"/>
                    <a:pt x="0" y="76"/>
                    <a:pt x="0" y="49"/>
                  </a:cubicBezTo>
                  <a:cubicBezTo>
                    <a:pt x="0" y="22"/>
                    <a:pt x="22" y="0"/>
                    <a:pt x="49" y="0"/>
                  </a:cubicBezTo>
                  <a:cubicBezTo>
                    <a:pt x="59" y="0"/>
                    <a:pt x="69" y="3"/>
                    <a:pt x="76" y="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3" name="Freeform 14">
              <a:extLst>
                <a:ext uri="{FF2B5EF4-FFF2-40B4-BE49-F238E27FC236}">
                  <a16:creationId xmlns:a16="http://schemas.microsoft.com/office/drawing/2014/main" id="{3ED72599-ADEE-409B-84E9-950A558A8CE3}"/>
                </a:ext>
              </a:extLst>
            </p:cNvPr>
            <p:cNvSpPr>
              <a:spLocks/>
            </p:cNvSpPr>
            <p:nvPr/>
          </p:nvSpPr>
          <p:spPr bwMode="auto">
            <a:xfrm>
              <a:off x="1903413" y="3390901"/>
              <a:ext cx="288925" cy="288925"/>
            </a:xfrm>
            <a:custGeom>
              <a:avLst/>
              <a:gdLst>
                <a:gd name="T0" fmla="*/ 60 w 64"/>
                <a:gd name="T1" fmla="*/ 16 h 64"/>
                <a:gd name="T2" fmla="*/ 64 w 64"/>
                <a:gd name="T3" fmla="*/ 32 h 64"/>
                <a:gd name="T4" fmla="*/ 32 w 64"/>
                <a:gd name="T5" fmla="*/ 64 h 64"/>
                <a:gd name="T6" fmla="*/ 0 w 64"/>
                <a:gd name="T7" fmla="*/ 32 h 64"/>
                <a:gd name="T8" fmla="*/ 32 w 64"/>
                <a:gd name="T9" fmla="*/ 0 h 64"/>
                <a:gd name="T10" fmla="*/ 46 w 64"/>
                <a:gd name="T11" fmla="*/ 3 h 64"/>
              </a:gdLst>
              <a:ahLst/>
              <a:cxnLst>
                <a:cxn ang="0">
                  <a:pos x="T0" y="T1"/>
                </a:cxn>
                <a:cxn ang="0">
                  <a:pos x="T2" y="T3"/>
                </a:cxn>
                <a:cxn ang="0">
                  <a:pos x="T4" y="T5"/>
                </a:cxn>
                <a:cxn ang="0">
                  <a:pos x="T6" y="T7"/>
                </a:cxn>
                <a:cxn ang="0">
                  <a:pos x="T8" y="T9"/>
                </a:cxn>
                <a:cxn ang="0">
                  <a:pos x="T10" y="T11"/>
                </a:cxn>
              </a:cxnLst>
              <a:rect l="0" t="0" r="r" b="b"/>
              <a:pathLst>
                <a:path w="64" h="64">
                  <a:moveTo>
                    <a:pt x="60" y="16"/>
                  </a:moveTo>
                  <a:cubicBezTo>
                    <a:pt x="63" y="21"/>
                    <a:pt x="64" y="26"/>
                    <a:pt x="64" y="32"/>
                  </a:cubicBezTo>
                  <a:cubicBezTo>
                    <a:pt x="64" y="49"/>
                    <a:pt x="50" y="64"/>
                    <a:pt x="32" y="64"/>
                  </a:cubicBezTo>
                  <a:cubicBezTo>
                    <a:pt x="14" y="64"/>
                    <a:pt x="0" y="49"/>
                    <a:pt x="0" y="32"/>
                  </a:cubicBezTo>
                  <a:cubicBezTo>
                    <a:pt x="0" y="14"/>
                    <a:pt x="14" y="0"/>
                    <a:pt x="32" y="0"/>
                  </a:cubicBezTo>
                  <a:cubicBezTo>
                    <a:pt x="37" y="0"/>
                    <a:pt x="41" y="1"/>
                    <a:pt x="46" y="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44" name="Freeform 15">
              <a:extLst>
                <a:ext uri="{FF2B5EF4-FFF2-40B4-BE49-F238E27FC236}">
                  <a16:creationId xmlns:a16="http://schemas.microsoft.com/office/drawing/2014/main" id="{AFDEBB0B-BCD6-41CA-A641-37C03BABB860}"/>
                </a:ext>
              </a:extLst>
            </p:cNvPr>
            <p:cNvSpPr>
              <a:spLocks/>
            </p:cNvSpPr>
            <p:nvPr/>
          </p:nvSpPr>
          <p:spPr bwMode="auto">
            <a:xfrm>
              <a:off x="1976438" y="3459163"/>
              <a:ext cx="142875" cy="147638"/>
            </a:xfrm>
            <a:custGeom>
              <a:avLst/>
              <a:gdLst>
                <a:gd name="T0" fmla="*/ 19 w 32"/>
                <a:gd name="T1" fmla="*/ 1 h 33"/>
                <a:gd name="T2" fmla="*/ 16 w 32"/>
                <a:gd name="T3" fmla="*/ 0 h 33"/>
                <a:gd name="T4" fmla="*/ 0 w 32"/>
                <a:gd name="T5" fmla="*/ 17 h 33"/>
                <a:gd name="T6" fmla="*/ 16 w 32"/>
                <a:gd name="T7" fmla="*/ 33 h 33"/>
                <a:gd name="T8" fmla="*/ 32 w 32"/>
                <a:gd name="T9" fmla="*/ 17 h 33"/>
                <a:gd name="T10" fmla="*/ 32 w 32"/>
                <a:gd name="T11" fmla="*/ 12 h 33"/>
              </a:gdLst>
              <a:ahLst/>
              <a:cxnLst>
                <a:cxn ang="0">
                  <a:pos x="T0" y="T1"/>
                </a:cxn>
                <a:cxn ang="0">
                  <a:pos x="T2" y="T3"/>
                </a:cxn>
                <a:cxn ang="0">
                  <a:pos x="T4" y="T5"/>
                </a:cxn>
                <a:cxn ang="0">
                  <a:pos x="T6" y="T7"/>
                </a:cxn>
                <a:cxn ang="0">
                  <a:pos x="T8" y="T9"/>
                </a:cxn>
                <a:cxn ang="0">
                  <a:pos x="T10" y="T11"/>
                </a:cxn>
              </a:cxnLst>
              <a:rect l="0" t="0" r="r" b="b"/>
              <a:pathLst>
                <a:path w="32" h="33">
                  <a:moveTo>
                    <a:pt x="19" y="1"/>
                  </a:moveTo>
                  <a:cubicBezTo>
                    <a:pt x="18" y="0"/>
                    <a:pt x="17" y="0"/>
                    <a:pt x="16" y="0"/>
                  </a:cubicBezTo>
                  <a:cubicBezTo>
                    <a:pt x="7" y="0"/>
                    <a:pt x="0" y="8"/>
                    <a:pt x="0" y="17"/>
                  </a:cubicBezTo>
                  <a:cubicBezTo>
                    <a:pt x="0" y="26"/>
                    <a:pt x="7" y="33"/>
                    <a:pt x="16" y="33"/>
                  </a:cubicBezTo>
                  <a:cubicBezTo>
                    <a:pt x="25" y="33"/>
                    <a:pt x="32" y="26"/>
                    <a:pt x="32" y="17"/>
                  </a:cubicBezTo>
                  <a:cubicBezTo>
                    <a:pt x="32" y="15"/>
                    <a:pt x="32" y="13"/>
                    <a:pt x="32" y="1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17" name="Group 16">
            <a:extLst>
              <a:ext uri="{FF2B5EF4-FFF2-40B4-BE49-F238E27FC236}">
                <a16:creationId xmlns:a16="http://schemas.microsoft.com/office/drawing/2014/main" id="{43196AFC-37E0-423F-9D4F-8D12710D768D}"/>
              </a:ext>
            </a:extLst>
          </p:cNvPr>
          <p:cNvGrpSpPr/>
          <p:nvPr/>
        </p:nvGrpSpPr>
        <p:grpSpPr>
          <a:xfrm>
            <a:off x="3488118" y="2102901"/>
            <a:ext cx="522288" cy="303212"/>
            <a:chOff x="3884613" y="1803401"/>
            <a:chExt cx="522288" cy="303212"/>
          </a:xfrm>
        </p:grpSpPr>
        <p:sp>
          <p:nvSpPr>
            <p:cNvPr id="46" name="Freeform 78">
              <a:extLst>
                <a:ext uri="{FF2B5EF4-FFF2-40B4-BE49-F238E27FC236}">
                  <a16:creationId xmlns:a16="http://schemas.microsoft.com/office/drawing/2014/main" id="{65C07F9A-7AB1-4983-90F7-DE5C78C34BA9}"/>
                </a:ext>
              </a:extLst>
            </p:cNvPr>
            <p:cNvSpPr>
              <a:spLocks/>
            </p:cNvSpPr>
            <p:nvPr/>
          </p:nvSpPr>
          <p:spPr bwMode="auto">
            <a:xfrm>
              <a:off x="3884613" y="1803401"/>
              <a:ext cx="180975"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p:spPr>
          <p:txBody>
            <a:bodyPr vert="horz" wrap="square" lIns="91440" tIns="45720" rIns="91440" bIns="45720" numCol="1" anchor="t" anchorCtr="0" compatLnSpc="1">
              <a:prstTxWarp prst="textNoShape">
                <a:avLst/>
              </a:prstTxWarp>
            </a:bodyPr>
            <a:lstStyle/>
            <a:p>
              <a:endParaRPr lang="da-DK"/>
            </a:p>
          </p:txBody>
        </p:sp>
        <p:sp>
          <p:nvSpPr>
            <p:cNvPr id="47" name="Freeform 79">
              <a:extLst>
                <a:ext uri="{FF2B5EF4-FFF2-40B4-BE49-F238E27FC236}">
                  <a16:creationId xmlns:a16="http://schemas.microsoft.com/office/drawing/2014/main" id="{4F7B53F1-AFD7-4E22-921B-7E34CF8017D8}"/>
                </a:ext>
              </a:extLst>
            </p:cNvPr>
            <p:cNvSpPr>
              <a:spLocks/>
            </p:cNvSpPr>
            <p:nvPr/>
          </p:nvSpPr>
          <p:spPr bwMode="auto">
            <a:xfrm>
              <a:off x="4191001" y="1803401"/>
              <a:ext cx="176213" cy="274638"/>
            </a:xfrm>
            <a:custGeom>
              <a:avLst/>
              <a:gdLst>
                <a:gd name="T0" fmla="*/ 39 w 39"/>
                <a:gd name="T1" fmla="*/ 61 h 61"/>
                <a:gd name="T2" fmla="*/ 0 w 39"/>
                <a:gd name="T3" fmla="*/ 61 h 61"/>
                <a:gd name="T4" fmla="*/ 0 w 39"/>
                <a:gd name="T5" fmla="*/ 20 h 61"/>
                <a:gd name="T6" fmla="*/ 19 w 39"/>
                <a:gd name="T7" fmla="*/ 0 h 61"/>
                <a:gd name="T8" fmla="*/ 19 w 39"/>
                <a:gd name="T9" fmla="*/ 0 h 61"/>
                <a:gd name="T10" fmla="*/ 39 w 39"/>
                <a:gd name="T11" fmla="*/ 20 h 61"/>
                <a:gd name="T12" fmla="*/ 39 w 39"/>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9" h="61">
                  <a:moveTo>
                    <a:pt x="39" y="61"/>
                  </a:moveTo>
                  <a:cubicBezTo>
                    <a:pt x="0" y="61"/>
                    <a:pt x="0" y="61"/>
                    <a:pt x="0" y="61"/>
                  </a:cubicBezTo>
                  <a:cubicBezTo>
                    <a:pt x="0" y="20"/>
                    <a:pt x="0" y="20"/>
                    <a:pt x="0" y="20"/>
                  </a:cubicBezTo>
                  <a:cubicBezTo>
                    <a:pt x="0" y="9"/>
                    <a:pt x="8" y="0"/>
                    <a:pt x="19" y="0"/>
                  </a:cubicBezTo>
                  <a:cubicBezTo>
                    <a:pt x="19" y="0"/>
                    <a:pt x="19" y="0"/>
                    <a:pt x="19" y="0"/>
                  </a:cubicBezTo>
                  <a:cubicBezTo>
                    <a:pt x="30" y="0"/>
                    <a:pt x="39" y="9"/>
                    <a:pt x="39" y="20"/>
                  </a:cubicBezTo>
                  <a:lnTo>
                    <a:pt x="39" y="61"/>
                  </a:lnTo>
                  <a:close/>
                </a:path>
              </a:pathLst>
            </a:custGeom>
            <a:solidFill>
              <a:srgbClr val="B9C7C2"/>
            </a:solidFill>
            <a:ln>
              <a:noFill/>
            </a:ln>
            <a:extLst/>
          </p:spPr>
          <p:txBody>
            <a:bodyPr vert="horz" wrap="square" lIns="91440" tIns="45720" rIns="91440" bIns="45720" numCol="1" anchor="t" anchorCtr="0" compatLnSpc="1">
              <a:prstTxWarp prst="textNoShape">
                <a:avLst/>
              </a:prstTxWarp>
            </a:bodyPr>
            <a:lstStyle/>
            <a:p>
              <a:endParaRPr lang="da-DK"/>
            </a:p>
          </p:txBody>
        </p:sp>
        <p:sp>
          <p:nvSpPr>
            <p:cNvPr id="48" name="Freeform 80">
              <a:extLst>
                <a:ext uri="{FF2B5EF4-FFF2-40B4-BE49-F238E27FC236}">
                  <a16:creationId xmlns:a16="http://schemas.microsoft.com/office/drawing/2014/main" id="{E7322579-34B5-4CF6-8C07-0EA41BF93887}"/>
                </a:ext>
              </a:extLst>
            </p:cNvPr>
            <p:cNvSpPr>
              <a:spLocks/>
            </p:cNvSpPr>
            <p:nvPr/>
          </p:nvSpPr>
          <p:spPr bwMode="auto">
            <a:xfrm>
              <a:off x="4046538" y="1830388"/>
              <a:ext cx="180975" cy="276225"/>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p:spPr>
          <p:txBody>
            <a:bodyPr vert="horz" wrap="square" lIns="91440" tIns="45720" rIns="91440" bIns="45720" numCol="1" anchor="t" anchorCtr="0" compatLnSpc="1">
              <a:prstTxWarp prst="textNoShape">
                <a:avLst/>
              </a:prstTxWarp>
            </a:bodyPr>
            <a:lstStyle/>
            <a:p>
              <a:endParaRPr lang="da-DK"/>
            </a:p>
          </p:txBody>
        </p:sp>
        <p:sp>
          <p:nvSpPr>
            <p:cNvPr id="49" name="Freeform 81">
              <a:extLst>
                <a:ext uri="{FF2B5EF4-FFF2-40B4-BE49-F238E27FC236}">
                  <a16:creationId xmlns:a16="http://schemas.microsoft.com/office/drawing/2014/main" id="{B4AAADB5-5043-46C6-8035-0E6CCF18E859}"/>
                </a:ext>
              </a:extLst>
            </p:cNvPr>
            <p:cNvSpPr>
              <a:spLocks/>
            </p:cNvSpPr>
            <p:nvPr/>
          </p:nvSpPr>
          <p:spPr bwMode="auto">
            <a:xfrm>
              <a:off x="4181476" y="2024063"/>
              <a:ext cx="80963" cy="82550"/>
            </a:xfrm>
            <a:custGeom>
              <a:avLst/>
              <a:gdLst>
                <a:gd name="T0" fmla="*/ 11 w 18"/>
                <a:gd name="T1" fmla="*/ 18 h 18"/>
                <a:gd name="T2" fmla="*/ 7 w 18"/>
                <a:gd name="T3" fmla="*/ 18 h 18"/>
                <a:gd name="T4" fmla="*/ 0 w 18"/>
                <a:gd name="T5" fmla="*/ 11 h 18"/>
                <a:gd name="T6" fmla="*/ 0 w 18"/>
                <a:gd name="T7" fmla="*/ 7 h 18"/>
                <a:gd name="T8" fmla="*/ 7 w 18"/>
                <a:gd name="T9" fmla="*/ 0 h 18"/>
                <a:gd name="T10" fmla="*/ 11 w 18"/>
                <a:gd name="T11" fmla="*/ 0 h 18"/>
                <a:gd name="T12" fmla="*/ 18 w 18"/>
                <a:gd name="T13" fmla="*/ 7 h 18"/>
                <a:gd name="T14" fmla="*/ 18 w 18"/>
                <a:gd name="T15" fmla="*/ 11 h 18"/>
                <a:gd name="T16" fmla="*/ 11 w 18"/>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1" y="18"/>
                  </a:moveTo>
                  <a:cubicBezTo>
                    <a:pt x="7" y="18"/>
                    <a:pt x="7" y="18"/>
                    <a:pt x="7" y="18"/>
                  </a:cubicBezTo>
                  <a:cubicBezTo>
                    <a:pt x="3" y="18"/>
                    <a:pt x="0" y="15"/>
                    <a:pt x="0" y="11"/>
                  </a:cubicBezTo>
                  <a:cubicBezTo>
                    <a:pt x="0" y="7"/>
                    <a:pt x="0" y="7"/>
                    <a:pt x="0" y="7"/>
                  </a:cubicBezTo>
                  <a:cubicBezTo>
                    <a:pt x="0" y="3"/>
                    <a:pt x="3" y="0"/>
                    <a:pt x="7" y="0"/>
                  </a:cubicBezTo>
                  <a:cubicBezTo>
                    <a:pt x="11" y="0"/>
                    <a:pt x="11" y="0"/>
                    <a:pt x="11" y="0"/>
                  </a:cubicBezTo>
                  <a:cubicBezTo>
                    <a:pt x="15" y="0"/>
                    <a:pt x="18" y="3"/>
                    <a:pt x="18" y="7"/>
                  </a:cubicBezTo>
                  <a:cubicBezTo>
                    <a:pt x="18" y="11"/>
                    <a:pt x="18" y="11"/>
                    <a:pt x="18" y="11"/>
                  </a:cubicBezTo>
                  <a:cubicBezTo>
                    <a:pt x="18" y="15"/>
                    <a:pt x="15" y="18"/>
                    <a:pt x="11" y="18"/>
                  </a:cubicBezTo>
                  <a:close/>
                </a:path>
              </a:pathLst>
            </a:custGeom>
            <a:solidFill>
              <a:srgbClr val="B9C7C2"/>
            </a:solidFill>
            <a:ln>
              <a:noFill/>
            </a:ln>
            <a:extLst/>
          </p:spPr>
          <p:txBody>
            <a:bodyPr vert="horz" wrap="square" lIns="91440" tIns="45720" rIns="91440" bIns="45720" numCol="1" anchor="t" anchorCtr="0" compatLnSpc="1">
              <a:prstTxWarp prst="textNoShape">
                <a:avLst/>
              </a:prstTxWarp>
            </a:bodyPr>
            <a:lstStyle/>
            <a:p>
              <a:endParaRPr lang="da-DK"/>
            </a:p>
          </p:txBody>
        </p:sp>
        <p:sp>
          <p:nvSpPr>
            <p:cNvPr id="50" name="Freeform 82">
              <a:extLst>
                <a:ext uri="{FF2B5EF4-FFF2-40B4-BE49-F238E27FC236}">
                  <a16:creationId xmlns:a16="http://schemas.microsoft.com/office/drawing/2014/main" id="{3BDE9534-5FDC-4552-9162-24E8789EA04E}"/>
                </a:ext>
              </a:extLst>
            </p:cNvPr>
            <p:cNvSpPr>
              <a:spLocks/>
            </p:cNvSpPr>
            <p:nvPr/>
          </p:nvSpPr>
          <p:spPr bwMode="auto">
            <a:xfrm>
              <a:off x="3987801" y="1970088"/>
              <a:ext cx="279400" cy="131763"/>
            </a:xfrm>
            <a:custGeom>
              <a:avLst/>
              <a:gdLst>
                <a:gd name="T0" fmla="*/ 0 w 62"/>
                <a:gd name="T1" fmla="*/ 22 h 29"/>
                <a:gd name="T2" fmla="*/ 9 w 62"/>
                <a:gd name="T3" fmla="*/ 22 h 29"/>
                <a:gd name="T4" fmla="*/ 17 w 62"/>
                <a:gd name="T5" fmla="*/ 15 h 29"/>
                <a:gd name="T6" fmla="*/ 17 w 62"/>
                <a:gd name="T7" fmla="*/ 15 h 29"/>
                <a:gd name="T8" fmla="*/ 32 w 62"/>
                <a:gd name="T9" fmla="*/ 0 h 29"/>
                <a:gd name="T10" fmla="*/ 47 w 62"/>
                <a:gd name="T11" fmla="*/ 0 h 29"/>
                <a:gd name="T12" fmla="*/ 62 w 62"/>
                <a:gd name="T13" fmla="*/ 15 h 29"/>
                <a:gd name="T14" fmla="*/ 62 w 62"/>
                <a:gd name="T15" fmla="*/ 20 h 29"/>
                <a:gd name="T16" fmla="*/ 53 w 62"/>
                <a:gd name="T17" fmla="*/ 29 h 29"/>
                <a:gd name="T18" fmla="*/ 46 w 62"/>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9">
                  <a:moveTo>
                    <a:pt x="0" y="22"/>
                  </a:moveTo>
                  <a:cubicBezTo>
                    <a:pt x="9" y="22"/>
                    <a:pt x="9" y="22"/>
                    <a:pt x="9" y="22"/>
                  </a:cubicBezTo>
                  <a:cubicBezTo>
                    <a:pt x="14" y="22"/>
                    <a:pt x="17" y="19"/>
                    <a:pt x="17" y="15"/>
                  </a:cubicBezTo>
                  <a:cubicBezTo>
                    <a:pt x="17" y="15"/>
                    <a:pt x="17" y="15"/>
                    <a:pt x="17" y="15"/>
                  </a:cubicBezTo>
                  <a:cubicBezTo>
                    <a:pt x="17" y="6"/>
                    <a:pt x="24" y="0"/>
                    <a:pt x="32" y="0"/>
                  </a:cubicBezTo>
                  <a:cubicBezTo>
                    <a:pt x="47" y="0"/>
                    <a:pt x="47" y="0"/>
                    <a:pt x="47" y="0"/>
                  </a:cubicBezTo>
                  <a:cubicBezTo>
                    <a:pt x="55" y="0"/>
                    <a:pt x="62" y="6"/>
                    <a:pt x="62" y="15"/>
                  </a:cubicBezTo>
                  <a:cubicBezTo>
                    <a:pt x="62" y="20"/>
                    <a:pt x="62" y="20"/>
                    <a:pt x="62" y="20"/>
                  </a:cubicBezTo>
                  <a:cubicBezTo>
                    <a:pt x="62" y="25"/>
                    <a:pt x="58" y="29"/>
                    <a:pt x="53" y="29"/>
                  </a:cubicBezTo>
                  <a:cubicBezTo>
                    <a:pt x="46" y="29"/>
                    <a:pt x="46" y="29"/>
                    <a:pt x="46"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1" name="Freeform 83">
              <a:extLst>
                <a:ext uri="{FF2B5EF4-FFF2-40B4-BE49-F238E27FC236}">
                  <a16:creationId xmlns:a16="http://schemas.microsoft.com/office/drawing/2014/main" id="{6D6E96B3-FC8A-4499-A493-A6A30F225C5E}"/>
                </a:ext>
              </a:extLst>
            </p:cNvPr>
            <p:cNvSpPr>
              <a:spLocks/>
            </p:cNvSpPr>
            <p:nvPr/>
          </p:nvSpPr>
          <p:spPr bwMode="auto">
            <a:xfrm>
              <a:off x="3925888" y="1938338"/>
              <a:ext cx="188913" cy="95250"/>
            </a:xfrm>
            <a:custGeom>
              <a:avLst/>
              <a:gdLst>
                <a:gd name="T0" fmla="*/ 0 w 42"/>
                <a:gd name="T1" fmla="*/ 21 h 21"/>
                <a:gd name="T2" fmla="*/ 0 w 42"/>
                <a:gd name="T3" fmla="*/ 15 h 21"/>
                <a:gd name="T4" fmla="*/ 15 w 42"/>
                <a:gd name="T5" fmla="*/ 0 h 21"/>
                <a:gd name="T6" fmla="*/ 30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7" y="0"/>
                    <a:pt x="15" y="0"/>
                  </a:cubicBezTo>
                  <a:cubicBezTo>
                    <a:pt x="30" y="0"/>
                    <a:pt x="30" y="0"/>
                    <a:pt x="30" y="0"/>
                  </a:cubicBezTo>
                  <a:cubicBezTo>
                    <a:pt x="35" y="0"/>
                    <a:pt x="40" y="2"/>
                    <a:pt x="42"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2" name="Freeform 84">
              <a:extLst>
                <a:ext uri="{FF2B5EF4-FFF2-40B4-BE49-F238E27FC236}">
                  <a16:creationId xmlns:a16="http://schemas.microsoft.com/office/drawing/2014/main" id="{DABCC68A-EAAE-40C1-AF1C-00B3C5404F6D}"/>
                </a:ext>
              </a:extLst>
            </p:cNvPr>
            <p:cNvSpPr>
              <a:spLocks/>
            </p:cNvSpPr>
            <p:nvPr/>
          </p:nvSpPr>
          <p:spPr bwMode="auto">
            <a:xfrm>
              <a:off x="4217988" y="1938338"/>
              <a:ext cx="188913" cy="131763"/>
            </a:xfrm>
            <a:custGeom>
              <a:avLst/>
              <a:gdLst>
                <a:gd name="T0" fmla="*/ 0 w 42"/>
                <a:gd name="T1" fmla="*/ 7 h 29"/>
                <a:gd name="T2" fmla="*/ 13 w 42"/>
                <a:gd name="T3" fmla="*/ 0 h 29"/>
                <a:gd name="T4" fmla="*/ 27 w 42"/>
                <a:gd name="T5" fmla="*/ 0 h 29"/>
                <a:gd name="T6" fmla="*/ 42 w 42"/>
                <a:gd name="T7" fmla="*/ 15 h 29"/>
                <a:gd name="T8" fmla="*/ 42 w 42"/>
                <a:gd name="T9" fmla="*/ 20 h 29"/>
                <a:gd name="T10" fmla="*/ 33 w 42"/>
                <a:gd name="T11" fmla="*/ 29 h 29"/>
                <a:gd name="T12" fmla="*/ 11 w 4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2" h="29">
                  <a:moveTo>
                    <a:pt x="0" y="7"/>
                  </a:moveTo>
                  <a:cubicBezTo>
                    <a:pt x="2" y="3"/>
                    <a:pt x="7" y="0"/>
                    <a:pt x="13" y="0"/>
                  </a:cubicBezTo>
                  <a:cubicBezTo>
                    <a:pt x="27" y="0"/>
                    <a:pt x="27" y="0"/>
                    <a:pt x="27" y="0"/>
                  </a:cubicBezTo>
                  <a:cubicBezTo>
                    <a:pt x="36" y="0"/>
                    <a:pt x="42" y="6"/>
                    <a:pt x="42" y="15"/>
                  </a:cubicBezTo>
                  <a:cubicBezTo>
                    <a:pt x="42" y="20"/>
                    <a:pt x="42" y="20"/>
                    <a:pt x="42" y="20"/>
                  </a:cubicBezTo>
                  <a:cubicBezTo>
                    <a:pt x="42" y="25"/>
                    <a:pt x="38" y="29"/>
                    <a:pt x="33" y="29"/>
                  </a:cubicBezTo>
                  <a:cubicBezTo>
                    <a:pt x="11" y="29"/>
                    <a:pt x="11" y="29"/>
                    <a:pt x="11"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3" name="Line 85">
              <a:extLst>
                <a:ext uri="{FF2B5EF4-FFF2-40B4-BE49-F238E27FC236}">
                  <a16:creationId xmlns:a16="http://schemas.microsoft.com/office/drawing/2014/main" id="{E6C04CE6-97BA-472D-8844-0FE2A10F442C}"/>
                </a:ext>
              </a:extLst>
            </p:cNvPr>
            <p:cNvSpPr>
              <a:spLocks noChangeShapeType="1"/>
            </p:cNvSpPr>
            <p:nvPr/>
          </p:nvSpPr>
          <p:spPr bwMode="auto">
            <a:xfrm>
              <a:off x="4203701"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4" name="Freeform 86">
              <a:extLst>
                <a:ext uri="{FF2B5EF4-FFF2-40B4-BE49-F238E27FC236}">
                  <a16:creationId xmlns:a16="http://schemas.microsoft.com/office/drawing/2014/main" id="{0B20A15E-6D28-4DC3-AEAD-3D408C80D0BE}"/>
                </a:ext>
              </a:extLst>
            </p:cNvPr>
            <p:cNvSpPr>
              <a:spLocks/>
            </p:cNvSpPr>
            <p:nvPr/>
          </p:nvSpPr>
          <p:spPr bwMode="auto">
            <a:xfrm>
              <a:off x="4119563" y="1854201"/>
              <a:ext cx="93663" cy="112713"/>
            </a:xfrm>
            <a:custGeom>
              <a:avLst/>
              <a:gdLst>
                <a:gd name="T0" fmla="*/ 11 w 21"/>
                <a:gd name="T1" fmla="*/ 25 h 25"/>
                <a:gd name="T2" fmla="*/ 1 w 21"/>
                <a:gd name="T3" fmla="*/ 12 h 25"/>
                <a:gd name="T4" fmla="*/ 11 w 21"/>
                <a:gd name="T5" fmla="*/ 0 h 25"/>
                <a:gd name="T6" fmla="*/ 21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1"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5" name="Freeform 87">
              <a:extLst>
                <a:ext uri="{FF2B5EF4-FFF2-40B4-BE49-F238E27FC236}">
                  <a16:creationId xmlns:a16="http://schemas.microsoft.com/office/drawing/2014/main" id="{02D9BC78-B3DE-4CF9-AE86-3240CF89FEFA}"/>
                </a:ext>
              </a:extLst>
            </p:cNvPr>
            <p:cNvSpPr>
              <a:spLocks/>
            </p:cNvSpPr>
            <p:nvPr/>
          </p:nvSpPr>
          <p:spPr bwMode="auto">
            <a:xfrm>
              <a:off x="4262438" y="1822451"/>
              <a:ext cx="90488" cy="112713"/>
            </a:xfrm>
            <a:custGeom>
              <a:avLst/>
              <a:gdLst>
                <a:gd name="T0" fmla="*/ 10 w 20"/>
                <a:gd name="T1" fmla="*/ 25 h 25"/>
                <a:gd name="T2" fmla="*/ 0 w 20"/>
                <a:gd name="T3" fmla="*/ 12 h 25"/>
                <a:gd name="T4" fmla="*/ 10 w 20"/>
                <a:gd name="T5" fmla="*/ 0 h 25"/>
                <a:gd name="T6" fmla="*/ 20 w 20"/>
                <a:gd name="T7" fmla="*/ 12 h 25"/>
                <a:gd name="T8" fmla="*/ 18 w 20"/>
                <a:gd name="T9" fmla="*/ 19 h 25"/>
              </a:gdLst>
              <a:ahLst/>
              <a:cxnLst>
                <a:cxn ang="0">
                  <a:pos x="T0" y="T1"/>
                </a:cxn>
                <a:cxn ang="0">
                  <a:pos x="T2" y="T3"/>
                </a:cxn>
                <a:cxn ang="0">
                  <a:pos x="T4" y="T5"/>
                </a:cxn>
                <a:cxn ang="0">
                  <a:pos x="T6" y="T7"/>
                </a:cxn>
                <a:cxn ang="0">
                  <a:pos x="T8" y="T9"/>
                </a:cxn>
              </a:cxnLst>
              <a:rect l="0" t="0" r="r" b="b"/>
              <a:pathLst>
                <a:path w="20" h="25">
                  <a:moveTo>
                    <a:pt x="10" y="25"/>
                  </a:moveTo>
                  <a:cubicBezTo>
                    <a:pt x="6" y="25"/>
                    <a:pt x="1" y="21"/>
                    <a:pt x="0" y="12"/>
                  </a:cubicBezTo>
                  <a:cubicBezTo>
                    <a:pt x="0" y="5"/>
                    <a:pt x="3" y="0"/>
                    <a:pt x="10" y="0"/>
                  </a:cubicBezTo>
                  <a:cubicBezTo>
                    <a:pt x="17" y="0"/>
                    <a:pt x="20" y="5"/>
                    <a:pt x="20" y="12"/>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56" name="Freeform 88">
              <a:extLst>
                <a:ext uri="{FF2B5EF4-FFF2-40B4-BE49-F238E27FC236}">
                  <a16:creationId xmlns:a16="http://schemas.microsoft.com/office/drawing/2014/main" id="{A1D95B38-ED53-4048-8A18-F0FC2474F756}"/>
                </a:ext>
              </a:extLst>
            </p:cNvPr>
            <p:cNvSpPr>
              <a:spLocks/>
            </p:cNvSpPr>
            <p:nvPr/>
          </p:nvSpPr>
          <p:spPr bwMode="auto">
            <a:xfrm>
              <a:off x="3979863" y="1822451"/>
              <a:ext cx="93663" cy="112713"/>
            </a:xfrm>
            <a:custGeom>
              <a:avLst/>
              <a:gdLst>
                <a:gd name="T0" fmla="*/ 11 w 21"/>
                <a:gd name="T1" fmla="*/ 25 h 25"/>
                <a:gd name="T2" fmla="*/ 1 w 21"/>
                <a:gd name="T3" fmla="*/ 12 h 25"/>
                <a:gd name="T4" fmla="*/ 11 w 21"/>
                <a:gd name="T5" fmla="*/ 0 h 25"/>
                <a:gd name="T6" fmla="*/ 20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0"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57" name="Group 56">
            <a:extLst>
              <a:ext uri="{FF2B5EF4-FFF2-40B4-BE49-F238E27FC236}">
                <a16:creationId xmlns:a16="http://schemas.microsoft.com/office/drawing/2014/main" id="{3E1A6287-A192-4AFC-AB4F-A04E1626A82C}"/>
              </a:ext>
            </a:extLst>
          </p:cNvPr>
          <p:cNvGrpSpPr/>
          <p:nvPr/>
        </p:nvGrpSpPr>
        <p:grpSpPr>
          <a:xfrm>
            <a:off x="5844793" y="2080676"/>
            <a:ext cx="623888" cy="347663"/>
            <a:chOff x="2605088" y="1673225"/>
            <a:chExt cx="623888" cy="347663"/>
          </a:xfrm>
        </p:grpSpPr>
        <p:sp>
          <p:nvSpPr>
            <p:cNvPr id="58" name="Freeform 90">
              <a:extLst>
                <a:ext uri="{FF2B5EF4-FFF2-40B4-BE49-F238E27FC236}">
                  <a16:creationId xmlns:a16="http://schemas.microsoft.com/office/drawing/2014/main" id="{4AE2826B-0AB0-4717-ACD0-11170BA1A444}"/>
                </a:ext>
              </a:extLst>
            </p:cNvPr>
            <p:cNvSpPr>
              <a:spLocks/>
            </p:cNvSpPr>
            <p:nvPr/>
          </p:nvSpPr>
          <p:spPr bwMode="auto">
            <a:xfrm>
              <a:off x="2605088" y="1673225"/>
              <a:ext cx="534988" cy="160338"/>
            </a:xfrm>
            <a:custGeom>
              <a:avLst/>
              <a:gdLst>
                <a:gd name="T0" fmla="*/ 109 w 120"/>
                <a:gd name="T1" fmla="*/ 22 h 36"/>
                <a:gd name="T2" fmla="*/ 62 w 120"/>
                <a:gd name="T3" fmla="*/ 36 h 36"/>
                <a:gd name="T4" fmla="*/ 59 w 120"/>
                <a:gd name="T5" fmla="*/ 36 h 36"/>
                <a:gd name="T6" fmla="*/ 1 w 120"/>
                <a:gd name="T7" fmla="*/ 19 h 36"/>
                <a:gd name="T8" fmla="*/ 1 w 120"/>
                <a:gd name="T9" fmla="*/ 17 h 36"/>
                <a:gd name="T10" fmla="*/ 59 w 120"/>
                <a:gd name="T11" fmla="*/ 1 h 36"/>
                <a:gd name="T12" fmla="*/ 62 w 120"/>
                <a:gd name="T13" fmla="*/ 1 h 36"/>
                <a:gd name="T14" fmla="*/ 119 w 120"/>
                <a:gd name="T15" fmla="*/ 17 h 36"/>
                <a:gd name="T16" fmla="*/ 119 w 120"/>
                <a:gd name="T17" fmla="*/ 19 h 36"/>
                <a:gd name="T18" fmla="*/ 109 w 120"/>
                <a:gd name="T1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6">
                  <a:moveTo>
                    <a:pt x="109" y="22"/>
                  </a:moveTo>
                  <a:cubicBezTo>
                    <a:pt x="62" y="36"/>
                    <a:pt x="62" y="36"/>
                    <a:pt x="62" y="36"/>
                  </a:cubicBezTo>
                  <a:cubicBezTo>
                    <a:pt x="61" y="36"/>
                    <a:pt x="60" y="36"/>
                    <a:pt x="59" y="36"/>
                  </a:cubicBezTo>
                  <a:cubicBezTo>
                    <a:pt x="1" y="19"/>
                    <a:pt x="1" y="19"/>
                    <a:pt x="1" y="19"/>
                  </a:cubicBezTo>
                  <a:cubicBezTo>
                    <a:pt x="0" y="19"/>
                    <a:pt x="0" y="17"/>
                    <a:pt x="1" y="17"/>
                  </a:cubicBezTo>
                  <a:cubicBezTo>
                    <a:pt x="59" y="1"/>
                    <a:pt x="59" y="1"/>
                    <a:pt x="59" y="1"/>
                  </a:cubicBezTo>
                  <a:cubicBezTo>
                    <a:pt x="60" y="0"/>
                    <a:pt x="61" y="0"/>
                    <a:pt x="62" y="1"/>
                  </a:cubicBezTo>
                  <a:cubicBezTo>
                    <a:pt x="119" y="17"/>
                    <a:pt x="119" y="17"/>
                    <a:pt x="119" y="17"/>
                  </a:cubicBezTo>
                  <a:cubicBezTo>
                    <a:pt x="120" y="17"/>
                    <a:pt x="120" y="19"/>
                    <a:pt x="119" y="19"/>
                  </a:cubicBezTo>
                  <a:cubicBezTo>
                    <a:pt x="109" y="22"/>
                    <a:pt x="109" y="22"/>
                    <a:pt x="109" y="22"/>
                  </a:cubicBezTo>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a-DK"/>
            </a:p>
          </p:txBody>
        </p:sp>
        <p:sp>
          <p:nvSpPr>
            <p:cNvPr id="59" name="Freeform 91">
              <a:extLst>
                <a:ext uri="{FF2B5EF4-FFF2-40B4-BE49-F238E27FC236}">
                  <a16:creationId xmlns:a16="http://schemas.microsoft.com/office/drawing/2014/main" id="{1A04FBBC-6C0F-4441-B961-F6586D0E8D5B}"/>
                </a:ext>
              </a:extLst>
            </p:cNvPr>
            <p:cNvSpPr>
              <a:spLocks/>
            </p:cNvSpPr>
            <p:nvPr/>
          </p:nvSpPr>
          <p:spPr bwMode="auto">
            <a:xfrm>
              <a:off x="3157538" y="1946275"/>
              <a:ext cx="44450" cy="74613"/>
            </a:xfrm>
            <a:custGeom>
              <a:avLst/>
              <a:gdLst>
                <a:gd name="T0" fmla="*/ 10 w 10"/>
                <a:gd name="T1" fmla="*/ 17 h 17"/>
                <a:gd name="T2" fmla="*/ 0 w 10"/>
                <a:gd name="T3" fmla="*/ 17 h 17"/>
                <a:gd name="T4" fmla="*/ 0 w 10"/>
                <a:gd name="T5" fmla="*/ 5 h 17"/>
                <a:gd name="T6" fmla="*/ 5 w 10"/>
                <a:gd name="T7" fmla="*/ 0 h 17"/>
                <a:gd name="T8" fmla="*/ 5 w 10"/>
                <a:gd name="T9" fmla="*/ 0 h 17"/>
                <a:gd name="T10" fmla="*/ 10 w 10"/>
                <a:gd name="T11" fmla="*/ 5 h 17"/>
                <a:gd name="T12" fmla="*/ 10 w 10"/>
                <a:gd name="T13" fmla="*/ 17 h 17"/>
              </a:gdLst>
              <a:ahLst/>
              <a:cxnLst>
                <a:cxn ang="0">
                  <a:pos x="T0" y="T1"/>
                </a:cxn>
                <a:cxn ang="0">
                  <a:pos x="T2" y="T3"/>
                </a:cxn>
                <a:cxn ang="0">
                  <a:pos x="T4" y="T5"/>
                </a:cxn>
                <a:cxn ang="0">
                  <a:pos x="T6" y="T7"/>
                </a:cxn>
                <a:cxn ang="0">
                  <a:pos x="T8" y="T9"/>
                </a:cxn>
                <a:cxn ang="0">
                  <a:pos x="T10" y="T11"/>
                </a:cxn>
                <a:cxn ang="0">
                  <a:pos x="T12" y="T13"/>
                </a:cxn>
              </a:cxnLst>
              <a:rect l="0" t="0" r="r" b="b"/>
              <a:pathLst>
                <a:path w="10" h="17">
                  <a:moveTo>
                    <a:pt x="10" y="17"/>
                  </a:moveTo>
                  <a:cubicBezTo>
                    <a:pt x="0" y="17"/>
                    <a:pt x="0" y="17"/>
                    <a:pt x="0" y="17"/>
                  </a:cubicBezTo>
                  <a:cubicBezTo>
                    <a:pt x="0" y="5"/>
                    <a:pt x="0" y="5"/>
                    <a:pt x="0" y="5"/>
                  </a:cubicBezTo>
                  <a:cubicBezTo>
                    <a:pt x="0" y="2"/>
                    <a:pt x="2" y="0"/>
                    <a:pt x="5" y="0"/>
                  </a:cubicBezTo>
                  <a:cubicBezTo>
                    <a:pt x="5" y="0"/>
                    <a:pt x="5" y="0"/>
                    <a:pt x="5" y="0"/>
                  </a:cubicBezTo>
                  <a:cubicBezTo>
                    <a:pt x="8" y="0"/>
                    <a:pt x="10" y="2"/>
                    <a:pt x="10" y="5"/>
                  </a:cubicBezTo>
                  <a:lnTo>
                    <a:pt x="10" y="17"/>
                  </a:ln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0" name="Line 92">
              <a:extLst>
                <a:ext uri="{FF2B5EF4-FFF2-40B4-BE49-F238E27FC236}">
                  <a16:creationId xmlns:a16="http://schemas.microsoft.com/office/drawing/2014/main" id="{7186CF18-C5E9-441C-88A5-FC8F348EB598}"/>
                </a:ext>
              </a:extLst>
            </p:cNvPr>
            <p:cNvSpPr>
              <a:spLocks noChangeShapeType="1"/>
            </p:cNvSpPr>
            <p:nvPr/>
          </p:nvSpPr>
          <p:spPr bwMode="auto">
            <a:xfrm flipV="1">
              <a:off x="2797176" y="1865313"/>
              <a:ext cx="0" cy="49213"/>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1" name="Line 93">
              <a:extLst>
                <a:ext uri="{FF2B5EF4-FFF2-40B4-BE49-F238E27FC236}">
                  <a16:creationId xmlns:a16="http://schemas.microsoft.com/office/drawing/2014/main" id="{37DA20B1-C02F-4485-A31A-FB1D6B466902}"/>
                </a:ext>
              </a:extLst>
            </p:cNvPr>
            <p:cNvSpPr>
              <a:spLocks noChangeShapeType="1"/>
            </p:cNvSpPr>
            <p:nvPr/>
          </p:nvSpPr>
          <p:spPr bwMode="auto">
            <a:xfrm>
              <a:off x="3122613" y="1793875"/>
              <a:ext cx="0" cy="12065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2" name="Freeform 94">
              <a:extLst>
                <a:ext uri="{FF2B5EF4-FFF2-40B4-BE49-F238E27FC236}">
                  <a16:creationId xmlns:a16="http://schemas.microsoft.com/office/drawing/2014/main" id="{9FF4F087-9961-458D-8868-4CD491D8A80B}"/>
                </a:ext>
              </a:extLst>
            </p:cNvPr>
            <p:cNvSpPr>
              <a:spLocks/>
            </p:cNvSpPr>
            <p:nvPr/>
          </p:nvSpPr>
          <p:spPr bwMode="auto">
            <a:xfrm>
              <a:off x="2693988" y="1677988"/>
              <a:ext cx="534988" cy="160338"/>
            </a:xfrm>
            <a:custGeom>
              <a:avLst/>
              <a:gdLst>
                <a:gd name="T0" fmla="*/ 109 w 120"/>
                <a:gd name="T1" fmla="*/ 22 h 36"/>
                <a:gd name="T2" fmla="*/ 62 w 120"/>
                <a:gd name="T3" fmla="*/ 36 h 36"/>
                <a:gd name="T4" fmla="*/ 58 w 120"/>
                <a:gd name="T5" fmla="*/ 36 h 36"/>
                <a:gd name="T6" fmla="*/ 1 w 120"/>
                <a:gd name="T7" fmla="*/ 19 h 36"/>
                <a:gd name="T8" fmla="*/ 1 w 120"/>
                <a:gd name="T9" fmla="*/ 17 h 36"/>
                <a:gd name="T10" fmla="*/ 58 w 120"/>
                <a:gd name="T11" fmla="*/ 1 h 36"/>
                <a:gd name="T12" fmla="*/ 62 w 120"/>
                <a:gd name="T13" fmla="*/ 1 h 36"/>
                <a:gd name="T14" fmla="*/ 119 w 120"/>
                <a:gd name="T15" fmla="*/ 17 h 36"/>
                <a:gd name="T16" fmla="*/ 119 w 120"/>
                <a:gd name="T17" fmla="*/ 19 h 36"/>
                <a:gd name="T18" fmla="*/ 109 w 120"/>
                <a:gd name="T19" fmla="*/ 2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36">
                  <a:moveTo>
                    <a:pt x="109" y="22"/>
                  </a:moveTo>
                  <a:cubicBezTo>
                    <a:pt x="62" y="36"/>
                    <a:pt x="62" y="36"/>
                    <a:pt x="62" y="36"/>
                  </a:cubicBezTo>
                  <a:cubicBezTo>
                    <a:pt x="61" y="36"/>
                    <a:pt x="59" y="36"/>
                    <a:pt x="58" y="36"/>
                  </a:cubicBezTo>
                  <a:cubicBezTo>
                    <a:pt x="1" y="19"/>
                    <a:pt x="1" y="19"/>
                    <a:pt x="1" y="19"/>
                  </a:cubicBezTo>
                  <a:cubicBezTo>
                    <a:pt x="0" y="18"/>
                    <a:pt x="0" y="17"/>
                    <a:pt x="1" y="17"/>
                  </a:cubicBezTo>
                  <a:cubicBezTo>
                    <a:pt x="58" y="1"/>
                    <a:pt x="58" y="1"/>
                    <a:pt x="58" y="1"/>
                  </a:cubicBezTo>
                  <a:cubicBezTo>
                    <a:pt x="59" y="0"/>
                    <a:pt x="60" y="0"/>
                    <a:pt x="62" y="1"/>
                  </a:cubicBezTo>
                  <a:cubicBezTo>
                    <a:pt x="119" y="17"/>
                    <a:pt x="119" y="17"/>
                    <a:pt x="119" y="17"/>
                  </a:cubicBezTo>
                  <a:cubicBezTo>
                    <a:pt x="120" y="17"/>
                    <a:pt x="120" y="18"/>
                    <a:pt x="119" y="19"/>
                  </a:cubicBezTo>
                  <a:cubicBezTo>
                    <a:pt x="109" y="22"/>
                    <a:pt x="109" y="22"/>
                    <a:pt x="109" y="22"/>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3" name="Line 95">
              <a:extLst>
                <a:ext uri="{FF2B5EF4-FFF2-40B4-BE49-F238E27FC236}">
                  <a16:creationId xmlns:a16="http://schemas.microsoft.com/office/drawing/2014/main" id="{50A66FB9-EC37-4280-9A54-5FB83ACC2877}"/>
                </a:ext>
              </a:extLst>
            </p:cNvPr>
            <p:cNvSpPr>
              <a:spLocks noChangeShapeType="1"/>
            </p:cNvSpPr>
            <p:nvPr/>
          </p:nvSpPr>
          <p:spPr bwMode="auto">
            <a:xfrm flipV="1">
              <a:off x="3179763" y="1776413"/>
              <a:ext cx="0" cy="5238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4" name="Line 96">
              <a:extLst>
                <a:ext uri="{FF2B5EF4-FFF2-40B4-BE49-F238E27FC236}">
                  <a16:creationId xmlns:a16="http://schemas.microsoft.com/office/drawing/2014/main" id="{F3475BD7-1776-4E40-B53A-15E80AFD6067}"/>
                </a:ext>
              </a:extLst>
            </p:cNvPr>
            <p:cNvSpPr>
              <a:spLocks noChangeShapeType="1"/>
            </p:cNvSpPr>
            <p:nvPr/>
          </p:nvSpPr>
          <p:spPr bwMode="auto">
            <a:xfrm flipV="1">
              <a:off x="3179763" y="1828800"/>
              <a:ext cx="0" cy="11747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5" name="Freeform 97">
              <a:extLst>
                <a:ext uri="{FF2B5EF4-FFF2-40B4-BE49-F238E27FC236}">
                  <a16:creationId xmlns:a16="http://schemas.microsoft.com/office/drawing/2014/main" id="{EB516EE4-57B0-434D-8C43-E801E2200FC6}"/>
                </a:ext>
              </a:extLst>
            </p:cNvPr>
            <p:cNvSpPr>
              <a:spLocks/>
            </p:cNvSpPr>
            <p:nvPr/>
          </p:nvSpPr>
          <p:spPr bwMode="auto">
            <a:xfrm>
              <a:off x="2797176" y="1914525"/>
              <a:ext cx="325438" cy="61913"/>
            </a:xfrm>
            <a:custGeom>
              <a:avLst/>
              <a:gdLst>
                <a:gd name="T0" fmla="*/ 73 w 73"/>
                <a:gd name="T1" fmla="*/ 0 h 14"/>
                <a:gd name="T2" fmla="*/ 37 w 73"/>
                <a:gd name="T3" fmla="*/ 14 h 14"/>
                <a:gd name="T4" fmla="*/ 0 w 73"/>
                <a:gd name="T5" fmla="*/ 0 h 14"/>
              </a:gdLst>
              <a:ahLst/>
              <a:cxnLst>
                <a:cxn ang="0">
                  <a:pos x="T0" y="T1"/>
                </a:cxn>
                <a:cxn ang="0">
                  <a:pos x="T2" y="T3"/>
                </a:cxn>
                <a:cxn ang="0">
                  <a:pos x="T4" y="T5"/>
                </a:cxn>
              </a:cxnLst>
              <a:rect l="0" t="0" r="r" b="b"/>
              <a:pathLst>
                <a:path w="73" h="14">
                  <a:moveTo>
                    <a:pt x="73" y="0"/>
                  </a:moveTo>
                  <a:cubicBezTo>
                    <a:pt x="73" y="6"/>
                    <a:pt x="57" y="14"/>
                    <a:pt x="37" y="14"/>
                  </a:cubicBezTo>
                  <a:cubicBezTo>
                    <a:pt x="16" y="14"/>
                    <a:pt x="0" y="7"/>
                    <a:pt x="0"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grpSp>
      <p:grpSp>
        <p:nvGrpSpPr>
          <p:cNvPr id="66" name="Group 65">
            <a:extLst>
              <a:ext uri="{FF2B5EF4-FFF2-40B4-BE49-F238E27FC236}">
                <a16:creationId xmlns:a16="http://schemas.microsoft.com/office/drawing/2014/main" id="{25B3A661-BF08-465B-A3ED-6017ACFC49DE}"/>
              </a:ext>
            </a:extLst>
          </p:cNvPr>
          <p:cNvGrpSpPr/>
          <p:nvPr/>
        </p:nvGrpSpPr>
        <p:grpSpPr>
          <a:xfrm>
            <a:off x="8372126" y="2008444"/>
            <a:ext cx="384175" cy="492126"/>
            <a:chOff x="1760538" y="3362325"/>
            <a:chExt cx="384175" cy="492126"/>
          </a:xfrm>
        </p:grpSpPr>
        <p:sp>
          <p:nvSpPr>
            <p:cNvPr id="67" name="Freeform 48">
              <a:extLst>
                <a:ext uri="{FF2B5EF4-FFF2-40B4-BE49-F238E27FC236}">
                  <a16:creationId xmlns:a16="http://schemas.microsoft.com/office/drawing/2014/main" id="{082E6A90-15CE-40FB-9008-03848D91508A}"/>
                </a:ext>
              </a:extLst>
            </p:cNvPr>
            <p:cNvSpPr>
              <a:spLocks/>
            </p:cNvSpPr>
            <p:nvPr/>
          </p:nvSpPr>
          <p:spPr bwMode="auto">
            <a:xfrm>
              <a:off x="1876426" y="3529013"/>
              <a:ext cx="142875" cy="276225"/>
            </a:xfrm>
            <a:custGeom>
              <a:avLst/>
              <a:gdLst>
                <a:gd name="T0" fmla="*/ 0 w 90"/>
                <a:gd name="T1" fmla="*/ 174 h 174"/>
                <a:gd name="T2" fmla="*/ 20 w 90"/>
                <a:gd name="T3" fmla="*/ 73 h 174"/>
                <a:gd name="T4" fmla="*/ 90 w 90"/>
                <a:gd name="T5" fmla="*/ 0 h 174"/>
                <a:gd name="T6" fmla="*/ 73 w 90"/>
                <a:gd name="T7" fmla="*/ 101 h 174"/>
                <a:gd name="T8" fmla="*/ 0 w 90"/>
                <a:gd name="T9" fmla="*/ 174 h 174"/>
              </a:gdLst>
              <a:ahLst/>
              <a:cxnLst>
                <a:cxn ang="0">
                  <a:pos x="T0" y="T1"/>
                </a:cxn>
                <a:cxn ang="0">
                  <a:pos x="T2" y="T3"/>
                </a:cxn>
                <a:cxn ang="0">
                  <a:pos x="T4" y="T5"/>
                </a:cxn>
                <a:cxn ang="0">
                  <a:pos x="T6" y="T7"/>
                </a:cxn>
                <a:cxn ang="0">
                  <a:pos x="T8" y="T9"/>
                </a:cxn>
              </a:cxnLst>
              <a:rect l="0" t="0" r="r" b="b"/>
              <a:pathLst>
                <a:path w="90" h="174">
                  <a:moveTo>
                    <a:pt x="0" y="174"/>
                  </a:moveTo>
                  <a:lnTo>
                    <a:pt x="20" y="73"/>
                  </a:lnTo>
                  <a:lnTo>
                    <a:pt x="90" y="0"/>
                  </a:lnTo>
                  <a:lnTo>
                    <a:pt x="73" y="101"/>
                  </a:lnTo>
                  <a:lnTo>
                    <a:pt x="0" y="174"/>
                  </a:lnTo>
                  <a:close/>
                </a:path>
              </a:pathLst>
            </a:custGeom>
            <a:solidFill>
              <a:srgbClr val="B9C7C2"/>
            </a:solidFill>
            <a:ln w="34925" cap="flat">
              <a:solidFill>
                <a:srgbClr val="B9C7C2"/>
              </a:solidFill>
              <a:prstDash val="solid"/>
              <a:round/>
              <a:headEnd/>
              <a:tailEnd/>
            </a:ln>
          </p:spPr>
          <p:txBody>
            <a:bodyPr vert="horz" wrap="square" lIns="91440" tIns="45720" rIns="91440" bIns="45720" numCol="1" anchor="t" anchorCtr="0" compatLnSpc="1">
              <a:prstTxWarp prst="textNoShape">
                <a:avLst/>
              </a:prstTxWarp>
            </a:bodyPr>
            <a:lstStyle/>
            <a:p>
              <a:endParaRPr lang="da-DK"/>
            </a:p>
          </p:txBody>
        </p:sp>
        <p:sp>
          <p:nvSpPr>
            <p:cNvPr id="68" name="Freeform 49">
              <a:extLst>
                <a:ext uri="{FF2B5EF4-FFF2-40B4-BE49-F238E27FC236}">
                  <a16:creationId xmlns:a16="http://schemas.microsoft.com/office/drawing/2014/main" id="{E6A7563C-6B00-44AE-8C30-9F6B31361848}"/>
                </a:ext>
              </a:extLst>
            </p:cNvPr>
            <p:cNvSpPr>
              <a:spLocks/>
            </p:cNvSpPr>
            <p:nvPr/>
          </p:nvSpPr>
          <p:spPr bwMode="auto">
            <a:xfrm>
              <a:off x="1760538" y="3475038"/>
              <a:ext cx="384175" cy="379413"/>
            </a:xfrm>
            <a:custGeom>
              <a:avLst/>
              <a:gdLst>
                <a:gd name="T0" fmla="*/ 43 w 86"/>
                <a:gd name="T1" fmla="*/ 85 h 85"/>
                <a:gd name="T2" fmla="*/ 0 w 86"/>
                <a:gd name="T3" fmla="*/ 43 h 85"/>
                <a:gd name="T4" fmla="*/ 43 w 86"/>
                <a:gd name="T5" fmla="*/ 0 h 85"/>
                <a:gd name="T6" fmla="*/ 86 w 86"/>
                <a:gd name="T7" fmla="*/ 43 h 85"/>
                <a:gd name="T8" fmla="*/ 73 w 86"/>
                <a:gd name="T9" fmla="*/ 73 h 85"/>
              </a:gdLst>
              <a:ahLst/>
              <a:cxnLst>
                <a:cxn ang="0">
                  <a:pos x="T0" y="T1"/>
                </a:cxn>
                <a:cxn ang="0">
                  <a:pos x="T2" y="T3"/>
                </a:cxn>
                <a:cxn ang="0">
                  <a:pos x="T4" y="T5"/>
                </a:cxn>
                <a:cxn ang="0">
                  <a:pos x="T6" y="T7"/>
                </a:cxn>
                <a:cxn ang="0">
                  <a:pos x="T8" y="T9"/>
                </a:cxn>
              </a:cxnLst>
              <a:rect l="0" t="0" r="r" b="b"/>
              <a:pathLst>
                <a:path w="86" h="85">
                  <a:moveTo>
                    <a:pt x="43" y="85"/>
                  </a:moveTo>
                  <a:cubicBezTo>
                    <a:pt x="19" y="85"/>
                    <a:pt x="0" y="66"/>
                    <a:pt x="0" y="43"/>
                  </a:cubicBezTo>
                  <a:cubicBezTo>
                    <a:pt x="0" y="19"/>
                    <a:pt x="19" y="0"/>
                    <a:pt x="43" y="0"/>
                  </a:cubicBezTo>
                  <a:cubicBezTo>
                    <a:pt x="67" y="0"/>
                    <a:pt x="86" y="19"/>
                    <a:pt x="86" y="43"/>
                  </a:cubicBezTo>
                  <a:cubicBezTo>
                    <a:pt x="86" y="54"/>
                    <a:pt x="81" y="65"/>
                    <a:pt x="73" y="7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69" name="Freeform 50">
              <a:extLst>
                <a:ext uri="{FF2B5EF4-FFF2-40B4-BE49-F238E27FC236}">
                  <a16:creationId xmlns:a16="http://schemas.microsoft.com/office/drawing/2014/main" id="{0949BC7B-2651-4AA6-B0F9-49AC52779FA0}"/>
                </a:ext>
              </a:extLst>
            </p:cNvPr>
            <p:cNvSpPr>
              <a:spLocks/>
            </p:cNvSpPr>
            <p:nvPr/>
          </p:nvSpPr>
          <p:spPr bwMode="auto">
            <a:xfrm>
              <a:off x="1854201" y="3541713"/>
              <a:ext cx="196850" cy="246063"/>
            </a:xfrm>
            <a:custGeom>
              <a:avLst/>
              <a:gdLst>
                <a:gd name="T0" fmla="*/ 0 w 124"/>
                <a:gd name="T1" fmla="*/ 155 h 155"/>
                <a:gd name="T2" fmla="*/ 40 w 124"/>
                <a:gd name="T3" fmla="*/ 59 h 155"/>
                <a:gd name="T4" fmla="*/ 124 w 124"/>
                <a:gd name="T5" fmla="*/ 0 h 155"/>
                <a:gd name="T6" fmla="*/ 85 w 124"/>
                <a:gd name="T7" fmla="*/ 96 h 155"/>
                <a:gd name="T8" fmla="*/ 0 w 124"/>
                <a:gd name="T9" fmla="*/ 155 h 155"/>
              </a:gdLst>
              <a:ahLst/>
              <a:cxnLst>
                <a:cxn ang="0">
                  <a:pos x="T0" y="T1"/>
                </a:cxn>
                <a:cxn ang="0">
                  <a:pos x="T2" y="T3"/>
                </a:cxn>
                <a:cxn ang="0">
                  <a:pos x="T4" y="T5"/>
                </a:cxn>
                <a:cxn ang="0">
                  <a:pos x="T6" y="T7"/>
                </a:cxn>
                <a:cxn ang="0">
                  <a:pos x="T8" y="T9"/>
                </a:cxn>
              </a:cxnLst>
              <a:rect l="0" t="0" r="r" b="b"/>
              <a:pathLst>
                <a:path w="124" h="155">
                  <a:moveTo>
                    <a:pt x="0" y="155"/>
                  </a:moveTo>
                  <a:lnTo>
                    <a:pt x="40" y="59"/>
                  </a:lnTo>
                  <a:lnTo>
                    <a:pt x="124" y="0"/>
                  </a:lnTo>
                  <a:lnTo>
                    <a:pt x="85" y="96"/>
                  </a:lnTo>
                  <a:lnTo>
                    <a:pt x="0" y="155"/>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0" name="Freeform 51">
              <a:extLst>
                <a:ext uri="{FF2B5EF4-FFF2-40B4-BE49-F238E27FC236}">
                  <a16:creationId xmlns:a16="http://schemas.microsoft.com/office/drawing/2014/main" id="{4BA109FE-9B0D-4BBA-A3A8-909685E43CE5}"/>
                </a:ext>
              </a:extLst>
            </p:cNvPr>
            <p:cNvSpPr>
              <a:spLocks/>
            </p:cNvSpPr>
            <p:nvPr/>
          </p:nvSpPr>
          <p:spPr bwMode="auto">
            <a:xfrm>
              <a:off x="1939926" y="3649663"/>
              <a:ext cx="30163" cy="30163"/>
            </a:xfrm>
            <a:custGeom>
              <a:avLst/>
              <a:gdLst>
                <a:gd name="T0" fmla="*/ 6 w 7"/>
                <a:gd name="T1" fmla="*/ 6 h 7"/>
                <a:gd name="T2" fmla="*/ 1 w 7"/>
                <a:gd name="T3" fmla="*/ 6 h 7"/>
                <a:gd name="T4" fmla="*/ 1 w 7"/>
                <a:gd name="T5" fmla="*/ 2 h 7"/>
                <a:gd name="T6" fmla="*/ 5 w 7"/>
                <a:gd name="T7" fmla="*/ 1 h 7"/>
                <a:gd name="T8" fmla="*/ 6 w 7"/>
                <a:gd name="T9" fmla="*/ 6 h 7"/>
              </a:gdLst>
              <a:ahLst/>
              <a:cxnLst>
                <a:cxn ang="0">
                  <a:pos x="T0" y="T1"/>
                </a:cxn>
                <a:cxn ang="0">
                  <a:pos x="T2" y="T3"/>
                </a:cxn>
                <a:cxn ang="0">
                  <a:pos x="T4" y="T5"/>
                </a:cxn>
                <a:cxn ang="0">
                  <a:pos x="T6" y="T7"/>
                </a:cxn>
                <a:cxn ang="0">
                  <a:pos x="T8" y="T9"/>
                </a:cxn>
              </a:cxnLst>
              <a:rect l="0" t="0" r="r" b="b"/>
              <a:pathLst>
                <a:path w="7" h="7">
                  <a:moveTo>
                    <a:pt x="6" y="6"/>
                  </a:moveTo>
                  <a:cubicBezTo>
                    <a:pt x="5" y="7"/>
                    <a:pt x="3" y="7"/>
                    <a:pt x="1" y="6"/>
                  </a:cubicBezTo>
                  <a:cubicBezTo>
                    <a:pt x="0" y="5"/>
                    <a:pt x="0" y="3"/>
                    <a:pt x="1" y="2"/>
                  </a:cubicBezTo>
                  <a:cubicBezTo>
                    <a:pt x="2" y="0"/>
                    <a:pt x="4" y="0"/>
                    <a:pt x="5" y="1"/>
                  </a:cubicBezTo>
                  <a:cubicBezTo>
                    <a:pt x="6" y="2"/>
                    <a:pt x="7" y="4"/>
                    <a:pt x="6" y="6"/>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1" name="Line 52">
              <a:extLst>
                <a:ext uri="{FF2B5EF4-FFF2-40B4-BE49-F238E27FC236}">
                  <a16:creationId xmlns:a16="http://schemas.microsoft.com/office/drawing/2014/main" id="{D9B3EDFD-E6B3-4B4F-8F1A-79AF7D02CD5C}"/>
                </a:ext>
              </a:extLst>
            </p:cNvPr>
            <p:cNvSpPr>
              <a:spLocks noChangeShapeType="1"/>
            </p:cNvSpPr>
            <p:nvPr/>
          </p:nvSpPr>
          <p:spPr bwMode="auto">
            <a:xfrm>
              <a:off x="1952626" y="3506788"/>
              <a:ext cx="0" cy="174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2" name="Line 53">
              <a:extLst>
                <a:ext uri="{FF2B5EF4-FFF2-40B4-BE49-F238E27FC236}">
                  <a16:creationId xmlns:a16="http://schemas.microsoft.com/office/drawing/2014/main" id="{97F205A1-5179-40DA-8E38-6A95F22789BB}"/>
                </a:ext>
              </a:extLst>
            </p:cNvPr>
            <p:cNvSpPr>
              <a:spLocks noChangeShapeType="1"/>
            </p:cNvSpPr>
            <p:nvPr/>
          </p:nvSpPr>
          <p:spPr bwMode="auto">
            <a:xfrm>
              <a:off x="1952626" y="3797300"/>
              <a:ext cx="0" cy="222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3" name="Line 54">
              <a:extLst>
                <a:ext uri="{FF2B5EF4-FFF2-40B4-BE49-F238E27FC236}">
                  <a16:creationId xmlns:a16="http://schemas.microsoft.com/office/drawing/2014/main" id="{AD61DE2F-3133-4433-B372-BDAAC7FE11EB}"/>
                </a:ext>
              </a:extLst>
            </p:cNvPr>
            <p:cNvSpPr>
              <a:spLocks noChangeShapeType="1"/>
            </p:cNvSpPr>
            <p:nvPr/>
          </p:nvSpPr>
          <p:spPr bwMode="auto">
            <a:xfrm flipH="1">
              <a:off x="2087563" y="3667125"/>
              <a:ext cx="1746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4" name="Line 55">
              <a:extLst>
                <a:ext uri="{FF2B5EF4-FFF2-40B4-BE49-F238E27FC236}">
                  <a16:creationId xmlns:a16="http://schemas.microsoft.com/office/drawing/2014/main" id="{15AF4769-3317-49CC-96E9-C0E5210FD542}"/>
                </a:ext>
              </a:extLst>
            </p:cNvPr>
            <p:cNvSpPr>
              <a:spLocks noChangeShapeType="1"/>
            </p:cNvSpPr>
            <p:nvPr/>
          </p:nvSpPr>
          <p:spPr bwMode="auto">
            <a:xfrm flipH="1">
              <a:off x="1797051" y="3667125"/>
              <a:ext cx="1746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5" name="Oval 56">
              <a:extLst>
                <a:ext uri="{FF2B5EF4-FFF2-40B4-BE49-F238E27FC236}">
                  <a16:creationId xmlns:a16="http://schemas.microsoft.com/office/drawing/2014/main" id="{1C16601B-F08A-40BA-81B6-CB79904E0CD4}"/>
                </a:ext>
              </a:extLst>
            </p:cNvPr>
            <p:cNvSpPr>
              <a:spLocks noChangeArrowheads="1"/>
            </p:cNvSpPr>
            <p:nvPr/>
          </p:nvSpPr>
          <p:spPr bwMode="auto">
            <a:xfrm>
              <a:off x="1912938" y="3362325"/>
              <a:ext cx="79375" cy="80963"/>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
          <p:nvSpPr>
            <p:cNvPr id="76" name="Line 57">
              <a:extLst>
                <a:ext uri="{FF2B5EF4-FFF2-40B4-BE49-F238E27FC236}">
                  <a16:creationId xmlns:a16="http://schemas.microsoft.com/office/drawing/2014/main" id="{6BED2DE2-283F-455B-A429-DBD45205024B}"/>
                </a:ext>
              </a:extLst>
            </p:cNvPr>
            <p:cNvSpPr>
              <a:spLocks noChangeShapeType="1"/>
            </p:cNvSpPr>
            <p:nvPr/>
          </p:nvSpPr>
          <p:spPr bwMode="auto">
            <a:xfrm>
              <a:off x="1952626" y="3416300"/>
              <a:ext cx="0" cy="587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a-DK"/>
            </a:p>
          </p:txBody>
        </p:sp>
      </p:grpSp>
      <p:sp>
        <p:nvSpPr>
          <p:cNvPr id="18" name="Isosceles Triangle 17">
            <a:extLst>
              <a:ext uri="{FF2B5EF4-FFF2-40B4-BE49-F238E27FC236}">
                <a16:creationId xmlns:a16="http://schemas.microsoft.com/office/drawing/2014/main" id="{3942AB47-5ABB-4B43-9665-A8EE8346BFAB}"/>
              </a:ext>
            </a:extLst>
          </p:cNvPr>
          <p:cNvSpPr/>
          <p:nvPr/>
        </p:nvSpPr>
        <p:spPr>
          <a:xfrm rot="10800000">
            <a:off x="1229426" y="26856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100" noProof="0" dirty="0">
              <a:solidFill>
                <a:srgbClr val="2F363B"/>
              </a:solidFill>
            </a:endParaRPr>
          </a:p>
        </p:txBody>
      </p:sp>
      <p:sp>
        <p:nvSpPr>
          <p:cNvPr id="79" name="Isosceles Triangle 78">
            <a:extLst>
              <a:ext uri="{FF2B5EF4-FFF2-40B4-BE49-F238E27FC236}">
                <a16:creationId xmlns:a16="http://schemas.microsoft.com/office/drawing/2014/main" id="{16D34996-75E3-4EB3-9BF8-4069CD0EB68F}"/>
              </a:ext>
            </a:extLst>
          </p:cNvPr>
          <p:cNvSpPr/>
          <p:nvPr/>
        </p:nvSpPr>
        <p:spPr>
          <a:xfrm rot="10800000">
            <a:off x="3636901" y="26856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100" noProof="0" dirty="0">
              <a:solidFill>
                <a:srgbClr val="2F363B"/>
              </a:solidFill>
            </a:endParaRPr>
          </a:p>
        </p:txBody>
      </p:sp>
      <p:sp>
        <p:nvSpPr>
          <p:cNvPr id="80" name="Isosceles Triangle 79">
            <a:extLst>
              <a:ext uri="{FF2B5EF4-FFF2-40B4-BE49-F238E27FC236}">
                <a16:creationId xmlns:a16="http://schemas.microsoft.com/office/drawing/2014/main" id="{B2E04B82-2D74-446C-B828-7C9B889FBED9}"/>
              </a:ext>
            </a:extLst>
          </p:cNvPr>
          <p:cNvSpPr/>
          <p:nvPr/>
        </p:nvSpPr>
        <p:spPr>
          <a:xfrm rot="10800000">
            <a:off x="6044375" y="26856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100" noProof="0" dirty="0">
              <a:solidFill>
                <a:srgbClr val="2F363B"/>
              </a:solidFill>
            </a:endParaRPr>
          </a:p>
        </p:txBody>
      </p:sp>
      <p:sp>
        <p:nvSpPr>
          <p:cNvPr id="83" name="Isosceles Triangle 82">
            <a:extLst>
              <a:ext uri="{FF2B5EF4-FFF2-40B4-BE49-F238E27FC236}">
                <a16:creationId xmlns:a16="http://schemas.microsoft.com/office/drawing/2014/main" id="{70B74165-54D2-40D5-9677-C6D14649EBA7}"/>
              </a:ext>
            </a:extLst>
          </p:cNvPr>
          <p:cNvSpPr/>
          <p:nvPr/>
        </p:nvSpPr>
        <p:spPr>
          <a:xfrm rot="10800000">
            <a:off x="8451851" y="26856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US" sz="1100" noProof="0" dirty="0">
              <a:solidFill>
                <a:srgbClr val="2F363B"/>
              </a:solidFill>
            </a:endParaRPr>
          </a:p>
        </p:txBody>
      </p:sp>
      <p:grpSp>
        <p:nvGrpSpPr>
          <p:cNvPr id="25" name="Group 24">
            <a:extLst>
              <a:ext uri="{FF2B5EF4-FFF2-40B4-BE49-F238E27FC236}">
                <a16:creationId xmlns:a16="http://schemas.microsoft.com/office/drawing/2014/main" id="{F77AE297-7D7C-4E36-8C7D-FA503FEB7489}"/>
              </a:ext>
            </a:extLst>
          </p:cNvPr>
          <p:cNvGrpSpPr/>
          <p:nvPr/>
        </p:nvGrpSpPr>
        <p:grpSpPr>
          <a:xfrm>
            <a:off x="2611932" y="3687152"/>
            <a:ext cx="4680848" cy="1331888"/>
            <a:chOff x="2611932" y="3580453"/>
            <a:chExt cx="4680848" cy="1545286"/>
          </a:xfrm>
        </p:grpSpPr>
        <p:cxnSp>
          <p:nvCxnSpPr>
            <p:cNvPr id="85" name="Straight Connector 84">
              <a:extLst>
                <a:ext uri="{FF2B5EF4-FFF2-40B4-BE49-F238E27FC236}">
                  <a16:creationId xmlns:a16="http://schemas.microsoft.com/office/drawing/2014/main" id="{A2E6C98B-9CA6-4A37-8E00-EC64E92688F1}"/>
                </a:ext>
              </a:extLst>
            </p:cNvPr>
            <p:cNvCxnSpPr>
              <a:cxnSpLocks/>
            </p:cNvCxnSpPr>
            <p:nvPr/>
          </p:nvCxnSpPr>
          <p:spPr>
            <a:xfrm>
              <a:off x="2611932" y="3580453"/>
              <a:ext cx="0" cy="154528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1549B05D-E28C-4091-B4DF-089E60245788}"/>
                </a:ext>
              </a:extLst>
            </p:cNvPr>
            <p:cNvCxnSpPr>
              <a:cxnSpLocks/>
            </p:cNvCxnSpPr>
            <p:nvPr/>
          </p:nvCxnSpPr>
          <p:spPr>
            <a:xfrm>
              <a:off x="4952439" y="3580453"/>
              <a:ext cx="0" cy="154528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4A46EFA-CFEA-420A-BA8D-4F41A64238B9}"/>
                </a:ext>
              </a:extLst>
            </p:cNvPr>
            <p:cNvCxnSpPr>
              <a:cxnSpLocks/>
            </p:cNvCxnSpPr>
            <p:nvPr/>
          </p:nvCxnSpPr>
          <p:spPr>
            <a:xfrm>
              <a:off x="7292780" y="3580453"/>
              <a:ext cx="0" cy="154528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pic>
        <p:nvPicPr>
          <p:cNvPr id="77" name="Picture 76" descr="A picture containing indoor, sitting, person, table&#10;&#10;Description generated with very high confidence">
            <a:extLst>
              <a:ext uri="{FF2B5EF4-FFF2-40B4-BE49-F238E27FC236}">
                <a16:creationId xmlns:a16="http://schemas.microsoft.com/office/drawing/2014/main" id="{6651F80D-D9F1-4CCF-A0A7-68B06EB65E59}"/>
              </a:ext>
            </a:extLst>
          </p:cNvPr>
          <p:cNvPicPr>
            <a:picLocks noChangeAspect="1"/>
          </p:cNvPicPr>
          <p:nvPr/>
        </p:nvPicPr>
        <p:blipFill>
          <a:blip r:embed="rId7"/>
          <a:stretch>
            <a:fillRect/>
          </a:stretch>
        </p:blipFill>
        <p:spPr>
          <a:xfrm>
            <a:off x="5265184" y="3667402"/>
            <a:ext cx="1558381" cy="1351638"/>
          </a:xfrm>
          <a:custGeom>
            <a:avLst/>
            <a:gdLst>
              <a:gd name="connsiteX0" fmla="*/ 712855 w 1425710"/>
              <a:gd name="connsiteY0" fmla="*/ 0 h 1425710"/>
              <a:gd name="connsiteX1" fmla="*/ 1425710 w 1425710"/>
              <a:gd name="connsiteY1" fmla="*/ 712855 h 1425710"/>
              <a:gd name="connsiteX2" fmla="*/ 712855 w 1425710"/>
              <a:gd name="connsiteY2" fmla="*/ 1425710 h 1425710"/>
              <a:gd name="connsiteX3" fmla="*/ 0 w 1425710"/>
              <a:gd name="connsiteY3" fmla="*/ 712855 h 1425710"/>
              <a:gd name="connsiteX4" fmla="*/ 712855 w 1425710"/>
              <a:gd name="connsiteY4" fmla="*/ 0 h 14257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25710" h="1425710">
                <a:moveTo>
                  <a:pt x="712855" y="0"/>
                </a:moveTo>
                <a:cubicBezTo>
                  <a:pt x="1106554" y="0"/>
                  <a:pt x="1425710" y="319156"/>
                  <a:pt x="1425710" y="712855"/>
                </a:cubicBezTo>
                <a:cubicBezTo>
                  <a:pt x="1425710" y="1106554"/>
                  <a:pt x="1106554" y="1425710"/>
                  <a:pt x="712855" y="1425710"/>
                </a:cubicBezTo>
                <a:cubicBezTo>
                  <a:pt x="319156" y="1425710"/>
                  <a:pt x="0" y="1106554"/>
                  <a:pt x="0" y="712855"/>
                </a:cubicBezTo>
                <a:cubicBezTo>
                  <a:pt x="0" y="319156"/>
                  <a:pt x="319156" y="0"/>
                  <a:pt x="712855" y="0"/>
                </a:cubicBezTo>
                <a:close/>
              </a:path>
            </a:pathLst>
          </a:custGeom>
        </p:spPr>
      </p:pic>
    </p:spTree>
    <p:custDataLst>
      <p:tags r:id="rId1"/>
    </p:custDataLst>
    <p:extLst>
      <p:ext uri="{BB962C8B-B14F-4D97-AF65-F5344CB8AC3E}">
        <p14:creationId xmlns:p14="http://schemas.microsoft.com/office/powerpoint/2010/main" val="346425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48D56CB-01C0-463D-A9ED-ABF09C3AE93A}"/>
              </a:ext>
            </a:extLst>
          </p:cNvPr>
          <p:cNvSpPr/>
          <p:nvPr/>
        </p:nvSpPr>
        <p:spPr>
          <a:xfrm>
            <a:off x="0" y="810228"/>
            <a:ext cx="9906000" cy="6047772"/>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2" name="Title 1"/>
          <p:cNvSpPr>
            <a:spLocks noGrp="1"/>
          </p:cNvSpPr>
          <p:nvPr>
            <p:ph type="title"/>
          </p:nvPr>
        </p:nvSpPr>
        <p:spPr>
          <a:xfrm>
            <a:off x="269876" y="269876"/>
            <a:ext cx="8559232" cy="692336"/>
          </a:xfrm>
        </p:spPr>
        <p:txBody>
          <a:bodyPr/>
          <a:lstStyle/>
          <a:p>
            <a:r>
              <a:rPr lang="en-GB" dirty="0"/>
              <a:t>Conversation strategies that evoke motivation and engagement</a:t>
            </a:r>
          </a:p>
        </p:txBody>
      </p:sp>
      <p:grpSp>
        <p:nvGrpSpPr>
          <p:cNvPr id="23" name="Group 22">
            <a:extLst>
              <a:ext uri="{FF2B5EF4-FFF2-40B4-BE49-F238E27FC236}">
                <a16:creationId xmlns:a16="http://schemas.microsoft.com/office/drawing/2014/main" id="{D79AF045-EA84-4A16-8FB9-795FD11E21D5}"/>
              </a:ext>
            </a:extLst>
          </p:cNvPr>
          <p:cNvGrpSpPr/>
          <p:nvPr/>
        </p:nvGrpSpPr>
        <p:grpSpPr>
          <a:xfrm>
            <a:off x="1260199" y="1707124"/>
            <a:ext cx="5596240" cy="4520639"/>
            <a:chOff x="1142999" y="1907269"/>
            <a:chExt cx="5264968" cy="4253038"/>
          </a:xfrm>
        </p:grpSpPr>
        <p:pic>
          <p:nvPicPr>
            <p:cNvPr id="16" name="Picture 2" descr="http://i1.wp.com/msinthebiz.com/wp-content/uploads/2015/07/Dollarphotoclub_86038565.jpg?resize=5394%2C3596">
              <a:hlinkClick r:id="rId3"/>
              <a:extLst>
                <a:ext uri="{FF2B5EF4-FFF2-40B4-BE49-F238E27FC236}">
                  <a16:creationId xmlns:a16="http://schemas.microsoft.com/office/drawing/2014/main" id="{86DDE229-A79A-43C6-87F5-533B1F23400D}"/>
                </a:ext>
              </a:extLst>
            </p:cNvPr>
            <p:cNvPicPr>
              <a:picLocks noChangeAspect="1" noChangeArrowheads="1"/>
            </p:cNvPicPr>
            <p:nvPr/>
          </p:nvPicPr>
          <p:blipFill rotWithShape="1">
            <a:blip r:embed="rId4">
              <a:grayscl/>
              <a:extLst>
                <a:ext uri="{BEBA8EAE-BF5A-486C-A8C5-ECC9F3942E4B}">
                  <a14:imgProps xmlns:a14="http://schemas.microsoft.com/office/drawing/2010/main">
                    <a14:imgLayer r:embed="rId5">
                      <a14:imgEffect>
                        <a14:brightnessContrast bright="10000"/>
                      </a14:imgEffect>
                    </a14:imgLayer>
                  </a14:imgProps>
                </a:ext>
                <a:ext uri="{28A0092B-C50C-407E-A947-70E740481C1C}">
                  <a14:useLocalDpi xmlns:a14="http://schemas.microsoft.com/office/drawing/2010/main" val="0"/>
                </a:ext>
              </a:extLst>
            </a:blip>
            <a:srcRect l="17154"/>
            <a:stretch/>
          </p:blipFill>
          <p:spPr bwMode="auto">
            <a:xfrm flipH="1">
              <a:off x="1142999" y="1908535"/>
              <a:ext cx="5264968" cy="4251772"/>
            </a:xfrm>
            <a:prstGeom prst="rect">
              <a:avLst/>
            </a:prstGeom>
            <a:noFill/>
            <a:ln w="57150">
              <a:noFill/>
              <a:miter lim="800000"/>
              <a:headEnd/>
              <a:tailEnd/>
            </a:ln>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C3F11231-60FA-4471-A292-77EE3245F692}"/>
                </a:ext>
              </a:extLst>
            </p:cNvPr>
            <p:cNvSpPr/>
            <p:nvPr/>
          </p:nvSpPr>
          <p:spPr>
            <a:xfrm>
              <a:off x="1142999" y="1907269"/>
              <a:ext cx="685801" cy="4251772"/>
            </a:xfrm>
            <a:prstGeom prst="rect">
              <a:avLst/>
            </a:prstGeom>
            <a:solidFill>
              <a:srgbClr val="D0DAD6">
                <a:alpha val="74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19" name="Rectangle 18">
              <a:extLst>
                <a:ext uri="{FF2B5EF4-FFF2-40B4-BE49-F238E27FC236}">
                  <a16:creationId xmlns:a16="http://schemas.microsoft.com/office/drawing/2014/main" id="{0F4588C9-B912-406F-8869-8B06E9AE9C1A}"/>
                </a:ext>
              </a:extLst>
            </p:cNvPr>
            <p:cNvSpPr/>
            <p:nvPr/>
          </p:nvSpPr>
          <p:spPr>
            <a:xfrm rot="5400000">
              <a:off x="3843342" y="3595682"/>
              <a:ext cx="550082" cy="4579167"/>
            </a:xfrm>
            <a:prstGeom prst="rect">
              <a:avLst/>
            </a:prstGeom>
            <a:solidFill>
              <a:srgbClr val="D0DAD6">
                <a:alpha val="74000"/>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17" name="Group 16">
              <a:extLst>
                <a:ext uri="{FF2B5EF4-FFF2-40B4-BE49-F238E27FC236}">
                  <a16:creationId xmlns:a16="http://schemas.microsoft.com/office/drawing/2014/main" id="{3BF16D37-A5A1-4061-83A5-320C67DECC2E}"/>
                </a:ext>
              </a:extLst>
            </p:cNvPr>
            <p:cNvGrpSpPr/>
            <p:nvPr/>
          </p:nvGrpSpPr>
          <p:grpSpPr>
            <a:xfrm>
              <a:off x="1501984" y="2189483"/>
              <a:ext cx="4557951" cy="3688614"/>
              <a:chOff x="1501984" y="1866900"/>
              <a:chExt cx="4956560" cy="4011197"/>
            </a:xfrm>
          </p:grpSpPr>
          <p:sp>
            <p:nvSpPr>
              <p:cNvPr id="5" name="Freeform 41"/>
              <p:cNvSpPr>
                <a:spLocks/>
              </p:cNvSpPr>
              <p:nvPr/>
            </p:nvSpPr>
            <p:spPr bwMode="auto">
              <a:xfrm>
                <a:off x="1501985" y="1866900"/>
                <a:ext cx="4956559" cy="4011193"/>
              </a:xfrm>
              <a:custGeom>
                <a:avLst/>
                <a:gdLst>
                  <a:gd name="T0" fmla="*/ 0 w 4576"/>
                  <a:gd name="T1" fmla="*/ 0 h 2664"/>
                  <a:gd name="T2" fmla="*/ 0 w 4576"/>
                  <a:gd name="T3" fmla="*/ 2147483647 h 2664"/>
                  <a:gd name="T4" fmla="*/ 2147483647 w 4576"/>
                  <a:gd name="T5" fmla="*/ 2147483647 h 2664"/>
                  <a:gd name="T6" fmla="*/ 0 60000 65536"/>
                  <a:gd name="T7" fmla="*/ 0 60000 65536"/>
                  <a:gd name="T8" fmla="*/ 0 60000 65536"/>
                  <a:gd name="T9" fmla="*/ 0 w 4576"/>
                  <a:gd name="T10" fmla="*/ 0 h 2664"/>
                  <a:gd name="T11" fmla="*/ 4576 w 4576"/>
                  <a:gd name="T12" fmla="*/ 2664 h 2664"/>
                </a:gdLst>
                <a:ahLst/>
                <a:cxnLst>
                  <a:cxn ang="T6">
                    <a:pos x="T0" y="T1"/>
                  </a:cxn>
                  <a:cxn ang="T7">
                    <a:pos x="T2" y="T3"/>
                  </a:cxn>
                  <a:cxn ang="T8">
                    <a:pos x="T4" y="T5"/>
                  </a:cxn>
                </a:cxnLst>
                <a:rect l="T9" t="T10" r="T11" b="T12"/>
                <a:pathLst>
                  <a:path w="4576" h="2664">
                    <a:moveTo>
                      <a:pt x="0" y="0"/>
                    </a:moveTo>
                    <a:lnTo>
                      <a:pt x="0" y="2664"/>
                    </a:lnTo>
                    <a:lnTo>
                      <a:pt x="4576" y="2664"/>
                    </a:lnTo>
                  </a:path>
                </a:pathLst>
              </a:custGeom>
              <a:noFill/>
              <a:ln w="38100" cap="flat" cmpd="sng">
                <a:solidFill>
                  <a:srgbClr val="30373B"/>
                </a:solidFill>
                <a:prstDash val="solid"/>
                <a:round/>
                <a:headEnd type="triangle" w="med" len="med"/>
                <a:tailEnd type="triangle" w="med" len="med"/>
              </a:ln>
              <a:effectLst/>
            </p:spPr>
            <p:txBody>
              <a:bodyPr wrap="none" lIns="0" tIns="0" rIns="0" bIns="0">
                <a:noAutofit/>
              </a:bodyPr>
              <a:lstStyle/>
              <a:p>
                <a:pPr>
                  <a:spcBef>
                    <a:spcPts val="600"/>
                  </a:spcBef>
                </a:pPr>
                <a:endParaRPr lang="en-GB" sz="1400" dirty="0">
                  <a:latin typeface="Arial" pitchFamily="34" charset="0"/>
                  <a:cs typeface="Arial" pitchFamily="34" charset="0"/>
                </a:endParaRPr>
              </a:p>
            </p:txBody>
          </p:sp>
          <p:cxnSp>
            <p:nvCxnSpPr>
              <p:cNvPr id="7" name="Straight Connector 6"/>
              <p:cNvCxnSpPr>
                <a:cxnSpLocks/>
              </p:cNvCxnSpPr>
              <p:nvPr/>
            </p:nvCxnSpPr>
            <p:spPr>
              <a:xfrm flipV="1">
                <a:off x="1501984" y="2107777"/>
                <a:ext cx="4689263" cy="3770320"/>
              </a:xfrm>
              <a:prstGeom prst="line">
                <a:avLst/>
              </a:prstGeom>
              <a:noFill/>
              <a:ln w="38100" cap="flat" cmpd="sng">
                <a:solidFill>
                  <a:srgbClr val="30373B"/>
                </a:solidFill>
                <a:prstDash val="solid"/>
                <a:round/>
                <a:headEnd type="none" w="med" len="med"/>
                <a:tailEnd type="triangle" w="med" len="med"/>
              </a:ln>
              <a:effectLst/>
            </p:spPr>
          </p:cxnSp>
        </p:grpSp>
      </p:grpSp>
      <p:sp>
        <p:nvSpPr>
          <p:cNvPr id="10" name="Content Placeholder 7"/>
          <p:cNvSpPr txBox="1">
            <a:spLocks/>
          </p:cNvSpPr>
          <p:nvPr/>
        </p:nvSpPr>
        <p:spPr>
          <a:xfrm>
            <a:off x="1056999" y="1123256"/>
            <a:ext cx="1469588" cy="583200"/>
          </a:xfrm>
          <a:prstGeom prst="rect">
            <a:avLst/>
          </a:prstGeom>
          <a:noFill/>
        </p:spPr>
        <p:txBody>
          <a:bodyPr vert="horz" wrap="none" lIns="180000" tIns="144000" rIns="180000" bIns="144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00" indent="-180000">
              <a:defRPr/>
            </a:pPr>
            <a:r>
              <a:rPr lang="en-GB" sz="1400" b="1" dirty="0">
                <a:solidFill>
                  <a:srgbClr val="1F2023"/>
                </a:solidFill>
              </a:rPr>
              <a:t>Importance</a:t>
            </a:r>
          </a:p>
        </p:txBody>
      </p:sp>
      <p:sp>
        <p:nvSpPr>
          <p:cNvPr id="11" name="Content Placeholder 7"/>
          <p:cNvSpPr txBox="1">
            <a:spLocks/>
          </p:cNvSpPr>
          <p:nvPr/>
        </p:nvSpPr>
        <p:spPr>
          <a:xfrm>
            <a:off x="6486508" y="5723851"/>
            <a:ext cx="1694371" cy="584694"/>
          </a:xfrm>
          <a:prstGeom prst="rect">
            <a:avLst/>
          </a:prstGeom>
          <a:noFill/>
        </p:spPr>
        <p:txBody>
          <a:bodyPr vert="horz" wrap="none" lIns="180000" tIns="144000" rIns="180000" bIns="144000" rtlCol="0" anchor="ctr">
            <a:noAutofit/>
          </a:bodyPr>
          <a:lstStyle>
            <a:defPPr>
              <a:defRPr lang="da-DK"/>
            </a:defPPr>
            <a:lvl1pPr marL="36000" indent="-180000" algn="ctr">
              <a:spcBef>
                <a:spcPts val="600"/>
              </a:spcBef>
              <a:buFont typeface="Arial" pitchFamily="34" charset="0"/>
              <a:buNone/>
              <a:defRPr sz="1400" b="1">
                <a:solidFill>
                  <a:srgbClr val="1F2023"/>
                </a:solidFill>
                <a:latin typeface="Arial" pitchFamily="34" charset="0"/>
                <a:cs typeface="Arial" pitchFamily="34" charset="0"/>
              </a:defRPr>
            </a:lvl1pPr>
            <a:lvl2pPr marL="144000" indent="-144000">
              <a:spcBef>
                <a:spcPts val="600"/>
              </a:spcBef>
              <a:buClr>
                <a:schemeClr val="tx1"/>
              </a:buClr>
              <a:buFont typeface="Arial" pitchFamily="34" charset="0"/>
              <a:buChar char="•"/>
              <a:defRPr baseline="0">
                <a:latin typeface="Arial" pitchFamily="34" charset="0"/>
                <a:cs typeface="Arial" pitchFamily="34" charset="0"/>
              </a:defRPr>
            </a:lvl2pPr>
            <a:lvl3pPr marL="288000" indent="-144000">
              <a:spcBef>
                <a:spcPts val="600"/>
              </a:spcBef>
              <a:buClr>
                <a:schemeClr val="tx1"/>
              </a:buClr>
              <a:buFont typeface="Arial" pitchFamily="34" charset="0"/>
              <a:buChar char="–"/>
              <a:defRPr>
                <a:latin typeface="Arial" pitchFamily="34" charset="0"/>
                <a:cs typeface="Arial" pitchFamily="34" charset="0"/>
              </a:defRPr>
            </a:lvl3pPr>
            <a:lvl4pPr marL="432000" indent="-144000">
              <a:spcBef>
                <a:spcPts val="600"/>
              </a:spcBef>
              <a:buClr>
                <a:schemeClr val="tx1"/>
              </a:buClr>
              <a:buFont typeface="Arial" pitchFamily="34" charset="0"/>
              <a:buChar char="»"/>
              <a:tabLst/>
              <a:defRPr>
                <a:latin typeface="Arial" pitchFamily="34" charset="0"/>
                <a:cs typeface="Arial" pitchFamily="34" charset="0"/>
              </a:defRPr>
            </a:lvl4pPr>
            <a:lvl5pPr marL="576000" indent="-180000">
              <a:spcBef>
                <a:spcPts val="600"/>
              </a:spcBef>
              <a:buClr>
                <a:schemeClr val="tx1"/>
              </a:buClr>
              <a:buFont typeface="Arial" pitchFamily="34" charset="0"/>
              <a:buChar char="·"/>
              <a:defRPr>
                <a:latin typeface="Arial" pitchFamily="34" charset="0"/>
                <a:cs typeface="Arial" pitchFamily="34" charset="0"/>
              </a:defRPr>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r>
              <a:rPr lang="en-GB" dirty="0"/>
              <a:t>Confidence</a:t>
            </a:r>
          </a:p>
        </p:txBody>
      </p:sp>
      <p:sp>
        <p:nvSpPr>
          <p:cNvPr id="13" name="Content Placeholder 7"/>
          <p:cNvSpPr txBox="1">
            <a:spLocks/>
          </p:cNvSpPr>
          <p:nvPr/>
        </p:nvSpPr>
        <p:spPr>
          <a:xfrm>
            <a:off x="5810503" y="1547755"/>
            <a:ext cx="1764944" cy="583200"/>
          </a:xfrm>
          <a:prstGeom prst="rect">
            <a:avLst/>
          </a:prstGeom>
          <a:solidFill>
            <a:srgbClr val="E2DED9"/>
          </a:solidFill>
        </p:spPr>
        <p:txBody>
          <a:bodyPr vert="horz" wrap="square" lIns="0" tIns="0" rIns="0" bIns="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GB" sz="1400" b="1" dirty="0">
                <a:solidFill>
                  <a:srgbClr val="1F2023"/>
                </a:solidFill>
              </a:rPr>
              <a:t>Motivation/</a:t>
            </a:r>
            <a:br>
              <a:rPr lang="en-GB" sz="1400" b="1" dirty="0">
                <a:solidFill>
                  <a:srgbClr val="1F2023"/>
                </a:solidFill>
              </a:rPr>
            </a:br>
            <a:r>
              <a:rPr lang="en-GB" sz="1400" b="1" dirty="0">
                <a:solidFill>
                  <a:srgbClr val="1F2023"/>
                </a:solidFill>
              </a:rPr>
              <a:t>Engagement</a:t>
            </a:r>
          </a:p>
        </p:txBody>
      </p:sp>
      <p:sp>
        <p:nvSpPr>
          <p:cNvPr id="4" name="TextBox 3">
            <a:extLst>
              <a:ext uri="{FF2B5EF4-FFF2-40B4-BE49-F238E27FC236}">
                <a16:creationId xmlns:a16="http://schemas.microsoft.com/office/drawing/2014/main" id="{35E891F0-3D2D-49C5-8CA7-0E6CB3D8C56D}"/>
              </a:ext>
            </a:extLst>
          </p:cNvPr>
          <p:cNvSpPr txBox="1"/>
          <p:nvPr/>
        </p:nvSpPr>
        <p:spPr>
          <a:xfrm>
            <a:off x="487527" y="6588124"/>
            <a:ext cx="3570792" cy="169277"/>
          </a:xfrm>
          <a:prstGeom prst="rect">
            <a:avLst/>
          </a:prstGeom>
          <a:noFill/>
          <a:ln w="6350">
            <a:noFill/>
            <a:prstDash val="sysDash"/>
          </a:ln>
        </p:spPr>
        <p:txBody>
          <a:bodyPr wrap="square" lIns="0" tIns="0" rIns="0" bIns="0" rtlCol="0">
            <a:spAutoFit/>
          </a:bodyPr>
          <a:lstStyle/>
          <a:p>
            <a:pPr algn="l"/>
            <a:r>
              <a:rPr lang="en-GB" sz="1100" dirty="0"/>
              <a:t>Source: Motivational Interviewing,  Mille and Rollnick</a:t>
            </a:r>
          </a:p>
        </p:txBody>
      </p:sp>
    </p:spTree>
    <p:extLst>
      <p:ext uri="{BB962C8B-B14F-4D97-AF65-F5344CB8AC3E}">
        <p14:creationId xmlns:p14="http://schemas.microsoft.com/office/powerpoint/2010/main" val="22393424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P spid="11" grpId="0"/>
      <p:bldP spid="1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308479" y="839248"/>
            <a:ext cx="5793730" cy="5314637"/>
          </a:xfrm>
          <a:prstGeom prst="rect">
            <a:avLst/>
          </a:prstGeom>
          <a:solidFill>
            <a:srgbClr val="0B3B5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pic>
        <p:nvPicPr>
          <p:cNvPr id="8" name="Picture 2" descr="Image result for engine classic cars">
            <a:hlinkClick r:id="rId4"/>
            <a:extLst>
              <a:ext uri="{FF2B5EF4-FFF2-40B4-BE49-F238E27FC236}">
                <a16:creationId xmlns:a16="http://schemas.microsoft.com/office/drawing/2014/main" id="{6E5D6BE3-963B-4016-B5D4-09673E84C486}"/>
              </a:ext>
            </a:extLst>
          </p:cNvPr>
          <p:cNvPicPr>
            <a:picLocks noGrp="1" noChangeAspect="1" noChangeArrowheads="1"/>
          </p:cNvPicPr>
          <p:nvPr>
            <p:ph type="pic" sz="quarter" idx="4294967295"/>
            <p:custDataLst>
              <p:tags r:id="rId1"/>
            </p:custDataLst>
          </p:nvPr>
        </p:nvPicPr>
        <p:blipFill rotWithShape="1">
          <a:blip r:embed="rId5">
            <a:extLst>
              <a:ext uri="{28A0092B-C50C-407E-A947-70E740481C1C}">
                <a14:useLocalDpi xmlns:a14="http://schemas.microsoft.com/office/drawing/2010/main" val="0"/>
              </a:ext>
            </a:extLst>
          </a:blip>
          <a:srcRect l="7595" r="4144"/>
          <a:stretch/>
        </p:blipFill>
        <p:spPr bwMode="auto">
          <a:xfrm>
            <a:off x="4634784" y="1083205"/>
            <a:ext cx="5271216" cy="4479247"/>
          </a:xfrm>
          <a:prstGeom prst="rect">
            <a:avLst/>
          </a:prstGeom>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D7E51AC3-8DEA-4D1B-B1AA-0C4AAC4B3400}"/>
              </a:ext>
            </a:extLst>
          </p:cNvPr>
          <p:cNvSpPr/>
          <p:nvPr/>
        </p:nvSpPr>
        <p:spPr>
          <a:xfrm>
            <a:off x="269875" y="2050556"/>
            <a:ext cx="4919345" cy="4092828"/>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17" name="Text Placeholder 16">
            <a:extLst>
              <a:ext uri="{FF2B5EF4-FFF2-40B4-BE49-F238E27FC236}">
                <a16:creationId xmlns:a16="http://schemas.microsoft.com/office/drawing/2014/main" id="{BCE59DEE-E455-4DA7-A0E2-E0C03FE8C9F0}"/>
              </a:ext>
            </a:extLst>
          </p:cNvPr>
          <p:cNvSpPr>
            <a:spLocks noGrp="1"/>
          </p:cNvSpPr>
          <p:nvPr>
            <p:ph type="body" sz="quarter" idx="13"/>
          </p:nvPr>
        </p:nvSpPr>
        <p:spPr>
          <a:xfrm>
            <a:off x="269874" y="6502395"/>
            <a:ext cx="6744111" cy="106116"/>
          </a:xfrm>
        </p:spPr>
        <p:txBody>
          <a:bodyPr/>
          <a:lstStyle/>
          <a:p>
            <a:endParaRPr lang="en-GB" dirty="0"/>
          </a:p>
        </p:txBody>
      </p:sp>
      <p:sp>
        <p:nvSpPr>
          <p:cNvPr id="18" name="Text Placeholder 17">
            <a:extLst>
              <a:ext uri="{FF2B5EF4-FFF2-40B4-BE49-F238E27FC236}">
                <a16:creationId xmlns:a16="http://schemas.microsoft.com/office/drawing/2014/main" id="{9CA79DBD-AF6E-4049-90A9-6EA7128AD70A}"/>
              </a:ext>
            </a:extLst>
          </p:cNvPr>
          <p:cNvSpPr>
            <a:spLocks noGrp="1"/>
          </p:cNvSpPr>
          <p:nvPr>
            <p:ph type="body" sz="quarter" idx="14"/>
          </p:nvPr>
        </p:nvSpPr>
        <p:spPr/>
        <p:txBody>
          <a:bodyPr/>
          <a:lstStyle/>
          <a:p>
            <a:endParaRPr lang="en-GB" dirty="0"/>
          </a:p>
        </p:txBody>
      </p:sp>
      <p:sp>
        <p:nvSpPr>
          <p:cNvPr id="11" name="Rectangle 10">
            <a:extLst>
              <a:ext uri="{FF2B5EF4-FFF2-40B4-BE49-F238E27FC236}">
                <a16:creationId xmlns:a16="http://schemas.microsoft.com/office/drawing/2014/main" id="{77996DD7-18CC-4056-A8F4-7E65247D1193}"/>
              </a:ext>
            </a:extLst>
          </p:cNvPr>
          <p:cNvSpPr/>
          <p:nvPr/>
        </p:nvSpPr>
        <p:spPr>
          <a:xfrm>
            <a:off x="654501" y="2419349"/>
            <a:ext cx="2526594" cy="1077218"/>
          </a:xfrm>
          <a:prstGeom prst="rect">
            <a:avLst/>
          </a:prstGeom>
        </p:spPr>
        <p:txBody>
          <a:bodyPr wrap="square">
            <a:spAutoFit/>
          </a:bodyPr>
          <a:lstStyle/>
          <a:p>
            <a:r>
              <a:rPr lang="en-GB" sz="3200" b="1" dirty="0">
                <a:solidFill>
                  <a:srgbClr val="1F2023"/>
                </a:solidFill>
                <a:latin typeface="Impact" panose="020B0806030902050204" pitchFamily="34" charset="0"/>
              </a:rPr>
              <a:t>CHANGE TALK </a:t>
            </a:r>
            <a:br>
              <a:rPr lang="en-GB" sz="3200" b="1" dirty="0">
                <a:solidFill>
                  <a:srgbClr val="1F2023"/>
                </a:solidFill>
                <a:latin typeface="Impact" panose="020B0806030902050204" pitchFamily="34" charset="0"/>
              </a:rPr>
            </a:br>
            <a:r>
              <a:rPr lang="en-GB" sz="3200" b="1" dirty="0">
                <a:solidFill>
                  <a:srgbClr val="1F2023"/>
                </a:solidFill>
                <a:latin typeface="Impact" panose="020B0806030902050204" pitchFamily="34" charset="0"/>
              </a:rPr>
              <a:t>IS THE ENGINE </a:t>
            </a:r>
          </a:p>
        </p:txBody>
      </p:sp>
      <p:grpSp>
        <p:nvGrpSpPr>
          <p:cNvPr id="24" name="Group 23">
            <a:extLst>
              <a:ext uri="{FF2B5EF4-FFF2-40B4-BE49-F238E27FC236}">
                <a16:creationId xmlns:a16="http://schemas.microsoft.com/office/drawing/2014/main" id="{892B6384-926C-43AD-AF40-371559DC0573}"/>
              </a:ext>
            </a:extLst>
          </p:cNvPr>
          <p:cNvGrpSpPr/>
          <p:nvPr/>
        </p:nvGrpSpPr>
        <p:grpSpPr>
          <a:xfrm>
            <a:off x="717891" y="4351550"/>
            <a:ext cx="222007" cy="224205"/>
            <a:chOff x="10641013" y="1771650"/>
            <a:chExt cx="481012" cy="485775"/>
          </a:xfrm>
        </p:grpSpPr>
        <p:sp>
          <p:nvSpPr>
            <p:cNvPr id="25" name="Freeform 53">
              <a:extLst>
                <a:ext uri="{FF2B5EF4-FFF2-40B4-BE49-F238E27FC236}">
                  <a16:creationId xmlns:a16="http://schemas.microsoft.com/office/drawing/2014/main" id="{807B318F-C667-4590-B206-A1EBD353B9BC}"/>
                </a:ext>
              </a:extLst>
            </p:cNvPr>
            <p:cNvSpPr>
              <a:spLocks/>
            </p:cNvSpPr>
            <p:nvPr/>
          </p:nvSpPr>
          <p:spPr bwMode="auto">
            <a:xfrm>
              <a:off x="10847388" y="1771650"/>
              <a:ext cx="73025" cy="76200"/>
            </a:xfrm>
            <a:custGeom>
              <a:avLst/>
              <a:gdLst>
                <a:gd name="T0" fmla="*/ 16 w 16"/>
                <a:gd name="T1" fmla="*/ 9 h 17"/>
                <a:gd name="T2" fmla="*/ 8 w 16"/>
                <a:gd name="T3" fmla="*/ 17 h 17"/>
                <a:gd name="T4" fmla="*/ 0 w 16"/>
                <a:gd name="T5" fmla="*/ 8 h 17"/>
                <a:gd name="T6" fmla="*/ 8 w 16"/>
                <a:gd name="T7" fmla="*/ 1 h 17"/>
                <a:gd name="T8" fmla="*/ 16 w 16"/>
                <a:gd name="T9" fmla="*/ 9 h 17"/>
              </a:gdLst>
              <a:ahLst/>
              <a:cxnLst>
                <a:cxn ang="0">
                  <a:pos x="T0" y="T1"/>
                </a:cxn>
                <a:cxn ang="0">
                  <a:pos x="T2" y="T3"/>
                </a:cxn>
                <a:cxn ang="0">
                  <a:pos x="T4" y="T5"/>
                </a:cxn>
                <a:cxn ang="0">
                  <a:pos x="T6" y="T7"/>
                </a:cxn>
                <a:cxn ang="0">
                  <a:pos x="T8" y="T9"/>
                </a:cxn>
              </a:cxnLst>
              <a:rect l="0" t="0" r="r" b="b"/>
              <a:pathLst>
                <a:path w="16" h="17">
                  <a:moveTo>
                    <a:pt x="16" y="9"/>
                  </a:moveTo>
                  <a:cubicBezTo>
                    <a:pt x="16" y="14"/>
                    <a:pt x="12" y="17"/>
                    <a:pt x="8" y="17"/>
                  </a:cubicBezTo>
                  <a:cubicBezTo>
                    <a:pt x="3" y="17"/>
                    <a:pt x="0" y="13"/>
                    <a:pt x="0" y="8"/>
                  </a:cubicBezTo>
                  <a:cubicBezTo>
                    <a:pt x="0" y="4"/>
                    <a:pt x="4" y="0"/>
                    <a:pt x="8" y="1"/>
                  </a:cubicBezTo>
                  <a:cubicBezTo>
                    <a:pt x="13" y="1"/>
                    <a:pt x="16" y="5"/>
                    <a:pt x="16" y="9"/>
                  </a:cubicBez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54">
              <a:extLst>
                <a:ext uri="{FF2B5EF4-FFF2-40B4-BE49-F238E27FC236}">
                  <a16:creationId xmlns:a16="http://schemas.microsoft.com/office/drawing/2014/main" id="{C86493F2-0D66-44A0-97B9-10DF00CD7FE6}"/>
                </a:ext>
              </a:extLst>
            </p:cNvPr>
            <p:cNvSpPr>
              <a:spLocks/>
            </p:cNvSpPr>
            <p:nvPr/>
          </p:nvSpPr>
          <p:spPr bwMode="auto">
            <a:xfrm>
              <a:off x="10641013" y="1941513"/>
              <a:ext cx="71438" cy="73025"/>
            </a:xfrm>
            <a:custGeom>
              <a:avLst/>
              <a:gdLst>
                <a:gd name="T0" fmla="*/ 16 w 16"/>
                <a:gd name="T1" fmla="*/ 8 h 16"/>
                <a:gd name="T2" fmla="*/ 8 w 16"/>
                <a:gd name="T3" fmla="*/ 16 h 16"/>
                <a:gd name="T4" fmla="*/ 0 w 16"/>
                <a:gd name="T5" fmla="*/ 8 h 16"/>
                <a:gd name="T6" fmla="*/ 8 w 16"/>
                <a:gd name="T7" fmla="*/ 0 h 16"/>
                <a:gd name="T8" fmla="*/ 16 w 16"/>
                <a:gd name="T9" fmla="*/ 8 h 16"/>
              </a:gdLst>
              <a:ahLst/>
              <a:cxnLst>
                <a:cxn ang="0">
                  <a:pos x="T0" y="T1"/>
                </a:cxn>
                <a:cxn ang="0">
                  <a:pos x="T2" y="T3"/>
                </a:cxn>
                <a:cxn ang="0">
                  <a:pos x="T4" y="T5"/>
                </a:cxn>
                <a:cxn ang="0">
                  <a:pos x="T6" y="T7"/>
                </a:cxn>
                <a:cxn ang="0">
                  <a:pos x="T8" y="T9"/>
                </a:cxn>
              </a:cxnLst>
              <a:rect l="0" t="0" r="r" b="b"/>
              <a:pathLst>
                <a:path w="16" h="16">
                  <a:moveTo>
                    <a:pt x="16" y="8"/>
                  </a:moveTo>
                  <a:cubicBezTo>
                    <a:pt x="16" y="13"/>
                    <a:pt x="12" y="16"/>
                    <a:pt x="8" y="16"/>
                  </a:cubicBezTo>
                  <a:cubicBezTo>
                    <a:pt x="3" y="16"/>
                    <a:pt x="0" y="12"/>
                    <a:pt x="0" y="8"/>
                  </a:cubicBezTo>
                  <a:cubicBezTo>
                    <a:pt x="0" y="3"/>
                    <a:pt x="4" y="0"/>
                    <a:pt x="8" y="0"/>
                  </a:cubicBezTo>
                  <a:cubicBezTo>
                    <a:pt x="13" y="0"/>
                    <a:pt x="16" y="4"/>
                    <a:pt x="16" y="8"/>
                  </a:cubicBez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55">
              <a:extLst>
                <a:ext uri="{FF2B5EF4-FFF2-40B4-BE49-F238E27FC236}">
                  <a16:creationId xmlns:a16="http://schemas.microsoft.com/office/drawing/2014/main" id="{78988421-526A-44F8-848D-255894BC5ADC}"/>
                </a:ext>
              </a:extLst>
            </p:cNvPr>
            <p:cNvSpPr>
              <a:spLocks/>
            </p:cNvSpPr>
            <p:nvPr/>
          </p:nvSpPr>
          <p:spPr bwMode="auto">
            <a:xfrm>
              <a:off x="10712450" y="2181225"/>
              <a:ext cx="73025" cy="76200"/>
            </a:xfrm>
            <a:custGeom>
              <a:avLst/>
              <a:gdLst>
                <a:gd name="T0" fmla="*/ 16 w 16"/>
                <a:gd name="T1" fmla="*/ 9 h 17"/>
                <a:gd name="T2" fmla="*/ 8 w 16"/>
                <a:gd name="T3" fmla="*/ 17 h 17"/>
                <a:gd name="T4" fmla="*/ 0 w 16"/>
                <a:gd name="T5" fmla="*/ 8 h 17"/>
                <a:gd name="T6" fmla="*/ 8 w 16"/>
                <a:gd name="T7" fmla="*/ 1 h 17"/>
                <a:gd name="T8" fmla="*/ 16 w 16"/>
                <a:gd name="T9" fmla="*/ 9 h 17"/>
              </a:gdLst>
              <a:ahLst/>
              <a:cxnLst>
                <a:cxn ang="0">
                  <a:pos x="T0" y="T1"/>
                </a:cxn>
                <a:cxn ang="0">
                  <a:pos x="T2" y="T3"/>
                </a:cxn>
                <a:cxn ang="0">
                  <a:pos x="T4" y="T5"/>
                </a:cxn>
                <a:cxn ang="0">
                  <a:pos x="T6" y="T7"/>
                </a:cxn>
                <a:cxn ang="0">
                  <a:pos x="T8" y="T9"/>
                </a:cxn>
              </a:cxnLst>
              <a:rect l="0" t="0" r="r" b="b"/>
              <a:pathLst>
                <a:path w="16" h="17">
                  <a:moveTo>
                    <a:pt x="16" y="9"/>
                  </a:moveTo>
                  <a:cubicBezTo>
                    <a:pt x="16" y="14"/>
                    <a:pt x="12" y="17"/>
                    <a:pt x="8" y="17"/>
                  </a:cubicBezTo>
                  <a:cubicBezTo>
                    <a:pt x="3" y="17"/>
                    <a:pt x="0" y="13"/>
                    <a:pt x="0" y="8"/>
                  </a:cubicBezTo>
                  <a:cubicBezTo>
                    <a:pt x="0" y="4"/>
                    <a:pt x="4" y="0"/>
                    <a:pt x="8" y="1"/>
                  </a:cubicBezTo>
                  <a:cubicBezTo>
                    <a:pt x="13" y="1"/>
                    <a:pt x="16" y="5"/>
                    <a:pt x="16" y="9"/>
                  </a:cubicBez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56">
              <a:extLst>
                <a:ext uri="{FF2B5EF4-FFF2-40B4-BE49-F238E27FC236}">
                  <a16:creationId xmlns:a16="http://schemas.microsoft.com/office/drawing/2014/main" id="{049283B4-C19B-4BC7-B6F1-AB4637A6FB6A}"/>
                </a:ext>
              </a:extLst>
            </p:cNvPr>
            <p:cNvSpPr>
              <a:spLocks/>
            </p:cNvSpPr>
            <p:nvPr/>
          </p:nvSpPr>
          <p:spPr bwMode="auto">
            <a:xfrm>
              <a:off x="10974388" y="2181225"/>
              <a:ext cx="76200" cy="76200"/>
            </a:xfrm>
            <a:custGeom>
              <a:avLst/>
              <a:gdLst>
                <a:gd name="T0" fmla="*/ 17 w 17"/>
                <a:gd name="T1" fmla="*/ 9 h 17"/>
                <a:gd name="T2" fmla="*/ 8 w 17"/>
                <a:gd name="T3" fmla="*/ 17 h 17"/>
                <a:gd name="T4" fmla="*/ 1 w 17"/>
                <a:gd name="T5" fmla="*/ 8 h 17"/>
                <a:gd name="T6" fmla="*/ 9 w 17"/>
                <a:gd name="T7" fmla="*/ 1 h 17"/>
                <a:gd name="T8" fmla="*/ 17 w 17"/>
                <a:gd name="T9" fmla="*/ 9 h 17"/>
              </a:gdLst>
              <a:ahLst/>
              <a:cxnLst>
                <a:cxn ang="0">
                  <a:pos x="T0" y="T1"/>
                </a:cxn>
                <a:cxn ang="0">
                  <a:pos x="T2" y="T3"/>
                </a:cxn>
                <a:cxn ang="0">
                  <a:pos x="T4" y="T5"/>
                </a:cxn>
                <a:cxn ang="0">
                  <a:pos x="T6" y="T7"/>
                </a:cxn>
                <a:cxn ang="0">
                  <a:pos x="T8" y="T9"/>
                </a:cxn>
              </a:cxnLst>
              <a:rect l="0" t="0" r="r" b="b"/>
              <a:pathLst>
                <a:path w="17" h="17">
                  <a:moveTo>
                    <a:pt x="17" y="9"/>
                  </a:moveTo>
                  <a:cubicBezTo>
                    <a:pt x="17" y="14"/>
                    <a:pt x="13" y="17"/>
                    <a:pt x="8" y="17"/>
                  </a:cubicBezTo>
                  <a:cubicBezTo>
                    <a:pt x="4" y="17"/>
                    <a:pt x="0" y="13"/>
                    <a:pt x="1" y="8"/>
                  </a:cubicBezTo>
                  <a:cubicBezTo>
                    <a:pt x="1" y="4"/>
                    <a:pt x="5" y="0"/>
                    <a:pt x="9" y="1"/>
                  </a:cubicBezTo>
                  <a:cubicBezTo>
                    <a:pt x="14" y="1"/>
                    <a:pt x="17" y="5"/>
                    <a:pt x="17" y="9"/>
                  </a:cubicBez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57">
              <a:extLst>
                <a:ext uri="{FF2B5EF4-FFF2-40B4-BE49-F238E27FC236}">
                  <a16:creationId xmlns:a16="http://schemas.microsoft.com/office/drawing/2014/main" id="{65A6C95C-F577-458E-871A-4EB8066E8905}"/>
                </a:ext>
              </a:extLst>
            </p:cNvPr>
            <p:cNvSpPr>
              <a:spLocks/>
            </p:cNvSpPr>
            <p:nvPr/>
          </p:nvSpPr>
          <p:spPr bwMode="auto">
            <a:xfrm>
              <a:off x="11045825" y="1941513"/>
              <a:ext cx="76200" cy="73025"/>
            </a:xfrm>
            <a:custGeom>
              <a:avLst/>
              <a:gdLst>
                <a:gd name="T0" fmla="*/ 16 w 17"/>
                <a:gd name="T1" fmla="*/ 8 h 16"/>
                <a:gd name="T2" fmla="*/ 8 w 17"/>
                <a:gd name="T3" fmla="*/ 16 h 16"/>
                <a:gd name="T4" fmla="*/ 0 w 17"/>
                <a:gd name="T5" fmla="*/ 8 h 16"/>
                <a:gd name="T6" fmla="*/ 9 w 17"/>
                <a:gd name="T7" fmla="*/ 0 h 16"/>
                <a:gd name="T8" fmla="*/ 16 w 17"/>
                <a:gd name="T9" fmla="*/ 8 h 16"/>
              </a:gdLst>
              <a:ahLst/>
              <a:cxnLst>
                <a:cxn ang="0">
                  <a:pos x="T0" y="T1"/>
                </a:cxn>
                <a:cxn ang="0">
                  <a:pos x="T2" y="T3"/>
                </a:cxn>
                <a:cxn ang="0">
                  <a:pos x="T4" y="T5"/>
                </a:cxn>
                <a:cxn ang="0">
                  <a:pos x="T6" y="T7"/>
                </a:cxn>
                <a:cxn ang="0">
                  <a:pos x="T8" y="T9"/>
                </a:cxn>
              </a:cxnLst>
              <a:rect l="0" t="0" r="r" b="b"/>
              <a:pathLst>
                <a:path w="17" h="16">
                  <a:moveTo>
                    <a:pt x="16" y="8"/>
                  </a:moveTo>
                  <a:cubicBezTo>
                    <a:pt x="16" y="13"/>
                    <a:pt x="12" y="16"/>
                    <a:pt x="8" y="16"/>
                  </a:cubicBezTo>
                  <a:cubicBezTo>
                    <a:pt x="3" y="16"/>
                    <a:pt x="0" y="12"/>
                    <a:pt x="0" y="8"/>
                  </a:cubicBezTo>
                  <a:cubicBezTo>
                    <a:pt x="0" y="3"/>
                    <a:pt x="4" y="0"/>
                    <a:pt x="9" y="0"/>
                  </a:cubicBezTo>
                  <a:cubicBezTo>
                    <a:pt x="13" y="0"/>
                    <a:pt x="17" y="4"/>
                    <a:pt x="16" y="8"/>
                  </a:cubicBez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Line 58">
              <a:extLst>
                <a:ext uri="{FF2B5EF4-FFF2-40B4-BE49-F238E27FC236}">
                  <a16:creationId xmlns:a16="http://schemas.microsoft.com/office/drawing/2014/main" id="{7A14240E-5D85-4DE5-B125-9A40839C922E}"/>
                </a:ext>
              </a:extLst>
            </p:cNvPr>
            <p:cNvSpPr>
              <a:spLocks noChangeShapeType="1"/>
            </p:cNvSpPr>
            <p:nvPr/>
          </p:nvSpPr>
          <p:spPr bwMode="auto">
            <a:xfrm flipH="1" flipV="1">
              <a:off x="10712450" y="1992313"/>
              <a:ext cx="73025" cy="349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Line 59">
              <a:extLst>
                <a:ext uri="{FF2B5EF4-FFF2-40B4-BE49-F238E27FC236}">
                  <a16:creationId xmlns:a16="http://schemas.microsoft.com/office/drawing/2014/main" id="{A0D9BC4C-705C-4758-B942-0DA66540E8EF}"/>
                </a:ext>
              </a:extLst>
            </p:cNvPr>
            <p:cNvSpPr>
              <a:spLocks noChangeShapeType="1"/>
            </p:cNvSpPr>
            <p:nvPr/>
          </p:nvSpPr>
          <p:spPr bwMode="auto">
            <a:xfrm>
              <a:off x="10883900" y="1847850"/>
              <a:ext cx="0" cy="444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Line 60">
              <a:extLst>
                <a:ext uri="{FF2B5EF4-FFF2-40B4-BE49-F238E27FC236}">
                  <a16:creationId xmlns:a16="http://schemas.microsoft.com/office/drawing/2014/main" id="{A4783FF8-30D1-406C-A2A3-E7184C478F10}"/>
                </a:ext>
              </a:extLst>
            </p:cNvPr>
            <p:cNvSpPr>
              <a:spLocks noChangeShapeType="1"/>
            </p:cNvSpPr>
            <p:nvPr/>
          </p:nvSpPr>
          <p:spPr bwMode="auto">
            <a:xfrm flipH="1">
              <a:off x="10771188" y="2163763"/>
              <a:ext cx="31750" cy="30163"/>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Line 61">
              <a:extLst>
                <a:ext uri="{FF2B5EF4-FFF2-40B4-BE49-F238E27FC236}">
                  <a16:creationId xmlns:a16="http://schemas.microsoft.com/office/drawing/2014/main" id="{A188CD15-03B1-47EA-AE59-65E1FBA65AE6}"/>
                </a:ext>
              </a:extLst>
            </p:cNvPr>
            <p:cNvSpPr>
              <a:spLocks noChangeShapeType="1"/>
            </p:cNvSpPr>
            <p:nvPr/>
          </p:nvSpPr>
          <p:spPr bwMode="auto">
            <a:xfrm flipH="1" flipV="1">
              <a:off x="10964863" y="2166938"/>
              <a:ext cx="22225" cy="26988"/>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62">
              <a:extLst>
                <a:ext uri="{FF2B5EF4-FFF2-40B4-BE49-F238E27FC236}">
                  <a16:creationId xmlns:a16="http://schemas.microsoft.com/office/drawing/2014/main" id="{EDA236FE-E668-4ABD-A4E7-E3E50C82464B}"/>
                </a:ext>
              </a:extLst>
            </p:cNvPr>
            <p:cNvSpPr>
              <a:spLocks noChangeShapeType="1"/>
            </p:cNvSpPr>
            <p:nvPr/>
          </p:nvSpPr>
          <p:spPr bwMode="auto">
            <a:xfrm flipH="1">
              <a:off x="10979150" y="1997075"/>
              <a:ext cx="71438" cy="30163"/>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63">
              <a:extLst>
                <a:ext uri="{FF2B5EF4-FFF2-40B4-BE49-F238E27FC236}">
                  <a16:creationId xmlns:a16="http://schemas.microsoft.com/office/drawing/2014/main" id="{3E7F8D1C-82E4-469C-9B19-4129B75B8C3A}"/>
                </a:ext>
              </a:extLst>
            </p:cNvPr>
            <p:cNvSpPr>
              <a:spLocks/>
            </p:cNvSpPr>
            <p:nvPr/>
          </p:nvSpPr>
          <p:spPr bwMode="auto">
            <a:xfrm>
              <a:off x="10802938" y="2019300"/>
              <a:ext cx="161925" cy="107950"/>
            </a:xfrm>
            <a:custGeom>
              <a:avLst/>
              <a:gdLst>
                <a:gd name="T0" fmla="*/ 0 w 36"/>
                <a:gd name="T1" fmla="*/ 24 h 24"/>
                <a:gd name="T2" fmla="*/ 0 w 36"/>
                <a:gd name="T3" fmla="*/ 12 h 24"/>
                <a:gd name="T4" fmla="*/ 12 w 36"/>
                <a:gd name="T5" fmla="*/ 0 h 24"/>
                <a:gd name="T6" fmla="*/ 24 w 36"/>
                <a:gd name="T7" fmla="*/ 0 h 24"/>
                <a:gd name="T8" fmla="*/ 36 w 36"/>
                <a:gd name="T9" fmla="*/ 12 h 24"/>
                <a:gd name="T10" fmla="*/ 36 w 36"/>
                <a:gd name="T11" fmla="*/ 14 h 24"/>
                <a:gd name="T12" fmla="*/ 27 w 36"/>
                <a:gd name="T13" fmla="*/ 24 h 24"/>
                <a:gd name="T14" fmla="*/ 10 w 36"/>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 h="24">
                  <a:moveTo>
                    <a:pt x="0" y="24"/>
                  </a:moveTo>
                  <a:cubicBezTo>
                    <a:pt x="0" y="12"/>
                    <a:pt x="0" y="12"/>
                    <a:pt x="0" y="12"/>
                  </a:cubicBezTo>
                  <a:cubicBezTo>
                    <a:pt x="0" y="5"/>
                    <a:pt x="5" y="0"/>
                    <a:pt x="12" y="0"/>
                  </a:cubicBezTo>
                  <a:cubicBezTo>
                    <a:pt x="24" y="0"/>
                    <a:pt x="24" y="0"/>
                    <a:pt x="24" y="0"/>
                  </a:cubicBezTo>
                  <a:cubicBezTo>
                    <a:pt x="31" y="0"/>
                    <a:pt x="36" y="5"/>
                    <a:pt x="36" y="12"/>
                  </a:cubicBezTo>
                  <a:cubicBezTo>
                    <a:pt x="36" y="14"/>
                    <a:pt x="36" y="14"/>
                    <a:pt x="36" y="14"/>
                  </a:cubicBezTo>
                  <a:cubicBezTo>
                    <a:pt x="36" y="20"/>
                    <a:pt x="32" y="24"/>
                    <a:pt x="27" y="24"/>
                  </a:cubicBezTo>
                  <a:cubicBezTo>
                    <a:pt x="10" y="24"/>
                    <a:pt x="10" y="24"/>
                    <a:pt x="10" y="24"/>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64">
              <a:extLst>
                <a:ext uri="{FF2B5EF4-FFF2-40B4-BE49-F238E27FC236}">
                  <a16:creationId xmlns:a16="http://schemas.microsoft.com/office/drawing/2014/main" id="{47531AF8-1197-4CF8-812E-E09FB5D4C429}"/>
                </a:ext>
              </a:extLst>
            </p:cNvPr>
            <p:cNvSpPr>
              <a:spLocks noChangeShapeType="1"/>
            </p:cNvSpPr>
            <p:nvPr/>
          </p:nvSpPr>
          <p:spPr bwMode="auto">
            <a:xfrm>
              <a:off x="10910888" y="1997075"/>
              <a:ext cx="0"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65">
              <a:extLst>
                <a:ext uri="{FF2B5EF4-FFF2-40B4-BE49-F238E27FC236}">
                  <a16:creationId xmlns:a16="http://schemas.microsoft.com/office/drawing/2014/main" id="{701B8344-C340-4C4F-8777-ECC384EF8610}"/>
                </a:ext>
              </a:extLst>
            </p:cNvPr>
            <p:cNvSpPr>
              <a:spLocks/>
            </p:cNvSpPr>
            <p:nvPr/>
          </p:nvSpPr>
          <p:spPr bwMode="auto">
            <a:xfrm>
              <a:off x="10847388" y="1924050"/>
              <a:ext cx="73025" cy="95250"/>
            </a:xfrm>
            <a:custGeom>
              <a:avLst/>
              <a:gdLst>
                <a:gd name="T0" fmla="*/ 8 w 16"/>
                <a:gd name="T1" fmla="*/ 21 h 21"/>
                <a:gd name="T2" fmla="*/ 0 w 16"/>
                <a:gd name="T3" fmla="*/ 10 h 21"/>
                <a:gd name="T4" fmla="*/ 8 w 16"/>
                <a:gd name="T5" fmla="*/ 0 h 21"/>
                <a:gd name="T6" fmla="*/ 16 w 16"/>
                <a:gd name="T7" fmla="*/ 10 h 21"/>
                <a:gd name="T8" fmla="*/ 15 w 16"/>
                <a:gd name="T9" fmla="*/ 15 h 21"/>
              </a:gdLst>
              <a:ahLst/>
              <a:cxnLst>
                <a:cxn ang="0">
                  <a:pos x="T0" y="T1"/>
                </a:cxn>
                <a:cxn ang="0">
                  <a:pos x="T2" y="T3"/>
                </a:cxn>
                <a:cxn ang="0">
                  <a:pos x="T4" y="T5"/>
                </a:cxn>
                <a:cxn ang="0">
                  <a:pos x="T6" y="T7"/>
                </a:cxn>
                <a:cxn ang="0">
                  <a:pos x="T8" y="T9"/>
                </a:cxn>
              </a:cxnLst>
              <a:rect l="0" t="0" r="r" b="b"/>
              <a:pathLst>
                <a:path w="16" h="21">
                  <a:moveTo>
                    <a:pt x="8" y="21"/>
                  </a:moveTo>
                  <a:cubicBezTo>
                    <a:pt x="5" y="21"/>
                    <a:pt x="1" y="17"/>
                    <a:pt x="0" y="10"/>
                  </a:cubicBezTo>
                  <a:cubicBezTo>
                    <a:pt x="0" y="4"/>
                    <a:pt x="2" y="0"/>
                    <a:pt x="8" y="0"/>
                  </a:cubicBezTo>
                  <a:cubicBezTo>
                    <a:pt x="14" y="0"/>
                    <a:pt x="16" y="4"/>
                    <a:pt x="16" y="10"/>
                  </a:cubicBezTo>
                  <a:cubicBezTo>
                    <a:pt x="16" y="12"/>
                    <a:pt x="15" y="14"/>
                    <a:pt x="15" y="15"/>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9" name="Group 68">
            <a:extLst>
              <a:ext uri="{FF2B5EF4-FFF2-40B4-BE49-F238E27FC236}">
                <a16:creationId xmlns:a16="http://schemas.microsoft.com/office/drawing/2014/main" id="{FFB3777F-E6D9-4D13-B81E-366627D1E4B5}"/>
              </a:ext>
            </a:extLst>
          </p:cNvPr>
          <p:cNvGrpSpPr/>
          <p:nvPr/>
        </p:nvGrpSpPr>
        <p:grpSpPr>
          <a:xfrm>
            <a:off x="713494" y="5512628"/>
            <a:ext cx="230800" cy="216147"/>
            <a:chOff x="4054475" y="5175251"/>
            <a:chExt cx="500063" cy="468313"/>
          </a:xfrm>
        </p:grpSpPr>
        <p:sp>
          <p:nvSpPr>
            <p:cNvPr id="70" name="Line 177">
              <a:extLst>
                <a:ext uri="{FF2B5EF4-FFF2-40B4-BE49-F238E27FC236}">
                  <a16:creationId xmlns:a16="http://schemas.microsoft.com/office/drawing/2014/main" id="{0BDED20A-58BA-4D5E-B015-FF234CF238EA}"/>
                </a:ext>
              </a:extLst>
            </p:cNvPr>
            <p:cNvSpPr>
              <a:spLocks noChangeShapeType="1"/>
            </p:cNvSpPr>
            <p:nvPr/>
          </p:nvSpPr>
          <p:spPr bwMode="auto">
            <a:xfrm>
              <a:off x="4054475" y="5422901"/>
              <a:ext cx="500063"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Line 178">
              <a:extLst>
                <a:ext uri="{FF2B5EF4-FFF2-40B4-BE49-F238E27FC236}">
                  <a16:creationId xmlns:a16="http://schemas.microsoft.com/office/drawing/2014/main" id="{7FBA154A-1337-4D52-BFF0-43BAF8C62437}"/>
                </a:ext>
              </a:extLst>
            </p:cNvPr>
            <p:cNvSpPr>
              <a:spLocks noChangeShapeType="1"/>
            </p:cNvSpPr>
            <p:nvPr/>
          </p:nvSpPr>
          <p:spPr bwMode="auto">
            <a:xfrm flipV="1">
              <a:off x="4127500" y="5368926"/>
              <a:ext cx="4763" cy="444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2" name="Line 179">
              <a:extLst>
                <a:ext uri="{FF2B5EF4-FFF2-40B4-BE49-F238E27FC236}">
                  <a16:creationId xmlns:a16="http://schemas.microsoft.com/office/drawing/2014/main" id="{08D5322C-DA3F-4F87-A1C0-03A073332B97}"/>
                </a:ext>
              </a:extLst>
            </p:cNvPr>
            <p:cNvSpPr>
              <a:spLocks noChangeShapeType="1"/>
            </p:cNvSpPr>
            <p:nvPr/>
          </p:nvSpPr>
          <p:spPr bwMode="auto">
            <a:xfrm>
              <a:off x="4240213" y="5368926"/>
              <a:ext cx="4763" cy="444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80">
              <a:extLst>
                <a:ext uri="{FF2B5EF4-FFF2-40B4-BE49-F238E27FC236}">
                  <a16:creationId xmlns:a16="http://schemas.microsoft.com/office/drawing/2014/main" id="{8B319F71-5089-45A1-96CB-FD0774802CBA}"/>
                </a:ext>
              </a:extLst>
            </p:cNvPr>
            <p:cNvSpPr>
              <a:spLocks/>
            </p:cNvSpPr>
            <p:nvPr/>
          </p:nvSpPr>
          <p:spPr bwMode="auto">
            <a:xfrm>
              <a:off x="4073525" y="5283201"/>
              <a:ext cx="220663" cy="198438"/>
            </a:xfrm>
            <a:custGeom>
              <a:avLst/>
              <a:gdLst>
                <a:gd name="T0" fmla="*/ 46 w 49"/>
                <a:gd name="T1" fmla="*/ 44 h 44"/>
                <a:gd name="T2" fmla="*/ 46 w 49"/>
                <a:gd name="T3" fmla="*/ 12 h 44"/>
                <a:gd name="T4" fmla="*/ 32 w 49"/>
                <a:gd name="T5" fmla="*/ 0 h 44"/>
                <a:gd name="T6" fmla="*/ 18 w 49"/>
                <a:gd name="T7" fmla="*/ 0 h 44"/>
                <a:gd name="T8" fmla="*/ 4 w 49"/>
                <a:gd name="T9" fmla="*/ 14 h 44"/>
                <a:gd name="T10" fmla="*/ 0 w 49"/>
                <a:gd name="T11" fmla="*/ 43 h 44"/>
              </a:gdLst>
              <a:ahLst/>
              <a:cxnLst>
                <a:cxn ang="0">
                  <a:pos x="T0" y="T1"/>
                </a:cxn>
                <a:cxn ang="0">
                  <a:pos x="T2" y="T3"/>
                </a:cxn>
                <a:cxn ang="0">
                  <a:pos x="T4" y="T5"/>
                </a:cxn>
                <a:cxn ang="0">
                  <a:pos x="T6" y="T7"/>
                </a:cxn>
                <a:cxn ang="0">
                  <a:pos x="T8" y="T9"/>
                </a:cxn>
                <a:cxn ang="0">
                  <a:pos x="T10" y="T11"/>
                </a:cxn>
              </a:cxnLst>
              <a:rect l="0" t="0" r="r" b="b"/>
              <a:pathLst>
                <a:path w="49" h="44">
                  <a:moveTo>
                    <a:pt x="46" y="44"/>
                  </a:moveTo>
                  <a:cubicBezTo>
                    <a:pt x="49" y="36"/>
                    <a:pt x="48" y="24"/>
                    <a:pt x="46" y="12"/>
                  </a:cubicBezTo>
                  <a:cubicBezTo>
                    <a:pt x="45" y="5"/>
                    <a:pt x="40" y="0"/>
                    <a:pt x="32" y="0"/>
                  </a:cubicBezTo>
                  <a:cubicBezTo>
                    <a:pt x="18" y="0"/>
                    <a:pt x="18" y="0"/>
                    <a:pt x="18" y="0"/>
                  </a:cubicBezTo>
                  <a:cubicBezTo>
                    <a:pt x="10" y="0"/>
                    <a:pt x="4" y="4"/>
                    <a:pt x="4" y="14"/>
                  </a:cubicBezTo>
                  <a:cubicBezTo>
                    <a:pt x="4" y="25"/>
                    <a:pt x="2" y="35"/>
                    <a:pt x="0" y="43"/>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4" name="Line 181">
              <a:extLst>
                <a:ext uri="{FF2B5EF4-FFF2-40B4-BE49-F238E27FC236}">
                  <a16:creationId xmlns:a16="http://schemas.microsoft.com/office/drawing/2014/main" id="{C9A72E5D-CAC9-4228-81E5-A67CE7ECD298}"/>
                </a:ext>
              </a:extLst>
            </p:cNvPr>
            <p:cNvSpPr>
              <a:spLocks noChangeShapeType="1"/>
            </p:cNvSpPr>
            <p:nvPr/>
          </p:nvSpPr>
          <p:spPr bwMode="auto">
            <a:xfrm>
              <a:off x="4217988" y="5256214"/>
              <a:ext cx="0"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82">
              <a:extLst>
                <a:ext uri="{FF2B5EF4-FFF2-40B4-BE49-F238E27FC236}">
                  <a16:creationId xmlns:a16="http://schemas.microsoft.com/office/drawing/2014/main" id="{88C7C23B-3A4C-4CAB-95A9-1F3A889476F5}"/>
                </a:ext>
              </a:extLst>
            </p:cNvPr>
            <p:cNvSpPr>
              <a:spLocks/>
            </p:cNvSpPr>
            <p:nvPr/>
          </p:nvSpPr>
          <p:spPr bwMode="auto">
            <a:xfrm>
              <a:off x="4140200" y="5175251"/>
              <a:ext cx="90488" cy="107950"/>
            </a:xfrm>
            <a:custGeom>
              <a:avLst/>
              <a:gdLst>
                <a:gd name="T0" fmla="*/ 10 w 20"/>
                <a:gd name="T1" fmla="*/ 24 h 24"/>
                <a:gd name="T2" fmla="*/ 1 w 20"/>
                <a:gd name="T3" fmla="*/ 12 h 24"/>
                <a:gd name="T4" fmla="*/ 10 w 20"/>
                <a:gd name="T5" fmla="*/ 0 h 24"/>
                <a:gd name="T6" fmla="*/ 19 w 20"/>
                <a:gd name="T7" fmla="*/ 12 h 24"/>
                <a:gd name="T8" fmla="*/ 18 w 20"/>
                <a:gd name="T9" fmla="*/ 18 h 24"/>
              </a:gdLst>
              <a:ahLst/>
              <a:cxnLst>
                <a:cxn ang="0">
                  <a:pos x="T0" y="T1"/>
                </a:cxn>
                <a:cxn ang="0">
                  <a:pos x="T2" y="T3"/>
                </a:cxn>
                <a:cxn ang="0">
                  <a:pos x="T4" y="T5"/>
                </a:cxn>
                <a:cxn ang="0">
                  <a:pos x="T6" y="T7"/>
                </a:cxn>
                <a:cxn ang="0">
                  <a:pos x="T8" y="T9"/>
                </a:cxn>
              </a:cxnLst>
              <a:rect l="0" t="0" r="r" b="b"/>
              <a:pathLst>
                <a:path w="20" h="24">
                  <a:moveTo>
                    <a:pt x="10" y="24"/>
                  </a:moveTo>
                  <a:cubicBezTo>
                    <a:pt x="6" y="24"/>
                    <a:pt x="2" y="19"/>
                    <a:pt x="1" y="12"/>
                  </a:cubicBezTo>
                  <a:cubicBezTo>
                    <a:pt x="0" y="5"/>
                    <a:pt x="3" y="0"/>
                    <a:pt x="10" y="0"/>
                  </a:cubicBezTo>
                  <a:cubicBezTo>
                    <a:pt x="17" y="0"/>
                    <a:pt x="20" y="5"/>
                    <a:pt x="19" y="12"/>
                  </a:cubicBezTo>
                  <a:cubicBezTo>
                    <a:pt x="19" y="14"/>
                    <a:pt x="18" y="16"/>
                    <a:pt x="18" y="18"/>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6" name="Line 183">
              <a:extLst>
                <a:ext uri="{FF2B5EF4-FFF2-40B4-BE49-F238E27FC236}">
                  <a16:creationId xmlns:a16="http://schemas.microsoft.com/office/drawing/2014/main" id="{F671A046-A3F9-479A-A9B8-1ED96C96D464}"/>
                </a:ext>
              </a:extLst>
            </p:cNvPr>
            <p:cNvSpPr>
              <a:spLocks noChangeShapeType="1"/>
            </p:cNvSpPr>
            <p:nvPr/>
          </p:nvSpPr>
          <p:spPr bwMode="auto">
            <a:xfrm flipV="1">
              <a:off x="4356100" y="5368926"/>
              <a:ext cx="4763" cy="444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7" name="Line 184">
              <a:extLst>
                <a:ext uri="{FF2B5EF4-FFF2-40B4-BE49-F238E27FC236}">
                  <a16:creationId xmlns:a16="http://schemas.microsoft.com/office/drawing/2014/main" id="{FB4DB966-7220-4892-8C56-0679F1D93CF5}"/>
                </a:ext>
              </a:extLst>
            </p:cNvPr>
            <p:cNvSpPr>
              <a:spLocks noChangeShapeType="1"/>
            </p:cNvSpPr>
            <p:nvPr/>
          </p:nvSpPr>
          <p:spPr bwMode="auto">
            <a:xfrm>
              <a:off x="4468813" y="5368926"/>
              <a:ext cx="4763" cy="444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185">
              <a:extLst>
                <a:ext uri="{FF2B5EF4-FFF2-40B4-BE49-F238E27FC236}">
                  <a16:creationId xmlns:a16="http://schemas.microsoft.com/office/drawing/2014/main" id="{2D6AE1C6-A143-4EB6-AE3B-D8ACE25D14E4}"/>
                </a:ext>
              </a:extLst>
            </p:cNvPr>
            <p:cNvSpPr>
              <a:spLocks/>
            </p:cNvSpPr>
            <p:nvPr/>
          </p:nvSpPr>
          <p:spPr bwMode="auto">
            <a:xfrm>
              <a:off x="4311650" y="5283201"/>
              <a:ext cx="211138" cy="203200"/>
            </a:xfrm>
            <a:custGeom>
              <a:avLst/>
              <a:gdLst>
                <a:gd name="T0" fmla="*/ 43 w 47"/>
                <a:gd name="T1" fmla="*/ 45 h 45"/>
                <a:gd name="T2" fmla="*/ 44 w 47"/>
                <a:gd name="T3" fmla="*/ 13 h 45"/>
                <a:gd name="T4" fmla="*/ 30 w 47"/>
                <a:gd name="T5" fmla="*/ 0 h 45"/>
                <a:gd name="T6" fmla="*/ 17 w 47"/>
                <a:gd name="T7" fmla="*/ 0 h 45"/>
                <a:gd name="T8" fmla="*/ 2 w 47"/>
                <a:gd name="T9" fmla="*/ 14 h 45"/>
                <a:gd name="T10" fmla="*/ 6 w 47"/>
                <a:gd name="T11" fmla="*/ 45 h 45"/>
              </a:gdLst>
              <a:ahLst/>
              <a:cxnLst>
                <a:cxn ang="0">
                  <a:pos x="T0" y="T1"/>
                </a:cxn>
                <a:cxn ang="0">
                  <a:pos x="T2" y="T3"/>
                </a:cxn>
                <a:cxn ang="0">
                  <a:pos x="T4" y="T5"/>
                </a:cxn>
                <a:cxn ang="0">
                  <a:pos x="T6" y="T7"/>
                </a:cxn>
                <a:cxn ang="0">
                  <a:pos x="T8" y="T9"/>
                </a:cxn>
                <a:cxn ang="0">
                  <a:pos x="T10" y="T11"/>
                </a:cxn>
              </a:cxnLst>
              <a:rect l="0" t="0" r="r" b="b"/>
              <a:pathLst>
                <a:path w="47" h="45">
                  <a:moveTo>
                    <a:pt x="43" y="45"/>
                  </a:moveTo>
                  <a:cubicBezTo>
                    <a:pt x="47" y="35"/>
                    <a:pt x="45" y="25"/>
                    <a:pt x="44" y="13"/>
                  </a:cubicBezTo>
                  <a:cubicBezTo>
                    <a:pt x="44" y="5"/>
                    <a:pt x="38" y="0"/>
                    <a:pt x="30" y="0"/>
                  </a:cubicBezTo>
                  <a:cubicBezTo>
                    <a:pt x="17" y="0"/>
                    <a:pt x="17" y="0"/>
                    <a:pt x="17" y="0"/>
                  </a:cubicBezTo>
                  <a:cubicBezTo>
                    <a:pt x="9" y="0"/>
                    <a:pt x="3" y="4"/>
                    <a:pt x="2" y="14"/>
                  </a:cubicBezTo>
                  <a:cubicBezTo>
                    <a:pt x="2" y="29"/>
                    <a:pt x="0" y="37"/>
                    <a:pt x="6" y="45"/>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9" name="Line 186">
              <a:extLst>
                <a:ext uri="{FF2B5EF4-FFF2-40B4-BE49-F238E27FC236}">
                  <a16:creationId xmlns:a16="http://schemas.microsoft.com/office/drawing/2014/main" id="{CDED7B46-A566-4C13-ABE6-399518DDDA9B}"/>
                </a:ext>
              </a:extLst>
            </p:cNvPr>
            <p:cNvSpPr>
              <a:spLocks noChangeShapeType="1"/>
            </p:cNvSpPr>
            <p:nvPr/>
          </p:nvSpPr>
          <p:spPr bwMode="auto">
            <a:xfrm>
              <a:off x="4451350" y="5256214"/>
              <a:ext cx="0"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187">
              <a:extLst>
                <a:ext uri="{FF2B5EF4-FFF2-40B4-BE49-F238E27FC236}">
                  <a16:creationId xmlns:a16="http://schemas.microsoft.com/office/drawing/2014/main" id="{81D8BDEB-9614-47DC-ADDD-E7B7A68F7C36}"/>
                </a:ext>
              </a:extLst>
            </p:cNvPr>
            <p:cNvSpPr>
              <a:spLocks/>
            </p:cNvSpPr>
            <p:nvPr/>
          </p:nvSpPr>
          <p:spPr bwMode="auto">
            <a:xfrm>
              <a:off x="4375150" y="5175251"/>
              <a:ext cx="85725" cy="107950"/>
            </a:xfrm>
            <a:custGeom>
              <a:avLst/>
              <a:gdLst>
                <a:gd name="T0" fmla="*/ 9 w 19"/>
                <a:gd name="T1" fmla="*/ 24 h 24"/>
                <a:gd name="T2" fmla="*/ 0 w 19"/>
                <a:gd name="T3" fmla="*/ 12 h 24"/>
                <a:gd name="T4" fmla="*/ 9 w 19"/>
                <a:gd name="T5" fmla="*/ 0 h 24"/>
                <a:gd name="T6" fmla="*/ 18 w 19"/>
                <a:gd name="T7" fmla="*/ 12 h 24"/>
                <a:gd name="T8" fmla="*/ 17 w 19"/>
                <a:gd name="T9" fmla="*/ 18 h 24"/>
              </a:gdLst>
              <a:ahLst/>
              <a:cxnLst>
                <a:cxn ang="0">
                  <a:pos x="T0" y="T1"/>
                </a:cxn>
                <a:cxn ang="0">
                  <a:pos x="T2" y="T3"/>
                </a:cxn>
                <a:cxn ang="0">
                  <a:pos x="T4" y="T5"/>
                </a:cxn>
                <a:cxn ang="0">
                  <a:pos x="T6" y="T7"/>
                </a:cxn>
                <a:cxn ang="0">
                  <a:pos x="T8" y="T9"/>
                </a:cxn>
              </a:cxnLst>
              <a:rect l="0" t="0" r="r" b="b"/>
              <a:pathLst>
                <a:path w="19" h="24">
                  <a:moveTo>
                    <a:pt x="9" y="24"/>
                  </a:moveTo>
                  <a:cubicBezTo>
                    <a:pt x="6" y="24"/>
                    <a:pt x="1" y="19"/>
                    <a:pt x="0" y="12"/>
                  </a:cubicBezTo>
                  <a:cubicBezTo>
                    <a:pt x="0" y="5"/>
                    <a:pt x="3" y="0"/>
                    <a:pt x="9" y="0"/>
                  </a:cubicBezTo>
                  <a:cubicBezTo>
                    <a:pt x="16" y="0"/>
                    <a:pt x="19" y="5"/>
                    <a:pt x="18" y="12"/>
                  </a:cubicBezTo>
                  <a:cubicBezTo>
                    <a:pt x="18" y="14"/>
                    <a:pt x="18" y="16"/>
                    <a:pt x="17" y="18"/>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188">
              <a:extLst>
                <a:ext uri="{FF2B5EF4-FFF2-40B4-BE49-F238E27FC236}">
                  <a16:creationId xmlns:a16="http://schemas.microsoft.com/office/drawing/2014/main" id="{47FB3D3A-953C-4678-B89E-5E42E39625A8}"/>
                </a:ext>
              </a:extLst>
            </p:cNvPr>
            <p:cNvSpPr>
              <a:spLocks/>
            </p:cNvSpPr>
            <p:nvPr/>
          </p:nvSpPr>
          <p:spPr bwMode="auto">
            <a:xfrm>
              <a:off x="4086225" y="5459414"/>
              <a:ext cx="95250" cy="88900"/>
            </a:xfrm>
            <a:custGeom>
              <a:avLst/>
              <a:gdLst>
                <a:gd name="T0" fmla="*/ 32 w 60"/>
                <a:gd name="T1" fmla="*/ 56 h 56"/>
                <a:gd name="T2" fmla="*/ 0 w 60"/>
                <a:gd name="T3" fmla="*/ 28 h 56"/>
                <a:gd name="T4" fmla="*/ 32 w 60"/>
                <a:gd name="T5" fmla="*/ 0 h 56"/>
                <a:gd name="T6" fmla="*/ 60 w 60"/>
                <a:gd name="T7" fmla="*/ 28 h 56"/>
                <a:gd name="T8" fmla="*/ 32 w 60"/>
                <a:gd name="T9" fmla="*/ 56 h 56"/>
              </a:gdLst>
              <a:ahLst/>
              <a:cxnLst>
                <a:cxn ang="0">
                  <a:pos x="T0" y="T1"/>
                </a:cxn>
                <a:cxn ang="0">
                  <a:pos x="T2" y="T3"/>
                </a:cxn>
                <a:cxn ang="0">
                  <a:pos x="T4" y="T5"/>
                </a:cxn>
                <a:cxn ang="0">
                  <a:pos x="T6" y="T7"/>
                </a:cxn>
                <a:cxn ang="0">
                  <a:pos x="T8" y="T9"/>
                </a:cxn>
              </a:cxnLst>
              <a:rect l="0" t="0" r="r" b="b"/>
              <a:pathLst>
                <a:path w="60" h="56">
                  <a:moveTo>
                    <a:pt x="32" y="56"/>
                  </a:moveTo>
                  <a:lnTo>
                    <a:pt x="0" y="28"/>
                  </a:lnTo>
                  <a:lnTo>
                    <a:pt x="32" y="0"/>
                  </a:lnTo>
                  <a:lnTo>
                    <a:pt x="60" y="28"/>
                  </a:lnTo>
                  <a:lnTo>
                    <a:pt x="32" y="56"/>
                  </a:ln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189">
              <a:extLst>
                <a:ext uri="{FF2B5EF4-FFF2-40B4-BE49-F238E27FC236}">
                  <a16:creationId xmlns:a16="http://schemas.microsoft.com/office/drawing/2014/main" id="{3811F00C-A97F-4642-98F6-98720CEE83FD}"/>
                </a:ext>
              </a:extLst>
            </p:cNvPr>
            <p:cNvSpPr>
              <a:spLocks/>
            </p:cNvSpPr>
            <p:nvPr/>
          </p:nvSpPr>
          <p:spPr bwMode="auto">
            <a:xfrm>
              <a:off x="4311650" y="5562601"/>
              <a:ext cx="90488" cy="80963"/>
            </a:xfrm>
            <a:custGeom>
              <a:avLst/>
              <a:gdLst>
                <a:gd name="T0" fmla="*/ 31 w 57"/>
                <a:gd name="T1" fmla="*/ 51 h 51"/>
                <a:gd name="T2" fmla="*/ 57 w 57"/>
                <a:gd name="T3" fmla="*/ 0 h 51"/>
                <a:gd name="T4" fmla="*/ 0 w 57"/>
                <a:gd name="T5" fmla="*/ 3 h 51"/>
                <a:gd name="T6" fmla="*/ 31 w 57"/>
                <a:gd name="T7" fmla="*/ 51 h 51"/>
              </a:gdLst>
              <a:ahLst/>
              <a:cxnLst>
                <a:cxn ang="0">
                  <a:pos x="T0" y="T1"/>
                </a:cxn>
                <a:cxn ang="0">
                  <a:pos x="T2" y="T3"/>
                </a:cxn>
                <a:cxn ang="0">
                  <a:pos x="T4" y="T5"/>
                </a:cxn>
                <a:cxn ang="0">
                  <a:pos x="T6" y="T7"/>
                </a:cxn>
              </a:cxnLst>
              <a:rect l="0" t="0" r="r" b="b"/>
              <a:pathLst>
                <a:path w="57" h="51">
                  <a:moveTo>
                    <a:pt x="31" y="51"/>
                  </a:moveTo>
                  <a:lnTo>
                    <a:pt x="57" y="0"/>
                  </a:lnTo>
                  <a:lnTo>
                    <a:pt x="0" y="3"/>
                  </a:lnTo>
                  <a:lnTo>
                    <a:pt x="31" y="51"/>
                  </a:lnTo>
                  <a:close/>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3" name="Oval 190">
              <a:extLst>
                <a:ext uri="{FF2B5EF4-FFF2-40B4-BE49-F238E27FC236}">
                  <a16:creationId xmlns:a16="http://schemas.microsoft.com/office/drawing/2014/main" id="{DBA24001-5290-4AAC-92EA-CF40C55D49DD}"/>
                </a:ext>
              </a:extLst>
            </p:cNvPr>
            <p:cNvSpPr>
              <a:spLocks noChangeArrowheads="1"/>
            </p:cNvSpPr>
            <p:nvPr/>
          </p:nvSpPr>
          <p:spPr bwMode="auto">
            <a:xfrm>
              <a:off x="4194175" y="5540376"/>
              <a:ext cx="80963" cy="76200"/>
            </a:xfrm>
            <a:prstGeom prst="ellipse">
              <a:avLst/>
            </a:pr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4" name="Oval 191">
              <a:extLst>
                <a:ext uri="{FF2B5EF4-FFF2-40B4-BE49-F238E27FC236}">
                  <a16:creationId xmlns:a16="http://schemas.microsoft.com/office/drawing/2014/main" id="{16273189-DA51-44D4-8E9D-C433DDBFD14D}"/>
                </a:ext>
              </a:extLst>
            </p:cNvPr>
            <p:cNvSpPr>
              <a:spLocks noChangeArrowheads="1"/>
            </p:cNvSpPr>
            <p:nvPr/>
          </p:nvSpPr>
          <p:spPr bwMode="auto">
            <a:xfrm>
              <a:off x="4379913" y="5454651"/>
              <a:ext cx="76200" cy="80963"/>
            </a:xfrm>
            <a:prstGeom prst="ellipse">
              <a:avLst/>
            </a:pr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5" name="Group 84">
            <a:extLst>
              <a:ext uri="{FF2B5EF4-FFF2-40B4-BE49-F238E27FC236}">
                <a16:creationId xmlns:a16="http://schemas.microsoft.com/office/drawing/2014/main" id="{164D0469-48D2-42EA-B27E-7E9D43BBD5D9}"/>
              </a:ext>
            </a:extLst>
          </p:cNvPr>
          <p:cNvGrpSpPr/>
          <p:nvPr/>
        </p:nvGrpSpPr>
        <p:grpSpPr>
          <a:xfrm>
            <a:off x="716791" y="4932089"/>
            <a:ext cx="224206" cy="224206"/>
            <a:chOff x="706438" y="5148263"/>
            <a:chExt cx="485775" cy="485775"/>
          </a:xfrm>
        </p:grpSpPr>
        <p:sp>
          <p:nvSpPr>
            <p:cNvPr id="86" name="Freeform 208">
              <a:extLst>
                <a:ext uri="{FF2B5EF4-FFF2-40B4-BE49-F238E27FC236}">
                  <a16:creationId xmlns:a16="http://schemas.microsoft.com/office/drawing/2014/main" id="{AAE4EBC2-81F8-4B56-B0D4-8AEE1599BFBA}"/>
                </a:ext>
              </a:extLst>
            </p:cNvPr>
            <p:cNvSpPr>
              <a:spLocks/>
            </p:cNvSpPr>
            <p:nvPr/>
          </p:nvSpPr>
          <p:spPr bwMode="auto">
            <a:xfrm>
              <a:off x="706438" y="514826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209">
              <a:extLst>
                <a:ext uri="{FF2B5EF4-FFF2-40B4-BE49-F238E27FC236}">
                  <a16:creationId xmlns:a16="http://schemas.microsoft.com/office/drawing/2014/main" id="{6309E6A6-54BA-44B0-BCBC-AA0D50D93702}"/>
                </a:ext>
              </a:extLst>
            </p:cNvPr>
            <p:cNvSpPr>
              <a:spLocks/>
            </p:cNvSpPr>
            <p:nvPr/>
          </p:nvSpPr>
          <p:spPr bwMode="auto">
            <a:xfrm>
              <a:off x="823913" y="5346701"/>
              <a:ext cx="88900" cy="103188"/>
            </a:xfrm>
            <a:custGeom>
              <a:avLst/>
              <a:gdLst>
                <a:gd name="T0" fmla="*/ 56 w 56"/>
                <a:gd name="T1" fmla="*/ 0 h 65"/>
                <a:gd name="T2" fmla="*/ 42 w 56"/>
                <a:gd name="T3" fmla="*/ 65 h 65"/>
                <a:gd name="T4" fmla="*/ 28 w 56"/>
                <a:gd name="T5" fmla="*/ 0 h 65"/>
                <a:gd name="T6" fmla="*/ 11 w 56"/>
                <a:gd name="T7" fmla="*/ 65 h 65"/>
                <a:gd name="T8" fmla="*/ 0 w 56"/>
                <a:gd name="T9" fmla="*/ 0 h 65"/>
              </a:gdLst>
              <a:ahLst/>
              <a:cxnLst>
                <a:cxn ang="0">
                  <a:pos x="T0" y="T1"/>
                </a:cxn>
                <a:cxn ang="0">
                  <a:pos x="T2" y="T3"/>
                </a:cxn>
                <a:cxn ang="0">
                  <a:pos x="T4" y="T5"/>
                </a:cxn>
                <a:cxn ang="0">
                  <a:pos x="T6" y="T7"/>
                </a:cxn>
                <a:cxn ang="0">
                  <a:pos x="T8" y="T9"/>
                </a:cxn>
              </a:cxnLst>
              <a:rect l="0" t="0" r="r" b="b"/>
              <a:pathLst>
                <a:path w="56" h="65">
                  <a:moveTo>
                    <a:pt x="56" y="0"/>
                  </a:moveTo>
                  <a:lnTo>
                    <a:pt x="42" y="65"/>
                  </a:lnTo>
                  <a:lnTo>
                    <a:pt x="28" y="0"/>
                  </a:lnTo>
                  <a:lnTo>
                    <a:pt x="11" y="65"/>
                  </a:lnTo>
                  <a:lnTo>
                    <a:pt x="0" y="0"/>
                  </a:ln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8" name="Line 210">
              <a:extLst>
                <a:ext uri="{FF2B5EF4-FFF2-40B4-BE49-F238E27FC236}">
                  <a16:creationId xmlns:a16="http://schemas.microsoft.com/office/drawing/2014/main" id="{FDC3784F-494F-4C06-A0C5-5860E75638A5}"/>
                </a:ext>
              </a:extLst>
            </p:cNvPr>
            <p:cNvSpPr>
              <a:spLocks noChangeShapeType="1"/>
            </p:cNvSpPr>
            <p:nvPr/>
          </p:nvSpPr>
          <p:spPr bwMode="auto">
            <a:xfrm>
              <a:off x="939800" y="5346701"/>
              <a:ext cx="0" cy="984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9" name="Line 211">
              <a:extLst>
                <a:ext uri="{FF2B5EF4-FFF2-40B4-BE49-F238E27FC236}">
                  <a16:creationId xmlns:a16="http://schemas.microsoft.com/office/drawing/2014/main" id="{0976863E-1CA1-4046-AFA0-5E5AE81B036D}"/>
                </a:ext>
              </a:extLst>
            </p:cNvPr>
            <p:cNvSpPr>
              <a:spLocks noChangeShapeType="1"/>
            </p:cNvSpPr>
            <p:nvPr/>
          </p:nvSpPr>
          <p:spPr bwMode="auto">
            <a:xfrm>
              <a:off x="993775" y="5346701"/>
              <a:ext cx="0" cy="984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0" name="Line 212">
              <a:extLst>
                <a:ext uri="{FF2B5EF4-FFF2-40B4-BE49-F238E27FC236}">
                  <a16:creationId xmlns:a16="http://schemas.microsoft.com/office/drawing/2014/main" id="{5BF8B5FB-6349-497B-85FE-680D943D7B4A}"/>
                </a:ext>
              </a:extLst>
            </p:cNvPr>
            <p:cNvSpPr>
              <a:spLocks noChangeShapeType="1"/>
            </p:cNvSpPr>
            <p:nvPr/>
          </p:nvSpPr>
          <p:spPr bwMode="auto">
            <a:xfrm>
              <a:off x="939800" y="5395913"/>
              <a:ext cx="49212"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Line 213">
              <a:extLst>
                <a:ext uri="{FF2B5EF4-FFF2-40B4-BE49-F238E27FC236}">
                  <a16:creationId xmlns:a16="http://schemas.microsoft.com/office/drawing/2014/main" id="{6D88C05C-F2AC-4EAC-BDE1-66CF4F727557}"/>
                </a:ext>
              </a:extLst>
            </p:cNvPr>
            <p:cNvSpPr>
              <a:spLocks noChangeShapeType="1"/>
            </p:cNvSpPr>
            <p:nvPr/>
          </p:nvSpPr>
          <p:spPr bwMode="auto">
            <a:xfrm>
              <a:off x="1016000" y="5346701"/>
              <a:ext cx="31750" cy="5715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214">
              <a:extLst>
                <a:ext uri="{FF2B5EF4-FFF2-40B4-BE49-F238E27FC236}">
                  <a16:creationId xmlns:a16="http://schemas.microsoft.com/office/drawing/2014/main" id="{2F44A6C4-32CF-4847-8F84-95315A7CCECC}"/>
                </a:ext>
              </a:extLst>
            </p:cNvPr>
            <p:cNvSpPr>
              <a:spLocks/>
            </p:cNvSpPr>
            <p:nvPr/>
          </p:nvSpPr>
          <p:spPr bwMode="auto">
            <a:xfrm>
              <a:off x="1047750" y="5346701"/>
              <a:ext cx="31750" cy="98425"/>
            </a:xfrm>
            <a:custGeom>
              <a:avLst/>
              <a:gdLst>
                <a:gd name="T0" fmla="*/ 20 w 20"/>
                <a:gd name="T1" fmla="*/ 0 h 62"/>
                <a:gd name="T2" fmla="*/ 0 w 20"/>
                <a:gd name="T3" fmla="*/ 36 h 62"/>
                <a:gd name="T4" fmla="*/ 0 w 20"/>
                <a:gd name="T5" fmla="*/ 62 h 62"/>
              </a:gdLst>
              <a:ahLst/>
              <a:cxnLst>
                <a:cxn ang="0">
                  <a:pos x="T0" y="T1"/>
                </a:cxn>
                <a:cxn ang="0">
                  <a:pos x="T2" y="T3"/>
                </a:cxn>
                <a:cxn ang="0">
                  <a:pos x="T4" y="T5"/>
                </a:cxn>
              </a:cxnLst>
              <a:rect l="0" t="0" r="r" b="b"/>
              <a:pathLst>
                <a:path w="20" h="62">
                  <a:moveTo>
                    <a:pt x="20" y="0"/>
                  </a:moveTo>
                  <a:lnTo>
                    <a:pt x="0" y="36"/>
                  </a:lnTo>
                  <a:lnTo>
                    <a:pt x="0" y="62"/>
                  </a:ln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3" name="Group 92">
            <a:extLst>
              <a:ext uri="{FF2B5EF4-FFF2-40B4-BE49-F238E27FC236}">
                <a16:creationId xmlns:a16="http://schemas.microsoft.com/office/drawing/2014/main" id="{66D77D6A-EBD2-4295-8688-BF885B8A42E4}"/>
              </a:ext>
            </a:extLst>
          </p:cNvPr>
          <p:cNvGrpSpPr/>
          <p:nvPr/>
        </p:nvGrpSpPr>
        <p:grpSpPr>
          <a:xfrm>
            <a:off x="772416" y="3767174"/>
            <a:ext cx="112956" cy="228042"/>
            <a:chOff x="6310313" y="1747838"/>
            <a:chExt cx="252413" cy="509588"/>
          </a:xfrm>
        </p:grpSpPr>
        <p:sp>
          <p:nvSpPr>
            <p:cNvPr id="94" name="Freeform 108">
              <a:extLst>
                <a:ext uri="{FF2B5EF4-FFF2-40B4-BE49-F238E27FC236}">
                  <a16:creationId xmlns:a16="http://schemas.microsoft.com/office/drawing/2014/main" id="{43B38E4B-B162-40F1-8FC2-65E4C65D7E13}"/>
                </a:ext>
              </a:extLst>
            </p:cNvPr>
            <p:cNvSpPr>
              <a:spLocks/>
            </p:cNvSpPr>
            <p:nvPr/>
          </p:nvSpPr>
          <p:spPr bwMode="auto">
            <a:xfrm>
              <a:off x="6513513" y="2117725"/>
              <a:ext cx="9525" cy="9525"/>
            </a:xfrm>
            <a:custGeom>
              <a:avLst/>
              <a:gdLst>
                <a:gd name="T0" fmla="*/ 0 w 2"/>
                <a:gd name="T1" fmla="*/ 2 h 2"/>
                <a:gd name="T2" fmla="*/ 2 w 2"/>
                <a:gd name="T3" fmla="*/ 0 h 2"/>
              </a:gdLst>
              <a:ahLst/>
              <a:cxnLst>
                <a:cxn ang="0">
                  <a:pos x="T0" y="T1"/>
                </a:cxn>
                <a:cxn ang="0">
                  <a:pos x="T2" y="T3"/>
                </a:cxn>
              </a:cxnLst>
              <a:rect l="0" t="0" r="r" b="b"/>
              <a:pathLst>
                <a:path w="2" h="2">
                  <a:moveTo>
                    <a:pt x="0" y="2"/>
                  </a:moveTo>
                  <a:cubicBezTo>
                    <a:pt x="1" y="2"/>
                    <a:pt x="2" y="1"/>
                    <a:pt x="2" y="0"/>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5" name="Freeform 109">
              <a:extLst>
                <a:ext uri="{FF2B5EF4-FFF2-40B4-BE49-F238E27FC236}">
                  <a16:creationId xmlns:a16="http://schemas.microsoft.com/office/drawing/2014/main" id="{690CF21E-63C7-401D-BA07-BDD33A0B7D17}"/>
                </a:ext>
              </a:extLst>
            </p:cNvPr>
            <p:cNvSpPr>
              <a:spLocks/>
            </p:cNvSpPr>
            <p:nvPr/>
          </p:nvSpPr>
          <p:spPr bwMode="auto">
            <a:xfrm>
              <a:off x="6310313" y="1887538"/>
              <a:ext cx="112713" cy="244475"/>
            </a:xfrm>
            <a:custGeom>
              <a:avLst/>
              <a:gdLst>
                <a:gd name="T0" fmla="*/ 0 w 25"/>
                <a:gd name="T1" fmla="*/ 0 h 54"/>
                <a:gd name="T2" fmla="*/ 5 w 25"/>
                <a:gd name="T3" fmla="*/ 34 h 54"/>
                <a:gd name="T4" fmla="*/ 25 w 25"/>
                <a:gd name="T5" fmla="*/ 54 h 54"/>
              </a:gdLst>
              <a:ahLst/>
              <a:cxnLst>
                <a:cxn ang="0">
                  <a:pos x="T0" y="T1"/>
                </a:cxn>
                <a:cxn ang="0">
                  <a:pos x="T2" y="T3"/>
                </a:cxn>
                <a:cxn ang="0">
                  <a:pos x="T4" y="T5"/>
                </a:cxn>
              </a:cxnLst>
              <a:rect l="0" t="0" r="r" b="b"/>
              <a:pathLst>
                <a:path w="25" h="54">
                  <a:moveTo>
                    <a:pt x="0" y="0"/>
                  </a:moveTo>
                  <a:cubicBezTo>
                    <a:pt x="5" y="34"/>
                    <a:pt x="5" y="34"/>
                    <a:pt x="5" y="34"/>
                  </a:cubicBezTo>
                  <a:cubicBezTo>
                    <a:pt x="7" y="44"/>
                    <a:pt x="15" y="52"/>
                    <a:pt x="25" y="54"/>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Freeform 110">
              <a:extLst>
                <a:ext uri="{FF2B5EF4-FFF2-40B4-BE49-F238E27FC236}">
                  <a16:creationId xmlns:a16="http://schemas.microsoft.com/office/drawing/2014/main" id="{E1D84E5C-FFAA-4374-B854-6AA733DC40E3}"/>
                </a:ext>
              </a:extLst>
            </p:cNvPr>
            <p:cNvSpPr>
              <a:spLocks/>
            </p:cNvSpPr>
            <p:nvPr/>
          </p:nvSpPr>
          <p:spPr bwMode="auto">
            <a:xfrm>
              <a:off x="6310313" y="1887538"/>
              <a:ext cx="73025" cy="104775"/>
            </a:xfrm>
            <a:custGeom>
              <a:avLst/>
              <a:gdLst>
                <a:gd name="T0" fmla="*/ 16 w 16"/>
                <a:gd name="T1" fmla="*/ 23 h 23"/>
                <a:gd name="T2" fmla="*/ 11 w 16"/>
                <a:gd name="T3" fmla="*/ 9 h 23"/>
                <a:gd name="T4" fmla="*/ 0 w 16"/>
                <a:gd name="T5" fmla="*/ 0 h 23"/>
                <a:gd name="T6" fmla="*/ 0 w 16"/>
                <a:gd name="T7" fmla="*/ 0 h 23"/>
              </a:gdLst>
              <a:ahLst/>
              <a:cxnLst>
                <a:cxn ang="0">
                  <a:pos x="T0" y="T1"/>
                </a:cxn>
                <a:cxn ang="0">
                  <a:pos x="T2" y="T3"/>
                </a:cxn>
                <a:cxn ang="0">
                  <a:pos x="T4" y="T5"/>
                </a:cxn>
                <a:cxn ang="0">
                  <a:pos x="T6" y="T7"/>
                </a:cxn>
              </a:cxnLst>
              <a:rect l="0" t="0" r="r" b="b"/>
              <a:pathLst>
                <a:path w="16" h="23">
                  <a:moveTo>
                    <a:pt x="16" y="23"/>
                  </a:moveTo>
                  <a:cubicBezTo>
                    <a:pt x="11" y="9"/>
                    <a:pt x="11" y="9"/>
                    <a:pt x="11" y="9"/>
                  </a:cubicBezTo>
                  <a:cubicBezTo>
                    <a:pt x="9" y="3"/>
                    <a:pt x="5" y="0"/>
                    <a:pt x="0" y="0"/>
                  </a:cubicBezTo>
                  <a:cubicBezTo>
                    <a:pt x="0" y="0"/>
                    <a:pt x="0" y="0"/>
                    <a:pt x="0" y="0"/>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111">
              <a:extLst>
                <a:ext uri="{FF2B5EF4-FFF2-40B4-BE49-F238E27FC236}">
                  <a16:creationId xmlns:a16="http://schemas.microsoft.com/office/drawing/2014/main" id="{6B9A2B92-764F-4836-BA7F-ED7BCF1CA8BF}"/>
                </a:ext>
              </a:extLst>
            </p:cNvPr>
            <p:cNvSpPr>
              <a:spLocks/>
            </p:cNvSpPr>
            <p:nvPr/>
          </p:nvSpPr>
          <p:spPr bwMode="auto">
            <a:xfrm>
              <a:off x="6383338" y="1747838"/>
              <a:ext cx="179388" cy="369888"/>
            </a:xfrm>
            <a:custGeom>
              <a:avLst/>
              <a:gdLst>
                <a:gd name="T0" fmla="*/ 31 w 40"/>
                <a:gd name="T1" fmla="*/ 82 h 82"/>
                <a:gd name="T2" fmla="*/ 40 w 40"/>
                <a:gd name="T3" fmla="*/ 63 h 82"/>
                <a:gd name="T4" fmla="*/ 40 w 40"/>
                <a:gd name="T5" fmla="*/ 47 h 82"/>
                <a:gd name="T6" fmla="*/ 40 w 40"/>
                <a:gd name="T7" fmla="*/ 42 h 82"/>
                <a:gd name="T8" fmla="*/ 40 w 40"/>
                <a:gd name="T9" fmla="*/ 22 h 82"/>
                <a:gd name="T10" fmla="*/ 36 w 40"/>
                <a:gd name="T11" fmla="*/ 17 h 82"/>
                <a:gd name="T12" fmla="*/ 30 w 40"/>
                <a:gd name="T13" fmla="*/ 22 h 82"/>
                <a:gd name="T14" fmla="*/ 30 w 40"/>
                <a:gd name="T15" fmla="*/ 12 h 82"/>
                <a:gd name="T16" fmla="*/ 26 w 40"/>
                <a:gd name="T17" fmla="*/ 7 h 82"/>
                <a:gd name="T18" fmla="*/ 20 w 40"/>
                <a:gd name="T19" fmla="*/ 12 h 82"/>
                <a:gd name="T20" fmla="*/ 20 w 40"/>
                <a:gd name="T21" fmla="*/ 5 h 82"/>
                <a:gd name="T22" fmla="*/ 15 w 40"/>
                <a:gd name="T23" fmla="*/ 0 h 82"/>
                <a:gd name="T24" fmla="*/ 10 w 40"/>
                <a:gd name="T25" fmla="*/ 5 h 82"/>
                <a:gd name="T26" fmla="*/ 10 w 40"/>
                <a:gd name="T27" fmla="*/ 12 h 82"/>
                <a:gd name="T28" fmla="*/ 5 w 40"/>
                <a:gd name="T29" fmla="*/ 7 h 82"/>
                <a:gd name="T30" fmla="*/ 0 w 40"/>
                <a:gd name="T31" fmla="*/ 13 h 82"/>
                <a:gd name="T32" fmla="*/ 0 w 40"/>
                <a:gd name="T33" fmla="*/ 39 h 82"/>
                <a:gd name="T34" fmla="*/ 0 w 40"/>
                <a:gd name="T35" fmla="*/ 42 h 82"/>
                <a:gd name="T36" fmla="*/ 0 w 40"/>
                <a:gd name="T37" fmla="*/ 54 h 82"/>
                <a:gd name="T38" fmla="*/ 14 w 40"/>
                <a:gd name="T3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82">
                  <a:moveTo>
                    <a:pt x="31" y="82"/>
                  </a:moveTo>
                  <a:cubicBezTo>
                    <a:pt x="37" y="78"/>
                    <a:pt x="40" y="71"/>
                    <a:pt x="40" y="63"/>
                  </a:cubicBezTo>
                  <a:cubicBezTo>
                    <a:pt x="40" y="47"/>
                    <a:pt x="40" y="47"/>
                    <a:pt x="40" y="47"/>
                  </a:cubicBezTo>
                  <a:cubicBezTo>
                    <a:pt x="40" y="42"/>
                    <a:pt x="40" y="42"/>
                    <a:pt x="40" y="42"/>
                  </a:cubicBezTo>
                  <a:cubicBezTo>
                    <a:pt x="40" y="22"/>
                    <a:pt x="40" y="22"/>
                    <a:pt x="40" y="22"/>
                  </a:cubicBezTo>
                  <a:cubicBezTo>
                    <a:pt x="40" y="20"/>
                    <a:pt x="39" y="17"/>
                    <a:pt x="36" y="17"/>
                  </a:cubicBezTo>
                  <a:cubicBezTo>
                    <a:pt x="33" y="16"/>
                    <a:pt x="30" y="19"/>
                    <a:pt x="30" y="22"/>
                  </a:cubicBezTo>
                  <a:cubicBezTo>
                    <a:pt x="30" y="12"/>
                    <a:pt x="30" y="12"/>
                    <a:pt x="30" y="12"/>
                  </a:cubicBezTo>
                  <a:cubicBezTo>
                    <a:pt x="30" y="10"/>
                    <a:pt x="29" y="8"/>
                    <a:pt x="26" y="7"/>
                  </a:cubicBezTo>
                  <a:cubicBezTo>
                    <a:pt x="23" y="7"/>
                    <a:pt x="20" y="9"/>
                    <a:pt x="20" y="12"/>
                  </a:cubicBezTo>
                  <a:cubicBezTo>
                    <a:pt x="20" y="5"/>
                    <a:pt x="20" y="5"/>
                    <a:pt x="20" y="5"/>
                  </a:cubicBezTo>
                  <a:cubicBezTo>
                    <a:pt x="20" y="3"/>
                    <a:pt x="18" y="0"/>
                    <a:pt x="15" y="0"/>
                  </a:cubicBezTo>
                  <a:cubicBezTo>
                    <a:pt x="12" y="0"/>
                    <a:pt x="10" y="2"/>
                    <a:pt x="10" y="5"/>
                  </a:cubicBezTo>
                  <a:cubicBezTo>
                    <a:pt x="10" y="12"/>
                    <a:pt x="10" y="12"/>
                    <a:pt x="10" y="12"/>
                  </a:cubicBezTo>
                  <a:cubicBezTo>
                    <a:pt x="10" y="9"/>
                    <a:pt x="7" y="7"/>
                    <a:pt x="5" y="7"/>
                  </a:cubicBezTo>
                  <a:cubicBezTo>
                    <a:pt x="2" y="7"/>
                    <a:pt x="0" y="10"/>
                    <a:pt x="0" y="13"/>
                  </a:cubicBezTo>
                  <a:cubicBezTo>
                    <a:pt x="0" y="39"/>
                    <a:pt x="0" y="39"/>
                    <a:pt x="0" y="39"/>
                  </a:cubicBezTo>
                  <a:cubicBezTo>
                    <a:pt x="0" y="42"/>
                    <a:pt x="0" y="42"/>
                    <a:pt x="0" y="42"/>
                  </a:cubicBezTo>
                  <a:cubicBezTo>
                    <a:pt x="0" y="54"/>
                    <a:pt x="0" y="54"/>
                    <a:pt x="0" y="54"/>
                  </a:cubicBezTo>
                  <a:cubicBezTo>
                    <a:pt x="0" y="54"/>
                    <a:pt x="14" y="55"/>
                    <a:pt x="14" y="69"/>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8" name="Line 112">
              <a:extLst>
                <a:ext uri="{FF2B5EF4-FFF2-40B4-BE49-F238E27FC236}">
                  <a16:creationId xmlns:a16="http://schemas.microsoft.com/office/drawing/2014/main" id="{89D088D6-F3B6-495D-B151-67C78998A259}"/>
                </a:ext>
              </a:extLst>
            </p:cNvPr>
            <p:cNvSpPr>
              <a:spLocks noChangeShapeType="1"/>
            </p:cNvSpPr>
            <p:nvPr/>
          </p:nvSpPr>
          <p:spPr bwMode="auto">
            <a:xfrm>
              <a:off x="6427788" y="1801813"/>
              <a:ext cx="0" cy="149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113">
              <a:extLst>
                <a:ext uri="{FF2B5EF4-FFF2-40B4-BE49-F238E27FC236}">
                  <a16:creationId xmlns:a16="http://schemas.microsoft.com/office/drawing/2014/main" id="{FED8C008-503C-4681-9F8E-1AECCFEC71FD}"/>
                </a:ext>
              </a:extLst>
            </p:cNvPr>
            <p:cNvSpPr>
              <a:spLocks noChangeShapeType="1"/>
            </p:cNvSpPr>
            <p:nvPr/>
          </p:nvSpPr>
          <p:spPr bwMode="auto">
            <a:xfrm>
              <a:off x="6472238" y="1801813"/>
              <a:ext cx="0" cy="149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114">
              <a:extLst>
                <a:ext uri="{FF2B5EF4-FFF2-40B4-BE49-F238E27FC236}">
                  <a16:creationId xmlns:a16="http://schemas.microsoft.com/office/drawing/2014/main" id="{31076043-669A-48D9-A16F-2C177496FEDB}"/>
                </a:ext>
              </a:extLst>
            </p:cNvPr>
            <p:cNvSpPr>
              <a:spLocks noChangeShapeType="1"/>
            </p:cNvSpPr>
            <p:nvPr/>
          </p:nvSpPr>
          <p:spPr bwMode="auto">
            <a:xfrm>
              <a:off x="6518275" y="1801813"/>
              <a:ext cx="0" cy="149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115">
              <a:extLst>
                <a:ext uri="{FF2B5EF4-FFF2-40B4-BE49-F238E27FC236}">
                  <a16:creationId xmlns:a16="http://schemas.microsoft.com/office/drawing/2014/main" id="{0DD68E41-D5B5-4393-BF0A-B97DA838039F}"/>
                </a:ext>
              </a:extLst>
            </p:cNvPr>
            <p:cNvSpPr>
              <a:spLocks/>
            </p:cNvSpPr>
            <p:nvPr/>
          </p:nvSpPr>
          <p:spPr bwMode="auto">
            <a:xfrm>
              <a:off x="6530975" y="2117725"/>
              <a:ext cx="19050" cy="139700"/>
            </a:xfrm>
            <a:custGeom>
              <a:avLst/>
              <a:gdLst>
                <a:gd name="T0" fmla="*/ 0 w 4"/>
                <a:gd name="T1" fmla="*/ 0 h 31"/>
                <a:gd name="T2" fmla="*/ 3 w 4"/>
                <a:gd name="T3" fmla="*/ 31 h 31"/>
              </a:gdLst>
              <a:ahLst/>
              <a:cxnLst>
                <a:cxn ang="0">
                  <a:pos x="T0" y="T1"/>
                </a:cxn>
                <a:cxn ang="0">
                  <a:pos x="T2" y="T3"/>
                </a:cxn>
              </a:cxnLst>
              <a:rect l="0" t="0" r="r" b="b"/>
              <a:pathLst>
                <a:path w="4" h="31">
                  <a:moveTo>
                    <a:pt x="0" y="0"/>
                  </a:moveTo>
                  <a:cubicBezTo>
                    <a:pt x="0" y="0"/>
                    <a:pt x="4" y="15"/>
                    <a:pt x="3" y="31"/>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116">
              <a:extLst>
                <a:ext uri="{FF2B5EF4-FFF2-40B4-BE49-F238E27FC236}">
                  <a16:creationId xmlns:a16="http://schemas.microsoft.com/office/drawing/2014/main" id="{610056A1-C39B-426F-91C3-0A4DC9E14D06}"/>
                </a:ext>
              </a:extLst>
            </p:cNvPr>
            <p:cNvSpPr>
              <a:spLocks/>
            </p:cNvSpPr>
            <p:nvPr/>
          </p:nvSpPr>
          <p:spPr bwMode="auto">
            <a:xfrm>
              <a:off x="6410325" y="2132013"/>
              <a:ext cx="7938" cy="125413"/>
            </a:xfrm>
            <a:custGeom>
              <a:avLst/>
              <a:gdLst>
                <a:gd name="T0" fmla="*/ 0 w 2"/>
                <a:gd name="T1" fmla="*/ 0 h 28"/>
                <a:gd name="T2" fmla="*/ 1 w 2"/>
                <a:gd name="T3" fmla="*/ 28 h 28"/>
              </a:gdLst>
              <a:ahLst/>
              <a:cxnLst>
                <a:cxn ang="0">
                  <a:pos x="T0" y="T1"/>
                </a:cxn>
                <a:cxn ang="0">
                  <a:pos x="T2" y="T3"/>
                </a:cxn>
              </a:cxnLst>
              <a:rect l="0" t="0" r="r" b="b"/>
              <a:pathLst>
                <a:path w="2" h="28">
                  <a:moveTo>
                    <a:pt x="0" y="0"/>
                  </a:moveTo>
                  <a:cubicBezTo>
                    <a:pt x="0" y="0"/>
                    <a:pt x="2" y="12"/>
                    <a:pt x="1" y="28"/>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03" name="Rectangle 102">
            <a:extLst>
              <a:ext uri="{FF2B5EF4-FFF2-40B4-BE49-F238E27FC236}">
                <a16:creationId xmlns:a16="http://schemas.microsoft.com/office/drawing/2014/main" id="{496520C2-CC4E-4BF4-A238-78AEA136216A}"/>
              </a:ext>
            </a:extLst>
          </p:cNvPr>
          <p:cNvSpPr/>
          <p:nvPr/>
        </p:nvSpPr>
        <p:spPr>
          <a:xfrm>
            <a:off x="1123975" y="3726932"/>
            <a:ext cx="702436" cy="307777"/>
          </a:xfrm>
          <a:prstGeom prst="rect">
            <a:avLst/>
          </a:prstGeom>
        </p:spPr>
        <p:txBody>
          <a:bodyPr wrap="none">
            <a:spAutoFit/>
          </a:bodyPr>
          <a:lstStyle/>
          <a:p>
            <a:r>
              <a:rPr lang="en-GB" sz="1400" dirty="0">
                <a:solidFill>
                  <a:srgbClr val="1F2023"/>
                </a:solidFill>
              </a:rPr>
              <a:t>Desire</a:t>
            </a:r>
            <a:endParaRPr lang="en-GB" dirty="0"/>
          </a:p>
        </p:txBody>
      </p:sp>
      <p:sp>
        <p:nvSpPr>
          <p:cNvPr id="105" name="Rectangle 104">
            <a:extLst>
              <a:ext uri="{FF2B5EF4-FFF2-40B4-BE49-F238E27FC236}">
                <a16:creationId xmlns:a16="http://schemas.microsoft.com/office/drawing/2014/main" id="{2BB151F2-052D-46E8-AA5C-B494AB1F51F5}"/>
              </a:ext>
            </a:extLst>
          </p:cNvPr>
          <p:cNvSpPr/>
          <p:nvPr/>
        </p:nvSpPr>
        <p:spPr>
          <a:xfrm>
            <a:off x="1123975" y="4306893"/>
            <a:ext cx="803425" cy="307777"/>
          </a:xfrm>
          <a:prstGeom prst="rect">
            <a:avLst/>
          </a:prstGeom>
        </p:spPr>
        <p:txBody>
          <a:bodyPr wrap="none">
            <a:spAutoFit/>
          </a:bodyPr>
          <a:lstStyle/>
          <a:p>
            <a:r>
              <a:rPr lang="en-GB" sz="1400" dirty="0">
                <a:solidFill>
                  <a:srgbClr val="1F2023"/>
                </a:solidFill>
              </a:rPr>
              <a:t>Abilities</a:t>
            </a:r>
            <a:endParaRPr lang="en-GB" dirty="0"/>
          </a:p>
        </p:txBody>
      </p:sp>
      <p:sp>
        <p:nvSpPr>
          <p:cNvPr id="107" name="Rectangle 106">
            <a:extLst>
              <a:ext uri="{FF2B5EF4-FFF2-40B4-BE49-F238E27FC236}">
                <a16:creationId xmlns:a16="http://schemas.microsoft.com/office/drawing/2014/main" id="{FFD7C87B-5256-4766-9237-0666E37A730E}"/>
              </a:ext>
            </a:extLst>
          </p:cNvPr>
          <p:cNvSpPr/>
          <p:nvPr/>
        </p:nvSpPr>
        <p:spPr>
          <a:xfrm>
            <a:off x="1123975" y="4886854"/>
            <a:ext cx="891591" cy="307777"/>
          </a:xfrm>
          <a:prstGeom prst="rect">
            <a:avLst/>
          </a:prstGeom>
        </p:spPr>
        <p:txBody>
          <a:bodyPr wrap="none">
            <a:spAutoFit/>
          </a:bodyPr>
          <a:lstStyle/>
          <a:p>
            <a:r>
              <a:rPr lang="en-GB" sz="1400" dirty="0">
                <a:solidFill>
                  <a:srgbClr val="1F2023"/>
                </a:solidFill>
              </a:rPr>
              <a:t>Reasons</a:t>
            </a:r>
            <a:endParaRPr lang="en-GB" dirty="0"/>
          </a:p>
        </p:txBody>
      </p:sp>
      <p:sp>
        <p:nvSpPr>
          <p:cNvPr id="109" name="Rectangle 108">
            <a:extLst>
              <a:ext uri="{FF2B5EF4-FFF2-40B4-BE49-F238E27FC236}">
                <a16:creationId xmlns:a16="http://schemas.microsoft.com/office/drawing/2014/main" id="{5FD462B4-A4C9-4D79-80A7-C54CEA2FA3BF}"/>
              </a:ext>
            </a:extLst>
          </p:cNvPr>
          <p:cNvSpPr/>
          <p:nvPr/>
        </p:nvSpPr>
        <p:spPr>
          <a:xfrm>
            <a:off x="1123975" y="5466815"/>
            <a:ext cx="702436" cy="307777"/>
          </a:xfrm>
          <a:prstGeom prst="rect">
            <a:avLst/>
          </a:prstGeom>
        </p:spPr>
        <p:txBody>
          <a:bodyPr wrap="none">
            <a:spAutoFit/>
          </a:bodyPr>
          <a:lstStyle/>
          <a:p>
            <a:r>
              <a:rPr lang="en-GB" sz="1400" dirty="0">
                <a:solidFill>
                  <a:srgbClr val="1F2023"/>
                </a:solidFill>
              </a:rPr>
              <a:t>Needs</a:t>
            </a:r>
            <a:endParaRPr lang="en-GB" dirty="0"/>
          </a:p>
        </p:txBody>
      </p:sp>
      <p:cxnSp>
        <p:nvCxnSpPr>
          <p:cNvPr id="116" name="Straight Connector 115">
            <a:extLst>
              <a:ext uri="{FF2B5EF4-FFF2-40B4-BE49-F238E27FC236}">
                <a16:creationId xmlns:a16="http://schemas.microsoft.com/office/drawing/2014/main" id="{90AAF397-A028-4097-9B7E-09AD9FFB68E3}"/>
              </a:ext>
            </a:extLst>
          </p:cNvPr>
          <p:cNvCxnSpPr>
            <a:cxnSpLocks/>
          </p:cNvCxnSpPr>
          <p:nvPr/>
        </p:nvCxnSpPr>
        <p:spPr>
          <a:xfrm rot="5400000">
            <a:off x="1729021" y="3565755"/>
            <a:ext cx="0" cy="1210092"/>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E1BFDA8B-08CD-41B7-93A7-11515015794B}"/>
              </a:ext>
            </a:extLst>
          </p:cNvPr>
          <p:cNvCxnSpPr>
            <a:cxnSpLocks/>
          </p:cNvCxnSpPr>
          <p:nvPr/>
        </p:nvCxnSpPr>
        <p:spPr>
          <a:xfrm rot="5400000">
            <a:off x="1729021" y="4145716"/>
            <a:ext cx="0" cy="1210092"/>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9AC5DD93-D75B-471A-A97B-A7D0123DEAF2}"/>
              </a:ext>
            </a:extLst>
          </p:cNvPr>
          <p:cNvCxnSpPr>
            <a:cxnSpLocks/>
          </p:cNvCxnSpPr>
          <p:nvPr/>
        </p:nvCxnSpPr>
        <p:spPr>
          <a:xfrm rot="5400000">
            <a:off x="1729021" y="4725677"/>
            <a:ext cx="0" cy="1210092"/>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
        <p:nvSpPr>
          <p:cNvPr id="41" name="Freeform 25">
            <a:extLst>
              <a:ext uri="{FF2B5EF4-FFF2-40B4-BE49-F238E27FC236}">
                <a16:creationId xmlns:a16="http://schemas.microsoft.com/office/drawing/2014/main" id="{06FBD1E0-0C0A-4423-A853-44E7904BFA0D}"/>
              </a:ext>
            </a:extLst>
          </p:cNvPr>
          <p:cNvSpPr>
            <a:spLocks/>
          </p:cNvSpPr>
          <p:nvPr/>
        </p:nvSpPr>
        <p:spPr bwMode="auto">
          <a:xfrm>
            <a:off x="3223830" y="4938283"/>
            <a:ext cx="208898" cy="204919"/>
          </a:xfrm>
          <a:custGeom>
            <a:avLst/>
            <a:gdLst>
              <a:gd name="T0" fmla="*/ 0 w 315"/>
              <a:gd name="T1" fmla="*/ 309 h 309"/>
              <a:gd name="T2" fmla="*/ 0 w 315"/>
              <a:gd name="T3" fmla="*/ 235 h 309"/>
              <a:gd name="T4" fmla="*/ 79 w 315"/>
              <a:gd name="T5" fmla="*/ 235 h 309"/>
              <a:gd name="T6" fmla="*/ 79 w 315"/>
              <a:gd name="T7" fmla="*/ 156 h 309"/>
              <a:gd name="T8" fmla="*/ 159 w 315"/>
              <a:gd name="T9" fmla="*/ 156 h 309"/>
              <a:gd name="T10" fmla="*/ 159 w 315"/>
              <a:gd name="T11" fmla="*/ 79 h 309"/>
              <a:gd name="T12" fmla="*/ 238 w 315"/>
              <a:gd name="T13" fmla="*/ 79 h 309"/>
              <a:gd name="T14" fmla="*/ 238 w 315"/>
              <a:gd name="T15" fmla="*/ 0 h 309"/>
              <a:gd name="T16" fmla="*/ 315 w 315"/>
              <a:gd name="T17"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5" h="309">
                <a:moveTo>
                  <a:pt x="0" y="309"/>
                </a:moveTo>
                <a:lnTo>
                  <a:pt x="0" y="235"/>
                </a:lnTo>
                <a:lnTo>
                  <a:pt x="79" y="235"/>
                </a:lnTo>
                <a:lnTo>
                  <a:pt x="79" y="156"/>
                </a:lnTo>
                <a:lnTo>
                  <a:pt x="159" y="156"/>
                </a:lnTo>
                <a:lnTo>
                  <a:pt x="159" y="79"/>
                </a:lnTo>
                <a:lnTo>
                  <a:pt x="238" y="79"/>
                </a:lnTo>
                <a:lnTo>
                  <a:pt x="238" y="0"/>
                </a:lnTo>
                <a:lnTo>
                  <a:pt x="315" y="0"/>
                </a:ln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42" name="Group 41">
            <a:extLst>
              <a:ext uri="{FF2B5EF4-FFF2-40B4-BE49-F238E27FC236}">
                <a16:creationId xmlns:a16="http://schemas.microsoft.com/office/drawing/2014/main" id="{97E3AEC2-72EC-4267-882D-DE4EA89F9F06}"/>
              </a:ext>
            </a:extLst>
          </p:cNvPr>
          <p:cNvGrpSpPr/>
          <p:nvPr/>
        </p:nvGrpSpPr>
        <p:grpSpPr>
          <a:xfrm>
            <a:off x="3221305" y="3765795"/>
            <a:ext cx="213948" cy="230800"/>
            <a:chOff x="7404100" y="5138739"/>
            <a:chExt cx="463550" cy="500062"/>
          </a:xfrm>
        </p:grpSpPr>
        <p:sp>
          <p:nvSpPr>
            <p:cNvPr id="43" name="Freeform 119">
              <a:extLst>
                <a:ext uri="{FF2B5EF4-FFF2-40B4-BE49-F238E27FC236}">
                  <a16:creationId xmlns:a16="http://schemas.microsoft.com/office/drawing/2014/main" id="{DAFA9A34-719F-43D7-8D8E-70933D9F9B30}"/>
                </a:ext>
              </a:extLst>
            </p:cNvPr>
            <p:cNvSpPr>
              <a:spLocks/>
            </p:cNvSpPr>
            <p:nvPr/>
          </p:nvSpPr>
          <p:spPr bwMode="auto">
            <a:xfrm>
              <a:off x="7426325" y="5521326"/>
              <a:ext cx="190500" cy="117475"/>
            </a:xfrm>
            <a:custGeom>
              <a:avLst/>
              <a:gdLst>
                <a:gd name="T0" fmla="*/ 42 w 42"/>
                <a:gd name="T1" fmla="*/ 26 h 26"/>
                <a:gd name="T2" fmla="*/ 42 w 42"/>
                <a:gd name="T3" fmla="*/ 14 h 26"/>
                <a:gd name="T4" fmla="*/ 28 w 42"/>
                <a:gd name="T5" fmla="*/ 0 h 26"/>
                <a:gd name="T6" fmla="*/ 14 w 42"/>
                <a:gd name="T7" fmla="*/ 0 h 26"/>
                <a:gd name="T8" fmla="*/ 0 w 42"/>
                <a:gd name="T9" fmla="*/ 14 h 26"/>
                <a:gd name="T10" fmla="*/ 0 w 42"/>
                <a:gd name="T11" fmla="*/ 26 h 26"/>
              </a:gdLst>
              <a:ahLst/>
              <a:cxnLst>
                <a:cxn ang="0">
                  <a:pos x="T0" y="T1"/>
                </a:cxn>
                <a:cxn ang="0">
                  <a:pos x="T2" y="T3"/>
                </a:cxn>
                <a:cxn ang="0">
                  <a:pos x="T4" y="T5"/>
                </a:cxn>
                <a:cxn ang="0">
                  <a:pos x="T6" y="T7"/>
                </a:cxn>
                <a:cxn ang="0">
                  <a:pos x="T8" y="T9"/>
                </a:cxn>
                <a:cxn ang="0">
                  <a:pos x="T10" y="T11"/>
                </a:cxn>
              </a:cxnLst>
              <a:rect l="0" t="0" r="r" b="b"/>
              <a:pathLst>
                <a:path w="42" h="26">
                  <a:moveTo>
                    <a:pt x="42" y="26"/>
                  </a:moveTo>
                  <a:cubicBezTo>
                    <a:pt x="42" y="14"/>
                    <a:pt x="42" y="14"/>
                    <a:pt x="42" y="14"/>
                  </a:cubicBezTo>
                  <a:cubicBezTo>
                    <a:pt x="42" y="6"/>
                    <a:pt x="36" y="0"/>
                    <a:pt x="28" y="0"/>
                  </a:cubicBezTo>
                  <a:cubicBezTo>
                    <a:pt x="14" y="0"/>
                    <a:pt x="14" y="0"/>
                    <a:pt x="14" y="0"/>
                  </a:cubicBezTo>
                  <a:cubicBezTo>
                    <a:pt x="6" y="0"/>
                    <a:pt x="0" y="6"/>
                    <a:pt x="0" y="14"/>
                  </a:cubicBezTo>
                  <a:cubicBezTo>
                    <a:pt x="0" y="26"/>
                    <a:pt x="0" y="26"/>
                    <a:pt x="0" y="26"/>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Line 120">
              <a:extLst>
                <a:ext uri="{FF2B5EF4-FFF2-40B4-BE49-F238E27FC236}">
                  <a16:creationId xmlns:a16="http://schemas.microsoft.com/office/drawing/2014/main" id="{156C209E-402E-4B66-8074-FFA85C4ECD8A}"/>
                </a:ext>
              </a:extLst>
            </p:cNvPr>
            <p:cNvSpPr>
              <a:spLocks noChangeShapeType="1"/>
            </p:cNvSpPr>
            <p:nvPr/>
          </p:nvSpPr>
          <p:spPr bwMode="auto">
            <a:xfrm>
              <a:off x="7553325" y="5494339"/>
              <a:ext cx="0"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21">
              <a:extLst>
                <a:ext uri="{FF2B5EF4-FFF2-40B4-BE49-F238E27FC236}">
                  <a16:creationId xmlns:a16="http://schemas.microsoft.com/office/drawing/2014/main" id="{2D991C5E-3FD9-41A1-8DF5-75629A8DD728}"/>
                </a:ext>
              </a:extLst>
            </p:cNvPr>
            <p:cNvSpPr>
              <a:spLocks/>
            </p:cNvSpPr>
            <p:nvPr/>
          </p:nvSpPr>
          <p:spPr bwMode="auto">
            <a:xfrm>
              <a:off x="7477125" y="5408614"/>
              <a:ext cx="88900" cy="112713"/>
            </a:xfrm>
            <a:custGeom>
              <a:avLst/>
              <a:gdLst>
                <a:gd name="T0" fmla="*/ 10 w 20"/>
                <a:gd name="T1" fmla="*/ 25 h 25"/>
                <a:gd name="T2" fmla="*/ 1 w 20"/>
                <a:gd name="T3" fmla="*/ 12 h 25"/>
                <a:gd name="T4" fmla="*/ 10 w 20"/>
                <a:gd name="T5" fmla="*/ 0 h 25"/>
                <a:gd name="T6" fmla="*/ 19 w 20"/>
                <a:gd name="T7" fmla="*/ 12 h 25"/>
                <a:gd name="T8" fmla="*/ 18 w 20"/>
                <a:gd name="T9" fmla="*/ 18 h 25"/>
              </a:gdLst>
              <a:ahLst/>
              <a:cxnLst>
                <a:cxn ang="0">
                  <a:pos x="T0" y="T1"/>
                </a:cxn>
                <a:cxn ang="0">
                  <a:pos x="T2" y="T3"/>
                </a:cxn>
                <a:cxn ang="0">
                  <a:pos x="T4" y="T5"/>
                </a:cxn>
                <a:cxn ang="0">
                  <a:pos x="T6" y="T7"/>
                </a:cxn>
                <a:cxn ang="0">
                  <a:pos x="T8" y="T9"/>
                </a:cxn>
              </a:cxnLst>
              <a:rect l="0" t="0" r="r" b="b"/>
              <a:pathLst>
                <a:path w="20" h="25">
                  <a:moveTo>
                    <a:pt x="10" y="25"/>
                  </a:moveTo>
                  <a:cubicBezTo>
                    <a:pt x="6" y="25"/>
                    <a:pt x="2" y="20"/>
                    <a:pt x="1" y="12"/>
                  </a:cubicBezTo>
                  <a:cubicBezTo>
                    <a:pt x="0" y="6"/>
                    <a:pt x="3" y="0"/>
                    <a:pt x="10" y="0"/>
                  </a:cubicBezTo>
                  <a:cubicBezTo>
                    <a:pt x="17" y="0"/>
                    <a:pt x="20" y="6"/>
                    <a:pt x="19" y="12"/>
                  </a:cubicBezTo>
                  <a:cubicBezTo>
                    <a:pt x="19" y="15"/>
                    <a:pt x="18" y="16"/>
                    <a:pt x="18" y="18"/>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22">
              <a:extLst>
                <a:ext uri="{FF2B5EF4-FFF2-40B4-BE49-F238E27FC236}">
                  <a16:creationId xmlns:a16="http://schemas.microsoft.com/office/drawing/2014/main" id="{8D44C4B6-A8FE-4D34-B5B2-66FC94055D5B}"/>
                </a:ext>
              </a:extLst>
            </p:cNvPr>
            <p:cNvSpPr>
              <a:spLocks/>
            </p:cNvSpPr>
            <p:nvPr/>
          </p:nvSpPr>
          <p:spPr bwMode="auto">
            <a:xfrm>
              <a:off x="7666038" y="5521326"/>
              <a:ext cx="188913" cy="117475"/>
            </a:xfrm>
            <a:custGeom>
              <a:avLst/>
              <a:gdLst>
                <a:gd name="T0" fmla="*/ 42 w 42"/>
                <a:gd name="T1" fmla="*/ 26 h 26"/>
                <a:gd name="T2" fmla="*/ 42 w 42"/>
                <a:gd name="T3" fmla="*/ 14 h 26"/>
                <a:gd name="T4" fmla="*/ 28 w 42"/>
                <a:gd name="T5" fmla="*/ 0 h 26"/>
                <a:gd name="T6" fmla="*/ 14 w 42"/>
                <a:gd name="T7" fmla="*/ 0 h 26"/>
                <a:gd name="T8" fmla="*/ 0 w 42"/>
                <a:gd name="T9" fmla="*/ 14 h 26"/>
                <a:gd name="T10" fmla="*/ 0 w 42"/>
                <a:gd name="T11" fmla="*/ 26 h 26"/>
              </a:gdLst>
              <a:ahLst/>
              <a:cxnLst>
                <a:cxn ang="0">
                  <a:pos x="T0" y="T1"/>
                </a:cxn>
                <a:cxn ang="0">
                  <a:pos x="T2" y="T3"/>
                </a:cxn>
                <a:cxn ang="0">
                  <a:pos x="T4" y="T5"/>
                </a:cxn>
                <a:cxn ang="0">
                  <a:pos x="T6" y="T7"/>
                </a:cxn>
                <a:cxn ang="0">
                  <a:pos x="T8" y="T9"/>
                </a:cxn>
                <a:cxn ang="0">
                  <a:pos x="T10" y="T11"/>
                </a:cxn>
              </a:cxnLst>
              <a:rect l="0" t="0" r="r" b="b"/>
              <a:pathLst>
                <a:path w="42" h="26">
                  <a:moveTo>
                    <a:pt x="42" y="26"/>
                  </a:moveTo>
                  <a:cubicBezTo>
                    <a:pt x="42" y="14"/>
                    <a:pt x="42" y="14"/>
                    <a:pt x="42" y="14"/>
                  </a:cubicBezTo>
                  <a:cubicBezTo>
                    <a:pt x="42" y="6"/>
                    <a:pt x="36" y="0"/>
                    <a:pt x="28" y="0"/>
                  </a:cubicBezTo>
                  <a:cubicBezTo>
                    <a:pt x="14" y="0"/>
                    <a:pt x="14" y="0"/>
                    <a:pt x="14" y="0"/>
                  </a:cubicBezTo>
                  <a:cubicBezTo>
                    <a:pt x="6" y="0"/>
                    <a:pt x="0" y="6"/>
                    <a:pt x="0" y="14"/>
                  </a:cubicBezTo>
                  <a:cubicBezTo>
                    <a:pt x="0" y="26"/>
                    <a:pt x="0" y="26"/>
                    <a:pt x="0" y="26"/>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Line 123">
              <a:extLst>
                <a:ext uri="{FF2B5EF4-FFF2-40B4-BE49-F238E27FC236}">
                  <a16:creationId xmlns:a16="http://schemas.microsoft.com/office/drawing/2014/main" id="{66975582-4AB9-41F7-81CA-FDA0A1B703DD}"/>
                </a:ext>
              </a:extLst>
            </p:cNvPr>
            <p:cNvSpPr>
              <a:spLocks noChangeShapeType="1"/>
            </p:cNvSpPr>
            <p:nvPr/>
          </p:nvSpPr>
          <p:spPr bwMode="auto">
            <a:xfrm>
              <a:off x="7791450" y="5494339"/>
              <a:ext cx="0"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24">
              <a:extLst>
                <a:ext uri="{FF2B5EF4-FFF2-40B4-BE49-F238E27FC236}">
                  <a16:creationId xmlns:a16="http://schemas.microsoft.com/office/drawing/2014/main" id="{DD228D9A-C4DA-463A-A9FC-C33B6354AB59}"/>
                </a:ext>
              </a:extLst>
            </p:cNvPr>
            <p:cNvSpPr>
              <a:spLocks/>
            </p:cNvSpPr>
            <p:nvPr/>
          </p:nvSpPr>
          <p:spPr bwMode="auto">
            <a:xfrm>
              <a:off x="7715250" y="5408614"/>
              <a:ext cx="90488" cy="112713"/>
            </a:xfrm>
            <a:custGeom>
              <a:avLst/>
              <a:gdLst>
                <a:gd name="T0" fmla="*/ 10 w 20"/>
                <a:gd name="T1" fmla="*/ 25 h 25"/>
                <a:gd name="T2" fmla="*/ 1 w 20"/>
                <a:gd name="T3" fmla="*/ 12 h 25"/>
                <a:gd name="T4" fmla="*/ 10 w 20"/>
                <a:gd name="T5" fmla="*/ 0 h 25"/>
                <a:gd name="T6" fmla="*/ 19 w 20"/>
                <a:gd name="T7" fmla="*/ 12 h 25"/>
                <a:gd name="T8" fmla="*/ 18 w 20"/>
                <a:gd name="T9" fmla="*/ 18 h 25"/>
              </a:gdLst>
              <a:ahLst/>
              <a:cxnLst>
                <a:cxn ang="0">
                  <a:pos x="T0" y="T1"/>
                </a:cxn>
                <a:cxn ang="0">
                  <a:pos x="T2" y="T3"/>
                </a:cxn>
                <a:cxn ang="0">
                  <a:pos x="T4" y="T5"/>
                </a:cxn>
                <a:cxn ang="0">
                  <a:pos x="T6" y="T7"/>
                </a:cxn>
                <a:cxn ang="0">
                  <a:pos x="T8" y="T9"/>
                </a:cxn>
              </a:cxnLst>
              <a:rect l="0" t="0" r="r" b="b"/>
              <a:pathLst>
                <a:path w="20" h="25">
                  <a:moveTo>
                    <a:pt x="10" y="25"/>
                  </a:moveTo>
                  <a:cubicBezTo>
                    <a:pt x="6" y="25"/>
                    <a:pt x="1" y="20"/>
                    <a:pt x="1" y="12"/>
                  </a:cubicBezTo>
                  <a:cubicBezTo>
                    <a:pt x="0" y="6"/>
                    <a:pt x="3" y="0"/>
                    <a:pt x="10" y="0"/>
                  </a:cubicBezTo>
                  <a:cubicBezTo>
                    <a:pt x="17" y="0"/>
                    <a:pt x="20" y="6"/>
                    <a:pt x="19" y="12"/>
                  </a:cubicBezTo>
                  <a:cubicBezTo>
                    <a:pt x="19" y="15"/>
                    <a:pt x="18" y="16"/>
                    <a:pt x="18" y="18"/>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25">
              <a:extLst>
                <a:ext uri="{FF2B5EF4-FFF2-40B4-BE49-F238E27FC236}">
                  <a16:creationId xmlns:a16="http://schemas.microsoft.com/office/drawing/2014/main" id="{80E50770-EF5E-4D00-8286-90291E1D2E2B}"/>
                </a:ext>
              </a:extLst>
            </p:cNvPr>
            <p:cNvSpPr>
              <a:spLocks/>
            </p:cNvSpPr>
            <p:nvPr/>
          </p:nvSpPr>
          <p:spPr bwMode="auto">
            <a:xfrm>
              <a:off x="7404100" y="5138739"/>
              <a:ext cx="463550" cy="257175"/>
            </a:xfrm>
            <a:custGeom>
              <a:avLst/>
              <a:gdLst>
                <a:gd name="T0" fmla="*/ 81 w 103"/>
                <a:gd name="T1" fmla="*/ 0 h 57"/>
                <a:gd name="T2" fmla="*/ 7 w 103"/>
                <a:gd name="T3" fmla="*/ 0 h 57"/>
                <a:gd name="T4" fmla="*/ 0 w 103"/>
                <a:gd name="T5" fmla="*/ 7 h 57"/>
                <a:gd name="T6" fmla="*/ 0 w 103"/>
                <a:gd name="T7" fmla="*/ 32 h 57"/>
                <a:gd name="T8" fmla="*/ 7 w 103"/>
                <a:gd name="T9" fmla="*/ 39 h 57"/>
                <a:gd name="T10" fmla="*/ 10 w 103"/>
                <a:gd name="T11" fmla="*/ 39 h 57"/>
                <a:gd name="T12" fmla="*/ 10 w 103"/>
                <a:gd name="T13" fmla="*/ 57 h 57"/>
                <a:gd name="T14" fmla="*/ 27 w 103"/>
                <a:gd name="T15" fmla="*/ 39 h 57"/>
                <a:gd name="T16" fmla="*/ 75 w 103"/>
                <a:gd name="T17" fmla="*/ 39 h 57"/>
                <a:gd name="T18" fmla="*/ 93 w 103"/>
                <a:gd name="T19" fmla="*/ 57 h 57"/>
                <a:gd name="T20" fmla="*/ 93 w 103"/>
                <a:gd name="T21" fmla="*/ 39 h 57"/>
                <a:gd name="T22" fmla="*/ 96 w 103"/>
                <a:gd name="T23" fmla="*/ 39 h 57"/>
                <a:gd name="T24" fmla="*/ 103 w 103"/>
                <a:gd name="T25" fmla="*/ 32 h 57"/>
                <a:gd name="T26" fmla="*/ 103 w 103"/>
                <a:gd name="T27" fmla="*/ 7 h 57"/>
                <a:gd name="T28" fmla="*/ 96 w 103"/>
                <a:gd name="T2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57">
                  <a:moveTo>
                    <a:pt x="81" y="0"/>
                  </a:moveTo>
                  <a:cubicBezTo>
                    <a:pt x="7" y="0"/>
                    <a:pt x="7" y="0"/>
                    <a:pt x="7" y="0"/>
                  </a:cubicBezTo>
                  <a:cubicBezTo>
                    <a:pt x="3" y="0"/>
                    <a:pt x="0" y="3"/>
                    <a:pt x="0" y="7"/>
                  </a:cubicBezTo>
                  <a:cubicBezTo>
                    <a:pt x="0" y="32"/>
                    <a:pt x="0" y="32"/>
                    <a:pt x="0" y="32"/>
                  </a:cubicBezTo>
                  <a:cubicBezTo>
                    <a:pt x="0" y="36"/>
                    <a:pt x="3" y="39"/>
                    <a:pt x="7" y="39"/>
                  </a:cubicBezTo>
                  <a:cubicBezTo>
                    <a:pt x="10" y="39"/>
                    <a:pt x="10" y="39"/>
                    <a:pt x="10" y="39"/>
                  </a:cubicBezTo>
                  <a:cubicBezTo>
                    <a:pt x="10" y="57"/>
                    <a:pt x="10" y="57"/>
                    <a:pt x="10" y="57"/>
                  </a:cubicBezTo>
                  <a:cubicBezTo>
                    <a:pt x="27" y="39"/>
                    <a:pt x="27" y="39"/>
                    <a:pt x="27" y="39"/>
                  </a:cubicBezTo>
                  <a:cubicBezTo>
                    <a:pt x="75" y="39"/>
                    <a:pt x="75" y="39"/>
                    <a:pt x="75" y="39"/>
                  </a:cubicBezTo>
                  <a:cubicBezTo>
                    <a:pt x="93" y="57"/>
                    <a:pt x="93" y="57"/>
                    <a:pt x="93" y="57"/>
                  </a:cubicBezTo>
                  <a:cubicBezTo>
                    <a:pt x="93" y="39"/>
                    <a:pt x="93" y="39"/>
                    <a:pt x="93" y="39"/>
                  </a:cubicBezTo>
                  <a:cubicBezTo>
                    <a:pt x="96" y="39"/>
                    <a:pt x="96" y="39"/>
                    <a:pt x="96" y="39"/>
                  </a:cubicBezTo>
                  <a:cubicBezTo>
                    <a:pt x="100" y="39"/>
                    <a:pt x="103" y="36"/>
                    <a:pt x="103" y="32"/>
                  </a:cubicBezTo>
                  <a:cubicBezTo>
                    <a:pt x="103" y="7"/>
                    <a:pt x="103" y="7"/>
                    <a:pt x="103" y="7"/>
                  </a:cubicBezTo>
                  <a:cubicBezTo>
                    <a:pt x="103" y="3"/>
                    <a:pt x="100" y="0"/>
                    <a:pt x="96" y="0"/>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Line 126">
              <a:extLst>
                <a:ext uri="{FF2B5EF4-FFF2-40B4-BE49-F238E27FC236}">
                  <a16:creationId xmlns:a16="http://schemas.microsoft.com/office/drawing/2014/main" id="{5E3FFEBA-DCB2-4060-84EB-9B8EE98535B9}"/>
                </a:ext>
              </a:extLst>
            </p:cNvPr>
            <p:cNvSpPr>
              <a:spLocks noChangeShapeType="1"/>
            </p:cNvSpPr>
            <p:nvPr/>
          </p:nvSpPr>
          <p:spPr bwMode="auto">
            <a:xfrm>
              <a:off x="7499350" y="5202239"/>
              <a:ext cx="265113"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Line 127">
              <a:extLst>
                <a:ext uri="{FF2B5EF4-FFF2-40B4-BE49-F238E27FC236}">
                  <a16:creationId xmlns:a16="http://schemas.microsoft.com/office/drawing/2014/main" id="{DA527DBD-2567-4DDB-8AA7-33441D0BCB8A}"/>
                </a:ext>
              </a:extLst>
            </p:cNvPr>
            <p:cNvSpPr>
              <a:spLocks noChangeShapeType="1"/>
            </p:cNvSpPr>
            <p:nvPr/>
          </p:nvSpPr>
          <p:spPr bwMode="auto">
            <a:xfrm>
              <a:off x="7499350" y="5251451"/>
              <a:ext cx="265113"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2" name="Group 51">
            <a:extLst>
              <a:ext uri="{FF2B5EF4-FFF2-40B4-BE49-F238E27FC236}">
                <a16:creationId xmlns:a16="http://schemas.microsoft.com/office/drawing/2014/main" id="{D6E38444-D896-4AD6-961B-6F65AE06CBEF}"/>
              </a:ext>
            </a:extLst>
          </p:cNvPr>
          <p:cNvGrpSpPr/>
          <p:nvPr/>
        </p:nvGrpSpPr>
        <p:grpSpPr>
          <a:xfrm>
            <a:off x="3222038" y="4358937"/>
            <a:ext cx="212483" cy="203690"/>
            <a:chOff x="5184775" y="5192714"/>
            <a:chExt cx="460376" cy="441325"/>
          </a:xfrm>
        </p:grpSpPr>
        <p:sp>
          <p:nvSpPr>
            <p:cNvPr id="53" name="Freeform 128">
              <a:extLst>
                <a:ext uri="{FF2B5EF4-FFF2-40B4-BE49-F238E27FC236}">
                  <a16:creationId xmlns:a16="http://schemas.microsoft.com/office/drawing/2014/main" id="{15DB5F03-6772-4456-ABE7-CDF1630ED949}"/>
                </a:ext>
              </a:extLst>
            </p:cNvPr>
            <p:cNvSpPr>
              <a:spLocks/>
            </p:cNvSpPr>
            <p:nvPr/>
          </p:nvSpPr>
          <p:spPr bwMode="auto">
            <a:xfrm>
              <a:off x="5292725" y="5332414"/>
              <a:ext cx="104775" cy="176213"/>
            </a:xfrm>
            <a:custGeom>
              <a:avLst/>
              <a:gdLst>
                <a:gd name="T0" fmla="*/ 0 w 23"/>
                <a:gd name="T1" fmla="*/ 0 h 39"/>
                <a:gd name="T2" fmla="*/ 3 w 23"/>
                <a:gd name="T3" fmla="*/ 19 h 39"/>
                <a:gd name="T4" fmla="*/ 23 w 23"/>
                <a:gd name="T5" fmla="*/ 39 h 39"/>
              </a:gdLst>
              <a:ahLst/>
              <a:cxnLst>
                <a:cxn ang="0">
                  <a:pos x="T0" y="T1"/>
                </a:cxn>
                <a:cxn ang="0">
                  <a:pos x="T2" y="T3"/>
                </a:cxn>
                <a:cxn ang="0">
                  <a:pos x="T4" y="T5"/>
                </a:cxn>
              </a:cxnLst>
              <a:rect l="0" t="0" r="r" b="b"/>
              <a:pathLst>
                <a:path w="23" h="39">
                  <a:moveTo>
                    <a:pt x="0" y="0"/>
                  </a:moveTo>
                  <a:cubicBezTo>
                    <a:pt x="3" y="19"/>
                    <a:pt x="3" y="19"/>
                    <a:pt x="3" y="19"/>
                  </a:cubicBezTo>
                  <a:cubicBezTo>
                    <a:pt x="5" y="29"/>
                    <a:pt x="13" y="37"/>
                    <a:pt x="23" y="39"/>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Line 129">
              <a:extLst>
                <a:ext uri="{FF2B5EF4-FFF2-40B4-BE49-F238E27FC236}">
                  <a16:creationId xmlns:a16="http://schemas.microsoft.com/office/drawing/2014/main" id="{B1EF8702-765D-4DD1-878F-B93DB6BD616F}"/>
                </a:ext>
              </a:extLst>
            </p:cNvPr>
            <p:cNvSpPr>
              <a:spLocks noChangeShapeType="1"/>
            </p:cNvSpPr>
            <p:nvPr/>
          </p:nvSpPr>
          <p:spPr bwMode="auto">
            <a:xfrm>
              <a:off x="5481638" y="5494339"/>
              <a:ext cx="0" cy="13970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30">
              <a:extLst>
                <a:ext uri="{FF2B5EF4-FFF2-40B4-BE49-F238E27FC236}">
                  <a16:creationId xmlns:a16="http://schemas.microsoft.com/office/drawing/2014/main" id="{915E9847-9B68-47BF-8617-5C39B9D40FEE}"/>
                </a:ext>
              </a:extLst>
            </p:cNvPr>
            <p:cNvSpPr>
              <a:spLocks/>
            </p:cNvSpPr>
            <p:nvPr/>
          </p:nvSpPr>
          <p:spPr bwMode="auto">
            <a:xfrm>
              <a:off x="5478463" y="5251451"/>
              <a:ext cx="44450" cy="242888"/>
            </a:xfrm>
            <a:custGeom>
              <a:avLst/>
              <a:gdLst>
                <a:gd name="T0" fmla="*/ 0 w 10"/>
                <a:gd name="T1" fmla="*/ 5 h 54"/>
                <a:gd name="T2" fmla="*/ 6 w 10"/>
                <a:gd name="T3" fmla="*/ 0 h 54"/>
                <a:gd name="T4" fmla="*/ 10 w 10"/>
                <a:gd name="T5" fmla="*/ 5 h 54"/>
                <a:gd name="T6" fmla="*/ 10 w 10"/>
                <a:gd name="T7" fmla="*/ 11 h 54"/>
                <a:gd name="T8" fmla="*/ 10 w 10"/>
                <a:gd name="T9" fmla="*/ 19 h 54"/>
                <a:gd name="T10" fmla="*/ 10 w 10"/>
                <a:gd name="T11" fmla="*/ 35 h 54"/>
                <a:gd name="T12" fmla="*/ 1 w 10"/>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10" h="54">
                  <a:moveTo>
                    <a:pt x="0" y="5"/>
                  </a:moveTo>
                  <a:cubicBezTo>
                    <a:pt x="0" y="2"/>
                    <a:pt x="3" y="0"/>
                    <a:pt x="6" y="0"/>
                  </a:cubicBezTo>
                  <a:cubicBezTo>
                    <a:pt x="8" y="1"/>
                    <a:pt x="10" y="3"/>
                    <a:pt x="10" y="5"/>
                  </a:cubicBezTo>
                  <a:cubicBezTo>
                    <a:pt x="10" y="11"/>
                    <a:pt x="10" y="11"/>
                    <a:pt x="10" y="11"/>
                  </a:cubicBezTo>
                  <a:cubicBezTo>
                    <a:pt x="10" y="19"/>
                    <a:pt x="10" y="19"/>
                    <a:pt x="10" y="19"/>
                  </a:cubicBezTo>
                  <a:cubicBezTo>
                    <a:pt x="10" y="35"/>
                    <a:pt x="10" y="35"/>
                    <a:pt x="10" y="35"/>
                  </a:cubicBezTo>
                  <a:cubicBezTo>
                    <a:pt x="10" y="43"/>
                    <a:pt x="6" y="50"/>
                    <a:pt x="1" y="54"/>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31">
              <a:extLst>
                <a:ext uri="{FF2B5EF4-FFF2-40B4-BE49-F238E27FC236}">
                  <a16:creationId xmlns:a16="http://schemas.microsoft.com/office/drawing/2014/main" id="{A3577709-3D87-4809-8F8C-B44F2D60B3E7}"/>
                </a:ext>
              </a:extLst>
            </p:cNvPr>
            <p:cNvSpPr>
              <a:spLocks/>
            </p:cNvSpPr>
            <p:nvPr/>
          </p:nvSpPr>
          <p:spPr bwMode="auto">
            <a:xfrm>
              <a:off x="5432425" y="5251451"/>
              <a:ext cx="46038" cy="22225"/>
            </a:xfrm>
            <a:custGeom>
              <a:avLst/>
              <a:gdLst>
                <a:gd name="T0" fmla="*/ 10 w 10"/>
                <a:gd name="T1" fmla="*/ 5 h 5"/>
                <a:gd name="T2" fmla="*/ 6 w 10"/>
                <a:gd name="T3" fmla="*/ 0 h 5"/>
                <a:gd name="T4" fmla="*/ 0 w 10"/>
                <a:gd name="T5" fmla="*/ 5 h 5"/>
              </a:gdLst>
              <a:ahLst/>
              <a:cxnLst>
                <a:cxn ang="0">
                  <a:pos x="T0" y="T1"/>
                </a:cxn>
                <a:cxn ang="0">
                  <a:pos x="T2" y="T3"/>
                </a:cxn>
                <a:cxn ang="0">
                  <a:pos x="T4" y="T5"/>
                </a:cxn>
              </a:cxnLst>
              <a:rect l="0" t="0" r="r" b="b"/>
              <a:pathLst>
                <a:path w="10" h="5">
                  <a:moveTo>
                    <a:pt x="10" y="5"/>
                  </a:moveTo>
                  <a:cubicBezTo>
                    <a:pt x="10" y="3"/>
                    <a:pt x="8" y="1"/>
                    <a:pt x="6" y="0"/>
                  </a:cubicBezTo>
                  <a:cubicBezTo>
                    <a:pt x="3" y="0"/>
                    <a:pt x="0" y="2"/>
                    <a:pt x="0" y="5"/>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132">
              <a:extLst>
                <a:ext uri="{FF2B5EF4-FFF2-40B4-BE49-F238E27FC236}">
                  <a16:creationId xmlns:a16="http://schemas.microsoft.com/office/drawing/2014/main" id="{261C4FD4-37DE-49E1-89F5-22AC43580C50}"/>
                </a:ext>
              </a:extLst>
            </p:cNvPr>
            <p:cNvSpPr>
              <a:spLocks/>
            </p:cNvSpPr>
            <p:nvPr/>
          </p:nvSpPr>
          <p:spPr bwMode="auto">
            <a:xfrm>
              <a:off x="5387975" y="5251451"/>
              <a:ext cx="44450" cy="22225"/>
            </a:xfrm>
            <a:custGeom>
              <a:avLst/>
              <a:gdLst>
                <a:gd name="T0" fmla="*/ 10 w 10"/>
                <a:gd name="T1" fmla="*/ 5 h 5"/>
                <a:gd name="T2" fmla="*/ 6 w 10"/>
                <a:gd name="T3" fmla="*/ 0 h 5"/>
                <a:gd name="T4" fmla="*/ 0 w 10"/>
                <a:gd name="T5" fmla="*/ 5 h 5"/>
              </a:gdLst>
              <a:ahLst/>
              <a:cxnLst>
                <a:cxn ang="0">
                  <a:pos x="T0" y="T1"/>
                </a:cxn>
                <a:cxn ang="0">
                  <a:pos x="T2" y="T3"/>
                </a:cxn>
                <a:cxn ang="0">
                  <a:pos x="T4" y="T5"/>
                </a:cxn>
              </a:cxnLst>
              <a:rect l="0" t="0" r="r" b="b"/>
              <a:pathLst>
                <a:path w="10" h="5">
                  <a:moveTo>
                    <a:pt x="10" y="5"/>
                  </a:moveTo>
                  <a:cubicBezTo>
                    <a:pt x="10" y="3"/>
                    <a:pt x="8" y="1"/>
                    <a:pt x="6" y="0"/>
                  </a:cubicBezTo>
                  <a:cubicBezTo>
                    <a:pt x="3" y="0"/>
                    <a:pt x="0" y="2"/>
                    <a:pt x="0" y="5"/>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33">
              <a:extLst>
                <a:ext uri="{FF2B5EF4-FFF2-40B4-BE49-F238E27FC236}">
                  <a16:creationId xmlns:a16="http://schemas.microsoft.com/office/drawing/2014/main" id="{E07D69DA-3906-416A-9B1F-1F0C83581553}"/>
                </a:ext>
              </a:extLst>
            </p:cNvPr>
            <p:cNvSpPr>
              <a:spLocks/>
            </p:cNvSpPr>
            <p:nvPr/>
          </p:nvSpPr>
          <p:spPr bwMode="auto">
            <a:xfrm>
              <a:off x="5343525" y="5251451"/>
              <a:ext cx="44450" cy="122238"/>
            </a:xfrm>
            <a:custGeom>
              <a:avLst/>
              <a:gdLst>
                <a:gd name="T0" fmla="*/ 10 w 10"/>
                <a:gd name="T1" fmla="*/ 5 h 27"/>
                <a:gd name="T2" fmla="*/ 6 w 10"/>
                <a:gd name="T3" fmla="*/ 0 h 27"/>
                <a:gd name="T4" fmla="*/ 0 w 10"/>
                <a:gd name="T5" fmla="*/ 5 h 27"/>
                <a:gd name="T6" fmla="*/ 0 w 10"/>
                <a:gd name="T7" fmla="*/ 7 h 27"/>
                <a:gd name="T8" fmla="*/ 0 w 10"/>
                <a:gd name="T9" fmla="*/ 8 h 27"/>
                <a:gd name="T10" fmla="*/ 0 w 10"/>
                <a:gd name="T11" fmla="*/ 11 h 27"/>
                <a:gd name="T12" fmla="*/ 0 w 1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0" h="27">
                  <a:moveTo>
                    <a:pt x="10" y="5"/>
                  </a:moveTo>
                  <a:cubicBezTo>
                    <a:pt x="10" y="3"/>
                    <a:pt x="8" y="1"/>
                    <a:pt x="6" y="0"/>
                  </a:cubicBezTo>
                  <a:cubicBezTo>
                    <a:pt x="3" y="0"/>
                    <a:pt x="0" y="2"/>
                    <a:pt x="0" y="5"/>
                  </a:cubicBezTo>
                  <a:cubicBezTo>
                    <a:pt x="0" y="7"/>
                    <a:pt x="0" y="7"/>
                    <a:pt x="0" y="7"/>
                  </a:cubicBezTo>
                  <a:cubicBezTo>
                    <a:pt x="0" y="8"/>
                    <a:pt x="0" y="8"/>
                    <a:pt x="0" y="8"/>
                  </a:cubicBezTo>
                  <a:cubicBezTo>
                    <a:pt x="0" y="11"/>
                    <a:pt x="0" y="11"/>
                    <a:pt x="0" y="11"/>
                  </a:cubicBezTo>
                  <a:cubicBezTo>
                    <a:pt x="0" y="27"/>
                    <a:pt x="0" y="27"/>
                    <a:pt x="0" y="27"/>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Line 134">
              <a:extLst>
                <a:ext uri="{FF2B5EF4-FFF2-40B4-BE49-F238E27FC236}">
                  <a16:creationId xmlns:a16="http://schemas.microsoft.com/office/drawing/2014/main" id="{02EBA66F-0825-41E1-997E-E82F52D38858}"/>
                </a:ext>
              </a:extLst>
            </p:cNvPr>
            <p:cNvSpPr>
              <a:spLocks noChangeShapeType="1"/>
            </p:cNvSpPr>
            <p:nvPr/>
          </p:nvSpPr>
          <p:spPr bwMode="auto">
            <a:xfrm>
              <a:off x="5387975" y="5273676"/>
              <a:ext cx="0" cy="22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Line 135">
              <a:extLst>
                <a:ext uri="{FF2B5EF4-FFF2-40B4-BE49-F238E27FC236}">
                  <a16:creationId xmlns:a16="http://schemas.microsoft.com/office/drawing/2014/main" id="{F7871BDA-3F2C-4702-9331-043B65D11048}"/>
                </a:ext>
              </a:extLst>
            </p:cNvPr>
            <p:cNvSpPr>
              <a:spLocks noChangeShapeType="1"/>
            </p:cNvSpPr>
            <p:nvPr/>
          </p:nvSpPr>
          <p:spPr bwMode="auto">
            <a:xfrm>
              <a:off x="5432425" y="5273676"/>
              <a:ext cx="0" cy="22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1" name="Line 136">
              <a:extLst>
                <a:ext uri="{FF2B5EF4-FFF2-40B4-BE49-F238E27FC236}">
                  <a16:creationId xmlns:a16="http://schemas.microsoft.com/office/drawing/2014/main" id="{94C3B75E-13E3-4AFD-85D7-D3E4E1B67C19}"/>
                </a:ext>
              </a:extLst>
            </p:cNvPr>
            <p:cNvSpPr>
              <a:spLocks noChangeShapeType="1"/>
            </p:cNvSpPr>
            <p:nvPr/>
          </p:nvSpPr>
          <p:spPr bwMode="auto">
            <a:xfrm>
              <a:off x="5478463" y="5273676"/>
              <a:ext cx="0" cy="2222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2" name="Line 137">
              <a:extLst>
                <a:ext uri="{FF2B5EF4-FFF2-40B4-BE49-F238E27FC236}">
                  <a16:creationId xmlns:a16="http://schemas.microsoft.com/office/drawing/2014/main" id="{F03DDE00-C307-4F04-8422-86684359BADF}"/>
                </a:ext>
              </a:extLst>
            </p:cNvPr>
            <p:cNvSpPr>
              <a:spLocks noChangeShapeType="1"/>
            </p:cNvSpPr>
            <p:nvPr/>
          </p:nvSpPr>
          <p:spPr bwMode="auto">
            <a:xfrm>
              <a:off x="5370513" y="5503864"/>
              <a:ext cx="0" cy="130175"/>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3" name="Line 138">
              <a:extLst>
                <a:ext uri="{FF2B5EF4-FFF2-40B4-BE49-F238E27FC236}">
                  <a16:creationId xmlns:a16="http://schemas.microsoft.com/office/drawing/2014/main" id="{67AD5DF0-7CB4-4109-A783-10A9A7610F17}"/>
                </a:ext>
              </a:extLst>
            </p:cNvPr>
            <p:cNvSpPr>
              <a:spLocks noChangeShapeType="1"/>
            </p:cNvSpPr>
            <p:nvPr/>
          </p:nvSpPr>
          <p:spPr bwMode="auto">
            <a:xfrm flipH="1">
              <a:off x="5253038" y="5332414"/>
              <a:ext cx="85725"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Line 139">
              <a:extLst>
                <a:ext uri="{FF2B5EF4-FFF2-40B4-BE49-F238E27FC236}">
                  <a16:creationId xmlns:a16="http://schemas.microsoft.com/office/drawing/2014/main" id="{D9362CE4-985E-4BCC-B1AD-AAEB91F55AD0}"/>
                </a:ext>
              </a:extLst>
            </p:cNvPr>
            <p:cNvSpPr>
              <a:spLocks noChangeShapeType="1"/>
            </p:cNvSpPr>
            <p:nvPr/>
          </p:nvSpPr>
          <p:spPr bwMode="auto">
            <a:xfrm flipH="1">
              <a:off x="5522913" y="5332414"/>
              <a:ext cx="53975"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5" name="Line 140">
              <a:extLst>
                <a:ext uri="{FF2B5EF4-FFF2-40B4-BE49-F238E27FC236}">
                  <a16:creationId xmlns:a16="http://schemas.microsoft.com/office/drawing/2014/main" id="{F5CD531A-F344-4DD5-B54E-C4763EBB25AB}"/>
                </a:ext>
              </a:extLst>
            </p:cNvPr>
            <p:cNvSpPr>
              <a:spLocks noChangeShapeType="1"/>
            </p:cNvSpPr>
            <p:nvPr/>
          </p:nvSpPr>
          <p:spPr bwMode="auto">
            <a:xfrm>
              <a:off x="5253038" y="5268914"/>
              <a:ext cx="90488"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6" name="Line 141">
              <a:extLst>
                <a:ext uri="{FF2B5EF4-FFF2-40B4-BE49-F238E27FC236}">
                  <a16:creationId xmlns:a16="http://schemas.microsoft.com/office/drawing/2014/main" id="{D5DD6A0D-7139-40DE-B016-5DA39D7D7BC0}"/>
                </a:ext>
              </a:extLst>
            </p:cNvPr>
            <p:cNvSpPr>
              <a:spLocks noChangeShapeType="1"/>
            </p:cNvSpPr>
            <p:nvPr/>
          </p:nvSpPr>
          <p:spPr bwMode="auto">
            <a:xfrm>
              <a:off x="5522913" y="5268914"/>
              <a:ext cx="53975" cy="0"/>
            </a:xfrm>
            <a:prstGeom prst="line">
              <a:avLst/>
            </a:prstGeom>
            <a:noFill/>
            <a:ln w="9525"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42">
              <a:extLst>
                <a:ext uri="{FF2B5EF4-FFF2-40B4-BE49-F238E27FC236}">
                  <a16:creationId xmlns:a16="http://schemas.microsoft.com/office/drawing/2014/main" id="{CE66312D-9B20-4F5D-A2A2-3E47F46EF652}"/>
                </a:ext>
              </a:extLst>
            </p:cNvPr>
            <p:cNvSpPr>
              <a:spLocks/>
            </p:cNvSpPr>
            <p:nvPr/>
          </p:nvSpPr>
          <p:spPr bwMode="auto">
            <a:xfrm>
              <a:off x="5576888" y="5192714"/>
              <a:ext cx="68263" cy="215900"/>
            </a:xfrm>
            <a:custGeom>
              <a:avLst/>
              <a:gdLst>
                <a:gd name="T0" fmla="*/ 0 w 15"/>
                <a:gd name="T1" fmla="*/ 40 h 48"/>
                <a:gd name="T2" fmla="*/ 8 w 15"/>
                <a:gd name="T3" fmla="*/ 48 h 48"/>
                <a:gd name="T4" fmla="*/ 15 w 15"/>
                <a:gd name="T5" fmla="*/ 40 h 48"/>
                <a:gd name="T6" fmla="*/ 15 w 15"/>
                <a:gd name="T7" fmla="*/ 7 h 48"/>
                <a:gd name="T8" fmla="*/ 8 w 15"/>
                <a:gd name="T9" fmla="*/ 0 h 48"/>
                <a:gd name="T10" fmla="*/ 0 w 15"/>
                <a:gd name="T11" fmla="*/ 7 h 48"/>
                <a:gd name="T12" fmla="*/ 0 w 15"/>
                <a:gd name="T13" fmla="*/ 17 h 48"/>
              </a:gdLst>
              <a:ahLst/>
              <a:cxnLst>
                <a:cxn ang="0">
                  <a:pos x="T0" y="T1"/>
                </a:cxn>
                <a:cxn ang="0">
                  <a:pos x="T2" y="T3"/>
                </a:cxn>
                <a:cxn ang="0">
                  <a:pos x="T4" y="T5"/>
                </a:cxn>
                <a:cxn ang="0">
                  <a:pos x="T6" y="T7"/>
                </a:cxn>
                <a:cxn ang="0">
                  <a:pos x="T8" y="T9"/>
                </a:cxn>
                <a:cxn ang="0">
                  <a:pos x="T10" y="T11"/>
                </a:cxn>
                <a:cxn ang="0">
                  <a:pos x="T12" y="T13"/>
                </a:cxn>
              </a:cxnLst>
              <a:rect l="0" t="0" r="r" b="b"/>
              <a:pathLst>
                <a:path w="15" h="48">
                  <a:moveTo>
                    <a:pt x="0" y="40"/>
                  </a:moveTo>
                  <a:cubicBezTo>
                    <a:pt x="0" y="44"/>
                    <a:pt x="4" y="48"/>
                    <a:pt x="8" y="48"/>
                  </a:cubicBezTo>
                  <a:cubicBezTo>
                    <a:pt x="12" y="48"/>
                    <a:pt x="15" y="44"/>
                    <a:pt x="15" y="40"/>
                  </a:cubicBezTo>
                  <a:cubicBezTo>
                    <a:pt x="15" y="7"/>
                    <a:pt x="15" y="7"/>
                    <a:pt x="15" y="7"/>
                  </a:cubicBezTo>
                  <a:cubicBezTo>
                    <a:pt x="15" y="3"/>
                    <a:pt x="12" y="0"/>
                    <a:pt x="8" y="0"/>
                  </a:cubicBezTo>
                  <a:cubicBezTo>
                    <a:pt x="4" y="0"/>
                    <a:pt x="0" y="3"/>
                    <a:pt x="0" y="7"/>
                  </a:cubicBezTo>
                  <a:cubicBezTo>
                    <a:pt x="0" y="17"/>
                    <a:pt x="0" y="17"/>
                    <a:pt x="0" y="17"/>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143">
              <a:extLst>
                <a:ext uri="{FF2B5EF4-FFF2-40B4-BE49-F238E27FC236}">
                  <a16:creationId xmlns:a16="http://schemas.microsoft.com/office/drawing/2014/main" id="{04FB1F1C-A710-4897-96ED-BFE0B46F732F}"/>
                </a:ext>
              </a:extLst>
            </p:cNvPr>
            <p:cNvSpPr>
              <a:spLocks/>
            </p:cNvSpPr>
            <p:nvPr/>
          </p:nvSpPr>
          <p:spPr bwMode="auto">
            <a:xfrm>
              <a:off x="5184775" y="5192714"/>
              <a:ext cx="68263" cy="215900"/>
            </a:xfrm>
            <a:custGeom>
              <a:avLst/>
              <a:gdLst>
                <a:gd name="T0" fmla="*/ 15 w 15"/>
                <a:gd name="T1" fmla="*/ 18 h 48"/>
                <a:gd name="T2" fmla="*/ 15 w 15"/>
                <a:gd name="T3" fmla="*/ 7 h 48"/>
                <a:gd name="T4" fmla="*/ 7 w 15"/>
                <a:gd name="T5" fmla="*/ 0 h 48"/>
                <a:gd name="T6" fmla="*/ 0 w 15"/>
                <a:gd name="T7" fmla="*/ 7 h 48"/>
                <a:gd name="T8" fmla="*/ 0 w 15"/>
                <a:gd name="T9" fmla="*/ 40 h 48"/>
                <a:gd name="T10" fmla="*/ 7 w 15"/>
                <a:gd name="T11" fmla="*/ 48 h 48"/>
                <a:gd name="T12" fmla="*/ 15 w 15"/>
                <a:gd name="T13" fmla="*/ 40 h 48"/>
              </a:gdLst>
              <a:ahLst/>
              <a:cxnLst>
                <a:cxn ang="0">
                  <a:pos x="T0" y="T1"/>
                </a:cxn>
                <a:cxn ang="0">
                  <a:pos x="T2" y="T3"/>
                </a:cxn>
                <a:cxn ang="0">
                  <a:pos x="T4" y="T5"/>
                </a:cxn>
                <a:cxn ang="0">
                  <a:pos x="T6" y="T7"/>
                </a:cxn>
                <a:cxn ang="0">
                  <a:pos x="T8" y="T9"/>
                </a:cxn>
                <a:cxn ang="0">
                  <a:pos x="T10" y="T11"/>
                </a:cxn>
                <a:cxn ang="0">
                  <a:pos x="T12" y="T13"/>
                </a:cxn>
              </a:cxnLst>
              <a:rect l="0" t="0" r="r" b="b"/>
              <a:pathLst>
                <a:path w="15" h="48">
                  <a:moveTo>
                    <a:pt x="15" y="18"/>
                  </a:moveTo>
                  <a:cubicBezTo>
                    <a:pt x="15" y="7"/>
                    <a:pt x="15" y="7"/>
                    <a:pt x="15" y="7"/>
                  </a:cubicBezTo>
                  <a:cubicBezTo>
                    <a:pt x="15" y="3"/>
                    <a:pt x="11" y="0"/>
                    <a:pt x="7" y="0"/>
                  </a:cubicBezTo>
                  <a:cubicBezTo>
                    <a:pt x="3" y="0"/>
                    <a:pt x="0" y="3"/>
                    <a:pt x="0" y="7"/>
                  </a:cubicBezTo>
                  <a:cubicBezTo>
                    <a:pt x="0" y="40"/>
                    <a:pt x="0" y="40"/>
                    <a:pt x="0" y="40"/>
                  </a:cubicBezTo>
                  <a:cubicBezTo>
                    <a:pt x="0" y="44"/>
                    <a:pt x="3" y="48"/>
                    <a:pt x="7" y="48"/>
                  </a:cubicBezTo>
                  <a:cubicBezTo>
                    <a:pt x="11" y="48"/>
                    <a:pt x="15" y="44"/>
                    <a:pt x="15" y="40"/>
                  </a:cubicBezTo>
                </a:path>
              </a:pathLst>
            </a:custGeom>
            <a:noFill/>
            <a:ln w="9525"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11" name="Rectangle 110">
            <a:extLst>
              <a:ext uri="{FF2B5EF4-FFF2-40B4-BE49-F238E27FC236}">
                <a16:creationId xmlns:a16="http://schemas.microsoft.com/office/drawing/2014/main" id="{051796C3-1770-4961-836C-A0D829A54DF4}"/>
              </a:ext>
            </a:extLst>
          </p:cNvPr>
          <p:cNvSpPr/>
          <p:nvPr/>
        </p:nvSpPr>
        <p:spPr>
          <a:xfrm>
            <a:off x="3535510" y="3726932"/>
            <a:ext cx="1199367" cy="307777"/>
          </a:xfrm>
          <a:prstGeom prst="rect">
            <a:avLst/>
          </a:prstGeom>
        </p:spPr>
        <p:txBody>
          <a:bodyPr wrap="none">
            <a:spAutoFit/>
          </a:bodyPr>
          <a:lstStyle/>
          <a:p>
            <a:r>
              <a:rPr lang="en-GB" sz="1400" dirty="0">
                <a:solidFill>
                  <a:srgbClr val="1F2023"/>
                </a:solidFill>
              </a:rPr>
              <a:t>Commitment</a:t>
            </a:r>
            <a:endParaRPr lang="en-GB" dirty="0"/>
          </a:p>
        </p:txBody>
      </p:sp>
      <p:sp>
        <p:nvSpPr>
          <p:cNvPr id="113" name="Rectangle 112">
            <a:extLst>
              <a:ext uri="{FF2B5EF4-FFF2-40B4-BE49-F238E27FC236}">
                <a16:creationId xmlns:a16="http://schemas.microsoft.com/office/drawing/2014/main" id="{07E76019-A398-49D9-BF4D-F9468FF5B910}"/>
              </a:ext>
            </a:extLst>
          </p:cNvPr>
          <p:cNvSpPr/>
          <p:nvPr/>
        </p:nvSpPr>
        <p:spPr>
          <a:xfrm>
            <a:off x="3535510" y="4306893"/>
            <a:ext cx="772969" cy="307777"/>
          </a:xfrm>
          <a:prstGeom prst="rect">
            <a:avLst/>
          </a:prstGeom>
        </p:spPr>
        <p:txBody>
          <a:bodyPr wrap="none">
            <a:spAutoFit/>
          </a:bodyPr>
          <a:lstStyle/>
          <a:p>
            <a:r>
              <a:rPr lang="en-GB" sz="1400" dirty="0">
                <a:solidFill>
                  <a:srgbClr val="1F2023"/>
                </a:solidFill>
              </a:rPr>
              <a:t>Actions</a:t>
            </a:r>
            <a:endParaRPr lang="en-GB" dirty="0"/>
          </a:p>
        </p:txBody>
      </p:sp>
      <p:sp>
        <p:nvSpPr>
          <p:cNvPr id="115" name="Rectangle 114">
            <a:extLst>
              <a:ext uri="{FF2B5EF4-FFF2-40B4-BE49-F238E27FC236}">
                <a16:creationId xmlns:a16="http://schemas.microsoft.com/office/drawing/2014/main" id="{A687CBDA-5A10-4F69-ACA1-C27524B714CA}"/>
              </a:ext>
            </a:extLst>
          </p:cNvPr>
          <p:cNvSpPr/>
          <p:nvPr/>
        </p:nvSpPr>
        <p:spPr>
          <a:xfrm>
            <a:off x="3535510" y="4886854"/>
            <a:ext cx="1179490" cy="307777"/>
          </a:xfrm>
          <a:prstGeom prst="rect">
            <a:avLst/>
          </a:prstGeom>
        </p:spPr>
        <p:txBody>
          <a:bodyPr wrap="none">
            <a:spAutoFit/>
          </a:bodyPr>
          <a:lstStyle/>
          <a:p>
            <a:pPr marL="0" lvl="1">
              <a:spcAft>
                <a:spcPts val="1200"/>
              </a:spcAft>
              <a:buClr>
                <a:srgbClr val="1F2023"/>
              </a:buClr>
            </a:pPr>
            <a:r>
              <a:rPr lang="en-GB" sz="1400" dirty="0">
                <a:solidFill>
                  <a:srgbClr val="1F2023"/>
                </a:solidFill>
              </a:rPr>
              <a:t>Taking steps</a:t>
            </a:r>
          </a:p>
        </p:txBody>
      </p:sp>
      <p:cxnSp>
        <p:nvCxnSpPr>
          <p:cNvPr id="120" name="Straight Connector 119">
            <a:extLst>
              <a:ext uri="{FF2B5EF4-FFF2-40B4-BE49-F238E27FC236}">
                <a16:creationId xmlns:a16="http://schemas.microsoft.com/office/drawing/2014/main" id="{87B783B4-3EE4-4A8F-914E-36CDB95A1E17}"/>
              </a:ext>
            </a:extLst>
          </p:cNvPr>
          <p:cNvCxnSpPr>
            <a:cxnSpLocks/>
          </p:cNvCxnSpPr>
          <p:nvPr/>
        </p:nvCxnSpPr>
        <p:spPr>
          <a:xfrm rot="5400000">
            <a:off x="4140556" y="3565755"/>
            <a:ext cx="0" cy="1210092"/>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1E6A2C2A-9C5B-44D5-8200-0222CD5DB545}"/>
              </a:ext>
            </a:extLst>
          </p:cNvPr>
          <p:cNvCxnSpPr>
            <a:cxnSpLocks/>
          </p:cNvCxnSpPr>
          <p:nvPr/>
        </p:nvCxnSpPr>
        <p:spPr>
          <a:xfrm rot="5400000">
            <a:off x="4140556" y="4145716"/>
            <a:ext cx="0" cy="1210092"/>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895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AB7806-C928-4A93-B801-DA195B0057A8}"/>
              </a:ext>
            </a:extLst>
          </p:cNvPr>
          <p:cNvSpPr>
            <a:spLocks noGrp="1"/>
          </p:cNvSpPr>
          <p:nvPr>
            <p:ph type="title"/>
          </p:nvPr>
        </p:nvSpPr>
        <p:spPr/>
        <p:txBody>
          <a:bodyPr/>
          <a:lstStyle/>
          <a:p>
            <a:r>
              <a:rPr lang="en-GB" dirty="0"/>
              <a:t>Exercise – The Engager (balancing advocacy and inquiry) </a:t>
            </a:r>
          </a:p>
        </p:txBody>
      </p:sp>
      <p:sp>
        <p:nvSpPr>
          <p:cNvPr id="3" name="Date Placeholder 2">
            <a:extLst>
              <a:ext uri="{FF2B5EF4-FFF2-40B4-BE49-F238E27FC236}">
                <a16:creationId xmlns:a16="http://schemas.microsoft.com/office/drawing/2014/main" id="{9D833804-A5B4-4826-BAEC-A11B21FE25C3}"/>
              </a:ext>
            </a:extLst>
          </p:cNvPr>
          <p:cNvSpPr>
            <a:spLocks noGrp="1"/>
          </p:cNvSpPr>
          <p:nvPr>
            <p:ph type="dt" sz="half" idx="10"/>
          </p:nvPr>
        </p:nvSpPr>
        <p:spPr/>
        <p:txBody>
          <a:bodyPr/>
          <a:lstStyle/>
          <a:p>
            <a:fld id="{8A6E0422-6ECB-43C9-8CFE-4C39AC685875}" type="datetime1">
              <a:rPr lang="en-GB" smtClean="0"/>
              <a:pPr/>
              <a:t>17/01/2019</a:t>
            </a:fld>
            <a:endParaRPr lang="en-GB" dirty="0"/>
          </a:p>
        </p:txBody>
      </p:sp>
      <p:sp>
        <p:nvSpPr>
          <p:cNvPr id="7" name="Text Placeholder 6">
            <a:extLst>
              <a:ext uri="{FF2B5EF4-FFF2-40B4-BE49-F238E27FC236}">
                <a16:creationId xmlns:a16="http://schemas.microsoft.com/office/drawing/2014/main" id="{9342D600-1E2A-4ABE-9215-440645632A5B}"/>
              </a:ext>
            </a:extLst>
          </p:cNvPr>
          <p:cNvSpPr>
            <a:spLocks noGrp="1"/>
          </p:cNvSpPr>
          <p:nvPr>
            <p:ph type="body" sz="quarter" idx="13"/>
          </p:nvPr>
        </p:nvSpPr>
        <p:spPr/>
        <p:txBody>
          <a:bodyPr/>
          <a:lstStyle/>
          <a:p>
            <a:endParaRPr lang="en-GB" dirty="0"/>
          </a:p>
        </p:txBody>
      </p:sp>
      <p:sp>
        <p:nvSpPr>
          <p:cNvPr id="8" name="Text Placeholder 7">
            <a:extLst>
              <a:ext uri="{FF2B5EF4-FFF2-40B4-BE49-F238E27FC236}">
                <a16:creationId xmlns:a16="http://schemas.microsoft.com/office/drawing/2014/main" id="{A08963DD-DA76-44EB-8BFA-D3F5AAAF6525}"/>
              </a:ext>
            </a:extLst>
          </p:cNvPr>
          <p:cNvSpPr>
            <a:spLocks noGrp="1"/>
          </p:cNvSpPr>
          <p:nvPr>
            <p:ph type="body" sz="quarter" idx="14"/>
          </p:nvPr>
        </p:nvSpPr>
        <p:spPr/>
        <p:txBody>
          <a:bodyPr/>
          <a:lstStyle/>
          <a:p>
            <a:endParaRPr lang="en-GB" dirty="0"/>
          </a:p>
        </p:txBody>
      </p:sp>
      <p:sp>
        <p:nvSpPr>
          <p:cNvPr id="16" name="Rectangle 15">
            <a:extLst>
              <a:ext uri="{FF2B5EF4-FFF2-40B4-BE49-F238E27FC236}">
                <a16:creationId xmlns:a16="http://schemas.microsoft.com/office/drawing/2014/main" id="{F0812A23-A339-4840-918E-D78CC0281B36}"/>
              </a:ext>
            </a:extLst>
          </p:cNvPr>
          <p:cNvSpPr/>
          <p:nvPr/>
        </p:nvSpPr>
        <p:spPr>
          <a:xfrm>
            <a:off x="269873" y="2711079"/>
            <a:ext cx="9363076" cy="1733921"/>
          </a:xfrm>
          <a:prstGeom prst="rect">
            <a:avLst/>
          </a:prstGeom>
          <a:solidFill>
            <a:srgbClr val="F3F2F0"/>
          </a:solidFill>
        </p:spPr>
        <p:txBody>
          <a:bodyPr wrap="square" anchor="ctr">
            <a:noAutofit/>
          </a:bodyPr>
          <a:lstStyle/>
          <a:p>
            <a:pPr algn="ctr"/>
            <a:endParaRPr lang="en-GB" sz="1400" b="1" dirty="0"/>
          </a:p>
        </p:txBody>
      </p:sp>
      <p:sp>
        <p:nvSpPr>
          <p:cNvPr id="17" name="Rectangle 16">
            <a:extLst>
              <a:ext uri="{FF2B5EF4-FFF2-40B4-BE49-F238E27FC236}">
                <a16:creationId xmlns:a16="http://schemas.microsoft.com/office/drawing/2014/main" id="{C778EBCF-2FEE-4CC7-8591-136E0C9889C1}"/>
              </a:ext>
            </a:extLst>
          </p:cNvPr>
          <p:cNvSpPr/>
          <p:nvPr/>
        </p:nvSpPr>
        <p:spPr>
          <a:xfrm>
            <a:off x="269874" y="2052284"/>
            <a:ext cx="9363076" cy="658795"/>
          </a:xfrm>
          <a:prstGeom prst="rect">
            <a:avLst/>
          </a:prstGeom>
          <a:solidFill>
            <a:srgbClr val="D0DAD6"/>
          </a:solidFill>
        </p:spPr>
        <p:txBody>
          <a:bodyPr wrap="square" anchor="ctr">
            <a:noAutofit/>
          </a:bodyPr>
          <a:lstStyle/>
          <a:p>
            <a:pPr algn="ctr"/>
            <a:r>
              <a:rPr lang="en-GB" sz="1400" b="1" dirty="0">
                <a:solidFill>
                  <a:srgbClr val="000000"/>
                </a:solidFill>
              </a:rPr>
              <a:t>A acts as The Engager </a:t>
            </a:r>
          </a:p>
          <a:p>
            <a:pPr algn="ctr"/>
            <a:r>
              <a:rPr lang="en-GB" sz="1400" b="1" dirty="0">
                <a:solidFill>
                  <a:srgbClr val="000000"/>
                </a:solidFill>
              </a:rPr>
              <a:t>B , same situation as before </a:t>
            </a:r>
          </a:p>
        </p:txBody>
      </p:sp>
      <p:cxnSp>
        <p:nvCxnSpPr>
          <p:cNvPr id="25" name="Straight Connector 24">
            <a:extLst>
              <a:ext uri="{FF2B5EF4-FFF2-40B4-BE49-F238E27FC236}">
                <a16:creationId xmlns:a16="http://schemas.microsoft.com/office/drawing/2014/main" id="{F172125D-CD60-4764-B96D-673EE7A29E86}"/>
              </a:ext>
            </a:extLst>
          </p:cNvPr>
          <p:cNvCxnSpPr>
            <a:cxnSpLocks/>
          </p:cNvCxnSpPr>
          <p:nvPr/>
        </p:nvCxnSpPr>
        <p:spPr>
          <a:xfrm>
            <a:off x="4951411" y="2874076"/>
            <a:ext cx="0" cy="140792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D339BF52-5C47-4F82-843F-8FAF2FF8900F}"/>
              </a:ext>
            </a:extLst>
          </p:cNvPr>
          <p:cNvSpPr/>
          <p:nvPr/>
        </p:nvSpPr>
        <p:spPr>
          <a:xfrm>
            <a:off x="417051" y="2809607"/>
            <a:ext cx="588623" cy="215444"/>
          </a:xfrm>
          <a:prstGeom prst="rect">
            <a:avLst/>
          </a:prstGeom>
        </p:spPr>
        <p:txBody>
          <a:bodyPr wrap="none" lIns="0" tIns="0" rIns="0" bIns="0">
            <a:spAutoFit/>
          </a:bodyPr>
          <a:lstStyle/>
          <a:p>
            <a:pPr marL="0" lvl="1" indent="1588" algn="ctr">
              <a:buClr>
                <a:schemeClr val="tx1"/>
              </a:buClr>
              <a:buFont typeface="Arial" panose="020B0604020202020204" pitchFamily="34" charset="0"/>
              <a:buNone/>
            </a:pPr>
            <a:r>
              <a:rPr lang="en-GB" sz="1400" b="1" dirty="0"/>
              <a:t>Step 1 </a:t>
            </a:r>
          </a:p>
        </p:txBody>
      </p:sp>
      <p:cxnSp>
        <p:nvCxnSpPr>
          <p:cNvPr id="27" name="Straight Connector 26">
            <a:extLst>
              <a:ext uri="{FF2B5EF4-FFF2-40B4-BE49-F238E27FC236}">
                <a16:creationId xmlns:a16="http://schemas.microsoft.com/office/drawing/2014/main" id="{E2780620-CD3C-4E8C-AC1A-FF1CB1D915AE}"/>
              </a:ext>
            </a:extLst>
          </p:cNvPr>
          <p:cNvCxnSpPr>
            <a:cxnSpLocks/>
          </p:cNvCxnSpPr>
          <p:nvPr/>
        </p:nvCxnSpPr>
        <p:spPr>
          <a:xfrm>
            <a:off x="798364" y="4709389"/>
            <a:ext cx="0" cy="339772"/>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1FF3398-F878-420D-BBB7-035B2698CC6C}"/>
              </a:ext>
            </a:extLst>
          </p:cNvPr>
          <p:cNvSpPr/>
          <p:nvPr/>
        </p:nvSpPr>
        <p:spPr>
          <a:xfrm>
            <a:off x="5096828" y="2811936"/>
            <a:ext cx="588623" cy="215444"/>
          </a:xfrm>
          <a:prstGeom prst="rect">
            <a:avLst/>
          </a:prstGeom>
        </p:spPr>
        <p:txBody>
          <a:bodyPr wrap="none" lIns="0" tIns="0" rIns="0" bIns="0">
            <a:spAutoFit/>
          </a:bodyPr>
          <a:lstStyle/>
          <a:p>
            <a:pPr marL="0" lvl="1" indent="1588">
              <a:buClr>
                <a:schemeClr val="tx1"/>
              </a:buClr>
              <a:buFont typeface="Arial" panose="020B0604020202020204" pitchFamily="34" charset="0"/>
              <a:buNone/>
            </a:pPr>
            <a:r>
              <a:rPr lang="en-GB" sz="1400" b="1" dirty="0"/>
              <a:t>Step 2 </a:t>
            </a:r>
          </a:p>
        </p:txBody>
      </p:sp>
      <p:sp>
        <p:nvSpPr>
          <p:cNvPr id="12" name="Rectangle 11">
            <a:extLst>
              <a:ext uri="{FF2B5EF4-FFF2-40B4-BE49-F238E27FC236}">
                <a16:creationId xmlns:a16="http://schemas.microsoft.com/office/drawing/2014/main" id="{B64DA7AB-E04F-49AB-B733-ECF83EE97F3C}"/>
              </a:ext>
            </a:extLst>
          </p:cNvPr>
          <p:cNvSpPr/>
          <p:nvPr/>
        </p:nvSpPr>
        <p:spPr>
          <a:xfrm>
            <a:off x="417051" y="3128237"/>
            <a:ext cx="4168540" cy="369332"/>
          </a:xfrm>
          <a:prstGeom prst="rect">
            <a:avLst/>
          </a:prstGeom>
        </p:spPr>
        <p:txBody>
          <a:bodyPr wrap="square" lIns="0" tIns="0" rIns="0" bIns="0">
            <a:spAutoFit/>
          </a:bodyPr>
          <a:lstStyle/>
          <a:p>
            <a:r>
              <a:rPr lang="en-GB" sz="1200" dirty="0"/>
              <a:t>Listen carefully to B’s story like it´s the first time you hear it; be curious and try to understand</a:t>
            </a:r>
          </a:p>
        </p:txBody>
      </p:sp>
      <p:sp>
        <p:nvSpPr>
          <p:cNvPr id="30" name="Rectangle 29">
            <a:extLst>
              <a:ext uri="{FF2B5EF4-FFF2-40B4-BE49-F238E27FC236}">
                <a16:creationId xmlns:a16="http://schemas.microsoft.com/office/drawing/2014/main" id="{C880800E-E7F3-4D70-8264-C483B6C4D689}"/>
              </a:ext>
            </a:extLst>
          </p:cNvPr>
          <p:cNvSpPr/>
          <p:nvPr/>
        </p:nvSpPr>
        <p:spPr>
          <a:xfrm>
            <a:off x="5096828" y="3128237"/>
            <a:ext cx="3949898" cy="184666"/>
          </a:xfrm>
          <a:prstGeom prst="rect">
            <a:avLst/>
          </a:prstGeom>
        </p:spPr>
        <p:txBody>
          <a:bodyPr wrap="square" lIns="0" tIns="0" rIns="0" bIns="0">
            <a:spAutoFit/>
          </a:bodyPr>
          <a:lstStyle/>
          <a:p>
            <a:r>
              <a:rPr lang="en-GB" sz="1200" dirty="0"/>
              <a:t>Ask 4 questions:</a:t>
            </a:r>
          </a:p>
        </p:txBody>
      </p:sp>
      <p:sp>
        <p:nvSpPr>
          <p:cNvPr id="14" name="Rectangle 13">
            <a:extLst>
              <a:ext uri="{FF2B5EF4-FFF2-40B4-BE49-F238E27FC236}">
                <a16:creationId xmlns:a16="http://schemas.microsoft.com/office/drawing/2014/main" id="{A5FDAF8D-4E8E-4685-B64A-114838ACB1E7}"/>
              </a:ext>
            </a:extLst>
          </p:cNvPr>
          <p:cNvSpPr/>
          <p:nvPr/>
        </p:nvSpPr>
        <p:spPr>
          <a:xfrm>
            <a:off x="5096828" y="3413759"/>
            <a:ext cx="4314504" cy="854080"/>
          </a:xfrm>
          <a:prstGeom prst="rect">
            <a:avLst/>
          </a:prstGeom>
        </p:spPr>
        <p:txBody>
          <a:bodyPr wrap="square" lIns="0" tIns="0" rIns="0" bIns="0">
            <a:spAutoFit/>
          </a:bodyPr>
          <a:lstStyle/>
          <a:p>
            <a:pPr marL="144000" lvl="2" indent="-144000">
              <a:spcAft>
                <a:spcPts val="300"/>
              </a:spcAft>
              <a:buFont typeface="Arial" panose="020B0604020202020204" pitchFamily="34" charset="0"/>
              <a:buChar char="•"/>
            </a:pPr>
            <a:r>
              <a:rPr lang="en-GB" sz="1200" dirty="0">
                <a:solidFill>
                  <a:srgbClr val="000000"/>
                </a:solidFill>
              </a:rPr>
              <a:t>What makes you want to change this (situation or behaviour)?</a:t>
            </a:r>
          </a:p>
          <a:p>
            <a:pPr marL="144000" lvl="2" indent="-144000">
              <a:spcAft>
                <a:spcPts val="300"/>
              </a:spcAft>
              <a:buFont typeface="Arial" panose="020B0604020202020204" pitchFamily="34" charset="0"/>
              <a:buChar char="•"/>
            </a:pPr>
            <a:r>
              <a:rPr lang="en-GB" sz="1200" dirty="0">
                <a:solidFill>
                  <a:srgbClr val="000000"/>
                </a:solidFill>
              </a:rPr>
              <a:t>On a scale from 1-10 how important is this change for you?</a:t>
            </a:r>
          </a:p>
          <a:p>
            <a:pPr marL="144000" lvl="2" indent="-144000">
              <a:spcAft>
                <a:spcPts val="300"/>
              </a:spcAft>
              <a:buFont typeface="Arial" panose="020B0604020202020204" pitchFamily="34" charset="0"/>
              <a:buChar char="•"/>
            </a:pPr>
            <a:r>
              <a:rPr lang="en-GB" sz="1200" dirty="0">
                <a:solidFill>
                  <a:srgbClr val="000000"/>
                </a:solidFill>
              </a:rPr>
              <a:t>Why do you say …. and not 2? </a:t>
            </a:r>
          </a:p>
          <a:p>
            <a:pPr marL="144000" lvl="2" indent="-144000">
              <a:spcAft>
                <a:spcPts val="300"/>
              </a:spcAft>
              <a:buFont typeface="Arial" panose="020B0604020202020204" pitchFamily="34" charset="0"/>
              <a:buChar char="•"/>
            </a:pPr>
            <a:r>
              <a:rPr lang="en-GB" sz="1200" dirty="0">
                <a:solidFill>
                  <a:srgbClr val="000000"/>
                </a:solidFill>
              </a:rPr>
              <a:t>How would you feel if you succeed with the change? </a:t>
            </a:r>
          </a:p>
        </p:txBody>
      </p:sp>
      <p:sp>
        <p:nvSpPr>
          <p:cNvPr id="31" name="Rectangle 30">
            <a:extLst>
              <a:ext uri="{FF2B5EF4-FFF2-40B4-BE49-F238E27FC236}">
                <a16:creationId xmlns:a16="http://schemas.microsoft.com/office/drawing/2014/main" id="{AA6BADE2-DAF4-481C-AE32-C177654E6112}"/>
              </a:ext>
            </a:extLst>
          </p:cNvPr>
          <p:cNvSpPr/>
          <p:nvPr/>
        </p:nvSpPr>
        <p:spPr>
          <a:xfrm>
            <a:off x="561435" y="4648443"/>
            <a:ext cx="8997254" cy="461665"/>
          </a:xfrm>
          <a:prstGeom prst="rect">
            <a:avLst/>
          </a:prstGeom>
        </p:spPr>
        <p:txBody>
          <a:bodyPr wrap="square">
            <a:spAutoFit/>
          </a:bodyPr>
          <a:lstStyle/>
          <a:p>
            <a:pPr marL="364513" lvl="2" indent="0">
              <a:buFont typeface="Arial" panose="020B0604020202020204" pitchFamily="34" charset="0"/>
              <a:buNone/>
              <a:tabLst>
                <a:tab pos="2870200" algn="l"/>
              </a:tabLst>
            </a:pPr>
            <a:r>
              <a:rPr lang="en-GB" sz="1200" b="1" dirty="0">
                <a:solidFill>
                  <a:srgbClr val="1F2023"/>
                </a:solidFill>
              </a:rPr>
              <a:t>A summaries  what you just heard	   :  </a:t>
            </a:r>
            <a:r>
              <a:rPr lang="en-GB" sz="1200" dirty="0">
                <a:solidFill>
                  <a:srgbClr val="1F2023"/>
                </a:solidFill>
              </a:rPr>
              <a:t>B’s thoughts about the situation and B’s reasons for making a change, </a:t>
            </a:r>
          </a:p>
          <a:p>
            <a:pPr marL="364513" lvl="2" indent="0">
              <a:buFont typeface="Arial" panose="020B0604020202020204" pitchFamily="34" charset="0"/>
              <a:buNone/>
              <a:tabLst>
                <a:tab pos="2870200" algn="l"/>
              </a:tabLst>
            </a:pPr>
            <a:r>
              <a:rPr lang="en-GB" sz="1200" b="1" dirty="0">
                <a:solidFill>
                  <a:srgbClr val="1F2023"/>
                </a:solidFill>
              </a:rPr>
              <a:t>and finally A ask the question	   :</a:t>
            </a:r>
            <a:r>
              <a:rPr lang="en-GB" sz="1200" dirty="0">
                <a:solidFill>
                  <a:srgbClr val="1F2023"/>
                </a:solidFill>
              </a:rPr>
              <a:t>  This is how I see it. Is that also how you see it?</a:t>
            </a:r>
          </a:p>
        </p:txBody>
      </p:sp>
      <p:grpSp>
        <p:nvGrpSpPr>
          <p:cNvPr id="32" name="Group 31">
            <a:extLst>
              <a:ext uri="{FF2B5EF4-FFF2-40B4-BE49-F238E27FC236}">
                <a16:creationId xmlns:a16="http://schemas.microsoft.com/office/drawing/2014/main" id="{DB80BB5B-CEF8-4497-8FB4-FB00A91DB325}"/>
              </a:ext>
            </a:extLst>
          </p:cNvPr>
          <p:cNvGrpSpPr/>
          <p:nvPr/>
        </p:nvGrpSpPr>
        <p:grpSpPr>
          <a:xfrm>
            <a:off x="269873" y="4670023"/>
            <a:ext cx="263527" cy="394729"/>
            <a:chOff x="787400" y="3219451"/>
            <a:chExt cx="373063" cy="558800"/>
          </a:xfrm>
        </p:grpSpPr>
        <p:sp>
          <p:nvSpPr>
            <p:cNvPr id="33" name="Oval 28">
              <a:extLst>
                <a:ext uri="{FF2B5EF4-FFF2-40B4-BE49-F238E27FC236}">
                  <a16:creationId xmlns:a16="http://schemas.microsoft.com/office/drawing/2014/main" id="{0FC3FB34-B185-4787-B3B3-A7396CAE287C}"/>
                </a:ext>
              </a:extLst>
            </p:cNvPr>
            <p:cNvSpPr>
              <a:spLocks noChangeArrowheads="1"/>
            </p:cNvSpPr>
            <p:nvPr/>
          </p:nvSpPr>
          <p:spPr bwMode="auto">
            <a:xfrm>
              <a:off x="827088" y="3359151"/>
              <a:ext cx="230188" cy="230188"/>
            </a:xfrm>
            <a:prstGeom prst="ellipse">
              <a:avLst/>
            </a:pr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29">
              <a:extLst>
                <a:ext uri="{FF2B5EF4-FFF2-40B4-BE49-F238E27FC236}">
                  <a16:creationId xmlns:a16="http://schemas.microsoft.com/office/drawing/2014/main" id="{AAD22C87-7DC7-46A6-B90B-286D0A8FB764}"/>
                </a:ext>
              </a:extLst>
            </p:cNvPr>
            <p:cNvSpPr>
              <a:spLocks/>
            </p:cNvSpPr>
            <p:nvPr/>
          </p:nvSpPr>
          <p:spPr bwMode="auto">
            <a:xfrm>
              <a:off x="787400" y="3273426"/>
              <a:ext cx="373063" cy="504825"/>
            </a:xfrm>
            <a:custGeom>
              <a:avLst/>
              <a:gdLst>
                <a:gd name="T0" fmla="*/ 45 w 235"/>
                <a:gd name="T1" fmla="*/ 0 h 318"/>
                <a:gd name="T2" fmla="*/ 0 w 235"/>
                <a:gd name="T3" fmla="*/ 0 h 318"/>
                <a:gd name="T4" fmla="*/ 0 w 235"/>
                <a:gd name="T5" fmla="*/ 318 h 318"/>
                <a:gd name="T6" fmla="*/ 235 w 235"/>
                <a:gd name="T7" fmla="*/ 318 h 318"/>
                <a:gd name="T8" fmla="*/ 235 w 235"/>
                <a:gd name="T9" fmla="*/ 270 h 318"/>
                <a:gd name="T10" fmla="*/ 235 w 235"/>
                <a:gd name="T11" fmla="*/ 0 h 318"/>
                <a:gd name="T12" fmla="*/ 187 w 235"/>
                <a:gd name="T13" fmla="*/ 0 h 318"/>
              </a:gdLst>
              <a:ahLst/>
              <a:cxnLst>
                <a:cxn ang="0">
                  <a:pos x="T0" y="T1"/>
                </a:cxn>
                <a:cxn ang="0">
                  <a:pos x="T2" y="T3"/>
                </a:cxn>
                <a:cxn ang="0">
                  <a:pos x="T4" y="T5"/>
                </a:cxn>
                <a:cxn ang="0">
                  <a:pos x="T6" y="T7"/>
                </a:cxn>
                <a:cxn ang="0">
                  <a:pos x="T8" y="T9"/>
                </a:cxn>
                <a:cxn ang="0">
                  <a:pos x="T10" y="T11"/>
                </a:cxn>
                <a:cxn ang="0">
                  <a:pos x="T12" y="T13"/>
                </a:cxn>
              </a:cxnLst>
              <a:rect l="0" t="0" r="r" b="b"/>
              <a:pathLst>
                <a:path w="235" h="318">
                  <a:moveTo>
                    <a:pt x="45" y="0"/>
                  </a:moveTo>
                  <a:lnTo>
                    <a:pt x="0" y="0"/>
                  </a:lnTo>
                  <a:lnTo>
                    <a:pt x="0" y="318"/>
                  </a:lnTo>
                  <a:lnTo>
                    <a:pt x="235" y="318"/>
                  </a:lnTo>
                  <a:lnTo>
                    <a:pt x="235" y="270"/>
                  </a:lnTo>
                  <a:lnTo>
                    <a:pt x="235" y="0"/>
                  </a:lnTo>
                  <a:lnTo>
                    <a:pt x="187"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30">
              <a:extLst>
                <a:ext uri="{FF2B5EF4-FFF2-40B4-BE49-F238E27FC236}">
                  <a16:creationId xmlns:a16="http://schemas.microsoft.com/office/drawing/2014/main" id="{7CA63B3C-8693-4ED5-AC73-4E951280AE59}"/>
                </a:ext>
              </a:extLst>
            </p:cNvPr>
            <p:cNvSpPr>
              <a:spLocks/>
            </p:cNvSpPr>
            <p:nvPr/>
          </p:nvSpPr>
          <p:spPr bwMode="auto">
            <a:xfrm>
              <a:off x="895350" y="3219451"/>
              <a:ext cx="157163" cy="100013"/>
            </a:xfrm>
            <a:custGeom>
              <a:avLst/>
              <a:gdLst>
                <a:gd name="T0" fmla="*/ 25 w 35"/>
                <a:gd name="T1" fmla="*/ 8 h 22"/>
                <a:gd name="T2" fmla="*/ 17 w 35"/>
                <a:gd name="T3" fmla="*/ 0 h 22"/>
                <a:gd name="T4" fmla="*/ 8 w 35"/>
                <a:gd name="T5" fmla="*/ 8 h 22"/>
                <a:gd name="T6" fmla="*/ 2 w 35"/>
                <a:gd name="T7" fmla="*/ 8 h 22"/>
                <a:gd name="T8" fmla="*/ 0 w 35"/>
                <a:gd name="T9" fmla="*/ 10 h 22"/>
                <a:gd name="T10" fmla="*/ 0 w 35"/>
                <a:gd name="T11" fmla="*/ 22 h 22"/>
                <a:gd name="T12" fmla="*/ 35 w 35"/>
                <a:gd name="T13" fmla="*/ 22 h 22"/>
                <a:gd name="T14" fmla="*/ 35 w 35"/>
                <a:gd name="T15" fmla="*/ 10 h 22"/>
                <a:gd name="T16" fmla="*/ 32 w 35"/>
                <a:gd name="T17" fmla="*/ 8 h 22"/>
                <a:gd name="T18" fmla="*/ 25 w 35"/>
                <a:gd name="T19"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 h="22">
                  <a:moveTo>
                    <a:pt x="25" y="8"/>
                  </a:moveTo>
                  <a:cubicBezTo>
                    <a:pt x="25" y="3"/>
                    <a:pt x="22" y="0"/>
                    <a:pt x="17" y="0"/>
                  </a:cubicBezTo>
                  <a:cubicBezTo>
                    <a:pt x="12" y="0"/>
                    <a:pt x="8" y="3"/>
                    <a:pt x="8" y="8"/>
                  </a:cubicBezTo>
                  <a:cubicBezTo>
                    <a:pt x="2" y="8"/>
                    <a:pt x="2" y="8"/>
                    <a:pt x="2" y="8"/>
                  </a:cubicBezTo>
                  <a:cubicBezTo>
                    <a:pt x="1" y="8"/>
                    <a:pt x="0" y="9"/>
                    <a:pt x="0" y="10"/>
                  </a:cubicBezTo>
                  <a:cubicBezTo>
                    <a:pt x="0" y="22"/>
                    <a:pt x="0" y="22"/>
                    <a:pt x="0" y="22"/>
                  </a:cubicBezTo>
                  <a:cubicBezTo>
                    <a:pt x="35" y="22"/>
                    <a:pt x="35" y="22"/>
                    <a:pt x="35" y="22"/>
                  </a:cubicBezTo>
                  <a:cubicBezTo>
                    <a:pt x="35" y="10"/>
                    <a:pt x="35" y="10"/>
                    <a:pt x="35" y="10"/>
                  </a:cubicBezTo>
                  <a:cubicBezTo>
                    <a:pt x="35" y="9"/>
                    <a:pt x="34" y="8"/>
                    <a:pt x="32" y="8"/>
                  </a:cubicBezTo>
                  <a:lnTo>
                    <a:pt x="25" y="8"/>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31">
              <a:extLst>
                <a:ext uri="{FF2B5EF4-FFF2-40B4-BE49-F238E27FC236}">
                  <a16:creationId xmlns:a16="http://schemas.microsoft.com/office/drawing/2014/main" id="{464800F4-24F5-4F79-BA22-0D7411E1645C}"/>
                </a:ext>
              </a:extLst>
            </p:cNvPr>
            <p:cNvSpPr>
              <a:spLocks/>
            </p:cNvSpPr>
            <p:nvPr/>
          </p:nvSpPr>
          <p:spPr bwMode="auto">
            <a:xfrm>
              <a:off x="935038" y="3386138"/>
              <a:ext cx="163513" cy="122238"/>
            </a:xfrm>
            <a:custGeom>
              <a:avLst/>
              <a:gdLst>
                <a:gd name="T0" fmla="*/ 0 w 103"/>
                <a:gd name="T1" fmla="*/ 40 h 77"/>
                <a:gd name="T2" fmla="*/ 32 w 103"/>
                <a:gd name="T3" fmla="*/ 77 h 77"/>
                <a:gd name="T4" fmla="*/ 103 w 103"/>
                <a:gd name="T5" fmla="*/ 0 h 77"/>
              </a:gdLst>
              <a:ahLst/>
              <a:cxnLst>
                <a:cxn ang="0">
                  <a:pos x="T0" y="T1"/>
                </a:cxn>
                <a:cxn ang="0">
                  <a:pos x="T2" y="T3"/>
                </a:cxn>
                <a:cxn ang="0">
                  <a:pos x="T4" y="T5"/>
                </a:cxn>
              </a:cxnLst>
              <a:rect l="0" t="0" r="r" b="b"/>
              <a:pathLst>
                <a:path w="103" h="77">
                  <a:moveTo>
                    <a:pt x="0" y="40"/>
                  </a:moveTo>
                  <a:lnTo>
                    <a:pt x="32" y="77"/>
                  </a:lnTo>
                  <a:lnTo>
                    <a:pt x="103"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32">
              <a:extLst>
                <a:ext uri="{FF2B5EF4-FFF2-40B4-BE49-F238E27FC236}">
                  <a16:creationId xmlns:a16="http://schemas.microsoft.com/office/drawing/2014/main" id="{D9E77AA5-5836-44DE-8B5D-CC7657CA9F71}"/>
                </a:ext>
              </a:extLst>
            </p:cNvPr>
            <p:cNvSpPr>
              <a:spLocks/>
            </p:cNvSpPr>
            <p:nvPr/>
          </p:nvSpPr>
          <p:spPr bwMode="auto">
            <a:xfrm>
              <a:off x="881063" y="3386138"/>
              <a:ext cx="185738" cy="180975"/>
            </a:xfrm>
            <a:custGeom>
              <a:avLst/>
              <a:gdLst>
                <a:gd name="T0" fmla="*/ 38 w 41"/>
                <a:gd name="T1" fmla="*/ 11 h 40"/>
                <a:gd name="T2" fmla="*/ 41 w 41"/>
                <a:gd name="T3" fmla="*/ 20 h 40"/>
                <a:gd name="T4" fmla="*/ 20 w 41"/>
                <a:gd name="T5" fmla="*/ 40 h 40"/>
                <a:gd name="T6" fmla="*/ 0 w 41"/>
                <a:gd name="T7" fmla="*/ 20 h 40"/>
                <a:gd name="T8" fmla="*/ 20 w 41"/>
                <a:gd name="T9" fmla="*/ 0 h 40"/>
                <a:gd name="T10" fmla="*/ 30 w 41"/>
                <a:gd name="T11" fmla="*/ 2 h 40"/>
              </a:gdLst>
              <a:ahLst/>
              <a:cxnLst>
                <a:cxn ang="0">
                  <a:pos x="T0" y="T1"/>
                </a:cxn>
                <a:cxn ang="0">
                  <a:pos x="T2" y="T3"/>
                </a:cxn>
                <a:cxn ang="0">
                  <a:pos x="T4" y="T5"/>
                </a:cxn>
                <a:cxn ang="0">
                  <a:pos x="T6" y="T7"/>
                </a:cxn>
                <a:cxn ang="0">
                  <a:pos x="T8" y="T9"/>
                </a:cxn>
                <a:cxn ang="0">
                  <a:pos x="T10" y="T11"/>
                </a:cxn>
              </a:cxnLst>
              <a:rect l="0" t="0" r="r" b="b"/>
              <a:pathLst>
                <a:path w="41" h="40">
                  <a:moveTo>
                    <a:pt x="38" y="11"/>
                  </a:moveTo>
                  <a:cubicBezTo>
                    <a:pt x="40" y="13"/>
                    <a:pt x="41" y="17"/>
                    <a:pt x="41" y="20"/>
                  </a:cubicBezTo>
                  <a:cubicBezTo>
                    <a:pt x="41" y="31"/>
                    <a:pt x="32" y="40"/>
                    <a:pt x="20" y="40"/>
                  </a:cubicBezTo>
                  <a:cubicBezTo>
                    <a:pt x="9" y="40"/>
                    <a:pt x="0" y="31"/>
                    <a:pt x="0" y="20"/>
                  </a:cubicBezTo>
                  <a:cubicBezTo>
                    <a:pt x="0" y="9"/>
                    <a:pt x="9" y="0"/>
                    <a:pt x="20" y="0"/>
                  </a:cubicBezTo>
                  <a:cubicBezTo>
                    <a:pt x="24" y="0"/>
                    <a:pt x="27" y="0"/>
                    <a:pt x="30" y="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Line 33">
              <a:extLst>
                <a:ext uri="{FF2B5EF4-FFF2-40B4-BE49-F238E27FC236}">
                  <a16:creationId xmlns:a16="http://schemas.microsoft.com/office/drawing/2014/main" id="{C4BCAA56-88B5-4BD0-A76B-5FE89307384D}"/>
                </a:ext>
              </a:extLst>
            </p:cNvPr>
            <p:cNvSpPr>
              <a:spLocks noChangeShapeType="1"/>
            </p:cNvSpPr>
            <p:nvPr/>
          </p:nvSpPr>
          <p:spPr bwMode="auto">
            <a:xfrm>
              <a:off x="881063" y="3629026"/>
              <a:ext cx="1857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34">
              <a:extLst>
                <a:ext uri="{FF2B5EF4-FFF2-40B4-BE49-F238E27FC236}">
                  <a16:creationId xmlns:a16="http://schemas.microsoft.com/office/drawing/2014/main" id="{4F2FC8EE-D02E-455E-AD02-46B391E5CAE1}"/>
                </a:ext>
              </a:extLst>
            </p:cNvPr>
            <p:cNvSpPr>
              <a:spLocks noChangeShapeType="1"/>
            </p:cNvSpPr>
            <p:nvPr/>
          </p:nvSpPr>
          <p:spPr bwMode="auto">
            <a:xfrm>
              <a:off x="881063" y="3687763"/>
              <a:ext cx="1857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5" name="Group 44">
            <a:extLst>
              <a:ext uri="{FF2B5EF4-FFF2-40B4-BE49-F238E27FC236}">
                <a16:creationId xmlns:a16="http://schemas.microsoft.com/office/drawing/2014/main" id="{49143240-3C92-4FCD-8DB5-89BB589D986B}"/>
              </a:ext>
            </a:extLst>
          </p:cNvPr>
          <p:cNvGrpSpPr/>
          <p:nvPr/>
        </p:nvGrpSpPr>
        <p:grpSpPr>
          <a:xfrm>
            <a:off x="8298832" y="309514"/>
            <a:ext cx="847612" cy="669167"/>
            <a:chOff x="4051300" y="3319463"/>
            <a:chExt cx="512763" cy="404813"/>
          </a:xfrm>
        </p:grpSpPr>
        <p:sp>
          <p:nvSpPr>
            <p:cNvPr id="46" name="Freeform 22">
              <a:extLst>
                <a:ext uri="{FF2B5EF4-FFF2-40B4-BE49-F238E27FC236}">
                  <a16:creationId xmlns:a16="http://schemas.microsoft.com/office/drawing/2014/main" id="{5D60470E-E293-4100-B2F6-33FC9E2FC5AE}"/>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23">
              <a:extLst>
                <a:ext uri="{FF2B5EF4-FFF2-40B4-BE49-F238E27FC236}">
                  <a16:creationId xmlns:a16="http://schemas.microsoft.com/office/drawing/2014/main" id="{8E5E2B59-187A-464F-8C53-49C443C075D7}"/>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4">
              <a:extLst>
                <a:ext uri="{FF2B5EF4-FFF2-40B4-BE49-F238E27FC236}">
                  <a16:creationId xmlns:a16="http://schemas.microsoft.com/office/drawing/2014/main" id="{FCCB4408-90F3-412B-9BA0-C2BE1EF90957}"/>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50" name="Rectangle 49">
            <a:extLst>
              <a:ext uri="{FF2B5EF4-FFF2-40B4-BE49-F238E27FC236}">
                <a16:creationId xmlns:a16="http://schemas.microsoft.com/office/drawing/2014/main" id="{C2B21D0F-6387-4CBE-8931-19FF69C0141C}"/>
              </a:ext>
            </a:extLst>
          </p:cNvPr>
          <p:cNvSpPr/>
          <p:nvPr/>
        </p:nvSpPr>
        <p:spPr>
          <a:xfrm>
            <a:off x="635695" y="1572018"/>
            <a:ext cx="8997254" cy="276999"/>
          </a:xfrm>
          <a:prstGeom prst="rect">
            <a:avLst/>
          </a:prstGeom>
        </p:spPr>
        <p:txBody>
          <a:bodyPr wrap="square">
            <a:spAutoFit/>
          </a:bodyPr>
          <a:lstStyle/>
          <a:p>
            <a:pPr marL="364513" lvl="2" indent="0">
              <a:buFont typeface="Arial" panose="020B0604020202020204" pitchFamily="34" charset="0"/>
              <a:buNone/>
              <a:tabLst>
                <a:tab pos="2870200" algn="l"/>
              </a:tabLst>
            </a:pPr>
            <a:r>
              <a:rPr lang="en-GB" sz="1200" b="1" dirty="0">
                <a:solidFill>
                  <a:srgbClr val="1F2023"/>
                </a:solidFill>
              </a:rPr>
              <a:t>In pairs</a:t>
            </a:r>
          </a:p>
        </p:txBody>
      </p:sp>
      <p:grpSp>
        <p:nvGrpSpPr>
          <p:cNvPr id="51" name="Group 50">
            <a:extLst>
              <a:ext uri="{FF2B5EF4-FFF2-40B4-BE49-F238E27FC236}">
                <a16:creationId xmlns:a16="http://schemas.microsoft.com/office/drawing/2014/main" id="{2BF8C182-5FE7-468D-87B5-76D9BD4BB26E}"/>
              </a:ext>
            </a:extLst>
          </p:cNvPr>
          <p:cNvGrpSpPr/>
          <p:nvPr/>
        </p:nvGrpSpPr>
        <p:grpSpPr>
          <a:xfrm>
            <a:off x="269874" y="1595307"/>
            <a:ext cx="295909" cy="230420"/>
            <a:chOff x="2859088" y="1800226"/>
            <a:chExt cx="387351" cy="301625"/>
          </a:xfrm>
        </p:grpSpPr>
        <p:sp>
          <p:nvSpPr>
            <p:cNvPr id="52" name="Freeform 89">
              <a:extLst>
                <a:ext uri="{FF2B5EF4-FFF2-40B4-BE49-F238E27FC236}">
                  <a16:creationId xmlns:a16="http://schemas.microsoft.com/office/drawing/2014/main" id="{17556069-9308-48F2-9625-07AEFBA8E065}"/>
                </a:ext>
              </a:extLst>
            </p:cNvPr>
            <p:cNvSpPr>
              <a:spLocks/>
            </p:cNvSpPr>
            <p:nvPr/>
          </p:nvSpPr>
          <p:spPr bwMode="auto">
            <a:xfrm>
              <a:off x="2859088" y="1800226"/>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90">
              <a:extLst>
                <a:ext uri="{FF2B5EF4-FFF2-40B4-BE49-F238E27FC236}">
                  <a16:creationId xmlns:a16="http://schemas.microsoft.com/office/drawing/2014/main" id="{B87B22A1-A265-4922-A88B-355D1855983A}"/>
                </a:ext>
              </a:extLst>
            </p:cNvPr>
            <p:cNvSpPr>
              <a:spLocks/>
            </p:cNvSpPr>
            <p:nvPr/>
          </p:nvSpPr>
          <p:spPr bwMode="auto">
            <a:xfrm>
              <a:off x="3025776" y="1827213"/>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91">
              <a:extLst>
                <a:ext uri="{FF2B5EF4-FFF2-40B4-BE49-F238E27FC236}">
                  <a16:creationId xmlns:a16="http://schemas.microsoft.com/office/drawing/2014/main" id="{1E99CE35-77E1-4883-99C9-F736A32F0D99}"/>
                </a:ext>
              </a:extLst>
            </p:cNvPr>
            <p:cNvSpPr>
              <a:spLocks/>
            </p:cNvSpPr>
            <p:nvPr/>
          </p:nvSpPr>
          <p:spPr bwMode="auto">
            <a:xfrm>
              <a:off x="2962276" y="1966913"/>
              <a:ext cx="284163" cy="134938"/>
            </a:xfrm>
            <a:custGeom>
              <a:avLst/>
              <a:gdLst>
                <a:gd name="T0" fmla="*/ 0 w 63"/>
                <a:gd name="T1" fmla="*/ 23 h 30"/>
                <a:gd name="T2" fmla="*/ 10 w 63"/>
                <a:gd name="T3" fmla="*/ 23 h 30"/>
                <a:gd name="T4" fmla="*/ 18 w 63"/>
                <a:gd name="T5" fmla="*/ 15 h 30"/>
                <a:gd name="T6" fmla="*/ 18 w 63"/>
                <a:gd name="T7" fmla="*/ 15 h 30"/>
                <a:gd name="T8" fmla="*/ 33 w 63"/>
                <a:gd name="T9" fmla="*/ 0 h 30"/>
                <a:gd name="T10" fmla="*/ 48 w 63"/>
                <a:gd name="T11" fmla="*/ 0 h 30"/>
                <a:gd name="T12" fmla="*/ 63 w 63"/>
                <a:gd name="T13" fmla="*/ 15 h 30"/>
                <a:gd name="T14" fmla="*/ 63 w 63"/>
                <a:gd name="T15" fmla="*/ 20 h 30"/>
                <a:gd name="T16" fmla="*/ 53 w 63"/>
                <a:gd name="T17" fmla="*/ 30 h 30"/>
                <a:gd name="T18" fmla="*/ 46 w 6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30">
                  <a:moveTo>
                    <a:pt x="0" y="23"/>
                  </a:moveTo>
                  <a:cubicBezTo>
                    <a:pt x="10" y="23"/>
                    <a:pt x="10" y="23"/>
                    <a:pt x="10" y="23"/>
                  </a:cubicBezTo>
                  <a:cubicBezTo>
                    <a:pt x="14" y="23"/>
                    <a:pt x="18" y="19"/>
                    <a:pt x="18" y="15"/>
                  </a:cubicBezTo>
                  <a:cubicBezTo>
                    <a:pt x="18" y="15"/>
                    <a:pt x="18" y="15"/>
                    <a:pt x="18" y="15"/>
                  </a:cubicBezTo>
                  <a:cubicBezTo>
                    <a:pt x="18" y="6"/>
                    <a:pt x="25" y="0"/>
                    <a:pt x="33" y="0"/>
                  </a:cubicBezTo>
                  <a:cubicBezTo>
                    <a:pt x="48" y="0"/>
                    <a:pt x="48" y="0"/>
                    <a:pt x="48" y="0"/>
                  </a:cubicBezTo>
                  <a:cubicBezTo>
                    <a:pt x="56" y="0"/>
                    <a:pt x="63" y="6"/>
                    <a:pt x="63" y="15"/>
                  </a:cubicBezTo>
                  <a:cubicBezTo>
                    <a:pt x="63" y="20"/>
                    <a:pt x="63" y="20"/>
                    <a:pt x="63" y="20"/>
                  </a:cubicBezTo>
                  <a:cubicBezTo>
                    <a:pt x="63" y="25"/>
                    <a:pt x="58" y="30"/>
                    <a:pt x="53" y="30"/>
                  </a:cubicBezTo>
                  <a:cubicBezTo>
                    <a:pt x="46" y="30"/>
                    <a:pt x="46" y="30"/>
                    <a:pt x="46" y="3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92">
              <a:extLst>
                <a:ext uri="{FF2B5EF4-FFF2-40B4-BE49-F238E27FC236}">
                  <a16:creationId xmlns:a16="http://schemas.microsoft.com/office/drawing/2014/main" id="{8ABB0853-8696-46CB-8388-7D1CD79E937F}"/>
                </a:ext>
              </a:extLst>
            </p:cNvPr>
            <p:cNvSpPr>
              <a:spLocks/>
            </p:cNvSpPr>
            <p:nvPr/>
          </p:nvSpPr>
          <p:spPr bwMode="auto">
            <a:xfrm>
              <a:off x="2903538" y="1935163"/>
              <a:ext cx="188913" cy="93663"/>
            </a:xfrm>
            <a:custGeom>
              <a:avLst/>
              <a:gdLst>
                <a:gd name="T0" fmla="*/ 0 w 42"/>
                <a:gd name="T1" fmla="*/ 21 h 21"/>
                <a:gd name="T2" fmla="*/ 0 w 42"/>
                <a:gd name="T3" fmla="*/ 15 h 21"/>
                <a:gd name="T4" fmla="*/ 15 w 42"/>
                <a:gd name="T5" fmla="*/ 0 h 21"/>
                <a:gd name="T6" fmla="*/ 29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6" y="0"/>
                    <a:pt x="15" y="0"/>
                  </a:cubicBezTo>
                  <a:cubicBezTo>
                    <a:pt x="29" y="0"/>
                    <a:pt x="29" y="0"/>
                    <a:pt x="29" y="0"/>
                  </a:cubicBezTo>
                  <a:cubicBezTo>
                    <a:pt x="34" y="0"/>
                    <a:pt x="39" y="2"/>
                    <a:pt x="42" y="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Line 93">
              <a:extLst>
                <a:ext uri="{FF2B5EF4-FFF2-40B4-BE49-F238E27FC236}">
                  <a16:creationId xmlns:a16="http://schemas.microsoft.com/office/drawing/2014/main" id="{BFFEA3EC-3F2B-4D9F-A817-C097087E33E6}"/>
                </a:ext>
              </a:extLst>
            </p:cNvPr>
            <p:cNvSpPr>
              <a:spLocks noChangeShapeType="1"/>
            </p:cNvSpPr>
            <p:nvPr/>
          </p:nvSpPr>
          <p:spPr bwMode="auto">
            <a:xfrm>
              <a:off x="3178176"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94">
              <a:extLst>
                <a:ext uri="{FF2B5EF4-FFF2-40B4-BE49-F238E27FC236}">
                  <a16:creationId xmlns:a16="http://schemas.microsoft.com/office/drawing/2014/main" id="{A372CC7C-F693-4548-95EA-119FFF8065C3}"/>
                </a:ext>
              </a:extLst>
            </p:cNvPr>
            <p:cNvSpPr>
              <a:spLocks/>
            </p:cNvSpPr>
            <p:nvPr/>
          </p:nvSpPr>
          <p:spPr bwMode="auto">
            <a:xfrm>
              <a:off x="3097213" y="1849438"/>
              <a:ext cx="95250" cy="117475"/>
            </a:xfrm>
            <a:custGeom>
              <a:avLst/>
              <a:gdLst>
                <a:gd name="T0" fmla="*/ 10 w 21"/>
                <a:gd name="T1" fmla="*/ 26 h 26"/>
                <a:gd name="T2" fmla="*/ 1 w 21"/>
                <a:gd name="T3" fmla="*/ 13 h 26"/>
                <a:gd name="T4" fmla="*/ 10 w 21"/>
                <a:gd name="T5" fmla="*/ 0 h 26"/>
                <a:gd name="T6" fmla="*/ 20 w 21"/>
                <a:gd name="T7" fmla="*/ 13 h 26"/>
                <a:gd name="T8" fmla="*/ 18 w 21"/>
                <a:gd name="T9" fmla="*/ 19 h 26"/>
              </a:gdLst>
              <a:ahLst/>
              <a:cxnLst>
                <a:cxn ang="0">
                  <a:pos x="T0" y="T1"/>
                </a:cxn>
                <a:cxn ang="0">
                  <a:pos x="T2" y="T3"/>
                </a:cxn>
                <a:cxn ang="0">
                  <a:pos x="T4" y="T5"/>
                </a:cxn>
                <a:cxn ang="0">
                  <a:pos x="T6" y="T7"/>
                </a:cxn>
                <a:cxn ang="0">
                  <a:pos x="T8" y="T9"/>
                </a:cxn>
              </a:cxnLst>
              <a:rect l="0" t="0" r="r" b="b"/>
              <a:pathLst>
                <a:path w="21" h="26">
                  <a:moveTo>
                    <a:pt x="10" y="26"/>
                  </a:moveTo>
                  <a:cubicBezTo>
                    <a:pt x="6" y="26"/>
                    <a:pt x="1" y="21"/>
                    <a:pt x="1" y="13"/>
                  </a:cubicBezTo>
                  <a:cubicBezTo>
                    <a:pt x="0" y="5"/>
                    <a:pt x="3" y="0"/>
                    <a:pt x="10" y="0"/>
                  </a:cubicBezTo>
                  <a:cubicBezTo>
                    <a:pt x="17" y="0"/>
                    <a:pt x="21" y="5"/>
                    <a:pt x="20" y="13"/>
                  </a:cubicBezTo>
                  <a:cubicBezTo>
                    <a:pt x="20" y="15"/>
                    <a:pt x="19" y="17"/>
                    <a:pt x="18" y="1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95">
              <a:extLst>
                <a:ext uri="{FF2B5EF4-FFF2-40B4-BE49-F238E27FC236}">
                  <a16:creationId xmlns:a16="http://schemas.microsoft.com/office/drawing/2014/main" id="{26B07555-4B03-47BE-AE76-D8524751E57F}"/>
                </a:ext>
              </a:extLst>
            </p:cNvPr>
            <p:cNvSpPr>
              <a:spLocks/>
            </p:cNvSpPr>
            <p:nvPr/>
          </p:nvSpPr>
          <p:spPr bwMode="auto">
            <a:xfrm>
              <a:off x="2957513" y="1817688"/>
              <a:ext cx="90488" cy="117475"/>
            </a:xfrm>
            <a:custGeom>
              <a:avLst/>
              <a:gdLst>
                <a:gd name="T0" fmla="*/ 10 w 20"/>
                <a:gd name="T1" fmla="*/ 26 h 26"/>
                <a:gd name="T2" fmla="*/ 0 w 20"/>
                <a:gd name="T3" fmla="*/ 13 h 26"/>
                <a:gd name="T4" fmla="*/ 10 w 20"/>
                <a:gd name="T5" fmla="*/ 0 h 26"/>
                <a:gd name="T6" fmla="*/ 20 w 20"/>
                <a:gd name="T7" fmla="*/ 13 h 26"/>
                <a:gd name="T8" fmla="*/ 18 w 20"/>
                <a:gd name="T9" fmla="*/ 19 h 26"/>
              </a:gdLst>
              <a:ahLst/>
              <a:cxnLst>
                <a:cxn ang="0">
                  <a:pos x="T0" y="T1"/>
                </a:cxn>
                <a:cxn ang="0">
                  <a:pos x="T2" y="T3"/>
                </a:cxn>
                <a:cxn ang="0">
                  <a:pos x="T4" y="T5"/>
                </a:cxn>
                <a:cxn ang="0">
                  <a:pos x="T6" y="T7"/>
                </a:cxn>
                <a:cxn ang="0">
                  <a:pos x="T8" y="T9"/>
                </a:cxn>
              </a:cxnLst>
              <a:rect l="0" t="0" r="r" b="b"/>
              <a:pathLst>
                <a:path w="20" h="26">
                  <a:moveTo>
                    <a:pt x="10" y="26"/>
                  </a:moveTo>
                  <a:cubicBezTo>
                    <a:pt x="6" y="26"/>
                    <a:pt x="1" y="21"/>
                    <a:pt x="0" y="13"/>
                  </a:cubicBezTo>
                  <a:cubicBezTo>
                    <a:pt x="0" y="6"/>
                    <a:pt x="3" y="0"/>
                    <a:pt x="10" y="0"/>
                  </a:cubicBezTo>
                  <a:cubicBezTo>
                    <a:pt x="17" y="0"/>
                    <a:pt x="20" y="6"/>
                    <a:pt x="20" y="13"/>
                  </a:cubicBezTo>
                  <a:cubicBezTo>
                    <a:pt x="20" y="15"/>
                    <a:pt x="19" y="17"/>
                    <a:pt x="18" y="1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59" name="Straight Connector 58">
            <a:extLst>
              <a:ext uri="{FF2B5EF4-FFF2-40B4-BE49-F238E27FC236}">
                <a16:creationId xmlns:a16="http://schemas.microsoft.com/office/drawing/2014/main" id="{D2785122-BB66-4E93-B0CD-3A11A2361263}"/>
              </a:ext>
            </a:extLst>
          </p:cNvPr>
          <p:cNvCxnSpPr>
            <a:cxnSpLocks/>
          </p:cNvCxnSpPr>
          <p:nvPr/>
        </p:nvCxnSpPr>
        <p:spPr>
          <a:xfrm>
            <a:off x="798364" y="1549867"/>
            <a:ext cx="0" cy="339772"/>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2551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03E58D8-4209-43C1-860C-8731224ACDDC}"/>
              </a:ext>
            </a:extLst>
          </p:cNvPr>
          <p:cNvSpPr/>
          <p:nvPr/>
        </p:nvSpPr>
        <p:spPr>
          <a:xfrm>
            <a:off x="0" y="2362200"/>
            <a:ext cx="9906000" cy="2733676"/>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cxnSp>
        <p:nvCxnSpPr>
          <p:cNvPr id="17" name="Lige forbindelse 16"/>
          <p:cNvCxnSpPr/>
          <p:nvPr/>
        </p:nvCxnSpPr>
        <p:spPr>
          <a:xfrm>
            <a:off x="2026766" y="3472872"/>
            <a:ext cx="391886"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19" name="Tekstboks 18"/>
          <p:cNvSpPr txBox="1"/>
          <p:nvPr/>
        </p:nvSpPr>
        <p:spPr>
          <a:xfrm>
            <a:off x="1757142" y="3266627"/>
            <a:ext cx="171522" cy="369332"/>
          </a:xfrm>
          <a:prstGeom prst="rect">
            <a:avLst/>
          </a:prstGeom>
          <a:noFill/>
        </p:spPr>
        <p:txBody>
          <a:bodyPr wrap="none" lIns="0" tIns="0" rIns="0" bIns="0" rtlCol="0">
            <a:spAutoFit/>
          </a:bodyPr>
          <a:lstStyle/>
          <a:p>
            <a:pPr>
              <a:spcBef>
                <a:spcPts val="600"/>
              </a:spcBef>
            </a:pPr>
            <a:r>
              <a:rPr lang="en-GB" sz="2400" b="1" dirty="0">
                <a:solidFill>
                  <a:srgbClr val="0070C0"/>
                </a:solidFill>
                <a:latin typeface="+mj-lt"/>
                <a:cs typeface="Arial" pitchFamily="34" charset="0"/>
              </a:rPr>
              <a:t>6</a:t>
            </a:r>
          </a:p>
        </p:txBody>
      </p:sp>
      <p:sp>
        <p:nvSpPr>
          <p:cNvPr id="16" name="Rectangle 34"/>
          <p:cNvSpPr>
            <a:spLocks noGrp="1" noChangeArrowheads="1"/>
          </p:cNvSpPr>
          <p:nvPr>
            <p:ph type="title"/>
          </p:nvPr>
        </p:nvSpPr>
        <p:spPr/>
        <p:txBody>
          <a:bodyPr/>
          <a:lstStyle/>
          <a:p>
            <a:r>
              <a:rPr lang="en-GB" dirty="0"/>
              <a:t>Status Quo vs. Change Talk  - your questions matters</a:t>
            </a:r>
          </a:p>
        </p:txBody>
      </p:sp>
      <p:sp>
        <p:nvSpPr>
          <p:cNvPr id="12" name="Round Same Side Corner Rectangle 257">
            <a:extLst>
              <a:ext uri="{FF2B5EF4-FFF2-40B4-BE49-F238E27FC236}">
                <a16:creationId xmlns:a16="http://schemas.microsoft.com/office/drawing/2014/main" id="{D0B39225-5F99-49BD-A90D-FA887D2FFC52}"/>
              </a:ext>
            </a:extLst>
          </p:cNvPr>
          <p:cNvSpPr/>
          <p:nvPr/>
        </p:nvSpPr>
        <p:spPr>
          <a:xfrm>
            <a:off x="1551345" y="1600200"/>
            <a:ext cx="6807091" cy="4076255"/>
          </a:xfrm>
          <a:prstGeom prst="round2SameRect">
            <a:avLst>
              <a:gd name="adj1" fmla="val 5842"/>
              <a:gd name="adj2" fmla="val 0"/>
            </a:avLst>
          </a:prstGeom>
          <a:gradFill>
            <a:gsLst>
              <a:gs pos="0">
                <a:schemeClr val="tx1"/>
              </a:gs>
              <a:gs pos="50000">
                <a:schemeClr val="tx1">
                  <a:lumMod val="95000"/>
                  <a:lumOff val="5000"/>
                </a:schemeClr>
              </a:gs>
              <a:gs pos="100000">
                <a:schemeClr val="tx1">
                  <a:lumMod val="85000"/>
                  <a:lumOff val="15000"/>
                </a:schemeClr>
              </a:gs>
            </a:gsLst>
            <a:lin ang="5400000" scaled="0"/>
          </a:gradFill>
          <a:ln w="38100">
            <a:gradFill flip="none" rotWithShape="1">
              <a:gsLst>
                <a:gs pos="0">
                  <a:schemeClr val="bg1">
                    <a:lumMod val="79000"/>
                  </a:schemeClr>
                </a:gs>
                <a:gs pos="100000">
                  <a:schemeClr val="bg1">
                    <a:lumMod val="87000"/>
                  </a:schemeClr>
                </a:gs>
                <a:gs pos="51000">
                  <a:schemeClr val="bg1">
                    <a:lumMod val="95000"/>
                  </a:schemeClr>
                </a:gs>
              </a:gsLst>
              <a:lin ang="13500000" scaled="1"/>
              <a:tileRect/>
            </a:gradFill>
          </a:ln>
          <a:effectLst/>
          <a:scene3d>
            <a:camera prst="orthographicFront"/>
            <a:lightRig rig="threePt" dir="t"/>
          </a:scene3d>
          <a:sp3d>
            <a:bevelT w="50800" h="50800" prst="relaxedIns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Rectangle 12">
            <a:extLst>
              <a:ext uri="{FF2B5EF4-FFF2-40B4-BE49-F238E27FC236}">
                <a16:creationId xmlns:a16="http://schemas.microsoft.com/office/drawing/2014/main" id="{123E0B53-3AD3-4804-9BB3-10D60123364E}"/>
              </a:ext>
            </a:extLst>
          </p:cNvPr>
          <p:cNvSpPr/>
          <p:nvPr/>
        </p:nvSpPr>
        <p:spPr>
          <a:xfrm>
            <a:off x="1744839" y="1836194"/>
            <a:ext cx="6420101" cy="35993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 name="Group 2"/>
          <p:cNvGrpSpPr/>
          <p:nvPr/>
        </p:nvGrpSpPr>
        <p:grpSpPr>
          <a:xfrm>
            <a:off x="540625" y="5644632"/>
            <a:ext cx="8644016" cy="268488"/>
            <a:chOff x="134042" y="5657683"/>
            <a:chExt cx="9457181" cy="242386"/>
          </a:xfrm>
        </p:grpSpPr>
        <p:sp>
          <p:nvSpPr>
            <p:cNvPr id="11" name="Rounded Rectangle 256">
              <a:extLst>
                <a:ext uri="{FF2B5EF4-FFF2-40B4-BE49-F238E27FC236}">
                  <a16:creationId xmlns:a16="http://schemas.microsoft.com/office/drawing/2014/main" id="{D41C77B6-76FD-4061-B436-D295DD55295D}"/>
                </a:ext>
              </a:extLst>
            </p:cNvPr>
            <p:cNvSpPr/>
            <p:nvPr/>
          </p:nvSpPr>
          <p:spPr>
            <a:xfrm>
              <a:off x="143427" y="5777004"/>
              <a:ext cx="9447796" cy="123065"/>
            </a:xfrm>
            <a:prstGeom prst="roundRect">
              <a:avLst>
                <a:gd name="adj" fmla="val 50000"/>
              </a:avLst>
            </a:prstGeom>
            <a:gradFill flip="none" rotWithShape="1">
              <a:gsLst>
                <a:gs pos="0">
                  <a:schemeClr val="bg1">
                    <a:lumMod val="75000"/>
                  </a:schemeClr>
                </a:gs>
                <a:gs pos="50000">
                  <a:schemeClr val="bg1">
                    <a:lumMod val="95000"/>
                  </a:schemeClr>
                </a:gs>
                <a:gs pos="100000">
                  <a:schemeClr val="bg1">
                    <a:lumMod val="8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tangle 13">
              <a:extLst>
                <a:ext uri="{FF2B5EF4-FFF2-40B4-BE49-F238E27FC236}">
                  <a16:creationId xmlns:a16="http://schemas.microsoft.com/office/drawing/2014/main" id="{D47A51E0-B52D-4829-AE3C-9A60FF1735C9}"/>
                </a:ext>
              </a:extLst>
            </p:cNvPr>
            <p:cNvSpPr/>
            <p:nvPr/>
          </p:nvSpPr>
          <p:spPr>
            <a:xfrm>
              <a:off x="143427" y="5657684"/>
              <a:ext cx="9447793" cy="185372"/>
            </a:xfrm>
            <a:prstGeom prst="rect">
              <a:avLst/>
            </a:prstGeom>
            <a:gradFill flip="none" rotWithShape="1">
              <a:gsLst>
                <a:gs pos="0">
                  <a:schemeClr val="bg1">
                    <a:lumMod val="75000"/>
                  </a:schemeClr>
                </a:gs>
                <a:gs pos="63000">
                  <a:schemeClr val="bg1">
                    <a:lumMod val="95000"/>
                  </a:schemeClr>
                </a:gs>
                <a:gs pos="100000">
                  <a:schemeClr val="bg1">
                    <a:lumMod val="85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5" name="Straight Connector 14">
              <a:extLst>
                <a:ext uri="{FF2B5EF4-FFF2-40B4-BE49-F238E27FC236}">
                  <a16:creationId xmlns:a16="http://schemas.microsoft.com/office/drawing/2014/main" id="{AE662CE2-5C59-42A9-B97C-53AB724C1A14}"/>
                </a:ext>
              </a:extLst>
            </p:cNvPr>
            <p:cNvCxnSpPr/>
            <p:nvPr/>
          </p:nvCxnSpPr>
          <p:spPr>
            <a:xfrm>
              <a:off x="134042" y="5829128"/>
              <a:ext cx="9447793" cy="0"/>
            </a:xfrm>
            <a:prstGeom prst="line">
              <a:avLst/>
            </a:prstGeom>
            <a:ln w="3175">
              <a:gradFill flip="none" rotWithShape="1">
                <a:gsLst>
                  <a:gs pos="0">
                    <a:schemeClr val="bg1">
                      <a:lumMod val="65000"/>
                    </a:schemeClr>
                  </a:gs>
                  <a:gs pos="50000">
                    <a:schemeClr val="bg1">
                      <a:lumMod val="85000"/>
                    </a:schemeClr>
                  </a:gs>
                  <a:gs pos="100000">
                    <a:schemeClr val="bg1">
                      <a:lumMod val="83000"/>
                      <a:alpha val="46000"/>
                    </a:schemeClr>
                  </a:gs>
                </a:gsLst>
                <a:lin ang="10800000" scaled="1"/>
                <a:tileRect/>
              </a:gradFill>
            </a:ln>
            <a:effectLst>
              <a:outerShdw blurRad="12700" dir="5400000" algn="t" rotWithShape="0">
                <a:schemeClr val="bg1">
                  <a:lumMod val="75000"/>
                  <a:alpha val="64000"/>
                </a:schemeClr>
              </a:outerShdw>
            </a:effectLst>
          </p:spPr>
          <p:style>
            <a:lnRef idx="1">
              <a:schemeClr val="accent1"/>
            </a:lnRef>
            <a:fillRef idx="0">
              <a:schemeClr val="accent1"/>
            </a:fillRef>
            <a:effectRef idx="0">
              <a:schemeClr val="accent1"/>
            </a:effectRef>
            <a:fontRef idx="minor">
              <a:schemeClr val="tx1"/>
            </a:fontRef>
          </p:style>
        </p:cxnSp>
        <p:sp>
          <p:nvSpPr>
            <p:cNvPr id="18" name="Rounded Rectangle 261">
              <a:extLst>
                <a:ext uri="{FF2B5EF4-FFF2-40B4-BE49-F238E27FC236}">
                  <a16:creationId xmlns:a16="http://schemas.microsoft.com/office/drawing/2014/main" id="{11E9B5D1-CA0F-4BF0-A3B7-F2ABF262FD94}"/>
                </a:ext>
              </a:extLst>
            </p:cNvPr>
            <p:cNvSpPr/>
            <p:nvPr/>
          </p:nvSpPr>
          <p:spPr>
            <a:xfrm>
              <a:off x="8758237" y="5762270"/>
              <a:ext cx="395627" cy="54064"/>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ound Single Corner Rectangle 262">
              <a:extLst>
                <a:ext uri="{FF2B5EF4-FFF2-40B4-BE49-F238E27FC236}">
                  <a16:creationId xmlns:a16="http://schemas.microsoft.com/office/drawing/2014/main" id="{13C7B029-852B-42D9-9358-786EA6FE0749}"/>
                </a:ext>
              </a:extLst>
            </p:cNvPr>
            <p:cNvSpPr/>
            <p:nvPr/>
          </p:nvSpPr>
          <p:spPr>
            <a:xfrm rot="10800000" flipH="1">
              <a:off x="9174211" y="5657683"/>
              <a:ext cx="417011" cy="242386"/>
            </a:xfrm>
            <a:prstGeom prst="round1Rect">
              <a:avLst>
                <a:gd name="adj" fmla="val 21302"/>
              </a:avLst>
            </a:prstGeom>
            <a:gradFill>
              <a:gsLst>
                <a:gs pos="0">
                  <a:schemeClr val="bg1">
                    <a:alpha val="64000"/>
                  </a:schemeClr>
                </a:gs>
                <a:gs pos="100000">
                  <a:schemeClr val="bg1">
                    <a:lumMod val="83000"/>
                    <a:alpha val="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Round Single Corner Rectangle 263">
              <a:extLst>
                <a:ext uri="{FF2B5EF4-FFF2-40B4-BE49-F238E27FC236}">
                  <a16:creationId xmlns:a16="http://schemas.microsoft.com/office/drawing/2014/main" id="{C21179D4-5731-4BAC-B000-9512E40F6371}"/>
                </a:ext>
              </a:extLst>
            </p:cNvPr>
            <p:cNvSpPr/>
            <p:nvPr/>
          </p:nvSpPr>
          <p:spPr>
            <a:xfrm rot="10800000">
              <a:off x="143421" y="5657683"/>
              <a:ext cx="417011" cy="242386"/>
            </a:xfrm>
            <a:prstGeom prst="round1Rect">
              <a:avLst>
                <a:gd name="adj" fmla="val 21302"/>
              </a:avLst>
            </a:prstGeom>
            <a:gradFill>
              <a:gsLst>
                <a:gs pos="0">
                  <a:schemeClr val="bg1">
                    <a:alpha val="27000"/>
                  </a:schemeClr>
                </a:gs>
                <a:gs pos="100000">
                  <a:schemeClr val="bg1">
                    <a:lumMod val="83000"/>
                    <a:alpha val="0"/>
                  </a:schemeClr>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Round Same Side Corner Rectangle 264">
              <a:extLst>
                <a:ext uri="{FF2B5EF4-FFF2-40B4-BE49-F238E27FC236}">
                  <a16:creationId xmlns:a16="http://schemas.microsoft.com/office/drawing/2014/main" id="{FCC6200C-ADAD-4AF9-BCDF-174C944C8F36}"/>
                </a:ext>
              </a:extLst>
            </p:cNvPr>
            <p:cNvSpPr/>
            <p:nvPr/>
          </p:nvSpPr>
          <p:spPr>
            <a:xfrm rot="10800000">
              <a:off x="4096658" y="5676789"/>
              <a:ext cx="1541334" cy="100063"/>
            </a:xfrm>
            <a:prstGeom prst="round2SameRect">
              <a:avLst>
                <a:gd name="adj1" fmla="val 50000"/>
                <a:gd name="adj2" fmla="val 0"/>
              </a:avLst>
            </a:prstGeom>
            <a:gradFill flip="none" rotWithShape="1">
              <a:gsLst>
                <a:gs pos="0">
                  <a:schemeClr val="bg1">
                    <a:lumMod val="75000"/>
                  </a:schemeClr>
                </a:gs>
                <a:gs pos="50000">
                  <a:schemeClr val="bg1">
                    <a:lumMod val="95000"/>
                  </a:schemeClr>
                </a:gs>
                <a:gs pos="100000">
                  <a:schemeClr val="bg1">
                    <a:lumMod val="85000"/>
                  </a:schemeClr>
                </a:gs>
              </a:gsLst>
              <a:lin ang="10800000" scaled="1"/>
              <a:tileRect/>
            </a:gradFill>
            <a:ln>
              <a:noFill/>
            </a:ln>
            <a:effectLst>
              <a:innerShdw blurRad="25400" dist="127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23" name="Round Same Side Corner Rectangle 19">
            <a:extLst>
              <a:ext uri="{FF2B5EF4-FFF2-40B4-BE49-F238E27FC236}">
                <a16:creationId xmlns:a16="http://schemas.microsoft.com/office/drawing/2014/main" id="{B3CFC41A-0738-42FC-9469-63ABB9D704D0}"/>
              </a:ext>
            </a:extLst>
          </p:cNvPr>
          <p:cNvSpPr/>
          <p:nvPr/>
        </p:nvSpPr>
        <p:spPr>
          <a:xfrm>
            <a:off x="5072812" y="1600200"/>
            <a:ext cx="3311625" cy="4076255"/>
          </a:xfrm>
          <a:custGeom>
            <a:avLst/>
            <a:gdLst>
              <a:gd name="connsiteX0" fmla="*/ 161106 w 4605211"/>
              <a:gd name="connsiteY0" fmla="*/ 0 h 2757714"/>
              <a:gd name="connsiteX1" fmla="*/ 4444105 w 4605211"/>
              <a:gd name="connsiteY1" fmla="*/ 0 h 2757714"/>
              <a:gd name="connsiteX2" fmla="*/ 4605211 w 4605211"/>
              <a:gd name="connsiteY2" fmla="*/ 161106 h 2757714"/>
              <a:gd name="connsiteX3" fmla="*/ 4605211 w 4605211"/>
              <a:gd name="connsiteY3" fmla="*/ 2757714 h 2757714"/>
              <a:gd name="connsiteX4" fmla="*/ 4605211 w 4605211"/>
              <a:gd name="connsiteY4" fmla="*/ 2757714 h 2757714"/>
              <a:gd name="connsiteX5" fmla="*/ 0 w 4605211"/>
              <a:gd name="connsiteY5" fmla="*/ 2757714 h 2757714"/>
              <a:gd name="connsiteX6" fmla="*/ 0 w 4605211"/>
              <a:gd name="connsiteY6" fmla="*/ 2757714 h 2757714"/>
              <a:gd name="connsiteX7" fmla="*/ 0 w 4605211"/>
              <a:gd name="connsiteY7" fmla="*/ 161106 h 2757714"/>
              <a:gd name="connsiteX8" fmla="*/ 161106 w 4605211"/>
              <a:gd name="connsiteY8" fmla="*/ 0 h 2757714"/>
              <a:gd name="connsiteX0" fmla="*/ 161106 w 4605211"/>
              <a:gd name="connsiteY0" fmla="*/ 0 h 2757714"/>
              <a:gd name="connsiteX1" fmla="*/ 4444105 w 4605211"/>
              <a:gd name="connsiteY1" fmla="*/ 0 h 2757714"/>
              <a:gd name="connsiteX2" fmla="*/ 4605211 w 4605211"/>
              <a:gd name="connsiteY2" fmla="*/ 161106 h 2757714"/>
              <a:gd name="connsiteX3" fmla="*/ 4605211 w 4605211"/>
              <a:gd name="connsiteY3" fmla="*/ 2757714 h 2757714"/>
              <a:gd name="connsiteX4" fmla="*/ 4605211 w 4605211"/>
              <a:gd name="connsiteY4" fmla="*/ 2757714 h 2757714"/>
              <a:gd name="connsiteX5" fmla="*/ 0 w 4605211"/>
              <a:gd name="connsiteY5" fmla="*/ 2757714 h 2757714"/>
              <a:gd name="connsiteX6" fmla="*/ 0 w 4605211"/>
              <a:gd name="connsiteY6" fmla="*/ 161106 h 2757714"/>
              <a:gd name="connsiteX7" fmla="*/ 161106 w 4605211"/>
              <a:gd name="connsiteY7" fmla="*/ 0 h 2757714"/>
              <a:gd name="connsiteX0" fmla="*/ 161106 w 4605211"/>
              <a:gd name="connsiteY0" fmla="*/ 0 h 2757714"/>
              <a:gd name="connsiteX1" fmla="*/ 4444105 w 4605211"/>
              <a:gd name="connsiteY1" fmla="*/ 0 h 2757714"/>
              <a:gd name="connsiteX2" fmla="*/ 4605211 w 4605211"/>
              <a:gd name="connsiteY2" fmla="*/ 161106 h 2757714"/>
              <a:gd name="connsiteX3" fmla="*/ 4605211 w 4605211"/>
              <a:gd name="connsiteY3" fmla="*/ 2757714 h 2757714"/>
              <a:gd name="connsiteX4" fmla="*/ 4605211 w 4605211"/>
              <a:gd name="connsiteY4" fmla="*/ 2757714 h 2757714"/>
              <a:gd name="connsiteX5" fmla="*/ 0 w 4605211"/>
              <a:gd name="connsiteY5" fmla="*/ 2757714 h 2757714"/>
              <a:gd name="connsiteX6" fmla="*/ 0 w 4605211"/>
              <a:gd name="connsiteY6" fmla="*/ 161106 h 2757714"/>
              <a:gd name="connsiteX7" fmla="*/ 161106 w 4605211"/>
              <a:gd name="connsiteY7" fmla="*/ 0 h 2757714"/>
              <a:gd name="connsiteX0" fmla="*/ 161106 w 4605211"/>
              <a:gd name="connsiteY0" fmla="*/ 0 h 2757714"/>
              <a:gd name="connsiteX1" fmla="*/ 4444105 w 4605211"/>
              <a:gd name="connsiteY1" fmla="*/ 0 h 2757714"/>
              <a:gd name="connsiteX2" fmla="*/ 4605211 w 4605211"/>
              <a:gd name="connsiteY2" fmla="*/ 161106 h 2757714"/>
              <a:gd name="connsiteX3" fmla="*/ 4605211 w 4605211"/>
              <a:gd name="connsiteY3" fmla="*/ 2757714 h 2757714"/>
              <a:gd name="connsiteX4" fmla="*/ 4605211 w 4605211"/>
              <a:gd name="connsiteY4" fmla="*/ 2757714 h 2757714"/>
              <a:gd name="connsiteX5" fmla="*/ 0 w 4605211"/>
              <a:gd name="connsiteY5" fmla="*/ 2757714 h 2757714"/>
              <a:gd name="connsiteX6" fmla="*/ 161106 w 4605211"/>
              <a:gd name="connsiteY6" fmla="*/ 0 h 2757714"/>
              <a:gd name="connsiteX0" fmla="*/ 3755206 w 4605211"/>
              <a:gd name="connsiteY0" fmla="*/ 0 h 2757714"/>
              <a:gd name="connsiteX1" fmla="*/ 4444105 w 4605211"/>
              <a:gd name="connsiteY1" fmla="*/ 0 h 2757714"/>
              <a:gd name="connsiteX2" fmla="*/ 4605211 w 4605211"/>
              <a:gd name="connsiteY2" fmla="*/ 161106 h 2757714"/>
              <a:gd name="connsiteX3" fmla="*/ 4605211 w 4605211"/>
              <a:gd name="connsiteY3" fmla="*/ 2757714 h 2757714"/>
              <a:gd name="connsiteX4" fmla="*/ 4605211 w 4605211"/>
              <a:gd name="connsiteY4" fmla="*/ 2757714 h 2757714"/>
              <a:gd name="connsiteX5" fmla="*/ 0 w 4605211"/>
              <a:gd name="connsiteY5" fmla="*/ 2757714 h 2757714"/>
              <a:gd name="connsiteX6" fmla="*/ 3755206 w 4605211"/>
              <a:gd name="connsiteY6" fmla="*/ 0 h 2757714"/>
              <a:gd name="connsiteX0" fmla="*/ 1735906 w 2585911"/>
              <a:gd name="connsiteY0" fmla="*/ 0 h 2757714"/>
              <a:gd name="connsiteX1" fmla="*/ 2424805 w 2585911"/>
              <a:gd name="connsiteY1" fmla="*/ 0 h 2757714"/>
              <a:gd name="connsiteX2" fmla="*/ 2585911 w 2585911"/>
              <a:gd name="connsiteY2" fmla="*/ 161106 h 2757714"/>
              <a:gd name="connsiteX3" fmla="*/ 2585911 w 2585911"/>
              <a:gd name="connsiteY3" fmla="*/ 2757714 h 2757714"/>
              <a:gd name="connsiteX4" fmla="*/ 2585911 w 2585911"/>
              <a:gd name="connsiteY4" fmla="*/ 2757714 h 2757714"/>
              <a:gd name="connsiteX5" fmla="*/ 0 w 2585911"/>
              <a:gd name="connsiteY5" fmla="*/ 2732314 h 2757714"/>
              <a:gd name="connsiteX6" fmla="*/ 1735906 w 2585911"/>
              <a:gd name="connsiteY6" fmla="*/ 0 h 2757714"/>
              <a:gd name="connsiteX0" fmla="*/ 1147198 w 1997203"/>
              <a:gd name="connsiteY0" fmla="*/ 0 h 2757714"/>
              <a:gd name="connsiteX1" fmla="*/ 1836097 w 1997203"/>
              <a:gd name="connsiteY1" fmla="*/ 0 h 2757714"/>
              <a:gd name="connsiteX2" fmla="*/ 1997203 w 1997203"/>
              <a:gd name="connsiteY2" fmla="*/ 161106 h 2757714"/>
              <a:gd name="connsiteX3" fmla="*/ 1997203 w 1997203"/>
              <a:gd name="connsiteY3" fmla="*/ 2757714 h 2757714"/>
              <a:gd name="connsiteX4" fmla="*/ 1997203 w 1997203"/>
              <a:gd name="connsiteY4" fmla="*/ 2757714 h 2757714"/>
              <a:gd name="connsiteX5" fmla="*/ 0 w 1997203"/>
              <a:gd name="connsiteY5" fmla="*/ 2732314 h 2757714"/>
              <a:gd name="connsiteX6" fmla="*/ 1147198 w 1997203"/>
              <a:gd name="connsiteY6" fmla="*/ 0 h 2757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97203" h="2757714">
                <a:moveTo>
                  <a:pt x="1147198" y="0"/>
                </a:moveTo>
                <a:lnTo>
                  <a:pt x="1836097" y="0"/>
                </a:lnTo>
                <a:cubicBezTo>
                  <a:pt x="1925073" y="0"/>
                  <a:pt x="1997203" y="72130"/>
                  <a:pt x="1997203" y="161106"/>
                </a:cubicBezTo>
                <a:lnTo>
                  <a:pt x="1997203" y="2757714"/>
                </a:lnTo>
                <a:lnTo>
                  <a:pt x="1997203" y="2757714"/>
                </a:lnTo>
                <a:lnTo>
                  <a:pt x="0" y="2732314"/>
                </a:lnTo>
                <a:lnTo>
                  <a:pt x="1147198" y="0"/>
                </a:lnTo>
                <a:close/>
              </a:path>
            </a:pathLst>
          </a:custGeom>
          <a:gradFill flip="none" rotWithShape="1">
            <a:gsLst>
              <a:gs pos="21000">
                <a:schemeClr val="bg1">
                  <a:alpha val="1000"/>
                </a:schemeClr>
              </a:gs>
              <a:gs pos="100000">
                <a:schemeClr val="bg1">
                  <a:alpha val="32000"/>
                </a:schemeClr>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5" name="Group 24">
            <a:extLst>
              <a:ext uri="{FF2B5EF4-FFF2-40B4-BE49-F238E27FC236}">
                <a16:creationId xmlns:a16="http://schemas.microsoft.com/office/drawing/2014/main" id="{B2C5E4B8-0D3E-41F4-82C6-071201C7301B}"/>
              </a:ext>
            </a:extLst>
          </p:cNvPr>
          <p:cNvGrpSpPr/>
          <p:nvPr/>
        </p:nvGrpSpPr>
        <p:grpSpPr>
          <a:xfrm>
            <a:off x="1741060" y="1847516"/>
            <a:ext cx="6417103" cy="3572209"/>
            <a:chOff x="1741060" y="1847516"/>
            <a:chExt cx="6417103" cy="3572209"/>
          </a:xfrm>
        </p:grpSpPr>
        <p:pic>
          <p:nvPicPr>
            <p:cNvPr id="409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2663" t="15979" r="13113" b="10496"/>
            <a:stretch/>
          </p:blipFill>
          <p:spPr bwMode="auto">
            <a:xfrm>
              <a:off x="1747837" y="1847850"/>
              <a:ext cx="6410326" cy="3571875"/>
            </a:xfrm>
            <a:prstGeom prst="rect">
              <a:avLst/>
            </a:prstGeom>
            <a:extLst>
              <a:ext uri="{909E8E84-426E-40DD-AFC4-6F175D3DCCD1}">
                <a14:hiddenFill xmlns:a14="http://schemas.microsoft.com/office/drawing/2010/main">
                  <a:solidFill>
                    <a:schemeClr val="accent1"/>
                  </a:solidFill>
                </a14:hiddenFill>
              </a:ext>
            </a:extLst>
          </p:spPr>
        </p:pic>
        <p:sp>
          <p:nvSpPr>
            <p:cNvPr id="5" name="Rectangle 4">
              <a:extLst>
                <a:ext uri="{FF2B5EF4-FFF2-40B4-BE49-F238E27FC236}">
                  <a16:creationId xmlns:a16="http://schemas.microsoft.com/office/drawing/2014/main" id="{FDEFB80D-3EAF-40AD-BDEA-177D2366E178}"/>
                </a:ext>
              </a:extLst>
            </p:cNvPr>
            <p:cNvSpPr/>
            <p:nvPr/>
          </p:nvSpPr>
          <p:spPr>
            <a:xfrm>
              <a:off x="1741060" y="1847516"/>
              <a:ext cx="1649840" cy="209884"/>
            </a:xfrm>
            <a:prstGeom prst="rect">
              <a:avLst/>
            </a:prstGeom>
            <a:solidFill>
              <a:srgbClr val="F4F0E4"/>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spTree>
    <p:extLst>
      <p:ext uri="{BB962C8B-B14F-4D97-AF65-F5344CB8AC3E}">
        <p14:creationId xmlns:p14="http://schemas.microsoft.com/office/powerpoint/2010/main" val="679527616"/>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ere is a connection between your approach in a conversation, what you talk about and what happens after</a:t>
            </a:r>
          </a:p>
        </p:txBody>
      </p:sp>
      <p:sp>
        <p:nvSpPr>
          <p:cNvPr id="68" name="Text Placeholder 67">
            <a:extLst>
              <a:ext uri="{FF2B5EF4-FFF2-40B4-BE49-F238E27FC236}">
                <a16:creationId xmlns:a16="http://schemas.microsoft.com/office/drawing/2014/main" id="{917CB374-79D9-4C7C-B0AF-C52A8D3F06AA}"/>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p:txBody>
          <a:bodyPr/>
          <a:lstStyle/>
          <a:p>
            <a:endParaRPr lang="en-GB" noProof="0" dirty="0"/>
          </a:p>
        </p:txBody>
      </p:sp>
      <p:sp>
        <p:nvSpPr>
          <p:cNvPr id="69" name="Text Placeholder 68">
            <a:extLst>
              <a:ext uri="{FF2B5EF4-FFF2-40B4-BE49-F238E27FC236}">
                <a16:creationId xmlns:a16="http://schemas.microsoft.com/office/drawing/2014/main" id="{FDD8095A-D353-4593-B627-B10361C8A04B}"/>
              </a:ext>
            </a:extLst>
          </p:cNvPr>
          <p:cNvSpPr>
            <a:spLocks noGrp="1"/>
          </p:cNvSpPr>
          <p:nvPr>
            <p:ph type="body" sz="quarter" idx="14"/>
          </p:nvPr>
        </p:nvSpPr>
        <p:spPr/>
        <p:txBody>
          <a:bodyPr/>
          <a:lstStyle/>
          <a:p>
            <a:endParaRPr lang="en-GB" dirty="0"/>
          </a:p>
        </p:txBody>
      </p:sp>
      <p:sp>
        <p:nvSpPr>
          <p:cNvPr id="10" name="Rectangle 17"/>
          <p:cNvSpPr>
            <a:spLocks noChangeArrowheads="1"/>
          </p:cNvSpPr>
          <p:nvPr/>
        </p:nvSpPr>
        <p:spPr bwMode="auto">
          <a:xfrm>
            <a:off x="273050" y="5288744"/>
            <a:ext cx="9359900" cy="123111"/>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a:tabLst>
                <a:tab pos="320675" algn="r"/>
                <a:tab pos="388938" algn="l"/>
              </a:tabLst>
              <a:defRPr/>
            </a:pPr>
            <a:r>
              <a:rPr lang="en-GB" sz="800" kern="0" dirty="0"/>
              <a:t>	Source:	Self-Determination Theory (Deci and Ryan), Motivational Interviewing (Miller and Rollnick) </a:t>
            </a:r>
          </a:p>
        </p:txBody>
      </p:sp>
      <p:sp>
        <p:nvSpPr>
          <p:cNvPr id="4" name="Content Placeholder 7"/>
          <p:cNvSpPr txBox="1">
            <a:spLocks/>
          </p:cNvSpPr>
          <p:nvPr/>
        </p:nvSpPr>
        <p:spPr>
          <a:xfrm>
            <a:off x="273050" y="3429000"/>
            <a:ext cx="2942594" cy="1692698"/>
          </a:xfrm>
          <a:prstGeom prst="rect">
            <a:avLst/>
          </a:prstGeom>
          <a:solidFill>
            <a:srgbClr val="F3F2F0"/>
          </a:solidFill>
          <a:ln>
            <a:noFill/>
          </a:ln>
        </p:spPr>
        <p:txBody>
          <a:bodyPr vert="horz" wrap="square" lIns="144000" tIns="72000" rIns="72000" bIns="288000" rtlCol="0" anchor="ctr"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1F2023"/>
              </a:buClr>
            </a:pPr>
            <a:r>
              <a:rPr lang="en-GB" sz="1200" dirty="0">
                <a:solidFill>
                  <a:srgbClr val="1F2023"/>
                </a:solidFill>
                <a:latin typeface="+mn-lt"/>
                <a:cs typeface="+mn-cs"/>
              </a:rPr>
              <a:t>Focus on purpose</a:t>
            </a:r>
          </a:p>
          <a:p>
            <a:pPr lvl="1">
              <a:buClr>
                <a:srgbClr val="1F2023"/>
              </a:buClr>
            </a:pPr>
            <a:r>
              <a:rPr lang="en-GB" sz="1200" dirty="0">
                <a:solidFill>
                  <a:srgbClr val="1F2023"/>
                </a:solidFill>
                <a:latin typeface="+mn-lt"/>
                <a:cs typeface="+mn-cs"/>
              </a:rPr>
              <a:t>Focus on the relation (relatedness) </a:t>
            </a:r>
          </a:p>
          <a:p>
            <a:pPr lvl="1">
              <a:buClr>
                <a:srgbClr val="1F2023"/>
              </a:buClr>
            </a:pPr>
            <a:r>
              <a:rPr lang="en-GB" sz="1200" dirty="0">
                <a:solidFill>
                  <a:srgbClr val="1F2023"/>
                </a:solidFill>
                <a:latin typeface="+mn-lt"/>
                <a:cs typeface="+mn-cs"/>
              </a:rPr>
              <a:t>Focus on competencies (mastery)</a:t>
            </a:r>
          </a:p>
          <a:p>
            <a:pPr lvl="1">
              <a:buClr>
                <a:srgbClr val="1F2023"/>
              </a:buClr>
            </a:pPr>
            <a:r>
              <a:rPr lang="en-GB" sz="1200" dirty="0">
                <a:solidFill>
                  <a:srgbClr val="1F2023"/>
                </a:solidFill>
                <a:latin typeface="+mn-lt"/>
                <a:cs typeface="+mn-cs"/>
              </a:rPr>
              <a:t>Focus on autonomy</a:t>
            </a:r>
          </a:p>
        </p:txBody>
      </p:sp>
      <p:sp>
        <p:nvSpPr>
          <p:cNvPr id="7" name="TextBox 6"/>
          <p:cNvSpPr txBox="1"/>
          <p:nvPr/>
        </p:nvSpPr>
        <p:spPr>
          <a:xfrm>
            <a:off x="278090" y="2672292"/>
            <a:ext cx="2942595" cy="756707"/>
          </a:xfrm>
          <a:prstGeom prst="rect">
            <a:avLst/>
          </a:prstGeom>
          <a:solidFill>
            <a:srgbClr val="A1B5AD"/>
          </a:solidFill>
        </p:spPr>
        <p:txBody>
          <a:bodyPr wrap="square" lIns="144000" tIns="72000" rIns="144000" bIns="0" rtlCol="0" anchor="ctr">
            <a:noAutofit/>
          </a:bodyPr>
          <a:lstStyle/>
          <a:p>
            <a:pPr>
              <a:spcBef>
                <a:spcPts val="600"/>
              </a:spcBef>
            </a:pPr>
            <a:r>
              <a:rPr lang="en-GB" sz="1200" b="1" dirty="0">
                <a:solidFill>
                  <a:schemeClr val="bg1"/>
                </a:solidFill>
                <a:latin typeface="Arial" pitchFamily="34" charset="0"/>
                <a:cs typeface="Arial" pitchFamily="34" charset="0"/>
              </a:rPr>
              <a:t>Your approach in the conversation </a:t>
            </a:r>
          </a:p>
        </p:txBody>
      </p:sp>
      <p:sp>
        <p:nvSpPr>
          <p:cNvPr id="32" name="Isosceles Triangle 31">
            <a:extLst>
              <a:ext uri="{FF2B5EF4-FFF2-40B4-BE49-F238E27FC236}">
                <a16:creationId xmlns:a16="http://schemas.microsoft.com/office/drawing/2014/main" id="{35BCB03A-28BD-402C-BFD3-3321913A9518}"/>
              </a:ext>
            </a:extLst>
          </p:cNvPr>
          <p:cNvSpPr/>
          <p:nvPr/>
        </p:nvSpPr>
        <p:spPr>
          <a:xfrm rot="10800000">
            <a:off x="1637026" y="26692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38" name="Group 37">
            <a:extLst>
              <a:ext uri="{FF2B5EF4-FFF2-40B4-BE49-F238E27FC236}">
                <a16:creationId xmlns:a16="http://schemas.microsoft.com/office/drawing/2014/main" id="{87263EB8-436B-4FEF-8040-24EF715DA931}"/>
              </a:ext>
            </a:extLst>
          </p:cNvPr>
          <p:cNvGrpSpPr/>
          <p:nvPr/>
        </p:nvGrpSpPr>
        <p:grpSpPr>
          <a:xfrm>
            <a:off x="1456616" y="1988184"/>
            <a:ext cx="585544" cy="455954"/>
            <a:chOff x="2859088" y="1800226"/>
            <a:chExt cx="387351" cy="301625"/>
          </a:xfrm>
        </p:grpSpPr>
        <p:sp>
          <p:nvSpPr>
            <p:cNvPr id="39" name="Freeform 89">
              <a:extLst>
                <a:ext uri="{FF2B5EF4-FFF2-40B4-BE49-F238E27FC236}">
                  <a16:creationId xmlns:a16="http://schemas.microsoft.com/office/drawing/2014/main" id="{014388F6-C992-430B-AB6A-BADD4A5D4BE5}"/>
                </a:ext>
              </a:extLst>
            </p:cNvPr>
            <p:cNvSpPr>
              <a:spLocks/>
            </p:cNvSpPr>
            <p:nvPr/>
          </p:nvSpPr>
          <p:spPr bwMode="auto">
            <a:xfrm>
              <a:off x="2859088" y="1800226"/>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90">
              <a:extLst>
                <a:ext uri="{FF2B5EF4-FFF2-40B4-BE49-F238E27FC236}">
                  <a16:creationId xmlns:a16="http://schemas.microsoft.com/office/drawing/2014/main" id="{8BDD0D88-0288-4E93-81F6-F96DED361041}"/>
                </a:ext>
              </a:extLst>
            </p:cNvPr>
            <p:cNvSpPr>
              <a:spLocks/>
            </p:cNvSpPr>
            <p:nvPr/>
          </p:nvSpPr>
          <p:spPr bwMode="auto">
            <a:xfrm>
              <a:off x="3025776" y="1827213"/>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91">
              <a:extLst>
                <a:ext uri="{FF2B5EF4-FFF2-40B4-BE49-F238E27FC236}">
                  <a16:creationId xmlns:a16="http://schemas.microsoft.com/office/drawing/2014/main" id="{6951EC47-E8B5-424E-968E-8D05D04DE959}"/>
                </a:ext>
              </a:extLst>
            </p:cNvPr>
            <p:cNvSpPr>
              <a:spLocks/>
            </p:cNvSpPr>
            <p:nvPr/>
          </p:nvSpPr>
          <p:spPr bwMode="auto">
            <a:xfrm>
              <a:off x="2962276" y="1966913"/>
              <a:ext cx="284163" cy="134938"/>
            </a:xfrm>
            <a:custGeom>
              <a:avLst/>
              <a:gdLst>
                <a:gd name="T0" fmla="*/ 0 w 63"/>
                <a:gd name="T1" fmla="*/ 23 h 30"/>
                <a:gd name="T2" fmla="*/ 10 w 63"/>
                <a:gd name="T3" fmla="*/ 23 h 30"/>
                <a:gd name="T4" fmla="*/ 18 w 63"/>
                <a:gd name="T5" fmla="*/ 15 h 30"/>
                <a:gd name="T6" fmla="*/ 18 w 63"/>
                <a:gd name="T7" fmla="*/ 15 h 30"/>
                <a:gd name="T8" fmla="*/ 33 w 63"/>
                <a:gd name="T9" fmla="*/ 0 h 30"/>
                <a:gd name="T10" fmla="*/ 48 w 63"/>
                <a:gd name="T11" fmla="*/ 0 h 30"/>
                <a:gd name="T12" fmla="*/ 63 w 63"/>
                <a:gd name="T13" fmla="*/ 15 h 30"/>
                <a:gd name="T14" fmla="*/ 63 w 63"/>
                <a:gd name="T15" fmla="*/ 20 h 30"/>
                <a:gd name="T16" fmla="*/ 53 w 63"/>
                <a:gd name="T17" fmla="*/ 30 h 30"/>
                <a:gd name="T18" fmla="*/ 46 w 6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30">
                  <a:moveTo>
                    <a:pt x="0" y="23"/>
                  </a:moveTo>
                  <a:cubicBezTo>
                    <a:pt x="10" y="23"/>
                    <a:pt x="10" y="23"/>
                    <a:pt x="10" y="23"/>
                  </a:cubicBezTo>
                  <a:cubicBezTo>
                    <a:pt x="14" y="23"/>
                    <a:pt x="18" y="19"/>
                    <a:pt x="18" y="15"/>
                  </a:cubicBezTo>
                  <a:cubicBezTo>
                    <a:pt x="18" y="15"/>
                    <a:pt x="18" y="15"/>
                    <a:pt x="18" y="15"/>
                  </a:cubicBezTo>
                  <a:cubicBezTo>
                    <a:pt x="18" y="6"/>
                    <a:pt x="25" y="0"/>
                    <a:pt x="33" y="0"/>
                  </a:cubicBezTo>
                  <a:cubicBezTo>
                    <a:pt x="48" y="0"/>
                    <a:pt x="48" y="0"/>
                    <a:pt x="48" y="0"/>
                  </a:cubicBezTo>
                  <a:cubicBezTo>
                    <a:pt x="56" y="0"/>
                    <a:pt x="63" y="6"/>
                    <a:pt x="63" y="15"/>
                  </a:cubicBezTo>
                  <a:cubicBezTo>
                    <a:pt x="63" y="20"/>
                    <a:pt x="63" y="20"/>
                    <a:pt x="63" y="20"/>
                  </a:cubicBezTo>
                  <a:cubicBezTo>
                    <a:pt x="63" y="25"/>
                    <a:pt x="58" y="30"/>
                    <a:pt x="53" y="30"/>
                  </a:cubicBezTo>
                  <a:cubicBezTo>
                    <a:pt x="46" y="30"/>
                    <a:pt x="46" y="30"/>
                    <a:pt x="46" y="3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2">
              <a:extLst>
                <a:ext uri="{FF2B5EF4-FFF2-40B4-BE49-F238E27FC236}">
                  <a16:creationId xmlns:a16="http://schemas.microsoft.com/office/drawing/2014/main" id="{D0685E87-E325-4271-B632-61009D11D7FD}"/>
                </a:ext>
              </a:extLst>
            </p:cNvPr>
            <p:cNvSpPr>
              <a:spLocks/>
            </p:cNvSpPr>
            <p:nvPr/>
          </p:nvSpPr>
          <p:spPr bwMode="auto">
            <a:xfrm>
              <a:off x="2903538" y="1935163"/>
              <a:ext cx="188913" cy="93663"/>
            </a:xfrm>
            <a:custGeom>
              <a:avLst/>
              <a:gdLst>
                <a:gd name="T0" fmla="*/ 0 w 42"/>
                <a:gd name="T1" fmla="*/ 21 h 21"/>
                <a:gd name="T2" fmla="*/ 0 w 42"/>
                <a:gd name="T3" fmla="*/ 15 h 21"/>
                <a:gd name="T4" fmla="*/ 15 w 42"/>
                <a:gd name="T5" fmla="*/ 0 h 21"/>
                <a:gd name="T6" fmla="*/ 29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6" y="0"/>
                    <a:pt x="15" y="0"/>
                  </a:cubicBezTo>
                  <a:cubicBezTo>
                    <a:pt x="29" y="0"/>
                    <a:pt x="29" y="0"/>
                    <a:pt x="29" y="0"/>
                  </a:cubicBezTo>
                  <a:cubicBezTo>
                    <a:pt x="34" y="0"/>
                    <a:pt x="39" y="2"/>
                    <a:pt x="42" y="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3" name="Line 93">
              <a:extLst>
                <a:ext uri="{FF2B5EF4-FFF2-40B4-BE49-F238E27FC236}">
                  <a16:creationId xmlns:a16="http://schemas.microsoft.com/office/drawing/2014/main" id="{D60893A2-CBA3-40E6-9279-7D66BBC18F43}"/>
                </a:ext>
              </a:extLst>
            </p:cNvPr>
            <p:cNvSpPr>
              <a:spLocks noChangeShapeType="1"/>
            </p:cNvSpPr>
            <p:nvPr/>
          </p:nvSpPr>
          <p:spPr bwMode="auto">
            <a:xfrm>
              <a:off x="3178176"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94">
              <a:extLst>
                <a:ext uri="{FF2B5EF4-FFF2-40B4-BE49-F238E27FC236}">
                  <a16:creationId xmlns:a16="http://schemas.microsoft.com/office/drawing/2014/main" id="{C06C7529-C652-4EDC-B739-F0C1CB1C8A7B}"/>
                </a:ext>
              </a:extLst>
            </p:cNvPr>
            <p:cNvSpPr>
              <a:spLocks/>
            </p:cNvSpPr>
            <p:nvPr/>
          </p:nvSpPr>
          <p:spPr bwMode="auto">
            <a:xfrm>
              <a:off x="3097213" y="1849438"/>
              <a:ext cx="95250" cy="117475"/>
            </a:xfrm>
            <a:custGeom>
              <a:avLst/>
              <a:gdLst>
                <a:gd name="T0" fmla="*/ 10 w 21"/>
                <a:gd name="T1" fmla="*/ 26 h 26"/>
                <a:gd name="T2" fmla="*/ 1 w 21"/>
                <a:gd name="T3" fmla="*/ 13 h 26"/>
                <a:gd name="T4" fmla="*/ 10 w 21"/>
                <a:gd name="T5" fmla="*/ 0 h 26"/>
                <a:gd name="T6" fmla="*/ 20 w 21"/>
                <a:gd name="T7" fmla="*/ 13 h 26"/>
                <a:gd name="T8" fmla="*/ 18 w 21"/>
                <a:gd name="T9" fmla="*/ 19 h 26"/>
              </a:gdLst>
              <a:ahLst/>
              <a:cxnLst>
                <a:cxn ang="0">
                  <a:pos x="T0" y="T1"/>
                </a:cxn>
                <a:cxn ang="0">
                  <a:pos x="T2" y="T3"/>
                </a:cxn>
                <a:cxn ang="0">
                  <a:pos x="T4" y="T5"/>
                </a:cxn>
                <a:cxn ang="0">
                  <a:pos x="T6" y="T7"/>
                </a:cxn>
                <a:cxn ang="0">
                  <a:pos x="T8" y="T9"/>
                </a:cxn>
              </a:cxnLst>
              <a:rect l="0" t="0" r="r" b="b"/>
              <a:pathLst>
                <a:path w="21" h="26">
                  <a:moveTo>
                    <a:pt x="10" y="26"/>
                  </a:moveTo>
                  <a:cubicBezTo>
                    <a:pt x="6" y="26"/>
                    <a:pt x="1" y="21"/>
                    <a:pt x="1" y="13"/>
                  </a:cubicBezTo>
                  <a:cubicBezTo>
                    <a:pt x="0" y="5"/>
                    <a:pt x="3" y="0"/>
                    <a:pt x="10" y="0"/>
                  </a:cubicBezTo>
                  <a:cubicBezTo>
                    <a:pt x="17" y="0"/>
                    <a:pt x="21" y="5"/>
                    <a:pt x="20" y="13"/>
                  </a:cubicBezTo>
                  <a:cubicBezTo>
                    <a:pt x="20" y="15"/>
                    <a:pt x="19" y="17"/>
                    <a:pt x="18" y="1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95">
              <a:extLst>
                <a:ext uri="{FF2B5EF4-FFF2-40B4-BE49-F238E27FC236}">
                  <a16:creationId xmlns:a16="http://schemas.microsoft.com/office/drawing/2014/main" id="{3A3E4D1F-C615-40D7-8A70-7C3BBB45D489}"/>
                </a:ext>
              </a:extLst>
            </p:cNvPr>
            <p:cNvSpPr>
              <a:spLocks/>
            </p:cNvSpPr>
            <p:nvPr/>
          </p:nvSpPr>
          <p:spPr bwMode="auto">
            <a:xfrm>
              <a:off x="2957513" y="1817688"/>
              <a:ext cx="90488" cy="117475"/>
            </a:xfrm>
            <a:custGeom>
              <a:avLst/>
              <a:gdLst>
                <a:gd name="T0" fmla="*/ 10 w 20"/>
                <a:gd name="T1" fmla="*/ 26 h 26"/>
                <a:gd name="T2" fmla="*/ 0 w 20"/>
                <a:gd name="T3" fmla="*/ 13 h 26"/>
                <a:gd name="T4" fmla="*/ 10 w 20"/>
                <a:gd name="T5" fmla="*/ 0 h 26"/>
                <a:gd name="T6" fmla="*/ 20 w 20"/>
                <a:gd name="T7" fmla="*/ 13 h 26"/>
                <a:gd name="T8" fmla="*/ 18 w 20"/>
                <a:gd name="T9" fmla="*/ 19 h 26"/>
              </a:gdLst>
              <a:ahLst/>
              <a:cxnLst>
                <a:cxn ang="0">
                  <a:pos x="T0" y="T1"/>
                </a:cxn>
                <a:cxn ang="0">
                  <a:pos x="T2" y="T3"/>
                </a:cxn>
                <a:cxn ang="0">
                  <a:pos x="T4" y="T5"/>
                </a:cxn>
                <a:cxn ang="0">
                  <a:pos x="T6" y="T7"/>
                </a:cxn>
                <a:cxn ang="0">
                  <a:pos x="T8" y="T9"/>
                </a:cxn>
              </a:cxnLst>
              <a:rect l="0" t="0" r="r" b="b"/>
              <a:pathLst>
                <a:path w="20" h="26">
                  <a:moveTo>
                    <a:pt x="10" y="26"/>
                  </a:moveTo>
                  <a:cubicBezTo>
                    <a:pt x="6" y="26"/>
                    <a:pt x="1" y="21"/>
                    <a:pt x="0" y="13"/>
                  </a:cubicBezTo>
                  <a:cubicBezTo>
                    <a:pt x="0" y="6"/>
                    <a:pt x="3" y="0"/>
                    <a:pt x="10" y="0"/>
                  </a:cubicBezTo>
                  <a:cubicBezTo>
                    <a:pt x="17" y="0"/>
                    <a:pt x="20" y="6"/>
                    <a:pt x="20" y="13"/>
                  </a:cubicBezTo>
                  <a:cubicBezTo>
                    <a:pt x="20" y="15"/>
                    <a:pt x="19" y="17"/>
                    <a:pt x="18" y="1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5" name="Content Placeholder 7"/>
          <p:cNvSpPr txBox="1">
            <a:spLocks/>
          </p:cNvSpPr>
          <p:nvPr/>
        </p:nvSpPr>
        <p:spPr>
          <a:xfrm>
            <a:off x="3485644" y="3428999"/>
            <a:ext cx="2942595" cy="1692697"/>
          </a:xfrm>
          <a:prstGeom prst="rect">
            <a:avLst/>
          </a:prstGeom>
          <a:solidFill>
            <a:srgbClr val="F3F2F0"/>
          </a:solidFill>
          <a:ln>
            <a:noFill/>
          </a:ln>
        </p:spPr>
        <p:txBody>
          <a:bodyPr vert="horz" wrap="square" lIns="252000" tIns="72000"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endParaRPr lang="en-GB" sz="1200" dirty="0">
              <a:solidFill>
                <a:schemeClr val="bg1"/>
              </a:solidFill>
            </a:endParaRPr>
          </a:p>
        </p:txBody>
      </p:sp>
      <p:sp>
        <p:nvSpPr>
          <p:cNvPr id="13" name="TextBox 12"/>
          <p:cNvSpPr txBox="1"/>
          <p:nvPr/>
        </p:nvSpPr>
        <p:spPr>
          <a:xfrm>
            <a:off x="3482467" y="2669242"/>
            <a:ext cx="2934711" cy="759757"/>
          </a:xfrm>
          <a:prstGeom prst="rect">
            <a:avLst/>
          </a:prstGeom>
          <a:solidFill>
            <a:srgbClr val="8AA299"/>
          </a:solidFill>
        </p:spPr>
        <p:txBody>
          <a:bodyPr wrap="square" lIns="144000" tIns="72000" rIns="144000" bIns="0" rtlCol="0" anchor="ctr">
            <a:noAutofit/>
          </a:bodyPr>
          <a:lstStyle/>
          <a:p>
            <a:pPr>
              <a:spcBef>
                <a:spcPts val="600"/>
              </a:spcBef>
            </a:pPr>
            <a:r>
              <a:rPr lang="en-GB" sz="1200" b="1" dirty="0">
                <a:solidFill>
                  <a:schemeClr val="bg1"/>
                </a:solidFill>
                <a:latin typeface="Arial" pitchFamily="34" charset="0"/>
                <a:cs typeface="Arial" pitchFamily="34" charset="0"/>
              </a:rPr>
              <a:t>What you make others talk about</a:t>
            </a:r>
          </a:p>
        </p:txBody>
      </p:sp>
      <p:grpSp>
        <p:nvGrpSpPr>
          <p:cNvPr id="37" name="Group 36">
            <a:extLst>
              <a:ext uri="{FF2B5EF4-FFF2-40B4-BE49-F238E27FC236}">
                <a16:creationId xmlns:a16="http://schemas.microsoft.com/office/drawing/2014/main" id="{8DED8C84-8C78-4349-9264-073063131316}"/>
              </a:ext>
            </a:extLst>
          </p:cNvPr>
          <p:cNvGrpSpPr/>
          <p:nvPr/>
        </p:nvGrpSpPr>
        <p:grpSpPr>
          <a:xfrm>
            <a:off x="3544279" y="3595773"/>
            <a:ext cx="2699606" cy="1359148"/>
            <a:chOff x="3605239" y="3580374"/>
            <a:chExt cx="2699606" cy="1359148"/>
          </a:xfrm>
        </p:grpSpPr>
        <p:sp>
          <p:nvSpPr>
            <p:cNvPr id="26" name="Rectangle 25">
              <a:extLst>
                <a:ext uri="{FF2B5EF4-FFF2-40B4-BE49-F238E27FC236}">
                  <a16:creationId xmlns:a16="http://schemas.microsoft.com/office/drawing/2014/main" id="{30278F4F-5772-486A-8501-047CCE527949}"/>
                </a:ext>
              </a:extLst>
            </p:cNvPr>
            <p:cNvSpPr/>
            <p:nvPr/>
          </p:nvSpPr>
          <p:spPr>
            <a:xfrm>
              <a:off x="3605239" y="3877693"/>
              <a:ext cx="2213087" cy="1061829"/>
            </a:xfrm>
            <a:prstGeom prst="rect">
              <a:avLst/>
            </a:prstGeom>
          </p:spPr>
          <p:txBody>
            <a:bodyPr wrap="square">
              <a:spAutoFit/>
            </a:bodyPr>
            <a:lstStyle/>
            <a:p>
              <a:pPr marL="144000" lvl="1" indent="-144000">
                <a:spcBef>
                  <a:spcPts val="600"/>
                </a:spcBef>
                <a:buClr>
                  <a:srgbClr val="1F2023"/>
                </a:buClr>
                <a:buFont typeface="Arial" panose="020B0604020202020204" pitchFamily="34" charset="0"/>
                <a:buChar char="•"/>
              </a:pPr>
              <a:r>
                <a:rPr lang="en-GB" sz="1200" dirty="0">
                  <a:solidFill>
                    <a:srgbClr val="1F2023"/>
                  </a:solidFill>
                </a:rPr>
                <a:t>Desire</a:t>
              </a:r>
            </a:p>
            <a:p>
              <a:pPr marL="144000" lvl="1" indent="-144000">
                <a:spcBef>
                  <a:spcPts val="600"/>
                </a:spcBef>
                <a:buClr>
                  <a:srgbClr val="1F2023"/>
                </a:buClr>
                <a:buFont typeface="Arial" panose="020B0604020202020204" pitchFamily="34" charset="0"/>
                <a:buChar char="•"/>
              </a:pPr>
              <a:r>
                <a:rPr lang="en-GB" sz="1200" dirty="0">
                  <a:solidFill>
                    <a:srgbClr val="1F2023"/>
                  </a:solidFill>
                </a:rPr>
                <a:t>Abilities</a:t>
              </a:r>
            </a:p>
            <a:p>
              <a:pPr marL="144000" lvl="1" indent="-144000">
                <a:spcBef>
                  <a:spcPts val="600"/>
                </a:spcBef>
                <a:buClr>
                  <a:srgbClr val="1F2023"/>
                </a:buClr>
                <a:buFont typeface="Arial" panose="020B0604020202020204" pitchFamily="34" charset="0"/>
                <a:buChar char="•"/>
              </a:pPr>
              <a:r>
                <a:rPr lang="en-GB" sz="1200" dirty="0">
                  <a:solidFill>
                    <a:srgbClr val="1F2023"/>
                  </a:solidFill>
                </a:rPr>
                <a:t>Reasons</a:t>
              </a:r>
            </a:p>
            <a:p>
              <a:pPr marL="144000" lvl="1" indent="-144000">
                <a:spcBef>
                  <a:spcPts val="600"/>
                </a:spcBef>
                <a:buClr>
                  <a:srgbClr val="1F2023"/>
                </a:buClr>
                <a:buFont typeface="Arial" panose="020B0604020202020204" pitchFamily="34" charset="0"/>
                <a:buChar char="•"/>
              </a:pPr>
              <a:r>
                <a:rPr lang="en-GB" sz="1200" dirty="0">
                  <a:solidFill>
                    <a:srgbClr val="1F2023"/>
                  </a:solidFill>
                </a:rPr>
                <a:t>Needs</a:t>
              </a:r>
            </a:p>
          </p:txBody>
        </p:sp>
        <p:sp>
          <p:nvSpPr>
            <p:cNvPr id="27" name="Rectangle 26">
              <a:extLst>
                <a:ext uri="{FF2B5EF4-FFF2-40B4-BE49-F238E27FC236}">
                  <a16:creationId xmlns:a16="http://schemas.microsoft.com/office/drawing/2014/main" id="{FB9B4ABC-272C-483B-B76C-E93768536225}"/>
                </a:ext>
              </a:extLst>
            </p:cNvPr>
            <p:cNvSpPr/>
            <p:nvPr/>
          </p:nvSpPr>
          <p:spPr>
            <a:xfrm>
              <a:off x="4907435" y="3877693"/>
              <a:ext cx="1397410" cy="800219"/>
            </a:xfrm>
            <a:prstGeom prst="rect">
              <a:avLst/>
            </a:prstGeom>
          </p:spPr>
          <p:txBody>
            <a:bodyPr wrap="square">
              <a:spAutoFit/>
            </a:bodyPr>
            <a:lstStyle/>
            <a:p>
              <a:pPr marL="144000" lvl="1" indent="-144000">
                <a:spcBef>
                  <a:spcPts val="600"/>
                </a:spcBef>
                <a:buClr>
                  <a:srgbClr val="1F2023"/>
                </a:buClr>
                <a:buFont typeface="Arial" panose="020B0604020202020204" pitchFamily="34" charset="0"/>
                <a:buChar char="•"/>
              </a:pPr>
              <a:r>
                <a:rPr lang="en-GB" sz="1200" dirty="0">
                  <a:solidFill>
                    <a:srgbClr val="1F2023"/>
                  </a:solidFill>
                </a:rPr>
                <a:t>Commitment</a:t>
              </a:r>
            </a:p>
            <a:p>
              <a:pPr marL="144000" lvl="1" indent="-144000">
                <a:spcBef>
                  <a:spcPts val="600"/>
                </a:spcBef>
                <a:buClr>
                  <a:srgbClr val="1F2023"/>
                </a:buClr>
                <a:buFont typeface="Arial" panose="020B0604020202020204" pitchFamily="34" charset="0"/>
                <a:buChar char="•"/>
              </a:pPr>
              <a:r>
                <a:rPr lang="en-GB" sz="1200" dirty="0">
                  <a:solidFill>
                    <a:srgbClr val="1F2023"/>
                  </a:solidFill>
                </a:rPr>
                <a:t>Actions</a:t>
              </a:r>
            </a:p>
            <a:p>
              <a:pPr marL="144000" lvl="1" indent="-144000">
                <a:spcBef>
                  <a:spcPts val="600"/>
                </a:spcBef>
                <a:buClr>
                  <a:srgbClr val="1F2023"/>
                </a:buClr>
                <a:buFont typeface="Arial" panose="020B0604020202020204" pitchFamily="34" charset="0"/>
                <a:buChar char="•"/>
              </a:pPr>
              <a:r>
                <a:rPr lang="en-GB" sz="1200" dirty="0">
                  <a:solidFill>
                    <a:srgbClr val="1F2023"/>
                  </a:solidFill>
                </a:rPr>
                <a:t>Taking Steps</a:t>
              </a:r>
            </a:p>
          </p:txBody>
        </p:sp>
        <p:sp>
          <p:nvSpPr>
            <p:cNvPr id="28" name="Rectangle 27">
              <a:extLst>
                <a:ext uri="{FF2B5EF4-FFF2-40B4-BE49-F238E27FC236}">
                  <a16:creationId xmlns:a16="http://schemas.microsoft.com/office/drawing/2014/main" id="{35F5D5AD-9F86-4BE7-8D81-8ACE26A763C8}"/>
                </a:ext>
              </a:extLst>
            </p:cNvPr>
            <p:cNvSpPr/>
            <p:nvPr/>
          </p:nvSpPr>
          <p:spPr>
            <a:xfrm>
              <a:off x="3605239" y="3580374"/>
              <a:ext cx="1895071" cy="276999"/>
            </a:xfrm>
            <a:prstGeom prst="rect">
              <a:avLst/>
            </a:prstGeom>
          </p:spPr>
          <p:txBody>
            <a:bodyPr wrap="none">
              <a:spAutoFit/>
            </a:bodyPr>
            <a:lstStyle/>
            <a:p>
              <a:pPr marL="0" lvl="1" indent="0">
                <a:buNone/>
              </a:pPr>
              <a:r>
                <a:rPr lang="en-GB" sz="1200" b="1" dirty="0">
                  <a:solidFill>
                    <a:srgbClr val="1F2023"/>
                  </a:solidFill>
                </a:rPr>
                <a:t>Importance Confidence</a:t>
              </a:r>
            </a:p>
          </p:txBody>
        </p:sp>
      </p:grpSp>
      <p:sp>
        <p:nvSpPr>
          <p:cNvPr id="33" name="Isosceles Triangle 32">
            <a:extLst>
              <a:ext uri="{FF2B5EF4-FFF2-40B4-BE49-F238E27FC236}">
                <a16:creationId xmlns:a16="http://schemas.microsoft.com/office/drawing/2014/main" id="{DF0008D2-7627-401E-ADB3-C338F4C5638C}"/>
              </a:ext>
            </a:extLst>
          </p:cNvPr>
          <p:cNvSpPr/>
          <p:nvPr/>
        </p:nvSpPr>
        <p:spPr>
          <a:xfrm rot="10800000">
            <a:off x="4837460" y="26692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46" name="Group 45">
            <a:extLst>
              <a:ext uri="{FF2B5EF4-FFF2-40B4-BE49-F238E27FC236}">
                <a16:creationId xmlns:a16="http://schemas.microsoft.com/office/drawing/2014/main" id="{BD73879C-3653-46B7-9569-4CDA501E3055}"/>
              </a:ext>
            </a:extLst>
          </p:cNvPr>
          <p:cNvGrpSpPr/>
          <p:nvPr/>
        </p:nvGrpSpPr>
        <p:grpSpPr>
          <a:xfrm>
            <a:off x="4636325" y="1968664"/>
            <a:ext cx="626996" cy="494994"/>
            <a:chOff x="4051300" y="3319463"/>
            <a:chExt cx="512763" cy="404813"/>
          </a:xfrm>
        </p:grpSpPr>
        <p:sp>
          <p:nvSpPr>
            <p:cNvPr id="47" name="Freeform 22">
              <a:extLst>
                <a:ext uri="{FF2B5EF4-FFF2-40B4-BE49-F238E27FC236}">
                  <a16:creationId xmlns:a16="http://schemas.microsoft.com/office/drawing/2014/main" id="{A17CB3A2-3445-473B-BBBD-B5C723C92D83}"/>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3">
              <a:extLst>
                <a:ext uri="{FF2B5EF4-FFF2-40B4-BE49-F238E27FC236}">
                  <a16:creationId xmlns:a16="http://schemas.microsoft.com/office/drawing/2014/main" id="{778D6D3F-8623-41F2-B688-A32361569CCB}"/>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4">
              <a:extLst>
                <a:ext uri="{FF2B5EF4-FFF2-40B4-BE49-F238E27FC236}">
                  <a16:creationId xmlns:a16="http://schemas.microsoft.com/office/drawing/2014/main" id="{6E36E4D4-4979-45EA-8F9E-D5BFA4657308}"/>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0" name="Group 69">
            <a:extLst>
              <a:ext uri="{FF2B5EF4-FFF2-40B4-BE49-F238E27FC236}">
                <a16:creationId xmlns:a16="http://schemas.microsoft.com/office/drawing/2014/main" id="{A7D112E9-382B-4DEE-A0FE-53E9341C2525}"/>
              </a:ext>
            </a:extLst>
          </p:cNvPr>
          <p:cNvGrpSpPr/>
          <p:nvPr/>
        </p:nvGrpSpPr>
        <p:grpSpPr>
          <a:xfrm>
            <a:off x="3181887" y="4163425"/>
            <a:ext cx="282096" cy="223848"/>
            <a:chOff x="2936876" y="5357813"/>
            <a:chExt cx="392113" cy="311150"/>
          </a:xfrm>
        </p:grpSpPr>
        <p:sp>
          <p:nvSpPr>
            <p:cNvPr id="71" name="Freeform 88">
              <a:extLst>
                <a:ext uri="{FF2B5EF4-FFF2-40B4-BE49-F238E27FC236}">
                  <a16:creationId xmlns:a16="http://schemas.microsoft.com/office/drawing/2014/main" id="{BBD212BE-30AC-496E-8DD4-E5B27145D437}"/>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E7B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89">
              <a:extLst>
                <a:ext uri="{FF2B5EF4-FFF2-40B4-BE49-F238E27FC236}">
                  <a16:creationId xmlns:a16="http://schemas.microsoft.com/office/drawing/2014/main" id="{9FEB34B6-91CD-4903-A149-5D7984C38706}"/>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Lst>
              <a:ahLst/>
              <a:cxnLst>
                <a:cxn ang="0">
                  <a:pos x="T0" y="T1"/>
                </a:cxn>
                <a:cxn ang="0">
                  <a:pos x="T2" y="T3"/>
                </a:cxn>
                <a:cxn ang="0">
                  <a:pos x="T4" y="T5"/>
                </a:cxn>
              </a:cxnLst>
              <a:rect l="0" t="0" r="r" b="b"/>
              <a:pathLst>
                <a:path w="133" h="196">
                  <a:moveTo>
                    <a:pt x="0" y="196"/>
                  </a:moveTo>
                  <a:lnTo>
                    <a:pt x="133" y="9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90">
              <a:extLst>
                <a:ext uri="{FF2B5EF4-FFF2-40B4-BE49-F238E27FC236}">
                  <a16:creationId xmlns:a16="http://schemas.microsoft.com/office/drawing/2014/main" id="{104129F4-5EE6-4AC1-8621-B2022EFDEC7E}"/>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4" name="Line 91">
              <a:extLst>
                <a:ext uri="{FF2B5EF4-FFF2-40B4-BE49-F238E27FC236}">
                  <a16:creationId xmlns:a16="http://schemas.microsoft.com/office/drawing/2014/main" id="{EFDE5ABC-97CB-4EBF-9DC2-C5F640C6B4D9}"/>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6" name="Content Placeholder 7"/>
          <p:cNvSpPr txBox="1">
            <a:spLocks/>
          </p:cNvSpPr>
          <p:nvPr/>
        </p:nvSpPr>
        <p:spPr>
          <a:xfrm>
            <a:off x="6698239" y="3428999"/>
            <a:ext cx="2934711" cy="1692697"/>
          </a:xfrm>
          <a:prstGeom prst="rect">
            <a:avLst/>
          </a:prstGeom>
          <a:solidFill>
            <a:srgbClr val="F3F2F0"/>
          </a:solidFill>
          <a:ln>
            <a:noFill/>
          </a:ln>
        </p:spPr>
        <p:txBody>
          <a:bodyPr vert="horz" wrap="square" lIns="1044000" tIns="72000" rIns="72000" bIns="72000" rtlCol="0" anchor="ctr"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200" b="1" dirty="0">
                <a:solidFill>
                  <a:srgbClr val="1F2023"/>
                </a:solidFill>
                <a:latin typeface="Arial" charset="0"/>
                <a:ea typeface="Arial" charset="0"/>
                <a:cs typeface="Arial" charset="0"/>
              </a:rPr>
              <a:t>Motivation/</a:t>
            </a:r>
            <a:br>
              <a:rPr lang="en-GB" sz="1200" b="1" dirty="0">
                <a:solidFill>
                  <a:srgbClr val="1F2023"/>
                </a:solidFill>
                <a:latin typeface="Arial" charset="0"/>
                <a:ea typeface="Arial" charset="0"/>
                <a:cs typeface="Arial" charset="0"/>
              </a:rPr>
            </a:br>
            <a:r>
              <a:rPr lang="en-GB" sz="1200" b="1" dirty="0">
                <a:solidFill>
                  <a:srgbClr val="1F2023"/>
                </a:solidFill>
                <a:latin typeface="Arial" charset="0"/>
                <a:ea typeface="Arial" charset="0"/>
                <a:cs typeface="Arial" charset="0"/>
              </a:rPr>
              <a:t>engagement</a:t>
            </a:r>
          </a:p>
        </p:txBody>
      </p:sp>
      <p:sp>
        <p:nvSpPr>
          <p:cNvPr id="14" name="TextBox 13"/>
          <p:cNvSpPr txBox="1"/>
          <p:nvPr/>
        </p:nvSpPr>
        <p:spPr>
          <a:xfrm>
            <a:off x="6698238" y="2669242"/>
            <a:ext cx="2934711" cy="759757"/>
          </a:xfrm>
          <a:prstGeom prst="rect">
            <a:avLst/>
          </a:prstGeom>
          <a:solidFill>
            <a:srgbClr val="66817F"/>
          </a:solidFill>
        </p:spPr>
        <p:txBody>
          <a:bodyPr wrap="square" lIns="144000" tIns="72000" rIns="144000" bIns="0" rtlCol="0" anchor="ctr">
            <a:noAutofit/>
          </a:bodyPr>
          <a:lstStyle/>
          <a:p>
            <a:pPr>
              <a:spcBef>
                <a:spcPts val="600"/>
              </a:spcBef>
            </a:pPr>
            <a:r>
              <a:rPr lang="en-GB" sz="1200" b="1" dirty="0">
                <a:solidFill>
                  <a:schemeClr val="bg1"/>
                </a:solidFill>
                <a:latin typeface="Arial" pitchFamily="34" charset="0"/>
                <a:cs typeface="Arial" pitchFamily="34" charset="0"/>
              </a:rPr>
              <a:t>What happens during and after the conversation, with the people you talk with</a:t>
            </a:r>
          </a:p>
        </p:txBody>
      </p:sp>
      <p:sp>
        <p:nvSpPr>
          <p:cNvPr id="34" name="Isosceles Triangle 33">
            <a:extLst>
              <a:ext uri="{FF2B5EF4-FFF2-40B4-BE49-F238E27FC236}">
                <a16:creationId xmlns:a16="http://schemas.microsoft.com/office/drawing/2014/main" id="{5ACFF494-0356-4739-9397-F259250D0E08}"/>
              </a:ext>
            </a:extLst>
          </p:cNvPr>
          <p:cNvSpPr/>
          <p:nvPr/>
        </p:nvSpPr>
        <p:spPr>
          <a:xfrm rot="10800000">
            <a:off x="8053231" y="2669242"/>
            <a:ext cx="224724" cy="79333"/>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50" name="Group 49">
            <a:extLst>
              <a:ext uri="{FF2B5EF4-FFF2-40B4-BE49-F238E27FC236}">
                <a16:creationId xmlns:a16="http://schemas.microsoft.com/office/drawing/2014/main" id="{3284B005-B99A-46F3-9D31-723406C216CD}"/>
              </a:ext>
            </a:extLst>
          </p:cNvPr>
          <p:cNvGrpSpPr/>
          <p:nvPr/>
        </p:nvGrpSpPr>
        <p:grpSpPr>
          <a:xfrm>
            <a:off x="7882340" y="1937333"/>
            <a:ext cx="566506" cy="557654"/>
            <a:chOff x="7388225" y="5156201"/>
            <a:chExt cx="508000" cy="500062"/>
          </a:xfrm>
        </p:grpSpPr>
        <p:sp>
          <p:nvSpPr>
            <p:cNvPr id="51" name="Freeform 134">
              <a:extLst>
                <a:ext uri="{FF2B5EF4-FFF2-40B4-BE49-F238E27FC236}">
                  <a16:creationId xmlns:a16="http://schemas.microsoft.com/office/drawing/2014/main" id="{C4DE6885-E7B5-4B7F-B05B-1982F312A227}"/>
                </a:ext>
              </a:extLst>
            </p:cNvPr>
            <p:cNvSpPr>
              <a:spLocks/>
            </p:cNvSpPr>
            <p:nvPr/>
          </p:nvSpPr>
          <p:spPr bwMode="auto">
            <a:xfrm>
              <a:off x="7388225" y="5156201"/>
              <a:ext cx="466725" cy="176213"/>
            </a:xfrm>
            <a:custGeom>
              <a:avLst/>
              <a:gdLst>
                <a:gd name="T0" fmla="*/ 82 w 104"/>
                <a:gd name="T1" fmla="*/ 0 h 39"/>
                <a:gd name="T2" fmla="*/ 8 w 104"/>
                <a:gd name="T3" fmla="*/ 0 h 39"/>
                <a:gd name="T4" fmla="*/ 0 w 104"/>
                <a:gd name="T5" fmla="*/ 7 h 39"/>
                <a:gd name="T6" fmla="*/ 0 w 104"/>
                <a:gd name="T7" fmla="*/ 32 h 39"/>
                <a:gd name="T8" fmla="*/ 8 w 104"/>
                <a:gd name="T9" fmla="*/ 39 h 39"/>
                <a:gd name="T10" fmla="*/ 10 w 104"/>
                <a:gd name="T11" fmla="*/ 39 h 39"/>
                <a:gd name="T12" fmla="*/ 28 w 104"/>
                <a:gd name="T13" fmla="*/ 39 h 39"/>
                <a:gd name="T14" fmla="*/ 76 w 104"/>
                <a:gd name="T15" fmla="*/ 39 h 39"/>
                <a:gd name="T16" fmla="*/ 93 w 104"/>
                <a:gd name="T17" fmla="*/ 39 h 39"/>
                <a:gd name="T18" fmla="*/ 97 w 104"/>
                <a:gd name="T19" fmla="*/ 39 h 39"/>
                <a:gd name="T20" fmla="*/ 104 w 104"/>
                <a:gd name="T21" fmla="*/ 32 h 39"/>
                <a:gd name="T22" fmla="*/ 104 w 104"/>
                <a:gd name="T23" fmla="*/ 7 h 39"/>
                <a:gd name="T24" fmla="*/ 97 w 104"/>
                <a:gd name="T25"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39">
                  <a:moveTo>
                    <a:pt x="82" y="0"/>
                  </a:moveTo>
                  <a:cubicBezTo>
                    <a:pt x="8" y="0"/>
                    <a:pt x="8" y="0"/>
                    <a:pt x="8" y="0"/>
                  </a:cubicBezTo>
                  <a:cubicBezTo>
                    <a:pt x="4" y="0"/>
                    <a:pt x="0" y="3"/>
                    <a:pt x="0" y="7"/>
                  </a:cubicBezTo>
                  <a:cubicBezTo>
                    <a:pt x="0" y="32"/>
                    <a:pt x="0" y="32"/>
                    <a:pt x="0" y="32"/>
                  </a:cubicBezTo>
                  <a:cubicBezTo>
                    <a:pt x="0" y="36"/>
                    <a:pt x="4" y="39"/>
                    <a:pt x="8" y="39"/>
                  </a:cubicBezTo>
                  <a:cubicBezTo>
                    <a:pt x="10" y="39"/>
                    <a:pt x="10" y="39"/>
                    <a:pt x="10" y="39"/>
                  </a:cubicBezTo>
                  <a:cubicBezTo>
                    <a:pt x="28" y="39"/>
                    <a:pt x="28" y="39"/>
                    <a:pt x="28" y="39"/>
                  </a:cubicBezTo>
                  <a:cubicBezTo>
                    <a:pt x="76" y="39"/>
                    <a:pt x="76" y="39"/>
                    <a:pt x="76" y="39"/>
                  </a:cubicBezTo>
                  <a:cubicBezTo>
                    <a:pt x="93" y="39"/>
                    <a:pt x="93" y="39"/>
                    <a:pt x="93" y="39"/>
                  </a:cubicBezTo>
                  <a:cubicBezTo>
                    <a:pt x="97" y="39"/>
                    <a:pt x="97" y="39"/>
                    <a:pt x="97" y="39"/>
                  </a:cubicBezTo>
                  <a:cubicBezTo>
                    <a:pt x="101" y="39"/>
                    <a:pt x="104" y="36"/>
                    <a:pt x="104" y="32"/>
                  </a:cubicBezTo>
                  <a:cubicBezTo>
                    <a:pt x="104" y="7"/>
                    <a:pt x="104" y="7"/>
                    <a:pt x="104" y="7"/>
                  </a:cubicBezTo>
                  <a:cubicBezTo>
                    <a:pt x="104" y="3"/>
                    <a:pt x="101" y="0"/>
                    <a:pt x="97" y="0"/>
                  </a:cubicBezTo>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35">
              <a:extLst>
                <a:ext uri="{FF2B5EF4-FFF2-40B4-BE49-F238E27FC236}">
                  <a16:creationId xmlns:a16="http://schemas.microsoft.com/office/drawing/2014/main" id="{20ADD600-B820-4AAB-9842-C850D03D0C97}"/>
                </a:ext>
              </a:extLst>
            </p:cNvPr>
            <p:cNvSpPr>
              <a:spLocks/>
            </p:cNvSpPr>
            <p:nvPr/>
          </p:nvSpPr>
          <p:spPr bwMode="auto">
            <a:xfrm>
              <a:off x="7454900" y="5538788"/>
              <a:ext cx="188913" cy="117475"/>
            </a:xfrm>
            <a:custGeom>
              <a:avLst/>
              <a:gdLst>
                <a:gd name="T0" fmla="*/ 42 w 42"/>
                <a:gd name="T1" fmla="*/ 26 h 26"/>
                <a:gd name="T2" fmla="*/ 42 w 42"/>
                <a:gd name="T3" fmla="*/ 14 h 26"/>
                <a:gd name="T4" fmla="*/ 28 w 42"/>
                <a:gd name="T5" fmla="*/ 0 h 26"/>
                <a:gd name="T6" fmla="*/ 14 w 42"/>
                <a:gd name="T7" fmla="*/ 0 h 26"/>
                <a:gd name="T8" fmla="*/ 0 w 42"/>
                <a:gd name="T9" fmla="*/ 14 h 26"/>
                <a:gd name="T10" fmla="*/ 0 w 42"/>
                <a:gd name="T11" fmla="*/ 26 h 26"/>
              </a:gdLst>
              <a:ahLst/>
              <a:cxnLst>
                <a:cxn ang="0">
                  <a:pos x="T0" y="T1"/>
                </a:cxn>
                <a:cxn ang="0">
                  <a:pos x="T2" y="T3"/>
                </a:cxn>
                <a:cxn ang="0">
                  <a:pos x="T4" y="T5"/>
                </a:cxn>
                <a:cxn ang="0">
                  <a:pos x="T6" y="T7"/>
                </a:cxn>
                <a:cxn ang="0">
                  <a:pos x="T8" y="T9"/>
                </a:cxn>
                <a:cxn ang="0">
                  <a:pos x="T10" y="T11"/>
                </a:cxn>
              </a:cxnLst>
              <a:rect l="0" t="0" r="r" b="b"/>
              <a:pathLst>
                <a:path w="42" h="26">
                  <a:moveTo>
                    <a:pt x="42" y="26"/>
                  </a:moveTo>
                  <a:cubicBezTo>
                    <a:pt x="42" y="14"/>
                    <a:pt x="42" y="14"/>
                    <a:pt x="42" y="14"/>
                  </a:cubicBezTo>
                  <a:cubicBezTo>
                    <a:pt x="42" y="6"/>
                    <a:pt x="36" y="0"/>
                    <a:pt x="28" y="0"/>
                  </a:cubicBezTo>
                  <a:cubicBezTo>
                    <a:pt x="14" y="0"/>
                    <a:pt x="14" y="0"/>
                    <a:pt x="14" y="0"/>
                  </a:cubicBezTo>
                  <a:cubicBezTo>
                    <a:pt x="6" y="0"/>
                    <a:pt x="0" y="6"/>
                    <a:pt x="0" y="14"/>
                  </a:cubicBezTo>
                  <a:cubicBezTo>
                    <a:pt x="0" y="26"/>
                    <a:pt x="0" y="26"/>
                    <a:pt x="0" y="2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Line 136">
              <a:extLst>
                <a:ext uri="{FF2B5EF4-FFF2-40B4-BE49-F238E27FC236}">
                  <a16:creationId xmlns:a16="http://schemas.microsoft.com/office/drawing/2014/main" id="{689B207C-8CA4-44B9-88EB-FF9A8D8B10DA}"/>
                </a:ext>
              </a:extLst>
            </p:cNvPr>
            <p:cNvSpPr>
              <a:spLocks noChangeShapeType="1"/>
            </p:cNvSpPr>
            <p:nvPr/>
          </p:nvSpPr>
          <p:spPr bwMode="auto">
            <a:xfrm>
              <a:off x="7580313" y="5511801"/>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37">
              <a:extLst>
                <a:ext uri="{FF2B5EF4-FFF2-40B4-BE49-F238E27FC236}">
                  <a16:creationId xmlns:a16="http://schemas.microsoft.com/office/drawing/2014/main" id="{7AC1348F-8119-4B90-8BE3-3BAF0FAE552A}"/>
                </a:ext>
              </a:extLst>
            </p:cNvPr>
            <p:cNvSpPr>
              <a:spLocks/>
            </p:cNvSpPr>
            <p:nvPr/>
          </p:nvSpPr>
          <p:spPr bwMode="auto">
            <a:xfrm>
              <a:off x="7504113" y="5426076"/>
              <a:ext cx="90488" cy="112713"/>
            </a:xfrm>
            <a:custGeom>
              <a:avLst/>
              <a:gdLst>
                <a:gd name="T0" fmla="*/ 10 w 20"/>
                <a:gd name="T1" fmla="*/ 25 h 25"/>
                <a:gd name="T2" fmla="*/ 1 w 20"/>
                <a:gd name="T3" fmla="*/ 12 h 25"/>
                <a:gd name="T4" fmla="*/ 10 w 20"/>
                <a:gd name="T5" fmla="*/ 0 h 25"/>
                <a:gd name="T6" fmla="*/ 19 w 20"/>
                <a:gd name="T7" fmla="*/ 12 h 25"/>
                <a:gd name="T8" fmla="*/ 18 w 20"/>
                <a:gd name="T9" fmla="*/ 18 h 25"/>
              </a:gdLst>
              <a:ahLst/>
              <a:cxnLst>
                <a:cxn ang="0">
                  <a:pos x="T0" y="T1"/>
                </a:cxn>
                <a:cxn ang="0">
                  <a:pos x="T2" y="T3"/>
                </a:cxn>
                <a:cxn ang="0">
                  <a:pos x="T4" y="T5"/>
                </a:cxn>
                <a:cxn ang="0">
                  <a:pos x="T6" y="T7"/>
                </a:cxn>
                <a:cxn ang="0">
                  <a:pos x="T8" y="T9"/>
                </a:cxn>
              </a:cxnLst>
              <a:rect l="0" t="0" r="r" b="b"/>
              <a:pathLst>
                <a:path w="20" h="25">
                  <a:moveTo>
                    <a:pt x="10" y="25"/>
                  </a:moveTo>
                  <a:cubicBezTo>
                    <a:pt x="6" y="25"/>
                    <a:pt x="2" y="20"/>
                    <a:pt x="1" y="12"/>
                  </a:cubicBezTo>
                  <a:cubicBezTo>
                    <a:pt x="0" y="6"/>
                    <a:pt x="3" y="0"/>
                    <a:pt x="10" y="0"/>
                  </a:cubicBezTo>
                  <a:cubicBezTo>
                    <a:pt x="17" y="0"/>
                    <a:pt x="20" y="6"/>
                    <a:pt x="19" y="12"/>
                  </a:cubicBezTo>
                  <a:cubicBezTo>
                    <a:pt x="19" y="15"/>
                    <a:pt x="18" y="16"/>
                    <a:pt x="18" y="1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38">
              <a:extLst>
                <a:ext uri="{FF2B5EF4-FFF2-40B4-BE49-F238E27FC236}">
                  <a16:creationId xmlns:a16="http://schemas.microsoft.com/office/drawing/2014/main" id="{7BECD67D-FF6D-4323-ADED-BB0F1E34844C}"/>
                </a:ext>
              </a:extLst>
            </p:cNvPr>
            <p:cNvSpPr>
              <a:spLocks/>
            </p:cNvSpPr>
            <p:nvPr/>
          </p:nvSpPr>
          <p:spPr bwMode="auto">
            <a:xfrm>
              <a:off x="7693025" y="5538788"/>
              <a:ext cx="188913" cy="117475"/>
            </a:xfrm>
            <a:custGeom>
              <a:avLst/>
              <a:gdLst>
                <a:gd name="T0" fmla="*/ 42 w 42"/>
                <a:gd name="T1" fmla="*/ 26 h 26"/>
                <a:gd name="T2" fmla="*/ 42 w 42"/>
                <a:gd name="T3" fmla="*/ 14 h 26"/>
                <a:gd name="T4" fmla="*/ 28 w 42"/>
                <a:gd name="T5" fmla="*/ 0 h 26"/>
                <a:gd name="T6" fmla="*/ 14 w 42"/>
                <a:gd name="T7" fmla="*/ 0 h 26"/>
                <a:gd name="T8" fmla="*/ 0 w 42"/>
                <a:gd name="T9" fmla="*/ 14 h 26"/>
                <a:gd name="T10" fmla="*/ 0 w 42"/>
                <a:gd name="T11" fmla="*/ 26 h 26"/>
              </a:gdLst>
              <a:ahLst/>
              <a:cxnLst>
                <a:cxn ang="0">
                  <a:pos x="T0" y="T1"/>
                </a:cxn>
                <a:cxn ang="0">
                  <a:pos x="T2" y="T3"/>
                </a:cxn>
                <a:cxn ang="0">
                  <a:pos x="T4" y="T5"/>
                </a:cxn>
                <a:cxn ang="0">
                  <a:pos x="T6" y="T7"/>
                </a:cxn>
                <a:cxn ang="0">
                  <a:pos x="T8" y="T9"/>
                </a:cxn>
                <a:cxn ang="0">
                  <a:pos x="T10" y="T11"/>
                </a:cxn>
              </a:cxnLst>
              <a:rect l="0" t="0" r="r" b="b"/>
              <a:pathLst>
                <a:path w="42" h="26">
                  <a:moveTo>
                    <a:pt x="42" y="26"/>
                  </a:moveTo>
                  <a:cubicBezTo>
                    <a:pt x="42" y="14"/>
                    <a:pt x="42" y="14"/>
                    <a:pt x="42" y="14"/>
                  </a:cubicBezTo>
                  <a:cubicBezTo>
                    <a:pt x="42" y="6"/>
                    <a:pt x="36" y="0"/>
                    <a:pt x="28" y="0"/>
                  </a:cubicBezTo>
                  <a:cubicBezTo>
                    <a:pt x="14" y="0"/>
                    <a:pt x="14" y="0"/>
                    <a:pt x="14" y="0"/>
                  </a:cubicBezTo>
                  <a:cubicBezTo>
                    <a:pt x="6" y="0"/>
                    <a:pt x="0" y="6"/>
                    <a:pt x="0" y="14"/>
                  </a:cubicBezTo>
                  <a:cubicBezTo>
                    <a:pt x="0" y="26"/>
                    <a:pt x="0" y="26"/>
                    <a:pt x="0" y="2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Line 139">
              <a:extLst>
                <a:ext uri="{FF2B5EF4-FFF2-40B4-BE49-F238E27FC236}">
                  <a16:creationId xmlns:a16="http://schemas.microsoft.com/office/drawing/2014/main" id="{382711BE-C880-4FD5-8366-AF712795922D}"/>
                </a:ext>
              </a:extLst>
            </p:cNvPr>
            <p:cNvSpPr>
              <a:spLocks noChangeShapeType="1"/>
            </p:cNvSpPr>
            <p:nvPr/>
          </p:nvSpPr>
          <p:spPr bwMode="auto">
            <a:xfrm>
              <a:off x="7820025" y="5511801"/>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140">
              <a:extLst>
                <a:ext uri="{FF2B5EF4-FFF2-40B4-BE49-F238E27FC236}">
                  <a16:creationId xmlns:a16="http://schemas.microsoft.com/office/drawing/2014/main" id="{42E22E41-AE3B-4973-89A6-51B7102D1B38}"/>
                </a:ext>
              </a:extLst>
            </p:cNvPr>
            <p:cNvSpPr>
              <a:spLocks/>
            </p:cNvSpPr>
            <p:nvPr/>
          </p:nvSpPr>
          <p:spPr bwMode="auto">
            <a:xfrm>
              <a:off x="7743825" y="5426076"/>
              <a:ext cx="88900" cy="112713"/>
            </a:xfrm>
            <a:custGeom>
              <a:avLst/>
              <a:gdLst>
                <a:gd name="T0" fmla="*/ 10 w 20"/>
                <a:gd name="T1" fmla="*/ 25 h 25"/>
                <a:gd name="T2" fmla="*/ 1 w 20"/>
                <a:gd name="T3" fmla="*/ 12 h 25"/>
                <a:gd name="T4" fmla="*/ 10 w 20"/>
                <a:gd name="T5" fmla="*/ 0 h 25"/>
                <a:gd name="T6" fmla="*/ 19 w 20"/>
                <a:gd name="T7" fmla="*/ 12 h 25"/>
                <a:gd name="T8" fmla="*/ 18 w 20"/>
                <a:gd name="T9" fmla="*/ 18 h 25"/>
              </a:gdLst>
              <a:ahLst/>
              <a:cxnLst>
                <a:cxn ang="0">
                  <a:pos x="T0" y="T1"/>
                </a:cxn>
                <a:cxn ang="0">
                  <a:pos x="T2" y="T3"/>
                </a:cxn>
                <a:cxn ang="0">
                  <a:pos x="T4" y="T5"/>
                </a:cxn>
                <a:cxn ang="0">
                  <a:pos x="T6" y="T7"/>
                </a:cxn>
                <a:cxn ang="0">
                  <a:pos x="T8" y="T9"/>
                </a:cxn>
              </a:cxnLst>
              <a:rect l="0" t="0" r="r" b="b"/>
              <a:pathLst>
                <a:path w="20" h="25">
                  <a:moveTo>
                    <a:pt x="10" y="25"/>
                  </a:moveTo>
                  <a:cubicBezTo>
                    <a:pt x="6" y="25"/>
                    <a:pt x="1" y="20"/>
                    <a:pt x="1" y="12"/>
                  </a:cubicBezTo>
                  <a:cubicBezTo>
                    <a:pt x="0" y="6"/>
                    <a:pt x="3" y="0"/>
                    <a:pt x="10" y="0"/>
                  </a:cubicBezTo>
                  <a:cubicBezTo>
                    <a:pt x="17" y="0"/>
                    <a:pt x="20" y="6"/>
                    <a:pt x="19" y="12"/>
                  </a:cubicBezTo>
                  <a:cubicBezTo>
                    <a:pt x="19" y="15"/>
                    <a:pt x="18" y="16"/>
                    <a:pt x="18" y="1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141">
              <a:extLst>
                <a:ext uri="{FF2B5EF4-FFF2-40B4-BE49-F238E27FC236}">
                  <a16:creationId xmlns:a16="http://schemas.microsoft.com/office/drawing/2014/main" id="{E6DA80D6-7DC0-4E7C-9FB5-79969128EEA9}"/>
                </a:ext>
              </a:extLst>
            </p:cNvPr>
            <p:cNvSpPr>
              <a:spLocks/>
            </p:cNvSpPr>
            <p:nvPr/>
          </p:nvSpPr>
          <p:spPr bwMode="auto">
            <a:xfrm>
              <a:off x="7432675" y="5156201"/>
              <a:ext cx="463550" cy="257175"/>
            </a:xfrm>
            <a:custGeom>
              <a:avLst/>
              <a:gdLst>
                <a:gd name="T0" fmla="*/ 81 w 103"/>
                <a:gd name="T1" fmla="*/ 0 h 57"/>
                <a:gd name="T2" fmla="*/ 7 w 103"/>
                <a:gd name="T3" fmla="*/ 0 h 57"/>
                <a:gd name="T4" fmla="*/ 0 w 103"/>
                <a:gd name="T5" fmla="*/ 7 h 57"/>
                <a:gd name="T6" fmla="*/ 0 w 103"/>
                <a:gd name="T7" fmla="*/ 32 h 57"/>
                <a:gd name="T8" fmla="*/ 7 w 103"/>
                <a:gd name="T9" fmla="*/ 39 h 57"/>
                <a:gd name="T10" fmla="*/ 10 w 103"/>
                <a:gd name="T11" fmla="*/ 39 h 57"/>
                <a:gd name="T12" fmla="*/ 10 w 103"/>
                <a:gd name="T13" fmla="*/ 57 h 57"/>
                <a:gd name="T14" fmla="*/ 27 w 103"/>
                <a:gd name="T15" fmla="*/ 39 h 57"/>
                <a:gd name="T16" fmla="*/ 75 w 103"/>
                <a:gd name="T17" fmla="*/ 39 h 57"/>
                <a:gd name="T18" fmla="*/ 93 w 103"/>
                <a:gd name="T19" fmla="*/ 57 h 57"/>
                <a:gd name="T20" fmla="*/ 93 w 103"/>
                <a:gd name="T21" fmla="*/ 39 h 57"/>
                <a:gd name="T22" fmla="*/ 96 w 103"/>
                <a:gd name="T23" fmla="*/ 39 h 57"/>
                <a:gd name="T24" fmla="*/ 103 w 103"/>
                <a:gd name="T25" fmla="*/ 32 h 57"/>
                <a:gd name="T26" fmla="*/ 103 w 103"/>
                <a:gd name="T27" fmla="*/ 7 h 57"/>
                <a:gd name="T28" fmla="*/ 96 w 103"/>
                <a:gd name="T2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3" h="57">
                  <a:moveTo>
                    <a:pt x="81" y="0"/>
                  </a:moveTo>
                  <a:cubicBezTo>
                    <a:pt x="7" y="0"/>
                    <a:pt x="7" y="0"/>
                    <a:pt x="7" y="0"/>
                  </a:cubicBezTo>
                  <a:cubicBezTo>
                    <a:pt x="3" y="0"/>
                    <a:pt x="0" y="3"/>
                    <a:pt x="0" y="7"/>
                  </a:cubicBezTo>
                  <a:cubicBezTo>
                    <a:pt x="0" y="32"/>
                    <a:pt x="0" y="32"/>
                    <a:pt x="0" y="32"/>
                  </a:cubicBezTo>
                  <a:cubicBezTo>
                    <a:pt x="0" y="36"/>
                    <a:pt x="3" y="39"/>
                    <a:pt x="7" y="39"/>
                  </a:cubicBezTo>
                  <a:cubicBezTo>
                    <a:pt x="10" y="39"/>
                    <a:pt x="10" y="39"/>
                    <a:pt x="10" y="39"/>
                  </a:cubicBezTo>
                  <a:cubicBezTo>
                    <a:pt x="10" y="57"/>
                    <a:pt x="10" y="57"/>
                    <a:pt x="10" y="57"/>
                  </a:cubicBezTo>
                  <a:cubicBezTo>
                    <a:pt x="27" y="39"/>
                    <a:pt x="27" y="39"/>
                    <a:pt x="27" y="39"/>
                  </a:cubicBezTo>
                  <a:cubicBezTo>
                    <a:pt x="75" y="39"/>
                    <a:pt x="75" y="39"/>
                    <a:pt x="75" y="39"/>
                  </a:cubicBezTo>
                  <a:cubicBezTo>
                    <a:pt x="93" y="57"/>
                    <a:pt x="93" y="57"/>
                    <a:pt x="93" y="57"/>
                  </a:cubicBezTo>
                  <a:cubicBezTo>
                    <a:pt x="93" y="39"/>
                    <a:pt x="93" y="39"/>
                    <a:pt x="93" y="39"/>
                  </a:cubicBezTo>
                  <a:cubicBezTo>
                    <a:pt x="96" y="39"/>
                    <a:pt x="96" y="39"/>
                    <a:pt x="96" y="39"/>
                  </a:cubicBezTo>
                  <a:cubicBezTo>
                    <a:pt x="100" y="39"/>
                    <a:pt x="103" y="36"/>
                    <a:pt x="103" y="32"/>
                  </a:cubicBezTo>
                  <a:cubicBezTo>
                    <a:pt x="103" y="7"/>
                    <a:pt x="103" y="7"/>
                    <a:pt x="103" y="7"/>
                  </a:cubicBezTo>
                  <a:cubicBezTo>
                    <a:pt x="103" y="3"/>
                    <a:pt x="100" y="0"/>
                    <a:pt x="96"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Line 142">
              <a:extLst>
                <a:ext uri="{FF2B5EF4-FFF2-40B4-BE49-F238E27FC236}">
                  <a16:creationId xmlns:a16="http://schemas.microsoft.com/office/drawing/2014/main" id="{5401E259-5FE2-4538-8660-7273CCBB0F0A}"/>
                </a:ext>
              </a:extLst>
            </p:cNvPr>
            <p:cNvSpPr>
              <a:spLocks noChangeShapeType="1"/>
            </p:cNvSpPr>
            <p:nvPr/>
          </p:nvSpPr>
          <p:spPr bwMode="auto">
            <a:xfrm>
              <a:off x="7526338" y="5219701"/>
              <a:ext cx="26670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Line 143">
              <a:extLst>
                <a:ext uri="{FF2B5EF4-FFF2-40B4-BE49-F238E27FC236}">
                  <a16:creationId xmlns:a16="http://schemas.microsoft.com/office/drawing/2014/main" id="{4F6A746C-2567-4B9C-8114-C955FB4AAF8C}"/>
                </a:ext>
              </a:extLst>
            </p:cNvPr>
            <p:cNvSpPr>
              <a:spLocks noChangeShapeType="1"/>
            </p:cNvSpPr>
            <p:nvPr/>
          </p:nvSpPr>
          <p:spPr bwMode="auto">
            <a:xfrm>
              <a:off x="7526338" y="5268913"/>
              <a:ext cx="26670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6B23E821-F7F2-4991-AA31-D433CBF834BA}"/>
              </a:ext>
            </a:extLst>
          </p:cNvPr>
          <p:cNvGrpSpPr/>
          <p:nvPr/>
        </p:nvGrpSpPr>
        <p:grpSpPr>
          <a:xfrm>
            <a:off x="6394482" y="4163425"/>
            <a:ext cx="282096" cy="223848"/>
            <a:chOff x="2936876" y="5357813"/>
            <a:chExt cx="392113" cy="311150"/>
          </a:xfrm>
        </p:grpSpPr>
        <p:sp>
          <p:nvSpPr>
            <p:cNvPr id="76" name="Freeform 88">
              <a:extLst>
                <a:ext uri="{FF2B5EF4-FFF2-40B4-BE49-F238E27FC236}">
                  <a16:creationId xmlns:a16="http://schemas.microsoft.com/office/drawing/2014/main" id="{B412C5D6-F1F9-40B3-BD84-80DFFCCEC24B}"/>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E7BE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89">
              <a:extLst>
                <a:ext uri="{FF2B5EF4-FFF2-40B4-BE49-F238E27FC236}">
                  <a16:creationId xmlns:a16="http://schemas.microsoft.com/office/drawing/2014/main" id="{B00AF14A-70E0-4399-8803-DAB837E1458D}"/>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Lst>
              <a:ahLst/>
              <a:cxnLst>
                <a:cxn ang="0">
                  <a:pos x="T0" y="T1"/>
                </a:cxn>
                <a:cxn ang="0">
                  <a:pos x="T2" y="T3"/>
                </a:cxn>
                <a:cxn ang="0">
                  <a:pos x="T4" y="T5"/>
                </a:cxn>
              </a:cxnLst>
              <a:rect l="0" t="0" r="r" b="b"/>
              <a:pathLst>
                <a:path w="133" h="196">
                  <a:moveTo>
                    <a:pt x="0" y="196"/>
                  </a:moveTo>
                  <a:lnTo>
                    <a:pt x="133" y="9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90">
              <a:extLst>
                <a:ext uri="{FF2B5EF4-FFF2-40B4-BE49-F238E27FC236}">
                  <a16:creationId xmlns:a16="http://schemas.microsoft.com/office/drawing/2014/main" id="{FDFFAD7E-BEFB-4FE0-A634-3327E24ADB03}"/>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9" name="Line 91">
              <a:extLst>
                <a:ext uri="{FF2B5EF4-FFF2-40B4-BE49-F238E27FC236}">
                  <a16:creationId xmlns:a16="http://schemas.microsoft.com/office/drawing/2014/main" id="{CC7AC5E3-A9A7-4695-8FE7-10FA12986654}"/>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97653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8A2904E9-DDC4-4FF5-BF82-B8AEE05BBC25}"/>
              </a:ext>
            </a:extLst>
          </p:cNvPr>
          <p:cNvPicPr>
            <a:picLocks noGrp="1" noChangeAspect="1"/>
          </p:cNvPicPr>
          <p:nvPr>
            <p:ph type="pic" sz="quarter" idx="15"/>
          </p:nvPr>
        </p:nvPicPr>
        <p:blipFill>
          <a:blip r:embed="rId3"/>
          <a:srcRect t="16071" b="16071"/>
          <a:stretch>
            <a:fillRect/>
          </a:stretch>
        </p:blipFill>
        <p:spPr/>
      </p:pic>
      <p:sp>
        <p:nvSpPr>
          <p:cNvPr id="3" name="Subtitle 2">
            <a:extLst>
              <a:ext uri="{FF2B5EF4-FFF2-40B4-BE49-F238E27FC236}">
                <a16:creationId xmlns:a16="http://schemas.microsoft.com/office/drawing/2014/main" id="{C8FB5675-8B56-498A-80FA-CC33F6DD3B07}"/>
              </a:ext>
            </a:extLst>
          </p:cNvPr>
          <p:cNvSpPr>
            <a:spLocks noGrp="1"/>
          </p:cNvSpPr>
          <p:nvPr>
            <p:ph type="subTitle" idx="1"/>
          </p:nvPr>
        </p:nvSpPr>
        <p:spPr/>
        <p:txBody>
          <a:bodyPr/>
          <a:lstStyle/>
          <a:p>
            <a:r>
              <a:rPr lang="en-GB" sz="2400" dirty="0"/>
              <a:t>Day 2</a:t>
            </a:r>
          </a:p>
        </p:txBody>
      </p:sp>
      <p:sp>
        <p:nvSpPr>
          <p:cNvPr id="4" name="Text Placeholder 3">
            <a:extLst>
              <a:ext uri="{FF2B5EF4-FFF2-40B4-BE49-F238E27FC236}">
                <a16:creationId xmlns:a16="http://schemas.microsoft.com/office/drawing/2014/main" id="{BF5BAB18-5C23-4F07-9483-B1F697B18480}"/>
              </a:ext>
            </a:extLst>
          </p:cNvPr>
          <p:cNvSpPr>
            <a:spLocks noGrp="1"/>
          </p:cNvSpPr>
          <p:nvPr>
            <p:ph type="body" sz="quarter" idx="13"/>
          </p:nvPr>
        </p:nvSpPr>
        <p:spPr/>
        <p:txBody>
          <a:bodyPr/>
          <a:lstStyle/>
          <a:p>
            <a:endParaRPr lang="en-GB" dirty="0"/>
          </a:p>
        </p:txBody>
      </p:sp>
      <p:sp>
        <p:nvSpPr>
          <p:cNvPr id="7" name="Title 6">
            <a:extLst>
              <a:ext uri="{FF2B5EF4-FFF2-40B4-BE49-F238E27FC236}">
                <a16:creationId xmlns:a16="http://schemas.microsoft.com/office/drawing/2014/main" id="{9B9632FE-2CCB-43E2-B213-8657B89E7B6F}"/>
              </a:ext>
            </a:extLst>
          </p:cNvPr>
          <p:cNvSpPr>
            <a:spLocks noGrp="1"/>
          </p:cNvSpPr>
          <p:nvPr>
            <p:ph type="ctrTitle"/>
          </p:nvPr>
        </p:nvSpPr>
        <p:spPr/>
        <p:txBody>
          <a:bodyPr/>
          <a:lstStyle/>
          <a:p>
            <a:r>
              <a:rPr lang="en-GB" dirty="0"/>
              <a:t>REAL CONVERSATIONS</a:t>
            </a:r>
          </a:p>
        </p:txBody>
      </p:sp>
      <p:sp>
        <p:nvSpPr>
          <p:cNvPr id="6" name="Date Placeholder 5">
            <a:extLst>
              <a:ext uri="{FF2B5EF4-FFF2-40B4-BE49-F238E27FC236}">
                <a16:creationId xmlns:a16="http://schemas.microsoft.com/office/drawing/2014/main" id="{C05A7E08-A397-47E2-9EA3-9308DEC18EA8}"/>
              </a:ext>
            </a:extLst>
          </p:cNvPr>
          <p:cNvSpPr>
            <a:spLocks noGrp="1"/>
          </p:cNvSpPr>
          <p:nvPr>
            <p:ph type="dt" sz="half" idx="10"/>
          </p:nvPr>
        </p:nvSpPr>
        <p:spPr/>
        <p:txBody>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fld id="{8A6E0422-6ECB-43C9-8CFE-4C39AC685875}" type="datetime1">
              <a:rPr kumimoji="0" lang="en-GB" sz="100" b="0" i="0" u="none" strike="noStrike" kern="1200" cap="all" spc="163" normalizeH="0" baseline="0" noProof="0" smtClean="0">
                <a:ln>
                  <a:noFill/>
                </a:ln>
                <a:solidFill>
                  <a:srgbClr val="FFFFFF"/>
                </a:solidFill>
                <a:effectLst/>
                <a:uLnTx/>
                <a:uFillTx/>
                <a:latin typeface="Arial"/>
                <a:ea typeface="+mn-ea"/>
                <a:cs typeface="+mn-cs"/>
              </a:rPr>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t>17/01/2019</a:t>
            </a:fld>
            <a:endParaRPr kumimoji="0" lang="en-GB" sz="100" b="0" i="0" u="none" strike="noStrike" kern="1200" cap="all" spc="163" normalizeH="0" baseline="0" noProof="0" dirty="0">
              <a:ln>
                <a:noFill/>
              </a:ln>
              <a:solidFill>
                <a:srgbClr val="FFFFFF"/>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F5BAF373-F97E-44E0-B142-29245A557554}"/>
              </a:ext>
            </a:extLst>
          </p:cNvPr>
          <p:cNvPicPr>
            <a:picLocks noChangeAspect="1"/>
          </p:cNvPicPr>
          <p:nvPr/>
        </p:nvPicPr>
        <p:blipFill>
          <a:blip r:embed="rId4">
            <a:extLst>
              <a:ext uri="{BEBA8EAE-BF5A-486C-A8C5-ECC9F3942E4B}">
                <a14:imgProps xmlns:a14="http://schemas.microsoft.com/office/drawing/2010/main">
                  <a14:imgLayer r:embed="rId5">
                    <a14:imgEffect>
                      <a14:artisticGlowEdges/>
                    </a14:imgEffect>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69875" y="5867824"/>
            <a:ext cx="1526934" cy="637672"/>
          </a:xfrm>
          <a:prstGeom prst="rect">
            <a:avLst/>
          </a:prstGeom>
        </p:spPr>
      </p:pic>
    </p:spTree>
    <p:extLst>
      <p:ext uri="{BB962C8B-B14F-4D97-AF65-F5344CB8AC3E}">
        <p14:creationId xmlns:p14="http://schemas.microsoft.com/office/powerpoint/2010/main" val="200999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4DDA5C39-A59D-4CDD-B4F9-015858594AB0}"/>
              </a:ext>
            </a:extLst>
          </p:cNvPr>
          <p:cNvSpPr>
            <a:spLocks noGrp="1"/>
          </p:cNvSpPr>
          <p:nvPr>
            <p:ph type="title"/>
          </p:nvPr>
        </p:nvSpPr>
        <p:spPr/>
        <p:txBody>
          <a:bodyPr/>
          <a:lstStyle/>
          <a:p>
            <a:r>
              <a:rPr lang="en-GB" dirty="0"/>
              <a:t>Ambition and purpose </a:t>
            </a:r>
          </a:p>
        </p:txBody>
      </p:sp>
      <p:sp>
        <p:nvSpPr>
          <p:cNvPr id="5" name="Text Placeholder 4">
            <a:extLst>
              <a:ext uri="{FF2B5EF4-FFF2-40B4-BE49-F238E27FC236}">
                <a16:creationId xmlns:a16="http://schemas.microsoft.com/office/drawing/2014/main" id="{CDB47C31-1A14-47C9-A7F4-2614A1EA778D}"/>
              </a:ext>
            </a:extLst>
          </p:cNvPr>
          <p:cNvSpPr>
            <a:spLocks noGrp="1"/>
          </p:cNvSpPr>
          <p:nvPr>
            <p:ph type="body" sz="quarter" idx="13"/>
          </p:nvPr>
        </p:nvSpPr>
        <p:spPr/>
        <p:txBody>
          <a:bodyPr/>
          <a:lstStyle/>
          <a:p>
            <a:endParaRPr lang="en-GB" dirty="0"/>
          </a:p>
        </p:txBody>
      </p:sp>
      <p:sp>
        <p:nvSpPr>
          <p:cNvPr id="6" name="Text Placeholder 5">
            <a:extLst>
              <a:ext uri="{FF2B5EF4-FFF2-40B4-BE49-F238E27FC236}">
                <a16:creationId xmlns:a16="http://schemas.microsoft.com/office/drawing/2014/main" id="{F6796049-FE6D-4172-8C15-4FAEB20AF2B3}"/>
              </a:ext>
            </a:extLst>
          </p:cNvPr>
          <p:cNvSpPr>
            <a:spLocks noGrp="1"/>
          </p:cNvSpPr>
          <p:nvPr>
            <p:ph type="body" sz="quarter" idx="14"/>
          </p:nvPr>
        </p:nvSpPr>
        <p:spPr/>
        <p:txBody>
          <a:bodyPr/>
          <a:lstStyle/>
          <a:p>
            <a:endParaRPr lang="en-GB" dirty="0"/>
          </a:p>
        </p:txBody>
      </p:sp>
      <p:sp>
        <p:nvSpPr>
          <p:cNvPr id="15" name="Rectangle 14">
            <a:extLst>
              <a:ext uri="{FF2B5EF4-FFF2-40B4-BE49-F238E27FC236}">
                <a16:creationId xmlns:a16="http://schemas.microsoft.com/office/drawing/2014/main" id="{1560B4ED-19A5-465C-9B98-3B345D88B8AA}"/>
              </a:ext>
            </a:extLst>
          </p:cNvPr>
          <p:cNvSpPr/>
          <p:nvPr/>
        </p:nvSpPr>
        <p:spPr>
          <a:xfrm>
            <a:off x="3584696" y="1627188"/>
            <a:ext cx="6321304" cy="4689475"/>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16" name="Rectangle 15">
            <a:extLst>
              <a:ext uri="{FF2B5EF4-FFF2-40B4-BE49-F238E27FC236}">
                <a16:creationId xmlns:a16="http://schemas.microsoft.com/office/drawing/2014/main" id="{BF1F6F33-22C2-4EB3-9D44-E9836F966AA2}"/>
              </a:ext>
            </a:extLst>
          </p:cNvPr>
          <p:cNvSpPr/>
          <p:nvPr/>
        </p:nvSpPr>
        <p:spPr>
          <a:xfrm>
            <a:off x="165701" y="2352367"/>
            <a:ext cx="4683125" cy="363648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F3F2F0"/>
              </a:solidFill>
            </a:endParaRPr>
          </a:p>
        </p:txBody>
      </p:sp>
      <p:sp>
        <p:nvSpPr>
          <p:cNvPr id="3" name="Rectangle 2">
            <a:extLst>
              <a:ext uri="{FF2B5EF4-FFF2-40B4-BE49-F238E27FC236}">
                <a16:creationId xmlns:a16="http://schemas.microsoft.com/office/drawing/2014/main" id="{02A1B2B3-DA7D-4860-89CE-6C0F419CEC7F}"/>
              </a:ext>
            </a:extLst>
          </p:cNvPr>
          <p:cNvSpPr/>
          <p:nvPr/>
        </p:nvSpPr>
        <p:spPr>
          <a:xfrm>
            <a:off x="320983" y="2731754"/>
            <a:ext cx="4547885" cy="2877711"/>
          </a:xfrm>
          <a:prstGeom prst="rect">
            <a:avLst/>
          </a:prstGeom>
        </p:spPr>
        <p:txBody>
          <a:bodyPr wrap="square">
            <a:spAutoFit/>
          </a:bodyPr>
          <a:lstStyle/>
          <a:p>
            <a:pPr lvl="0">
              <a:spcAft>
                <a:spcPts val="600"/>
              </a:spcAft>
              <a:defRPr/>
            </a:pPr>
            <a:r>
              <a:rPr lang="en-GB" b="1" dirty="0">
                <a:solidFill>
                  <a:srgbClr val="1F2023"/>
                </a:solidFill>
              </a:rPr>
              <a:t>The seminar strives to help Implement consultants creating even better conversations in the future by: </a:t>
            </a:r>
          </a:p>
          <a:p>
            <a:pPr marL="144000" lvl="1" indent="-144000">
              <a:spcAft>
                <a:spcPts val="600"/>
              </a:spcAft>
              <a:buClr>
                <a:srgbClr val="1F2023"/>
              </a:buClr>
              <a:buFont typeface="Arial" panose="020B0604020202020204" pitchFamily="34" charset="0"/>
              <a:buChar char="•"/>
              <a:defRPr/>
            </a:pPr>
            <a:r>
              <a:rPr lang="en-GB" sz="1600" dirty="0">
                <a:solidFill>
                  <a:srgbClr val="1F2023"/>
                </a:solidFill>
              </a:rPr>
              <a:t>Increasing the awareness of own strengths and development areas in conversations</a:t>
            </a:r>
          </a:p>
          <a:p>
            <a:pPr marL="144000" lvl="1" indent="-144000">
              <a:spcAft>
                <a:spcPts val="600"/>
              </a:spcAft>
              <a:buClr>
                <a:srgbClr val="1F2023"/>
              </a:buClr>
              <a:buFont typeface="Arial" panose="020B0604020202020204" pitchFamily="34" charset="0"/>
              <a:buChar char="•"/>
              <a:defRPr/>
            </a:pPr>
            <a:r>
              <a:rPr lang="en-GB" sz="1600" dirty="0">
                <a:solidFill>
                  <a:srgbClr val="1F2023"/>
                </a:solidFill>
              </a:rPr>
              <a:t>Sharing and learning from real experiences with conversations </a:t>
            </a:r>
          </a:p>
          <a:p>
            <a:pPr marL="144000" lvl="1" indent="-144000">
              <a:spcAft>
                <a:spcPts val="600"/>
              </a:spcAft>
              <a:buClr>
                <a:srgbClr val="1F2023"/>
              </a:buClr>
              <a:buFont typeface="Arial" panose="020B0604020202020204" pitchFamily="34" charset="0"/>
              <a:buChar char="•"/>
              <a:defRPr/>
            </a:pPr>
            <a:r>
              <a:rPr lang="en-GB" sz="1600" dirty="0">
                <a:solidFill>
                  <a:srgbClr val="1F2023"/>
                </a:solidFill>
              </a:rPr>
              <a:t>Training proven conversation and listening techniques and tools that will have a positive effect in all conversations </a:t>
            </a:r>
          </a:p>
        </p:txBody>
      </p:sp>
      <p:pic>
        <p:nvPicPr>
          <p:cNvPr id="18" name="Picture 17">
            <a:extLst>
              <a:ext uri="{FF2B5EF4-FFF2-40B4-BE49-F238E27FC236}">
                <a16:creationId xmlns:a16="http://schemas.microsoft.com/office/drawing/2014/main" id="{7C512EB1-990C-4032-9224-00A87412C7C7}"/>
              </a:ext>
            </a:extLst>
          </p:cNvPr>
          <p:cNvPicPr>
            <a:picLocks noChangeAspect="1"/>
          </p:cNvPicPr>
          <p:nvPr/>
        </p:nvPicPr>
        <p:blipFill>
          <a:blip r:embed="rId2"/>
          <a:stretch>
            <a:fillRect/>
          </a:stretch>
        </p:blipFill>
        <p:spPr>
          <a:xfrm>
            <a:off x="4498826" y="2247863"/>
            <a:ext cx="4734004" cy="3448124"/>
          </a:xfrm>
          <a:prstGeom prst="rect">
            <a:avLst/>
          </a:prstGeom>
        </p:spPr>
      </p:pic>
    </p:spTree>
    <p:extLst>
      <p:ext uri="{BB962C8B-B14F-4D97-AF65-F5344CB8AC3E}">
        <p14:creationId xmlns:p14="http://schemas.microsoft.com/office/powerpoint/2010/main" val="411964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541592" y="953665"/>
            <a:ext cx="6091358" cy="4402106"/>
          </a:xfrm>
          <a:prstGeom prst="rect">
            <a:avLst/>
          </a:prstGeom>
          <a:solidFill>
            <a:srgbClr val="F8F5E7"/>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i="1" dirty="0">
              <a:solidFill>
                <a:schemeClr val="accent5"/>
              </a:solidFill>
              <a:cs typeface="Arial"/>
            </a:endParaRPr>
          </a:p>
        </p:txBody>
      </p:sp>
      <p:sp>
        <p:nvSpPr>
          <p:cNvPr id="2" name="Title 1"/>
          <p:cNvSpPr>
            <a:spLocks noGrp="1"/>
          </p:cNvSpPr>
          <p:nvPr>
            <p:ph type="title"/>
          </p:nvPr>
        </p:nvSpPr>
        <p:spPr>
          <a:xfrm>
            <a:off x="269875" y="304600"/>
            <a:ext cx="8559232" cy="692336"/>
          </a:xfrm>
        </p:spPr>
        <p:txBody>
          <a:bodyPr/>
          <a:lstStyle/>
          <a:p>
            <a:r>
              <a:rPr lang="en-GB" dirty="0" err="1"/>
              <a:t>Bohms</a:t>
            </a:r>
            <a:r>
              <a:rPr lang="en-GB" dirty="0"/>
              <a:t> Circle</a:t>
            </a:r>
          </a:p>
        </p:txBody>
      </p:sp>
      <p:sp>
        <p:nvSpPr>
          <p:cNvPr id="3" name="Footer Placeholder 2"/>
          <p:cNvSpPr>
            <a:spLocks noGrp="1"/>
          </p:cNvSpPr>
          <p:nvPr>
            <p:ph type="ftr" sz="quarter" idx="11"/>
          </p:nvPr>
        </p:nvSpPr>
        <p:spPr>
          <a:xfrm>
            <a:off x="269875" y="7137319"/>
            <a:ext cx="1197769" cy="104400"/>
          </a:xfrm>
        </p:spPr>
        <p:txBody>
          <a:bodyPr>
            <a:spAutoFit/>
          </a:bodyPr>
          <a:lstStyle/>
          <a:p>
            <a:endParaRPr lang="en-GB" dirty="0"/>
          </a:p>
        </p:txBody>
      </p:sp>
      <p:pic>
        <p:nvPicPr>
          <p:cNvPr id="44034" name="Picture 2" descr="Image result for david bohm">
            <a:hlinkClick r:id="rId3"/>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5666"/>
          <a:stretch/>
        </p:blipFill>
        <p:spPr bwMode="auto">
          <a:xfrm>
            <a:off x="269875" y="1463039"/>
            <a:ext cx="3832283" cy="4774865"/>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5978783" y="3743798"/>
            <a:ext cx="2625043" cy="276999"/>
          </a:xfrm>
          <a:prstGeom prst="rect">
            <a:avLst/>
          </a:prstGeom>
          <a:noFill/>
        </p:spPr>
        <p:txBody>
          <a:bodyPr wrap="square" lIns="0" tIns="0" rIns="0" bIns="0" rtlCol="0">
            <a:spAutoFit/>
          </a:bodyPr>
          <a:lstStyle/>
          <a:p>
            <a:pPr>
              <a:spcBef>
                <a:spcPts val="600"/>
              </a:spcBef>
            </a:pPr>
            <a:r>
              <a:rPr lang="en-GB" b="1" i="1" dirty="0">
                <a:solidFill>
                  <a:srgbClr val="1F2023"/>
                </a:solidFill>
                <a:latin typeface="Arial" pitchFamily="34" charset="0"/>
                <a:cs typeface="Arial" pitchFamily="34" charset="0"/>
              </a:rPr>
              <a:t>What </a:t>
            </a:r>
            <a:r>
              <a:rPr lang="en-GB" b="1" i="1" dirty="0" err="1">
                <a:solidFill>
                  <a:srgbClr val="1F2023"/>
                </a:solidFill>
                <a:latin typeface="Arial" pitchFamily="34" charset="0"/>
                <a:cs typeface="Arial" pitchFamily="34" charset="0"/>
              </a:rPr>
              <a:t>disturbes</a:t>
            </a:r>
            <a:r>
              <a:rPr lang="en-GB" b="1" i="1" dirty="0">
                <a:solidFill>
                  <a:srgbClr val="1F2023"/>
                </a:solidFill>
                <a:latin typeface="Arial" pitchFamily="34" charset="0"/>
                <a:cs typeface="Arial" pitchFamily="34" charset="0"/>
              </a:rPr>
              <a:t> you….?</a:t>
            </a:r>
          </a:p>
        </p:txBody>
      </p:sp>
      <p:grpSp>
        <p:nvGrpSpPr>
          <p:cNvPr id="7" name="Group 6">
            <a:extLst>
              <a:ext uri="{FF2B5EF4-FFF2-40B4-BE49-F238E27FC236}">
                <a16:creationId xmlns:a16="http://schemas.microsoft.com/office/drawing/2014/main" id="{1B1D7BEC-E958-495C-BDD1-4E3417A705D6}"/>
              </a:ext>
            </a:extLst>
          </p:cNvPr>
          <p:cNvGrpSpPr/>
          <p:nvPr/>
        </p:nvGrpSpPr>
        <p:grpSpPr>
          <a:xfrm>
            <a:off x="5184239" y="2160440"/>
            <a:ext cx="427037" cy="640552"/>
            <a:chOff x="9383713" y="1436688"/>
            <a:chExt cx="314325" cy="471487"/>
          </a:xfrm>
        </p:grpSpPr>
        <p:sp>
          <p:nvSpPr>
            <p:cNvPr id="8" name="Freeform 23">
              <a:extLst>
                <a:ext uri="{FF2B5EF4-FFF2-40B4-BE49-F238E27FC236}">
                  <a16:creationId xmlns:a16="http://schemas.microsoft.com/office/drawing/2014/main" id="{2034C5EC-72A1-410E-89BE-D8DEE989ADFD}"/>
                </a:ext>
              </a:extLst>
            </p:cNvPr>
            <p:cNvSpPr>
              <a:spLocks/>
            </p:cNvSpPr>
            <p:nvPr/>
          </p:nvSpPr>
          <p:spPr bwMode="auto">
            <a:xfrm>
              <a:off x="9383713" y="1476375"/>
              <a:ext cx="269875" cy="338138"/>
            </a:xfrm>
            <a:custGeom>
              <a:avLst/>
              <a:gdLst>
                <a:gd name="T0" fmla="*/ 43 w 60"/>
                <a:gd name="T1" fmla="*/ 75 h 75"/>
                <a:gd name="T2" fmla="*/ 43 w 60"/>
                <a:gd name="T3" fmla="*/ 65 h 75"/>
                <a:gd name="T4" fmla="*/ 49 w 60"/>
                <a:gd name="T5" fmla="*/ 54 h 75"/>
                <a:gd name="T6" fmla="*/ 60 w 60"/>
                <a:gd name="T7" fmla="*/ 30 h 75"/>
                <a:gd name="T8" fmla="*/ 30 w 60"/>
                <a:gd name="T9" fmla="*/ 0 h 75"/>
                <a:gd name="T10" fmla="*/ 0 w 60"/>
                <a:gd name="T11" fmla="*/ 30 h 75"/>
                <a:gd name="T12" fmla="*/ 11 w 60"/>
                <a:gd name="T13" fmla="*/ 54 h 75"/>
                <a:gd name="T14" fmla="*/ 17 w 60"/>
                <a:gd name="T15" fmla="*/ 65 h 75"/>
                <a:gd name="T16" fmla="*/ 17 w 60"/>
                <a:gd name="T17" fmla="*/ 75 h 75"/>
                <a:gd name="T18" fmla="*/ 43 w 60"/>
                <a:gd name="T19" fmla="*/ 7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75">
                  <a:moveTo>
                    <a:pt x="43" y="75"/>
                  </a:moveTo>
                  <a:cubicBezTo>
                    <a:pt x="43" y="75"/>
                    <a:pt x="43" y="71"/>
                    <a:pt x="43" y="65"/>
                  </a:cubicBezTo>
                  <a:cubicBezTo>
                    <a:pt x="43" y="58"/>
                    <a:pt x="49" y="54"/>
                    <a:pt x="49" y="54"/>
                  </a:cubicBezTo>
                  <a:cubicBezTo>
                    <a:pt x="49" y="54"/>
                    <a:pt x="60" y="46"/>
                    <a:pt x="60" y="30"/>
                  </a:cubicBezTo>
                  <a:cubicBezTo>
                    <a:pt x="60" y="14"/>
                    <a:pt x="48" y="0"/>
                    <a:pt x="30" y="0"/>
                  </a:cubicBezTo>
                  <a:cubicBezTo>
                    <a:pt x="13" y="0"/>
                    <a:pt x="0" y="14"/>
                    <a:pt x="0" y="30"/>
                  </a:cubicBezTo>
                  <a:cubicBezTo>
                    <a:pt x="0" y="46"/>
                    <a:pt x="11" y="54"/>
                    <a:pt x="11" y="54"/>
                  </a:cubicBezTo>
                  <a:cubicBezTo>
                    <a:pt x="11" y="54"/>
                    <a:pt x="17" y="58"/>
                    <a:pt x="17" y="65"/>
                  </a:cubicBezTo>
                  <a:cubicBezTo>
                    <a:pt x="17" y="71"/>
                    <a:pt x="17" y="75"/>
                    <a:pt x="17" y="75"/>
                  </a:cubicBezTo>
                  <a:lnTo>
                    <a:pt x="43" y="75"/>
                  </a:ln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Line 24">
              <a:extLst>
                <a:ext uri="{FF2B5EF4-FFF2-40B4-BE49-F238E27FC236}">
                  <a16:creationId xmlns:a16="http://schemas.microsoft.com/office/drawing/2014/main" id="{C68BA758-DC2B-4C76-BDC4-C5877D5F2B46}"/>
                </a:ext>
              </a:extLst>
            </p:cNvPr>
            <p:cNvSpPr>
              <a:spLocks noChangeShapeType="1"/>
            </p:cNvSpPr>
            <p:nvPr/>
          </p:nvSpPr>
          <p:spPr bwMode="auto">
            <a:xfrm>
              <a:off x="9477376" y="1908175"/>
              <a:ext cx="13970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 name="Line 25">
              <a:extLst>
                <a:ext uri="{FF2B5EF4-FFF2-40B4-BE49-F238E27FC236}">
                  <a16:creationId xmlns:a16="http://schemas.microsoft.com/office/drawing/2014/main" id="{9E5EF888-0BB7-4366-86B1-16E65A9DA0D9}"/>
                </a:ext>
              </a:extLst>
            </p:cNvPr>
            <p:cNvSpPr>
              <a:spLocks noChangeShapeType="1"/>
            </p:cNvSpPr>
            <p:nvPr/>
          </p:nvSpPr>
          <p:spPr bwMode="auto">
            <a:xfrm>
              <a:off x="9477376" y="1863725"/>
              <a:ext cx="13970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6">
              <a:extLst>
                <a:ext uri="{FF2B5EF4-FFF2-40B4-BE49-F238E27FC236}">
                  <a16:creationId xmlns:a16="http://schemas.microsoft.com/office/drawing/2014/main" id="{DE251CE9-78D4-49FC-A00E-296DF245D723}"/>
                </a:ext>
              </a:extLst>
            </p:cNvPr>
            <p:cNvSpPr>
              <a:spLocks/>
            </p:cNvSpPr>
            <p:nvPr/>
          </p:nvSpPr>
          <p:spPr bwMode="auto">
            <a:xfrm>
              <a:off x="9396413" y="1436688"/>
              <a:ext cx="301625" cy="382588"/>
            </a:xfrm>
            <a:custGeom>
              <a:avLst/>
              <a:gdLst>
                <a:gd name="T0" fmla="*/ 24 w 67"/>
                <a:gd name="T1" fmla="*/ 50 h 85"/>
                <a:gd name="T2" fmla="*/ 31 w 67"/>
                <a:gd name="T3" fmla="*/ 38 h 85"/>
                <a:gd name="T4" fmla="*/ 43 w 67"/>
                <a:gd name="T5" fmla="*/ 50 h 85"/>
                <a:gd name="T6" fmla="*/ 37 w 67"/>
                <a:gd name="T7" fmla="*/ 62 h 85"/>
                <a:gd name="T8" fmla="*/ 33 w 67"/>
                <a:gd name="T9" fmla="*/ 71 h 85"/>
                <a:gd name="T10" fmla="*/ 33 w 67"/>
                <a:gd name="T11" fmla="*/ 85 h 85"/>
                <a:gd name="T12" fmla="*/ 19 w 67"/>
                <a:gd name="T13" fmla="*/ 85 h 85"/>
                <a:gd name="T14" fmla="*/ 19 w 67"/>
                <a:gd name="T15" fmla="*/ 73 h 85"/>
                <a:gd name="T16" fmla="*/ 12 w 67"/>
                <a:gd name="T17" fmla="*/ 61 h 85"/>
                <a:gd name="T18" fmla="*/ 0 w 67"/>
                <a:gd name="T19" fmla="*/ 34 h 85"/>
                <a:gd name="T20" fmla="*/ 34 w 67"/>
                <a:gd name="T21" fmla="*/ 0 h 85"/>
                <a:gd name="T22" fmla="*/ 67 w 67"/>
                <a:gd name="T23" fmla="*/ 35 h 85"/>
                <a:gd name="T24" fmla="*/ 57 w 67"/>
                <a:gd name="T25" fmla="*/ 5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85">
                  <a:moveTo>
                    <a:pt x="24" y="50"/>
                  </a:moveTo>
                  <a:cubicBezTo>
                    <a:pt x="24" y="50"/>
                    <a:pt x="23" y="40"/>
                    <a:pt x="31" y="38"/>
                  </a:cubicBezTo>
                  <a:cubicBezTo>
                    <a:pt x="39" y="37"/>
                    <a:pt x="43" y="41"/>
                    <a:pt x="43" y="50"/>
                  </a:cubicBezTo>
                  <a:cubicBezTo>
                    <a:pt x="43" y="55"/>
                    <a:pt x="40" y="59"/>
                    <a:pt x="37" y="62"/>
                  </a:cubicBezTo>
                  <a:cubicBezTo>
                    <a:pt x="35" y="64"/>
                    <a:pt x="33" y="67"/>
                    <a:pt x="33" y="71"/>
                  </a:cubicBezTo>
                  <a:cubicBezTo>
                    <a:pt x="33" y="85"/>
                    <a:pt x="33" y="85"/>
                    <a:pt x="33" y="85"/>
                  </a:cubicBezTo>
                  <a:cubicBezTo>
                    <a:pt x="19" y="85"/>
                    <a:pt x="19" y="85"/>
                    <a:pt x="19" y="85"/>
                  </a:cubicBezTo>
                  <a:cubicBezTo>
                    <a:pt x="19" y="85"/>
                    <a:pt x="19" y="80"/>
                    <a:pt x="19" y="73"/>
                  </a:cubicBezTo>
                  <a:cubicBezTo>
                    <a:pt x="19" y="66"/>
                    <a:pt x="12" y="61"/>
                    <a:pt x="12" y="61"/>
                  </a:cubicBezTo>
                  <a:cubicBezTo>
                    <a:pt x="12" y="61"/>
                    <a:pt x="0" y="52"/>
                    <a:pt x="0" y="34"/>
                  </a:cubicBezTo>
                  <a:cubicBezTo>
                    <a:pt x="0" y="15"/>
                    <a:pt x="14" y="0"/>
                    <a:pt x="34" y="0"/>
                  </a:cubicBezTo>
                  <a:cubicBezTo>
                    <a:pt x="54" y="0"/>
                    <a:pt x="67" y="16"/>
                    <a:pt x="67" y="35"/>
                  </a:cubicBezTo>
                  <a:cubicBezTo>
                    <a:pt x="67" y="51"/>
                    <a:pt x="57" y="59"/>
                    <a:pt x="57" y="5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0" name="Straight Connector 19">
            <a:extLst>
              <a:ext uri="{FF2B5EF4-FFF2-40B4-BE49-F238E27FC236}">
                <a16:creationId xmlns:a16="http://schemas.microsoft.com/office/drawing/2014/main" id="{03A044F2-53B1-4E18-932F-18C54665F4C0}"/>
              </a:ext>
            </a:extLst>
          </p:cNvPr>
          <p:cNvCxnSpPr>
            <a:cxnSpLocks/>
          </p:cNvCxnSpPr>
          <p:nvPr/>
        </p:nvCxnSpPr>
        <p:spPr>
          <a:xfrm flipH="1">
            <a:off x="5215196" y="3174229"/>
            <a:ext cx="3320698"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EF6DDA68-F19E-4903-A5CC-C589B79FBD12}"/>
              </a:ext>
            </a:extLst>
          </p:cNvPr>
          <p:cNvSpPr/>
          <p:nvPr/>
        </p:nvSpPr>
        <p:spPr>
          <a:xfrm>
            <a:off x="5978783" y="2300644"/>
            <a:ext cx="2372444" cy="276999"/>
          </a:xfrm>
          <a:prstGeom prst="rect">
            <a:avLst/>
          </a:prstGeom>
        </p:spPr>
        <p:txBody>
          <a:bodyPr wrap="none" lIns="0" tIns="0" rIns="0" bIns="0">
            <a:spAutoFit/>
          </a:bodyPr>
          <a:lstStyle/>
          <a:p>
            <a:r>
              <a:rPr lang="en-GB" b="1" i="1" dirty="0">
                <a:solidFill>
                  <a:srgbClr val="1F2023"/>
                </a:solidFill>
                <a:latin typeface="Arial" pitchFamily="34" charset="0"/>
                <a:cs typeface="Arial" pitchFamily="34" charset="0"/>
              </a:rPr>
              <a:t>What inspires you…?</a:t>
            </a:r>
          </a:p>
        </p:txBody>
      </p:sp>
    </p:spTree>
    <p:extLst>
      <p:ext uri="{BB962C8B-B14F-4D97-AF65-F5344CB8AC3E}">
        <p14:creationId xmlns:p14="http://schemas.microsoft.com/office/powerpoint/2010/main" val="1845716951"/>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3B42BC13-C9D1-438E-AF7C-C65FC18ECA0E}"/>
              </a:ext>
            </a:extLst>
          </p:cNvPr>
          <p:cNvSpPr/>
          <p:nvPr/>
        </p:nvSpPr>
        <p:spPr>
          <a:xfrm rot="5400000">
            <a:off x="6512418" y="1983886"/>
            <a:ext cx="3351814" cy="288925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le 1"/>
          <p:cNvSpPr>
            <a:spLocks noGrp="1"/>
          </p:cNvSpPr>
          <p:nvPr>
            <p:ph type="title"/>
          </p:nvPr>
        </p:nvSpPr>
        <p:spPr>
          <a:xfrm>
            <a:off x="269875" y="269876"/>
            <a:ext cx="9067709" cy="692336"/>
          </a:xfrm>
        </p:spPr>
        <p:txBody>
          <a:bodyPr/>
          <a:lstStyle/>
          <a:p>
            <a:r>
              <a:rPr lang="en-GB" dirty="0"/>
              <a:t>How to give information in the REAL way – remember to knock on the door </a:t>
            </a:r>
          </a:p>
        </p:txBody>
      </p:sp>
      <p:sp>
        <p:nvSpPr>
          <p:cNvPr id="35" name="Text Placeholder 34">
            <a:extLst>
              <a:ext uri="{FF2B5EF4-FFF2-40B4-BE49-F238E27FC236}">
                <a16:creationId xmlns:a16="http://schemas.microsoft.com/office/drawing/2014/main" id="{1DD40398-2DB0-42F7-8FE6-CC1A2A3DE0A1}"/>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p:txBody>
          <a:bodyPr/>
          <a:lstStyle/>
          <a:p>
            <a:endParaRPr lang="en-GB" noProof="0" dirty="0"/>
          </a:p>
        </p:txBody>
      </p:sp>
      <p:sp>
        <p:nvSpPr>
          <p:cNvPr id="36" name="Text Placeholder 35">
            <a:extLst>
              <a:ext uri="{FF2B5EF4-FFF2-40B4-BE49-F238E27FC236}">
                <a16:creationId xmlns:a16="http://schemas.microsoft.com/office/drawing/2014/main" id="{D0095641-8D01-4B7B-9F4C-9549EFCD3503}"/>
              </a:ext>
            </a:extLst>
          </p:cNvPr>
          <p:cNvSpPr>
            <a:spLocks noGrp="1"/>
          </p:cNvSpPr>
          <p:nvPr>
            <p:ph type="body" sz="quarter" idx="14"/>
          </p:nvPr>
        </p:nvSpPr>
        <p:spPr/>
        <p:txBody>
          <a:bodyPr/>
          <a:lstStyle/>
          <a:p>
            <a:endParaRPr lang="en-GB" dirty="0"/>
          </a:p>
        </p:txBody>
      </p:sp>
      <p:pic>
        <p:nvPicPr>
          <p:cNvPr id="8" name="Picture 2" descr="Related image">
            <a:hlinkClick r:id="rId3"/>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23582" r="22371"/>
          <a:stretch/>
        </p:blipFill>
        <p:spPr bwMode="auto">
          <a:xfrm>
            <a:off x="7039065" y="2045761"/>
            <a:ext cx="2298520" cy="276550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17">
            <a:extLst>
              <a:ext uri="{FF2B5EF4-FFF2-40B4-BE49-F238E27FC236}">
                <a16:creationId xmlns:a16="http://schemas.microsoft.com/office/drawing/2014/main" id="{C136780F-798F-46C7-AB10-1D8259E46C11}"/>
              </a:ext>
            </a:extLst>
          </p:cNvPr>
          <p:cNvSpPr>
            <a:spLocks noChangeArrowheads="1"/>
          </p:cNvSpPr>
          <p:nvPr/>
        </p:nvSpPr>
        <p:spPr bwMode="auto">
          <a:xfrm>
            <a:off x="273050" y="6075392"/>
            <a:ext cx="9359900" cy="123111"/>
          </a:xfrm>
          <a:prstGeom prst="rect">
            <a:avLst/>
          </a:prstGeom>
          <a:noFill/>
          <a:ln w="9525">
            <a:noFill/>
            <a:miter lim="800000"/>
            <a:headEnd/>
            <a:tailEnd/>
          </a:ln>
          <a:effectLst/>
        </p:spPr>
        <p:txBody>
          <a:bodyPr lIns="0" tIns="0" rIns="0" bIns="0" anchor="b">
            <a:spAutoFit/>
          </a:bodyPr>
          <a:lstStyle/>
          <a:p>
            <a:pPr>
              <a:tabLst>
                <a:tab pos="320675" algn="r"/>
                <a:tab pos="388938" algn="l"/>
              </a:tabLst>
              <a:defRPr/>
            </a:pPr>
            <a:r>
              <a:rPr lang="en-GB" sz="800" kern="0" dirty="0"/>
              <a:t>	Source:	Motivational Interviewing (Miller and </a:t>
            </a:r>
            <a:r>
              <a:rPr lang="en-GB" sz="800" kern="0" dirty="0" err="1"/>
              <a:t>Rollnick</a:t>
            </a:r>
            <a:r>
              <a:rPr lang="en-GB" sz="800" kern="0" dirty="0"/>
              <a:t>) </a:t>
            </a:r>
          </a:p>
        </p:txBody>
      </p:sp>
      <p:grpSp>
        <p:nvGrpSpPr>
          <p:cNvPr id="54" name="Group 53">
            <a:extLst>
              <a:ext uri="{FF2B5EF4-FFF2-40B4-BE49-F238E27FC236}">
                <a16:creationId xmlns:a16="http://schemas.microsoft.com/office/drawing/2014/main" id="{01C36A49-3F5F-4885-917E-5F957E8AB85E}"/>
              </a:ext>
            </a:extLst>
          </p:cNvPr>
          <p:cNvGrpSpPr/>
          <p:nvPr/>
        </p:nvGrpSpPr>
        <p:grpSpPr>
          <a:xfrm>
            <a:off x="328299" y="3137736"/>
            <a:ext cx="6120036" cy="553998"/>
            <a:chOff x="328299" y="3152066"/>
            <a:chExt cx="6120036" cy="553998"/>
          </a:xfrm>
        </p:grpSpPr>
        <p:sp>
          <p:nvSpPr>
            <p:cNvPr id="4" name="Content Placeholder 7"/>
            <p:cNvSpPr txBox="1">
              <a:spLocks/>
            </p:cNvSpPr>
            <p:nvPr/>
          </p:nvSpPr>
          <p:spPr>
            <a:xfrm>
              <a:off x="963538" y="3152066"/>
              <a:ext cx="5484797" cy="553998"/>
            </a:xfrm>
            <a:prstGeom prst="rect">
              <a:avLst/>
            </a:prstGeom>
          </p:spPr>
          <p:txBody>
            <a:bodyPr vert="horz" wrap="square" lIns="0" tIns="0" rIns="0" bIns="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2000" lvl="1" indent="-252000">
                <a:spcBef>
                  <a:spcPts val="0"/>
                </a:spcBef>
                <a:buClrTx/>
                <a:buFont typeface="+mj-lt"/>
                <a:buAutoNum type="arabicPeriod" startAt="2"/>
                <a:defRPr/>
              </a:pPr>
              <a:r>
                <a:rPr lang="en-GB" sz="1200" b="1" dirty="0">
                  <a:solidFill>
                    <a:srgbClr val="1F2023"/>
                  </a:solidFill>
                  <a:latin typeface="Arial"/>
                  <a:cs typeface="+mn-cs"/>
                </a:rPr>
                <a:t>Give the information</a:t>
              </a:r>
              <a:r>
                <a:rPr lang="en-GB" sz="1200" dirty="0">
                  <a:solidFill>
                    <a:srgbClr val="1F2023"/>
                  </a:solidFill>
                  <a:latin typeface="Arial"/>
                  <a:cs typeface="+mn-cs"/>
                </a:rPr>
                <a:t> in a way where you stay in your own half – you are an expert within a field, but NOT an expert on the person you talk with</a:t>
              </a:r>
            </a:p>
          </p:txBody>
        </p:sp>
        <p:grpSp>
          <p:nvGrpSpPr>
            <p:cNvPr id="10" name="Group 9">
              <a:extLst>
                <a:ext uri="{FF2B5EF4-FFF2-40B4-BE49-F238E27FC236}">
                  <a16:creationId xmlns:a16="http://schemas.microsoft.com/office/drawing/2014/main" id="{4BCC0B72-D03B-40CA-9685-CB8D8C309C18}"/>
                </a:ext>
              </a:extLst>
            </p:cNvPr>
            <p:cNvGrpSpPr/>
            <p:nvPr/>
          </p:nvGrpSpPr>
          <p:grpSpPr>
            <a:xfrm>
              <a:off x="328299" y="3210778"/>
              <a:ext cx="299586" cy="436574"/>
              <a:chOff x="2000250" y="1401763"/>
              <a:chExt cx="371475" cy="541337"/>
            </a:xfrm>
          </p:grpSpPr>
          <p:sp>
            <p:nvSpPr>
              <p:cNvPr id="11" name="Freeform 57">
                <a:extLst>
                  <a:ext uri="{FF2B5EF4-FFF2-40B4-BE49-F238E27FC236}">
                    <a16:creationId xmlns:a16="http://schemas.microsoft.com/office/drawing/2014/main" id="{031B68E0-F14F-4086-8EC7-ED449390D2A1}"/>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Line 58">
                <a:extLst>
                  <a:ext uri="{FF2B5EF4-FFF2-40B4-BE49-F238E27FC236}">
                    <a16:creationId xmlns:a16="http://schemas.microsoft.com/office/drawing/2014/main" id="{C1F55799-CF8C-4DAA-8CF6-3D45460DC61E}"/>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Line 59">
                <a:extLst>
                  <a:ext uri="{FF2B5EF4-FFF2-40B4-BE49-F238E27FC236}">
                    <a16:creationId xmlns:a16="http://schemas.microsoft.com/office/drawing/2014/main" id="{3CB49121-469E-471D-A79E-4E2DF2B24BBC}"/>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 name="Line 60">
                <a:extLst>
                  <a:ext uri="{FF2B5EF4-FFF2-40B4-BE49-F238E27FC236}">
                    <a16:creationId xmlns:a16="http://schemas.microsoft.com/office/drawing/2014/main" id="{3BD23F30-EF2A-4AE4-8091-5D9D70B97BA9}"/>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61">
                <a:extLst>
                  <a:ext uri="{FF2B5EF4-FFF2-40B4-BE49-F238E27FC236}">
                    <a16:creationId xmlns:a16="http://schemas.microsoft.com/office/drawing/2014/main" id="{159D25B5-2E35-4B0B-A9A6-8A130EA352BF}"/>
                  </a:ext>
                </a:extLst>
              </p:cNvPr>
              <p:cNvSpPr>
                <a:spLocks/>
              </p:cNvSpPr>
              <p:nvPr/>
            </p:nvSpPr>
            <p:spPr bwMode="auto">
              <a:xfrm>
                <a:off x="2000250" y="1441451"/>
                <a:ext cx="371475" cy="501649"/>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Line 62">
                <a:extLst>
                  <a:ext uri="{FF2B5EF4-FFF2-40B4-BE49-F238E27FC236}">
                    <a16:creationId xmlns:a16="http://schemas.microsoft.com/office/drawing/2014/main" id="{70CE19DF-DBC0-4E54-849A-0304177973E4}"/>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53" name="Group 52">
            <a:extLst>
              <a:ext uri="{FF2B5EF4-FFF2-40B4-BE49-F238E27FC236}">
                <a16:creationId xmlns:a16="http://schemas.microsoft.com/office/drawing/2014/main" id="{C4F20176-1904-4D71-B311-42CCD92C3743}"/>
              </a:ext>
            </a:extLst>
          </p:cNvPr>
          <p:cNvGrpSpPr/>
          <p:nvPr/>
        </p:nvGrpSpPr>
        <p:grpSpPr>
          <a:xfrm>
            <a:off x="271327" y="2091204"/>
            <a:ext cx="6316801" cy="369332"/>
            <a:chOff x="271327" y="2000831"/>
            <a:chExt cx="6316801" cy="369332"/>
          </a:xfrm>
        </p:grpSpPr>
        <p:grpSp>
          <p:nvGrpSpPr>
            <p:cNvPr id="28" name="Group 27">
              <a:extLst>
                <a:ext uri="{FF2B5EF4-FFF2-40B4-BE49-F238E27FC236}">
                  <a16:creationId xmlns:a16="http://schemas.microsoft.com/office/drawing/2014/main" id="{B04705DB-2C78-4E33-9306-ACD6FDFF0E10}"/>
                </a:ext>
              </a:extLst>
            </p:cNvPr>
            <p:cNvGrpSpPr/>
            <p:nvPr/>
          </p:nvGrpSpPr>
          <p:grpSpPr>
            <a:xfrm>
              <a:off x="271327" y="2020890"/>
              <a:ext cx="413530" cy="326472"/>
              <a:chOff x="4051300" y="3319463"/>
              <a:chExt cx="512763" cy="404813"/>
            </a:xfrm>
          </p:grpSpPr>
          <p:sp>
            <p:nvSpPr>
              <p:cNvPr id="29" name="Freeform 22">
                <a:extLst>
                  <a:ext uri="{FF2B5EF4-FFF2-40B4-BE49-F238E27FC236}">
                    <a16:creationId xmlns:a16="http://schemas.microsoft.com/office/drawing/2014/main" id="{2E4DC375-D720-4461-9D40-AC69DAA001F6}"/>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3">
                <a:extLst>
                  <a:ext uri="{FF2B5EF4-FFF2-40B4-BE49-F238E27FC236}">
                    <a16:creationId xmlns:a16="http://schemas.microsoft.com/office/drawing/2014/main" id="{1A95CE60-542E-4BF9-8CEA-B431BF157244}"/>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4">
                <a:extLst>
                  <a:ext uri="{FF2B5EF4-FFF2-40B4-BE49-F238E27FC236}">
                    <a16:creationId xmlns:a16="http://schemas.microsoft.com/office/drawing/2014/main" id="{BFE54C3C-FF69-4881-AE47-DE5FE6E82DC5}"/>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3" name="Rectangle 42">
              <a:extLst>
                <a:ext uri="{FF2B5EF4-FFF2-40B4-BE49-F238E27FC236}">
                  <a16:creationId xmlns:a16="http://schemas.microsoft.com/office/drawing/2014/main" id="{F0B0537A-F919-4558-9CC5-B4BEB3776787}"/>
                </a:ext>
              </a:extLst>
            </p:cNvPr>
            <p:cNvSpPr/>
            <p:nvPr/>
          </p:nvSpPr>
          <p:spPr>
            <a:xfrm>
              <a:off x="963538" y="2000831"/>
              <a:ext cx="5624590" cy="369332"/>
            </a:xfrm>
            <a:prstGeom prst="rect">
              <a:avLst/>
            </a:prstGeom>
          </p:spPr>
          <p:txBody>
            <a:bodyPr lIns="0" tIns="0" rIns="0" bIns="0" anchor="ctr">
              <a:noAutofit/>
            </a:bodyPr>
            <a:lstStyle/>
            <a:p>
              <a:pPr marL="252000" lvl="1" indent="-252000">
                <a:buFont typeface="+mj-lt"/>
                <a:buAutoNum type="arabicPeriod"/>
                <a:defRPr/>
              </a:pPr>
              <a:r>
                <a:rPr lang="en-GB" sz="1200" b="1" dirty="0">
                  <a:solidFill>
                    <a:srgbClr val="1F2023"/>
                  </a:solidFill>
                </a:rPr>
                <a:t>Ask permission.</a:t>
              </a:r>
              <a:r>
                <a:rPr lang="en-GB" sz="1200" dirty="0">
                  <a:solidFill>
                    <a:srgbClr val="1F2023"/>
                  </a:solidFill>
                </a:rPr>
                <a:t> Explore if the person wants the information and if the person already knows something about the subject your are going to inform about (”knocking on the door”)</a:t>
              </a:r>
            </a:p>
          </p:txBody>
        </p:sp>
      </p:grpSp>
      <p:grpSp>
        <p:nvGrpSpPr>
          <p:cNvPr id="55" name="Group 54">
            <a:extLst>
              <a:ext uri="{FF2B5EF4-FFF2-40B4-BE49-F238E27FC236}">
                <a16:creationId xmlns:a16="http://schemas.microsoft.com/office/drawing/2014/main" id="{A686BB71-3C89-4852-A463-EEE05BF94896}"/>
              </a:ext>
            </a:extLst>
          </p:cNvPr>
          <p:cNvGrpSpPr/>
          <p:nvPr/>
        </p:nvGrpSpPr>
        <p:grpSpPr>
          <a:xfrm>
            <a:off x="323178" y="4368934"/>
            <a:ext cx="6100709" cy="396886"/>
            <a:chOff x="323178" y="4474987"/>
            <a:chExt cx="6100709" cy="396886"/>
          </a:xfrm>
        </p:grpSpPr>
        <p:grpSp>
          <p:nvGrpSpPr>
            <p:cNvPr id="17" name="Group 16">
              <a:extLst>
                <a:ext uri="{FF2B5EF4-FFF2-40B4-BE49-F238E27FC236}">
                  <a16:creationId xmlns:a16="http://schemas.microsoft.com/office/drawing/2014/main" id="{42EE9930-6880-4E82-A800-03BF1FB130C3}"/>
                </a:ext>
              </a:extLst>
            </p:cNvPr>
            <p:cNvGrpSpPr/>
            <p:nvPr/>
          </p:nvGrpSpPr>
          <p:grpSpPr>
            <a:xfrm>
              <a:off x="323178" y="4474987"/>
              <a:ext cx="309828" cy="396886"/>
              <a:chOff x="1760538" y="3362325"/>
              <a:chExt cx="384175" cy="492126"/>
            </a:xfrm>
          </p:grpSpPr>
          <p:sp>
            <p:nvSpPr>
              <p:cNvPr id="18" name="Freeform 48">
                <a:extLst>
                  <a:ext uri="{FF2B5EF4-FFF2-40B4-BE49-F238E27FC236}">
                    <a16:creationId xmlns:a16="http://schemas.microsoft.com/office/drawing/2014/main" id="{CCCA0F77-0215-4D01-AA6E-F318BE3BAA04}"/>
                  </a:ext>
                </a:extLst>
              </p:cNvPr>
              <p:cNvSpPr>
                <a:spLocks/>
              </p:cNvSpPr>
              <p:nvPr/>
            </p:nvSpPr>
            <p:spPr bwMode="auto">
              <a:xfrm>
                <a:off x="1876426" y="3529013"/>
                <a:ext cx="142875" cy="276225"/>
              </a:xfrm>
              <a:custGeom>
                <a:avLst/>
                <a:gdLst>
                  <a:gd name="T0" fmla="*/ 0 w 90"/>
                  <a:gd name="T1" fmla="*/ 174 h 174"/>
                  <a:gd name="T2" fmla="*/ 20 w 90"/>
                  <a:gd name="T3" fmla="*/ 73 h 174"/>
                  <a:gd name="T4" fmla="*/ 90 w 90"/>
                  <a:gd name="T5" fmla="*/ 0 h 174"/>
                  <a:gd name="T6" fmla="*/ 73 w 90"/>
                  <a:gd name="T7" fmla="*/ 101 h 174"/>
                  <a:gd name="T8" fmla="*/ 0 w 90"/>
                  <a:gd name="T9" fmla="*/ 174 h 174"/>
                </a:gdLst>
                <a:ahLst/>
                <a:cxnLst>
                  <a:cxn ang="0">
                    <a:pos x="T0" y="T1"/>
                  </a:cxn>
                  <a:cxn ang="0">
                    <a:pos x="T2" y="T3"/>
                  </a:cxn>
                  <a:cxn ang="0">
                    <a:pos x="T4" y="T5"/>
                  </a:cxn>
                  <a:cxn ang="0">
                    <a:pos x="T6" y="T7"/>
                  </a:cxn>
                  <a:cxn ang="0">
                    <a:pos x="T8" y="T9"/>
                  </a:cxn>
                </a:cxnLst>
                <a:rect l="0" t="0" r="r" b="b"/>
                <a:pathLst>
                  <a:path w="90" h="174">
                    <a:moveTo>
                      <a:pt x="0" y="174"/>
                    </a:moveTo>
                    <a:lnTo>
                      <a:pt x="20" y="73"/>
                    </a:lnTo>
                    <a:lnTo>
                      <a:pt x="90" y="0"/>
                    </a:lnTo>
                    <a:lnTo>
                      <a:pt x="73" y="101"/>
                    </a:lnTo>
                    <a:lnTo>
                      <a:pt x="0" y="174"/>
                    </a:lnTo>
                    <a:close/>
                  </a:path>
                </a:pathLst>
              </a:custGeom>
              <a:solidFill>
                <a:srgbClr val="B9C7C2"/>
              </a:solidFill>
              <a:ln w="34925" cap="flat">
                <a:solidFill>
                  <a:srgbClr val="B9C7C2"/>
                </a:solidFill>
                <a:prstDash val="solid"/>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Freeform 49">
                <a:extLst>
                  <a:ext uri="{FF2B5EF4-FFF2-40B4-BE49-F238E27FC236}">
                    <a16:creationId xmlns:a16="http://schemas.microsoft.com/office/drawing/2014/main" id="{52490BFF-EF9E-4053-A61A-65C78766E267}"/>
                  </a:ext>
                </a:extLst>
              </p:cNvPr>
              <p:cNvSpPr>
                <a:spLocks/>
              </p:cNvSpPr>
              <p:nvPr/>
            </p:nvSpPr>
            <p:spPr bwMode="auto">
              <a:xfrm>
                <a:off x="1760538" y="3475038"/>
                <a:ext cx="384175" cy="379413"/>
              </a:xfrm>
              <a:custGeom>
                <a:avLst/>
                <a:gdLst>
                  <a:gd name="T0" fmla="*/ 43 w 86"/>
                  <a:gd name="T1" fmla="*/ 85 h 85"/>
                  <a:gd name="T2" fmla="*/ 0 w 86"/>
                  <a:gd name="T3" fmla="*/ 43 h 85"/>
                  <a:gd name="T4" fmla="*/ 43 w 86"/>
                  <a:gd name="T5" fmla="*/ 0 h 85"/>
                  <a:gd name="T6" fmla="*/ 86 w 86"/>
                  <a:gd name="T7" fmla="*/ 43 h 85"/>
                  <a:gd name="T8" fmla="*/ 73 w 86"/>
                  <a:gd name="T9" fmla="*/ 73 h 85"/>
                </a:gdLst>
                <a:ahLst/>
                <a:cxnLst>
                  <a:cxn ang="0">
                    <a:pos x="T0" y="T1"/>
                  </a:cxn>
                  <a:cxn ang="0">
                    <a:pos x="T2" y="T3"/>
                  </a:cxn>
                  <a:cxn ang="0">
                    <a:pos x="T4" y="T5"/>
                  </a:cxn>
                  <a:cxn ang="0">
                    <a:pos x="T6" y="T7"/>
                  </a:cxn>
                  <a:cxn ang="0">
                    <a:pos x="T8" y="T9"/>
                  </a:cxn>
                </a:cxnLst>
                <a:rect l="0" t="0" r="r" b="b"/>
                <a:pathLst>
                  <a:path w="86" h="85">
                    <a:moveTo>
                      <a:pt x="43" y="85"/>
                    </a:moveTo>
                    <a:cubicBezTo>
                      <a:pt x="19" y="85"/>
                      <a:pt x="0" y="66"/>
                      <a:pt x="0" y="43"/>
                    </a:cubicBezTo>
                    <a:cubicBezTo>
                      <a:pt x="0" y="19"/>
                      <a:pt x="19" y="0"/>
                      <a:pt x="43" y="0"/>
                    </a:cubicBezTo>
                    <a:cubicBezTo>
                      <a:pt x="67" y="0"/>
                      <a:pt x="86" y="19"/>
                      <a:pt x="86" y="43"/>
                    </a:cubicBezTo>
                    <a:cubicBezTo>
                      <a:pt x="86" y="54"/>
                      <a:pt x="81" y="65"/>
                      <a:pt x="73" y="7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50">
                <a:extLst>
                  <a:ext uri="{FF2B5EF4-FFF2-40B4-BE49-F238E27FC236}">
                    <a16:creationId xmlns:a16="http://schemas.microsoft.com/office/drawing/2014/main" id="{C14D8C80-D608-4F13-BF22-D55A66D99081}"/>
                  </a:ext>
                </a:extLst>
              </p:cNvPr>
              <p:cNvSpPr>
                <a:spLocks/>
              </p:cNvSpPr>
              <p:nvPr/>
            </p:nvSpPr>
            <p:spPr bwMode="auto">
              <a:xfrm>
                <a:off x="1854201" y="3541713"/>
                <a:ext cx="196850" cy="246063"/>
              </a:xfrm>
              <a:custGeom>
                <a:avLst/>
                <a:gdLst>
                  <a:gd name="T0" fmla="*/ 0 w 124"/>
                  <a:gd name="T1" fmla="*/ 155 h 155"/>
                  <a:gd name="T2" fmla="*/ 40 w 124"/>
                  <a:gd name="T3" fmla="*/ 59 h 155"/>
                  <a:gd name="T4" fmla="*/ 124 w 124"/>
                  <a:gd name="T5" fmla="*/ 0 h 155"/>
                  <a:gd name="T6" fmla="*/ 85 w 124"/>
                  <a:gd name="T7" fmla="*/ 96 h 155"/>
                  <a:gd name="T8" fmla="*/ 0 w 124"/>
                  <a:gd name="T9" fmla="*/ 155 h 155"/>
                </a:gdLst>
                <a:ahLst/>
                <a:cxnLst>
                  <a:cxn ang="0">
                    <a:pos x="T0" y="T1"/>
                  </a:cxn>
                  <a:cxn ang="0">
                    <a:pos x="T2" y="T3"/>
                  </a:cxn>
                  <a:cxn ang="0">
                    <a:pos x="T4" y="T5"/>
                  </a:cxn>
                  <a:cxn ang="0">
                    <a:pos x="T6" y="T7"/>
                  </a:cxn>
                  <a:cxn ang="0">
                    <a:pos x="T8" y="T9"/>
                  </a:cxn>
                </a:cxnLst>
                <a:rect l="0" t="0" r="r" b="b"/>
                <a:pathLst>
                  <a:path w="124" h="155">
                    <a:moveTo>
                      <a:pt x="0" y="155"/>
                    </a:moveTo>
                    <a:lnTo>
                      <a:pt x="40" y="59"/>
                    </a:lnTo>
                    <a:lnTo>
                      <a:pt x="124" y="0"/>
                    </a:lnTo>
                    <a:lnTo>
                      <a:pt x="85" y="96"/>
                    </a:lnTo>
                    <a:lnTo>
                      <a:pt x="0" y="155"/>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51">
                <a:extLst>
                  <a:ext uri="{FF2B5EF4-FFF2-40B4-BE49-F238E27FC236}">
                    <a16:creationId xmlns:a16="http://schemas.microsoft.com/office/drawing/2014/main" id="{319E9E66-498A-42A9-8EDA-FC26C5568712}"/>
                  </a:ext>
                </a:extLst>
              </p:cNvPr>
              <p:cNvSpPr>
                <a:spLocks/>
              </p:cNvSpPr>
              <p:nvPr/>
            </p:nvSpPr>
            <p:spPr bwMode="auto">
              <a:xfrm>
                <a:off x="1939926" y="3649663"/>
                <a:ext cx="30163" cy="30163"/>
              </a:xfrm>
              <a:custGeom>
                <a:avLst/>
                <a:gdLst>
                  <a:gd name="T0" fmla="*/ 6 w 7"/>
                  <a:gd name="T1" fmla="*/ 6 h 7"/>
                  <a:gd name="T2" fmla="*/ 1 w 7"/>
                  <a:gd name="T3" fmla="*/ 6 h 7"/>
                  <a:gd name="T4" fmla="*/ 1 w 7"/>
                  <a:gd name="T5" fmla="*/ 2 h 7"/>
                  <a:gd name="T6" fmla="*/ 5 w 7"/>
                  <a:gd name="T7" fmla="*/ 1 h 7"/>
                  <a:gd name="T8" fmla="*/ 6 w 7"/>
                  <a:gd name="T9" fmla="*/ 6 h 7"/>
                </a:gdLst>
                <a:ahLst/>
                <a:cxnLst>
                  <a:cxn ang="0">
                    <a:pos x="T0" y="T1"/>
                  </a:cxn>
                  <a:cxn ang="0">
                    <a:pos x="T2" y="T3"/>
                  </a:cxn>
                  <a:cxn ang="0">
                    <a:pos x="T4" y="T5"/>
                  </a:cxn>
                  <a:cxn ang="0">
                    <a:pos x="T6" y="T7"/>
                  </a:cxn>
                  <a:cxn ang="0">
                    <a:pos x="T8" y="T9"/>
                  </a:cxn>
                </a:cxnLst>
                <a:rect l="0" t="0" r="r" b="b"/>
                <a:pathLst>
                  <a:path w="7" h="7">
                    <a:moveTo>
                      <a:pt x="6" y="6"/>
                    </a:moveTo>
                    <a:cubicBezTo>
                      <a:pt x="5" y="7"/>
                      <a:pt x="3" y="7"/>
                      <a:pt x="1" y="6"/>
                    </a:cubicBezTo>
                    <a:cubicBezTo>
                      <a:pt x="0" y="5"/>
                      <a:pt x="0" y="3"/>
                      <a:pt x="1" y="2"/>
                    </a:cubicBezTo>
                    <a:cubicBezTo>
                      <a:pt x="2" y="0"/>
                      <a:pt x="4" y="0"/>
                      <a:pt x="5" y="1"/>
                    </a:cubicBezTo>
                    <a:cubicBezTo>
                      <a:pt x="6" y="2"/>
                      <a:pt x="7" y="4"/>
                      <a:pt x="6" y="6"/>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Line 52">
                <a:extLst>
                  <a:ext uri="{FF2B5EF4-FFF2-40B4-BE49-F238E27FC236}">
                    <a16:creationId xmlns:a16="http://schemas.microsoft.com/office/drawing/2014/main" id="{BD330398-F257-4157-976A-7F394AAD52D5}"/>
                  </a:ext>
                </a:extLst>
              </p:cNvPr>
              <p:cNvSpPr>
                <a:spLocks noChangeShapeType="1"/>
              </p:cNvSpPr>
              <p:nvPr/>
            </p:nvSpPr>
            <p:spPr bwMode="auto">
              <a:xfrm>
                <a:off x="1952626" y="3506788"/>
                <a:ext cx="0" cy="1746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53">
                <a:extLst>
                  <a:ext uri="{FF2B5EF4-FFF2-40B4-BE49-F238E27FC236}">
                    <a16:creationId xmlns:a16="http://schemas.microsoft.com/office/drawing/2014/main" id="{AB7D7D6B-91EB-4605-B365-E3952208D795}"/>
                  </a:ext>
                </a:extLst>
              </p:cNvPr>
              <p:cNvSpPr>
                <a:spLocks noChangeShapeType="1"/>
              </p:cNvSpPr>
              <p:nvPr/>
            </p:nvSpPr>
            <p:spPr bwMode="auto">
              <a:xfrm>
                <a:off x="1952626" y="3797300"/>
                <a:ext cx="0" cy="2222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Line 54">
                <a:extLst>
                  <a:ext uri="{FF2B5EF4-FFF2-40B4-BE49-F238E27FC236}">
                    <a16:creationId xmlns:a16="http://schemas.microsoft.com/office/drawing/2014/main" id="{87213E2F-A15C-48BE-84FD-1B80BD9F9706}"/>
                  </a:ext>
                </a:extLst>
              </p:cNvPr>
              <p:cNvSpPr>
                <a:spLocks noChangeShapeType="1"/>
              </p:cNvSpPr>
              <p:nvPr/>
            </p:nvSpPr>
            <p:spPr bwMode="auto">
              <a:xfrm flipH="1">
                <a:off x="2087563" y="3667125"/>
                <a:ext cx="1746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Line 55">
                <a:extLst>
                  <a:ext uri="{FF2B5EF4-FFF2-40B4-BE49-F238E27FC236}">
                    <a16:creationId xmlns:a16="http://schemas.microsoft.com/office/drawing/2014/main" id="{E40DD825-885D-4346-9615-9EBC587C5396}"/>
                  </a:ext>
                </a:extLst>
              </p:cNvPr>
              <p:cNvSpPr>
                <a:spLocks noChangeShapeType="1"/>
              </p:cNvSpPr>
              <p:nvPr/>
            </p:nvSpPr>
            <p:spPr bwMode="auto">
              <a:xfrm flipH="1">
                <a:off x="1797051" y="3667125"/>
                <a:ext cx="1746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Oval 56">
                <a:extLst>
                  <a:ext uri="{FF2B5EF4-FFF2-40B4-BE49-F238E27FC236}">
                    <a16:creationId xmlns:a16="http://schemas.microsoft.com/office/drawing/2014/main" id="{F1FC7BE2-921E-497F-8767-B4AE939449C4}"/>
                  </a:ext>
                </a:extLst>
              </p:cNvPr>
              <p:cNvSpPr>
                <a:spLocks noChangeArrowheads="1"/>
              </p:cNvSpPr>
              <p:nvPr/>
            </p:nvSpPr>
            <p:spPr bwMode="auto">
              <a:xfrm>
                <a:off x="1912938" y="3362325"/>
                <a:ext cx="79375" cy="80963"/>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Line 57">
                <a:extLst>
                  <a:ext uri="{FF2B5EF4-FFF2-40B4-BE49-F238E27FC236}">
                    <a16:creationId xmlns:a16="http://schemas.microsoft.com/office/drawing/2014/main" id="{22A1AB06-133A-471D-A10E-C988E5F43417}"/>
                  </a:ext>
                </a:extLst>
              </p:cNvPr>
              <p:cNvSpPr>
                <a:spLocks noChangeShapeType="1"/>
              </p:cNvSpPr>
              <p:nvPr/>
            </p:nvSpPr>
            <p:spPr bwMode="auto">
              <a:xfrm>
                <a:off x="1952626" y="3416300"/>
                <a:ext cx="0" cy="587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5" name="Rectangle 44">
              <a:extLst>
                <a:ext uri="{FF2B5EF4-FFF2-40B4-BE49-F238E27FC236}">
                  <a16:creationId xmlns:a16="http://schemas.microsoft.com/office/drawing/2014/main" id="{FD692EBE-1C47-49D7-99DA-AD34167808F0}"/>
                </a:ext>
              </a:extLst>
            </p:cNvPr>
            <p:cNvSpPr/>
            <p:nvPr/>
          </p:nvSpPr>
          <p:spPr>
            <a:xfrm>
              <a:off x="963538" y="4487967"/>
              <a:ext cx="5460349" cy="369332"/>
            </a:xfrm>
            <a:prstGeom prst="rect">
              <a:avLst/>
            </a:prstGeom>
          </p:spPr>
          <p:txBody>
            <a:bodyPr lIns="0" tIns="0" rIns="0" bIns="0" anchor="ctr">
              <a:noAutofit/>
            </a:bodyPr>
            <a:lstStyle/>
            <a:p>
              <a:pPr marL="228600" indent="-228600">
                <a:buFont typeface="+mj-lt"/>
                <a:buAutoNum type="arabicPeriod" startAt="3"/>
              </a:pPr>
              <a:r>
                <a:rPr lang="en-GB" sz="1200" b="1" dirty="0">
                  <a:solidFill>
                    <a:srgbClr val="1F2023"/>
                  </a:solidFill>
                </a:rPr>
                <a:t>Explore</a:t>
              </a:r>
              <a:r>
                <a:rPr lang="en-GB" sz="1200" dirty="0">
                  <a:solidFill>
                    <a:srgbClr val="1F2023"/>
                  </a:solidFill>
                </a:rPr>
                <a:t> what the person got out of the information and how he/she can relate or use the information that has been given in his/her own situation</a:t>
              </a:r>
              <a:endParaRPr lang="en-GB" dirty="0">
                <a:solidFill>
                  <a:srgbClr val="1F2023"/>
                </a:solidFill>
              </a:endParaRPr>
            </a:p>
          </p:txBody>
        </p:sp>
      </p:grpSp>
      <p:grpSp>
        <p:nvGrpSpPr>
          <p:cNvPr id="59" name="Group 58">
            <a:extLst>
              <a:ext uri="{FF2B5EF4-FFF2-40B4-BE49-F238E27FC236}">
                <a16:creationId xmlns:a16="http://schemas.microsoft.com/office/drawing/2014/main" id="{286638D1-7456-4FB8-B308-638FE17B0CD2}"/>
              </a:ext>
            </a:extLst>
          </p:cNvPr>
          <p:cNvGrpSpPr/>
          <p:nvPr/>
        </p:nvGrpSpPr>
        <p:grpSpPr>
          <a:xfrm>
            <a:off x="273051" y="2799136"/>
            <a:ext cx="6181090" cy="1231198"/>
            <a:chOff x="273050" y="2799136"/>
            <a:chExt cx="6235702" cy="1231198"/>
          </a:xfrm>
        </p:grpSpPr>
        <p:cxnSp>
          <p:nvCxnSpPr>
            <p:cNvPr id="46" name="Straight Connector 45">
              <a:extLst>
                <a:ext uri="{FF2B5EF4-FFF2-40B4-BE49-F238E27FC236}">
                  <a16:creationId xmlns:a16="http://schemas.microsoft.com/office/drawing/2014/main" id="{D9D9A370-A12D-4C1F-A98A-6BB8502F7BE4}"/>
                </a:ext>
              </a:extLst>
            </p:cNvPr>
            <p:cNvCxnSpPr>
              <a:cxnSpLocks/>
            </p:cNvCxnSpPr>
            <p:nvPr/>
          </p:nvCxnSpPr>
          <p:spPr>
            <a:xfrm flipH="1">
              <a:off x="273050" y="4030334"/>
              <a:ext cx="6235702"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BF95DFC-2D14-43E1-BE79-A8D16A4318A1}"/>
                </a:ext>
              </a:extLst>
            </p:cNvPr>
            <p:cNvCxnSpPr>
              <a:cxnSpLocks/>
            </p:cNvCxnSpPr>
            <p:nvPr/>
          </p:nvCxnSpPr>
          <p:spPr>
            <a:xfrm flipH="1">
              <a:off x="273050" y="2799136"/>
              <a:ext cx="6235702"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AA2E337B-9E7A-4410-99F4-6DD5535AD6ED}"/>
              </a:ext>
            </a:extLst>
          </p:cNvPr>
          <p:cNvGrpSpPr/>
          <p:nvPr/>
        </p:nvGrpSpPr>
        <p:grpSpPr>
          <a:xfrm>
            <a:off x="284161" y="5104417"/>
            <a:ext cx="9348787" cy="593121"/>
            <a:chOff x="284161" y="5104417"/>
            <a:chExt cx="9348787" cy="593121"/>
          </a:xfrm>
        </p:grpSpPr>
        <p:sp>
          <p:nvSpPr>
            <p:cNvPr id="6" name="Content Placeholder 7"/>
            <p:cNvSpPr txBox="1">
              <a:spLocks/>
            </p:cNvSpPr>
            <p:nvPr/>
          </p:nvSpPr>
          <p:spPr>
            <a:xfrm>
              <a:off x="874005" y="5107950"/>
              <a:ext cx="8758943" cy="589588"/>
            </a:xfrm>
            <a:prstGeom prst="rect">
              <a:avLst/>
            </a:prstGeom>
            <a:solidFill>
              <a:srgbClr val="8AA299"/>
            </a:solidFill>
            <a:ln>
              <a:noFill/>
            </a:ln>
          </p:spPr>
          <p:txBody>
            <a:bodyPr vert="horz" wrap="square" lIns="324000" tIns="72000" rIns="72000" bIns="72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b="1" dirty="0">
                  <a:solidFill>
                    <a:schemeClr val="bg1"/>
                  </a:solidFill>
                </a:rPr>
                <a:t>REAL information always starts and ends with a question</a:t>
              </a:r>
            </a:p>
          </p:txBody>
        </p:sp>
        <p:sp>
          <p:nvSpPr>
            <p:cNvPr id="52" name="Rectangle 51">
              <a:extLst>
                <a:ext uri="{FF2B5EF4-FFF2-40B4-BE49-F238E27FC236}">
                  <a16:creationId xmlns:a16="http://schemas.microsoft.com/office/drawing/2014/main" id="{09BA2F87-F33E-4B55-80D1-D5B6C7EF7854}"/>
                </a:ext>
              </a:extLst>
            </p:cNvPr>
            <p:cNvSpPr/>
            <p:nvPr/>
          </p:nvSpPr>
          <p:spPr>
            <a:xfrm>
              <a:off x="284161" y="5104417"/>
              <a:ext cx="593121" cy="593121"/>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nvGrpSpPr>
            <p:cNvPr id="37" name="Group 36">
              <a:extLst>
                <a:ext uri="{FF2B5EF4-FFF2-40B4-BE49-F238E27FC236}">
                  <a16:creationId xmlns:a16="http://schemas.microsoft.com/office/drawing/2014/main" id="{698E0869-B6CA-4A8A-9AA8-3E67E30B915D}"/>
                </a:ext>
              </a:extLst>
            </p:cNvPr>
            <p:cNvGrpSpPr/>
            <p:nvPr/>
          </p:nvGrpSpPr>
          <p:grpSpPr>
            <a:xfrm>
              <a:off x="514242" y="5257080"/>
              <a:ext cx="140227" cy="302179"/>
              <a:chOff x="6364665" y="3356710"/>
              <a:chExt cx="225425" cy="485773"/>
            </a:xfrm>
          </p:grpSpPr>
          <p:sp>
            <p:nvSpPr>
              <p:cNvPr id="40" name="Oval 49">
                <a:extLst>
                  <a:ext uri="{FF2B5EF4-FFF2-40B4-BE49-F238E27FC236}">
                    <a16:creationId xmlns:a16="http://schemas.microsoft.com/office/drawing/2014/main" id="{80D0E0D6-24FC-4CBB-B067-16EE0D434FAB}"/>
                  </a:ext>
                </a:extLst>
              </p:cNvPr>
              <p:cNvSpPr>
                <a:spLocks noChangeArrowheads="1"/>
              </p:cNvSpPr>
              <p:nvPr/>
            </p:nvSpPr>
            <p:spPr bwMode="auto">
              <a:xfrm>
                <a:off x="6458327" y="3798034"/>
                <a:ext cx="41274" cy="44449"/>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50">
                <a:extLst>
                  <a:ext uri="{FF2B5EF4-FFF2-40B4-BE49-F238E27FC236}">
                    <a16:creationId xmlns:a16="http://schemas.microsoft.com/office/drawing/2014/main" id="{E660EA85-C4B7-4743-A207-7C84FF2A6505}"/>
                  </a:ext>
                </a:extLst>
              </p:cNvPr>
              <p:cNvSpPr>
                <a:spLocks/>
              </p:cNvSpPr>
              <p:nvPr/>
            </p:nvSpPr>
            <p:spPr bwMode="auto">
              <a:xfrm>
                <a:off x="6364665" y="3356710"/>
                <a:ext cx="225425" cy="341312"/>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359676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fade">
                                      <p:cBhvr>
                                        <p:cTn id="7" dur="5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4"/>
                                        </p:tgtEl>
                                        <p:attrNameLst>
                                          <p:attrName>style.visibility</p:attrName>
                                        </p:attrNameLst>
                                      </p:cBhvr>
                                      <p:to>
                                        <p:strVal val="visible"/>
                                      </p:to>
                                    </p:set>
                                    <p:animEffect transition="in" filter="fade">
                                      <p:cBhvr>
                                        <p:cTn id="12" dur="500"/>
                                        <p:tgtEl>
                                          <p:spTgt spid="5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fade">
                                      <p:cBhvr>
                                        <p:cTn id="17" dur="500"/>
                                        <p:tgtEl>
                                          <p:spTgt spid="5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6"/>
                                        </p:tgtEl>
                                        <p:attrNameLst>
                                          <p:attrName>style.visibility</p:attrName>
                                        </p:attrNameLst>
                                      </p:cBhvr>
                                      <p:to>
                                        <p:strVal val="visible"/>
                                      </p:to>
                                    </p:set>
                                    <p:animEffect transition="in" filter="fade">
                                      <p:cBhvr>
                                        <p:cTn id="22" dur="500"/>
                                        <p:tgtEl>
                                          <p:spTgt spid="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5C879B48-B1BC-4BE1-98FE-9DE529AACDDF}"/>
              </a:ext>
            </a:extLst>
          </p:cNvPr>
          <p:cNvSpPr/>
          <p:nvPr/>
        </p:nvSpPr>
        <p:spPr>
          <a:xfrm>
            <a:off x="269874" y="4147127"/>
            <a:ext cx="9363076" cy="1513689"/>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684000" bIns="144000" rtlCol="0" anchor="t" anchorCtr="0">
            <a:noAutofit/>
          </a:bodyPr>
          <a:lstStyle/>
          <a:p>
            <a:pPr lvl="0">
              <a:defRPr/>
            </a:pPr>
            <a:endParaRPr lang="en-GB" sz="1200" dirty="0">
              <a:solidFill>
                <a:srgbClr val="000000"/>
              </a:solidFill>
            </a:endParaRPr>
          </a:p>
        </p:txBody>
      </p:sp>
      <p:sp>
        <p:nvSpPr>
          <p:cNvPr id="16" name="Rectangle 15">
            <a:extLst>
              <a:ext uri="{FF2B5EF4-FFF2-40B4-BE49-F238E27FC236}">
                <a16:creationId xmlns:a16="http://schemas.microsoft.com/office/drawing/2014/main" id="{9701FA2B-D359-4B60-A0A8-BDDB6C8D0977}"/>
              </a:ext>
            </a:extLst>
          </p:cNvPr>
          <p:cNvSpPr/>
          <p:nvPr/>
        </p:nvSpPr>
        <p:spPr>
          <a:xfrm>
            <a:off x="856674" y="1627188"/>
            <a:ext cx="8776276" cy="586220"/>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108000" rtlCol="0" anchor="t" anchorCtr="0">
            <a:noAutofit/>
          </a:bodyPr>
          <a:lstStyle/>
          <a:p>
            <a:r>
              <a:rPr lang="en-GB" sz="1200" b="1" dirty="0">
                <a:solidFill>
                  <a:srgbClr val="1F2023"/>
                </a:solidFill>
              </a:rPr>
              <a:t>In groups of 3-4 persons</a:t>
            </a:r>
          </a:p>
          <a:p>
            <a:r>
              <a:rPr lang="en-GB" sz="1200" dirty="0">
                <a:solidFill>
                  <a:srgbClr val="1F2023"/>
                </a:solidFill>
              </a:rPr>
              <a:t>Think of some information you would like to give to a client or colleague </a:t>
            </a:r>
          </a:p>
        </p:txBody>
      </p:sp>
      <p:sp>
        <p:nvSpPr>
          <p:cNvPr id="19" name="Rectangle 18">
            <a:extLst>
              <a:ext uri="{FF2B5EF4-FFF2-40B4-BE49-F238E27FC236}">
                <a16:creationId xmlns:a16="http://schemas.microsoft.com/office/drawing/2014/main" id="{988D6A6E-18F0-453F-B1F7-805E4BCA8013}"/>
              </a:ext>
            </a:extLst>
          </p:cNvPr>
          <p:cNvSpPr/>
          <p:nvPr/>
        </p:nvSpPr>
        <p:spPr>
          <a:xfrm>
            <a:off x="269874" y="1627188"/>
            <a:ext cx="586800" cy="586220"/>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dirty="0"/>
              <a:t>Information giving in a REAL way</a:t>
            </a:r>
            <a:endParaRPr lang="en-GB" altLang="da-DK" dirty="0"/>
          </a:p>
        </p:txBody>
      </p:sp>
      <p:sp>
        <p:nvSpPr>
          <p:cNvPr id="6" name="Text Placeholder 5">
            <a:extLst>
              <a:ext uri="{FF2B5EF4-FFF2-40B4-BE49-F238E27FC236}">
                <a16:creationId xmlns:a16="http://schemas.microsoft.com/office/drawing/2014/main" id="{56B7FD34-9F15-4A07-BAED-A34F81C6A857}"/>
              </a:ext>
            </a:extLst>
          </p:cNvPr>
          <p:cNvSpPr>
            <a:spLocks noGrp="1"/>
          </p:cNvSpPr>
          <p:nvPr>
            <p:ph type="body" sz="quarter" idx="13"/>
          </p:nvPr>
        </p:nvSpPr>
        <p:spPr/>
        <p:txBody>
          <a:bodyPr/>
          <a:lstStyle/>
          <a:p>
            <a:endParaRPr lang="en-GB" dirty="0"/>
          </a:p>
        </p:txBody>
      </p:sp>
      <p:sp>
        <p:nvSpPr>
          <p:cNvPr id="7" name="Text Placeholder 6">
            <a:extLst>
              <a:ext uri="{FF2B5EF4-FFF2-40B4-BE49-F238E27FC236}">
                <a16:creationId xmlns:a16="http://schemas.microsoft.com/office/drawing/2014/main" id="{96AC76CD-4C65-47F6-97BB-7666C407F626}"/>
              </a:ext>
            </a:extLst>
          </p:cNvPr>
          <p:cNvSpPr>
            <a:spLocks noGrp="1"/>
          </p:cNvSpPr>
          <p:nvPr>
            <p:ph type="body" sz="quarter" idx="14"/>
          </p:nvPr>
        </p:nvSpPr>
        <p:spPr/>
        <p:txBody>
          <a:bodyPr/>
          <a:lstStyle/>
          <a:p>
            <a:endParaRPr lang="en-GB" dirty="0"/>
          </a:p>
        </p:txBody>
      </p:sp>
      <p:grpSp>
        <p:nvGrpSpPr>
          <p:cNvPr id="12" name="Group 11">
            <a:extLst>
              <a:ext uri="{FF2B5EF4-FFF2-40B4-BE49-F238E27FC236}">
                <a16:creationId xmlns:a16="http://schemas.microsoft.com/office/drawing/2014/main" id="{7A24564D-AFE1-4EBC-BC53-98E269DD5EF2}"/>
              </a:ext>
            </a:extLst>
          </p:cNvPr>
          <p:cNvGrpSpPr/>
          <p:nvPr/>
        </p:nvGrpSpPr>
        <p:grpSpPr>
          <a:xfrm>
            <a:off x="8298832" y="309514"/>
            <a:ext cx="847612" cy="669167"/>
            <a:chOff x="4051300" y="3319463"/>
            <a:chExt cx="512763" cy="404813"/>
          </a:xfrm>
        </p:grpSpPr>
        <p:sp>
          <p:nvSpPr>
            <p:cNvPr id="13" name="Freeform 22">
              <a:extLst>
                <a:ext uri="{FF2B5EF4-FFF2-40B4-BE49-F238E27FC236}">
                  <a16:creationId xmlns:a16="http://schemas.microsoft.com/office/drawing/2014/main" id="{8B02648F-CA40-424B-8B94-83280B62004E}"/>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23">
              <a:extLst>
                <a:ext uri="{FF2B5EF4-FFF2-40B4-BE49-F238E27FC236}">
                  <a16:creationId xmlns:a16="http://schemas.microsoft.com/office/drawing/2014/main" id="{A129873F-1CC1-45F7-9452-9CAB749BEB46}"/>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24">
              <a:extLst>
                <a:ext uri="{FF2B5EF4-FFF2-40B4-BE49-F238E27FC236}">
                  <a16:creationId xmlns:a16="http://schemas.microsoft.com/office/drawing/2014/main" id="{6C438E4B-9AD8-4BDE-A581-AF32EE9B91D7}"/>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7" name="Content Placeholder 2">
            <a:extLst>
              <a:ext uri="{FF2B5EF4-FFF2-40B4-BE49-F238E27FC236}">
                <a16:creationId xmlns:a16="http://schemas.microsoft.com/office/drawing/2014/main" id="{27DEB53F-A767-4243-B021-4CFB3C4F18E7}"/>
              </a:ext>
            </a:extLst>
          </p:cNvPr>
          <p:cNvSpPr txBox="1">
            <a:spLocks/>
          </p:cNvSpPr>
          <p:nvPr/>
        </p:nvSpPr>
        <p:spPr>
          <a:xfrm>
            <a:off x="269873" y="4288418"/>
            <a:ext cx="9363075" cy="1231106"/>
          </a:xfrm>
          <a:prstGeom prst="rect">
            <a:avLst/>
          </a:prstGeom>
        </p:spPr>
        <p:txBody>
          <a:bodyPr lIns="180000" rIns="18000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buNone/>
              <a:defRPr/>
            </a:pPr>
            <a:r>
              <a:rPr lang="en-GB" sz="1200" b="1" i="1" dirty="0"/>
              <a:t>How did it go with:</a:t>
            </a:r>
          </a:p>
          <a:p>
            <a:pPr lvl="1">
              <a:defRPr/>
            </a:pPr>
            <a:r>
              <a:rPr lang="en-GB" sz="1200" i="1" dirty="0"/>
              <a:t>asking permission?</a:t>
            </a:r>
          </a:p>
          <a:p>
            <a:pPr lvl="1">
              <a:defRPr/>
            </a:pPr>
            <a:r>
              <a:rPr lang="en-GB" sz="1200" i="1" dirty="0"/>
              <a:t>asking about what the person already knew or wanted to know more about?</a:t>
            </a:r>
          </a:p>
          <a:p>
            <a:pPr lvl="1">
              <a:defRPr/>
            </a:pPr>
            <a:r>
              <a:rPr lang="en-GB" sz="1200" i="1" dirty="0"/>
              <a:t>staying in your own half?</a:t>
            </a:r>
          </a:p>
          <a:p>
            <a:pPr lvl="1">
              <a:defRPr/>
            </a:pPr>
            <a:r>
              <a:rPr lang="en-GB" sz="1200" i="1" dirty="0"/>
              <a:t>ending with a question (that might evoke change talk) ?</a:t>
            </a:r>
          </a:p>
        </p:txBody>
      </p:sp>
      <p:grpSp>
        <p:nvGrpSpPr>
          <p:cNvPr id="20" name="Group 19">
            <a:extLst>
              <a:ext uri="{FF2B5EF4-FFF2-40B4-BE49-F238E27FC236}">
                <a16:creationId xmlns:a16="http://schemas.microsoft.com/office/drawing/2014/main" id="{A949DA9A-3913-4C8D-BBCA-CA51AA18AEC6}"/>
              </a:ext>
            </a:extLst>
          </p:cNvPr>
          <p:cNvGrpSpPr/>
          <p:nvPr/>
        </p:nvGrpSpPr>
        <p:grpSpPr>
          <a:xfrm>
            <a:off x="397420" y="1820308"/>
            <a:ext cx="362841" cy="210759"/>
            <a:chOff x="3925888" y="1822451"/>
            <a:chExt cx="481013" cy="279400"/>
          </a:xfrm>
        </p:grpSpPr>
        <p:sp>
          <p:nvSpPr>
            <p:cNvPr id="25" name="Freeform 82">
              <a:extLst>
                <a:ext uri="{FF2B5EF4-FFF2-40B4-BE49-F238E27FC236}">
                  <a16:creationId xmlns:a16="http://schemas.microsoft.com/office/drawing/2014/main" id="{FA835E59-0E98-416C-BE63-E3F0C3DE7A70}"/>
                </a:ext>
              </a:extLst>
            </p:cNvPr>
            <p:cNvSpPr>
              <a:spLocks/>
            </p:cNvSpPr>
            <p:nvPr/>
          </p:nvSpPr>
          <p:spPr bwMode="auto">
            <a:xfrm>
              <a:off x="3987801" y="1970088"/>
              <a:ext cx="279400" cy="131763"/>
            </a:xfrm>
            <a:custGeom>
              <a:avLst/>
              <a:gdLst>
                <a:gd name="T0" fmla="*/ 0 w 62"/>
                <a:gd name="T1" fmla="*/ 22 h 29"/>
                <a:gd name="T2" fmla="*/ 9 w 62"/>
                <a:gd name="T3" fmla="*/ 22 h 29"/>
                <a:gd name="T4" fmla="*/ 17 w 62"/>
                <a:gd name="T5" fmla="*/ 15 h 29"/>
                <a:gd name="T6" fmla="*/ 17 w 62"/>
                <a:gd name="T7" fmla="*/ 15 h 29"/>
                <a:gd name="T8" fmla="*/ 32 w 62"/>
                <a:gd name="T9" fmla="*/ 0 h 29"/>
                <a:gd name="T10" fmla="*/ 47 w 62"/>
                <a:gd name="T11" fmla="*/ 0 h 29"/>
                <a:gd name="T12" fmla="*/ 62 w 62"/>
                <a:gd name="T13" fmla="*/ 15 h 29"/>
                <a:gd name="T14" fmla="*/ 62 w 62"/>
                <a:gd name="T15" fmla="*/ 20 h 29"/>
                <a:gd name="T16" fmla="*/ 53 w 62"/>
                <a:gd name="T17" fmla="*/ 29 h 29"/>
                <a:gd name="T18" fmla="*/ 46 w 62"/>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9">
                  <a:moveTo>
                    <a:pt x="0" y="22"/>
                  </a:moveTo>
                  <a:cubicBezTo>
                    <a:pt x="9" y="22"/>
                    <a:pt x="9" y="22"/>
                    <a:pt x="9" y="22"/>
                  </a:cubicBezTo>
                  <a:cubicBezTo>
                    <a:pt x="14" y="22"/>
                    <a:pt x="17" y="19"/>
                    <a:pt x="17" y="15"/>
                  </a:cubicBezTo>
                  <a:cubicBezTo>
                    <a:pt x="17" y="15"/>
                    <a:pt x="17" y="15"/>
                    <a:pt x="17" y="15"/>
                  </a:cubicBezTo>
                  <a:cubicBezTo>
                    <a:pt x="17" y="6"/>
                    <a:pt x="24" y="0"/>
                    <a:pt x="32" y="0"/>
                  </a:cubicBezTo>
                  <a:cubicBezTo>
                    <a:pt x="47" y="0"/>
                    <a:pt x="47" y="0"/>
                    <a:pt x="47" y="0"/>
                  </a:cubicBezTo>
                  <a:cubicBezTo>
                    <a:pt x="55" y="0"/>
                    <a:pt x="62" y="6"/>
                    <a:pt x="62" y="15"/>
                  </a:cubicBezTo>
                  <a:cubicBezTo>
                    <a:pt x="62" y="20"/>
                    <a:pt x="62" y="20"/>
                    <a:pt x="62" y="20"/>
                  </a:cubicBezTo>
                  <a:cubicBezTo>
                    <a:pt x="62" y="25"/>
                    <a:pt x="58" y="29"/>
                    <a:pt x="53" y="29"/>
                  </a:cubicBezTo>
                  <a:cubicBezTo>
                    <a:pt x="46" y="29"/>
                    <a:pt x="46" y="29"/>
                    <a:pt x="46"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83">
              <a:extLst>
                <a:ext uri="{FF2B5EF4-FFF2-40B4-BE49-F238E27FC236}">
                  <a16:creationId xmlns:a16="http://schemas.microsoft.com/office/drawing/2014/main" id="{C7CBA44B-7A67-45BD-9139-D688D42DBF60}"/>
                </a:ext>
              </a:extLst>
            </p:cNvPr>
            <p:cNvSpPr>
              <a:spLocks/>
            </p:cNvSpPr>
            <p:nvPr/>
          </p:nvSpPr>
          <p:spPr bwMode="auto">
            <a:xfrm>
              <a:off x="3925888" y="1938338"/>
              <a:ext cx="188913" cy="95250"/>
            </a:xfrm>
            <a:custGeom>
              <a:avLst/>
              <a:gdLst>
                <a:gd name="T0" fmla="*/ 0 w 42"/>
                <a:gd name="T1" fmla="*/ 21 h 21"/>
                <a:gd name="T2" fmla="*/ 0 w 42"/>
                <a:gd name="T3" fmla="*/ 15 h 21"/>
                <a:gd name="T4" fmla="*/ 15 w 42"/>
                <a:gd name="T5" fmla="*/ 0 h 21"/>
                <a:gd name="T6" fmla="*/ 30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7" y="0"/>
                    <a:pt x="15" y="0"/>
                  </a:cubicBezTo>
                  <a:cubicBezTo>
                    <a:pt x="30" y="0"/>
                    <a:pt x="30" y="0"/>
                    <a:pt x="30" y="0"/>
                  </a:cubicBezTo>
                  <a:cubicBezTo>
                    <a:pt x="35" y="0"/>
                    <a:pt x="40" y="2"/>
                    <a:pt x="42"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84">
              <a:extLst>
                <a:ext uri="{FF2B5EF4-FFF2-40B4-BE49-F238E27FC236}">
                  <a16:creationId xmlns:a16="http://schemas.microsoft.com/office/drawing/2014/main" id="{65BC1E22-0876-4A67-AED2-BB81BE086C25}"/>
                </a:ext>
              </a:extLst>
            </p:cNvPr>
            <p:cNvSpPr>
              <a:spLocks/>
            </p:cNvSpPr>
            <p:nvPr/>
          </p:nvSpPr>
          <p:spPr bwMode="auto">
            <a:xfrm>
              <a:off x="4217988" y="1938338"/>
              <a:ext cx="188913" cy="131763"/>
            </a:xfrm>
            <a:custGeom>
              <a:avLst/>
              <a:gdLst>
                <a:gd name="T0" fmla="*/ 0 w 42"/>
                <a:gd name="T1" fmla="*/ 7 h 29"/>
                <a:gd name="T2" fmla="*/ 13 w 42"/>
                <a:gd name="T3" fmla="*/ 0 h 29"/>
                <a:gd name="T4" fmla="*/ 27 w 42"/>
                <a:gd name="T5" fmla="*/ 0 h 29"/>
                <a:gd name="T6" fmla="*/ 42 w 42"/>
                <a:gd name="T7" fmla="*/ 15 h 29"/>
                <a:gd name="T8" fmla="*/ 42 w 42"/>
                <a:gd name="T9" fmla="*/ 20 h 29"/>
                <a:gd name="T10" fmla="*/ 33 w 42"/>
                <a:gd name="T11" fmla="*/ 29 h 29"/>
                <a:gd name="T12" fmla="*/ 11 w 4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2" h="29">
                  <a:moveTo>
                    <a:pt x="0" y="7"/>
                  </a:moveTo>
                  <a:cubicBezTo>
                    <a:pt x="2" y="3"/>
                    <a:pt x="7" y="0"/>
                    <a:pt x="13" y="0"/>
                  </a:cubicBezTo>
                  <a:cubicBezTo>
                    <a:pt x="27" y="0"/>
                    <a:pt x="27" y="0"/>
                    <a:pt x="27" y="0"/>
                  </a:cubicBezTo>
                  <a:cubicBezTo>
                    <a:pt x="36" y="0"/>
                    <a:pt x="42" y="6"/>
                    <a:pt x="42" y="15"/>
                  </a:cubicBezTo>
                  <a:cubicBezTo>
                    <a:pt x="42" y="20"/>
                    <a:pt x="42" y="20"/>
                    <a:pt x="42" y="20"/>
                  </a:cubicBezTo>
                  <a:cubicBezTo>
                    <a:pt x="42" y="25"/>
                    <a:pt x="38" y="29"/>
                    <a:pt x="33" y="29"/>
                  </a:cubicBezTo>
                  <a:cubicBezTo>
                    <a:pt x="11" y="29"/>
                    <a:pt x="11" y="29"/>
                    <a:pt x="11"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Line 85">
              <a:extLst>
                <a:ext uri="{FF2B5EF4-FFF2-40B4-BE49-F238E27FC236}">
                  <a16:creationId xmlns:a16="http://schemas.microsoft.com/office/drawing/2014/main" id="{F20E4E2D-00E7-403A-B1BC-EF263E4B059E}"/>
                </a:ext>
              </a:extLst>
            </p:cNvPr>
            <p:cNvSpPr>
              <a:spLocks noChangeShapeType="1"/>
            </p:cNvSpPr>
            <p:nvPr/>
          </p:nvSpPr>
          <p:spPr bwMode="auto">
            <a:xfrm>
              <a:off x="4203701"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86">
              <a:extLst>
                <a:ext uri="{FF2B5EF4-FFF2-40B4-BE49-F238E27FC236}">
                  <a16:creationId xmlns:a16="http://schemas.microsoft.com/office/drawing/2014/main" id="{4BB1CC92-49AC-4488-BD2B-AF18A8867AED}"/>
                </a:ext>
              </a:extLst>
            </p:cNvPr>
            <p:cNvSpPr>
              <a:spLocks/>
            </p:cNvSpPr>
            <p:nvPr/>
          </p:nvSpPr>
          <p:spPr bwMode="auto">
            <a:xfrm>
              <a:off x="4119563" y="1854201"/>
              <a:ext cx="93663" cy="112713"/>
            </a:xfrm>
            <a:custGeom>
              <a:avLst/>
              <a:gdLst>
                <a:gd name="T0" fmla="*/ 11 w 21"/>
                <a:gd name="T1" fmla="*/ 25 h 25"/>
                <a:gd name="T2" fmla="*/ 1 w 21"/>
                <a:gd name="T3" fmla="*/ 12 h 25"/>
                <a:gd name="T4" fmla="*/ 11 w 21"/>
                <a:gd name="T5" fmla="*/ 0 h 25"/>
                <a:gd name="T6" fmla="*/ 21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1"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87">
              <a:extLst>
                <a:ext uri="{FF2B5EF4-FFF2-40B4-BE49-F238E27FC236}">
                  <a16:creationId xmlns:a16="http://schemas.microsoft.com/office/drawing/2014/main" id="{41137365-11AF-4DFB-B117-BE626A76EEC8}"/>
                </a:ext>
              </a:extLst>
            </p:cNvPr>
            <p:cNvSpPr>
              <a:spLocks/>
            </p:cNvSpPr>
            <p:nvPr/>
          </p:nvSpPr>
          <p:spPr bwMode="auto">
            <a:xfrm>
              <a:off x="4262438" y="1822451"/>
              <a:ext cx="90488" cy="112713"/>
            </a:xfrm>
            <a:custGeom>
              <a:avLst/>
              <a:gdLst>
                <a:gd name="T0" fmla="*/ 10 w 20"/>
                <a:gd name="T1" fmla="*/ 25 h 25"/>
                <a:gd name="T2" fmla="*/ 0 w 20"/>
                <a:gd name="T3" fmla="*/ 12 h 25"/>
                <a:gd name="T4" fmla="*/ 10 w 20"/>
                <a:gd name="T5" fmla="*/ 0 h 25"/>
                <a:gd name="T6" fmla="*/ 20 w 20"/>
                <a:gd name="T7" fmla="*/ 12 h 25"/>
                <a:gd name="T8" fmla="*/ 18 w 20"/>
                <a:gd name="T9" fmla="*/ 19 h 25"/>
              </a:gdLst>
              <a:ahLst/>
              <a:cxnLst>
                <a:cxn ang="0">
                  <a:pos x="T0" y="T1"/>
                </a:cxn>
                <a:cxn ang="0">
                  <a:pos x="T2" y="T3"/>
                </a:cxn>
                <a:cxn ang="0">
                  <a:pos x="T4" y="T5"/>
                </a:cxn>
                <a:cxn ang="0">
                  <a:pos x="T6" y="T7"/>
                </a:cxn>
                <a:cxn ang="0">
                  <a:pos x="T8" y="T9"/>
                </a:cxn>
              </a:cxnLst>
              <a:rect l="0" t="0" r="r" b="b"/>
              <a:pathLst>
                <a:path w="20" h="25">
                  <a:moveTo>
                    <a:pt x="10" y="25"/>
                  </a:moveTo>
                  <a:cubicBezTo>
                    <a:pt x="6" y="25"/>
                    <a:pt x="1" y="21"/>
                    <a:pt x="0" y="12"/>
                  </a:cubicBezTo>
                  <a:cubicBezTo>
                    <a:pt x="0" y="5"/>
                    <a:pt x="3" y="0"/>
                    <a:pt x="10" y="0"/>
                  </a:cubicBezTo>
                  <a:cubicBezTo>
                    <a:pt x="17" y="0"/>
                    <a:pt x="20" y="5"/>
                    <a:pt x="20" y="12"/>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88">
              <a:extLst>
                <a:ext uri="{FF2B5EF4-FFF2-40B4-BE49-F238E27FC236}">
                  <a16:creationId xmlns:a16="http://schemas.microsoft.com/office/drawing/2014/main" id="{2A114F94-2268-4B2F-AE4B-8682A54B9C99}"/>
                </a:ext>
              </a:extLst>
            </p:cNvPr>
            <p:cNvSpPr>
              <a:spLocks/>
            </p:cNvSpPr>
            <p:nvPr/>
          </p:nvSpPr>
          <p:spPr bwMode="auto">
            <a:xfrm>
              <a:off x="3979863" y="1822451"/>
              <a:ext cx="93663" cy="112713"/>
            </a:xfrm>
            <a:custGeom>
              <a:avLst/>
              <a:gdLst>
                <a:gd name="T0" fmla="*/ 11 w 21"/>
                <a:gd name="T1" fmla="*/ 25 h 25"/>
                <a:gd name="T2" fmla="*/ 1 w 21"/>
                <a:gd name="T3" fmla="*/ 12 h 25"/>
                <a:gd name="T4" fmla="*/ 11 w 21"/>
                <a:gd name="T5" fmla="*/ 0 h 25"/>
                <a:gd name="T6" fmla="*/ 20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0"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8" name="Rectangle 17">
            <a:extLst>
              <a:ext uri="{FF2B5EF4-FFF2-40B4-BE49-F238E27FC236}">
                <a16:creationId xmlns:a16="http://schemas.microsoft.com/office/drawing/2014/main" id="{7BDBA41A-6DD0-4323-A321-8EA96DAF7812}"/>
              </a:ext>
            </a:extLst>
          </p:cNvPr>
          <p:cNvSpPr/>
          <p:nvPr/>
        </p:nvSpPr>
        <p:spPr>
          <a:xfrm>
            <a:off x="269874" y="2213409"/>
            <a:ext cx="9363076" cy="1933718"/>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216000" tIns="144000" rIns="684000" bIns="144000" rtlCol="0" anchor="ctr" anchorCtr="0">
            <a:noAutofit/>
          </a:bodyPr>
          <a:lstStyle/>
          <a:p>
            <a:pPr lvl="0">
              <a:defRPr/>
            </a:pPr>
            <a:r>
              <a:rPr lang="en-GB" sz="1200" b="1" dirty="0">
                <a:solidFill>
                  <a:srgbClr val="000000"/>
                </a:solidFill>
              </a:rPr>
              <a:t>In groups – trying out a new technique:</a:t>
            </a:r>
          </a:p>
          <a:p>
            <a:pPr lvl="0">
              <a:spcBef>
                <a:spcPts val="600"/>
              </a:spcBef>
              <a:tabLst>
                <a:tab pos="442913" algn="l"/>
              </a:tabLst>
              <a:defRPr/>
            </a:pPr>
            <a:r>
              <a:rPr lang="en-GB" sz="1200" b="1" dirty="0">
                <a:solidFill>
                  <a:srgbClr val="000000"/>
                </a:solidFill>
              </a:rPr>
              <a:t>A	: </a:t>
            </a:r>
            <a:r>
              <a:rPr lang="en-GB" sz="1200" dirty="0">
                <a:solidFill>
                  <a:srgbClr val="000000"/>
                </a:solidFill>
              </a:rPr>
              <a:t>Give the information to B by using some of the elements you just heard about. </a:t>
            </a:r>
          </a:p>
          <a:p>
            <a:pPr lvl="0">
              <a:spcBef>
                <a:spcPts val="600"/>
              </a:spcBef>
              <a:tabLst>
                <a:tab pos="442913" algn="l"/>
              </a:tabLst>
              <a:defRPr/>
            </a:pPr>
            <a:r>
              <a:rPr lang="en-GB" sz="1200" b="1" dirty="0">
                <a:solidFill>
                  <a:srgbClr val="000000"/>
                </a:solidFill>
              </a:rPr>
              <a:t>B	: </a:t>
            </a:r>
            <a:r>
              <a:rPr lang="en-GB" sz="1200" dirty="0">
                <a:solidFill>
                  <a:srgbClr val="000000"/>
                </a:solidFill>
              </a:rPr>
              <a:t>Receive the information and play along ;-)</a:t>
            </a:r>
          </a:p>
          <a:p>
            <a:pPr lvl="0">
              <a:spcBef>
                <a:spcPts val="600"/>
              </a:spcBef>
              <a:tabLst>
                <a:tab pos="442913" algn="l"/>
                <a:tab pos="534988" algn="l"/>
              </a:tabLst>
              <a:defRPr/>
            </a:pPr>
            <a:r>
              <a:rPr lang="en-GB" sz="1200" b="1" dirty="0">
                <a:solidFill>
                  <a:srgbClr val="000000"/>
                </a:solidFill>
              </a:rPr>
              <a:t>C (D)	: </a:t>
            </a:r>
            <a:r>
              <a:rPr lang="en-GB" sz="1200" dirty="0">
                <a:solidFill>
                  <a:srgbClr val="000000"/>
                </a:solidFill>
              </a:rPr>
              <a:t>Observe and give feedback to A – what worked and where could it be even better; going forward, A and B share what 		they experienced</a:t>
            </a:r>
          </a:p>
          <a:p>
            <a:pPr lvl="0">
              <a:spcBef>
                <a:spcPts val="600"/>
              </a:spcBef>
              <a:tabLst>
                <a:tab pos="442913" algn="l"/>
                <a:tab pos="534988" algn="l"/>
              </a:tabLst>
              <a:defRPr/>
            </a:pPr>
            <a:endParaRPr lang="en-GB" sz="700" dirty="0">
              <a:solidFill>
                <a:srgbClr val="000000"/>
              </a:solidFill>
            </a:endParaRPr>
          </a:p>
          <a:p>
            <a:pPr lvl="0">
              <a:defRPr/>
            </a:pPr>
            <a:r>
              <a:rPr lang="en-GB" sz="1200" dirty="0">
                <a:solidFill>
                  <a:srgbClr val="000000"/>
                </a:solidFill>
              </a:rPr>
              <a:t>5 min. each including feedback – keep track of time</a:t>
            </a:r>
          </a:p>
        </p:txBody>
      </p:sp>
      <p:sp>
        <p:nvSpPr>
          <p:cNvPr id="35" name="Rectangle 34">
            <a:extLst>
              <a:ext uri="{FF2B5EF4-FFF2-40B4-BE49-F238E27FC236}">
                <a16:creationId xmlns:a16="http://schemas.microsoft.com/office/drawing/2014/main" id="{599724A3-77A4-4445-92D3-BE7EC6515219}"/>
              </a:ext>
            </a:extLst>
          </p:cNvPr>
          <p:cNvSpPr/>
          <p:nvPr/>
        </p:nvSpPr>
        <p:spPr>
          <a:xfrm>
            <a:off x="269874" y="5660815"/>
            <a:ext cx="9363074" cy="276999"/>
          </a:xfrm>
          <a:prstGeom prst="rect">
            <a:avLst/>
          </a:prstGeom>
          <a:solidFill>
            <a:srgbClr val="E2DED9"/>
          </a:solidFill>
        </p:spPr>
        <p:txBody>
          <a:bodyPr wrap="square" lIns="180000" rIns="180000">
            <a:spAutoFit/>
          </a:bodyPr>
          <a:lstStyle/>
          <a:p>
            <a:pPr lvl="0">
              <a:defRPr/>
            </a:pPr>
            <a:r>
              <a:rPr lang="en-GB" sz="1200" b="1" dirty="0">
                <a:solidFill>
                  <a:srgbClr val="000000"/>
                </a:solidFill>
              </a:rPr>
              <a:t>Switch roles</a:t>
            </a:r>
            <a:endParaRPr lang="en-GB" sz="1200" dirty="0">
              <a:solidFill>
                <a:srgbClr val="000000"/>
              </a:solidFill>
            </a:endParaRPr>
          </a:p>
        </p:txBody>
      </p:sp>
    </p:spTree>
    <p:extLst>
      <p:ext uri="{BB962C8B-B14F-4D97-AF65-F5344CB8AC3E}">
        <p14:creationId xmlns:p14="http://schemas.microsoft.com/office/powerpoint/2010/main" val="4174149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1">
            <a:extLst>
              <a:ext uri="{FF2B5EF4-FFF2-40B4-BE49-F238E27FC236}">
                <a16:creationId xmlns:a16="http://schemas.microsoft.com/office/drawing/2014/main" id="{B9ADB21C-B8DF-4C2B-9505-50E4C63E0C6F}"/>
              </a:ext>
            </a:extLst>
          </p:cNvPr>
          <p:cNvSpPr txBox="1">
            <a:spLocks/>
          </p:cNvSpPr>
          <p:nvPr/>
        </p:nvSpPr>
        <p:spPr>
          <a:xfrm>
            <a:off x="382753" y="2833458"/>
            <a:ext cx="4546600" cy="553998"/>
          </a:xfrm>
          <a:prstGeom prst="rect">
            <a:avLst/>
          </a:prstGeom>
        </p:spPr>
        <p:txBody>
          <a:bodyPr lIns="0" tIns="0" bIns="0" anchor="ctr">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nSpc>
                <a:spcPct val="90000"/>
              </a:lnSpc>
            </a:pPr>
            <a:r>
              <a:rPr lang="en-GB" sz="4000" dirty="0">
                <a:solidFill>
                  <a:schemeClr val="tx1"/>
                </a:solidFill>
                <a:latin typeface="Impact" panose="020B0806030902050204" pitchFamily="34" charset="0"/>
              </a:rPr>
              <a:t>REAL CONVERSATIONS:</a:t>
            </a:r>
          </a:p>
        </p:txBody>
      </p:sp>
      <p:sp>
        <p:nvSpPr>
          <p:cNvPr id="42" name="Rectangle 41">
            <a:extLst>
              <a:ext uri="{FF2B5EF4-FFF2-40B4-BE49-F238E27FC236}">
                <a16:creationId xmlns:a16="http://schemas.microsoft.com/office/drawing/2014/main" id="{3A4C4FEF-78EA-4749-A4EA-8DE8EC644007}"/>
              </a:ext>
            </a:extLst>
          </p:cNvPr>
          <p:cNvSpPr/>
          <p:nvPr/>
        </p:nvSpPr>
        <p:spPr>
          <a:xfrm>
            <a:off x="5092715" y="1627188"/>
            <a:ext cx="4546800" cy="469080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err="1">
              <a:solidFill>
                <a:srgbClr val="2F363B"/>
              </a:solidFill>
            </a:endParaRPr>
          </a:p>
        </p:txBody>
      </p:sp>
      <p:cxnSp>
        <p:nvCxnSpPr>
          <p:cNvPr id="21" name="Straight Connector 20">
            <a:extLst>
              <a:ext uri="{FF2B5EF4-FFF2-40B4-BE49-F238E27FC236}">
                <a16:creationId xmlns:a16="http://schemas.microsoft.com/office/drawing/2014/main" id="{0A6139F3-0505-4E31-864D-0A8CE783CE4C}"/>
              </a:ext>
            </a:extLst>
          </p:cNvPr>
          <p:cNvCxnSpPr>
            <a:cxnSpLocks/>
          </p:cNvCxnSpPr>
          <p:nvPr/>
        </p:nvCxnSpPr>
        <p:spPr>
          <a:xfrm>
            <a:off x="5570483" y="4877731"/>
            <a:ext cx="368849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Text Placeholder 27">
            <a:extLst>
              <a:ext uri="{FF2B5EF4-FFF2-40B4-BE49-F238E27FC236}">
                <a16:creationId xmlns:a16="http://schemas.microsoft.com/office/drawing/2014/main" id="{818CF50F-B4C9-43A5-9810-3D941B415979}"/>
              </a:ext>
            </a:extLst>
          </p:cNvPr>
          <p:cNvSpPr>
            <a:spLocks noGrp="1"/>
          </p:cNvSpPr>
          <p:nvPr>
            <p:ph type="body" sz="quarter" idx="13"/>
          </p:nvPr>
        </p:nvSpPr>
        <p:spPr/>
        <p:txBody>
          <a:bodyPr/>
          <a:lstStyle/>
          <a:p>
            <a:endParaRPr lang="en-GB" dirty="0"/>
          </a:p>
        </p:txBody>
      </p:sp>
      <p:sp>
        <p:nvSpPr>
          <p:cNvPr id="29" name="Text Placeholder 28">
            <a:extLst>
              <a:ext uri="{FF2B5EF4-FFF2-40B4-BE49-F238E27FC236}">
                <a16:creationId xmlns:a16="http://schemas.microsoft.com/office/drawing/2014/main" id="{EB5C7244-EE82-4896-A1CC-D39A838D199D}"/>
              </a:ext>
            </a:extLst>
          </p:cNvPr>
          <p:cNvSpPr>
            <a:spLocks noGrp="1"/>
          </p:cNvSpPr>
          <p:nvPr>
            <p:ph type="body" sz="quarter" idx="14"/>
          </p:nvPr>
        </p:nvSpPr>
        <p:spPr/>
        <p:txBody>
          <a:bodyPr/>
          <a:lstStyle/>
          <a:p>
            <a:endParaRPr lang="en-GB" dirty="0"/>
          </a:p>
        </p:txBody>
      </p:sp>
      <p:sp>
        <p:nvSpPr>
          <p:cNvPr id="41" name="TextBox 40">
            <a:extLst>
              <a:ext uri="{FF2B5EF4-FFF2-40B4-BE49-F238E27FC236}">
                <a16:creationId xmlns:a16="http://schemas.microsoft.com/office/drawing/2014/main" id="{8FC7DF80-702B-4430-9538-2C91D5927A40}"/>
              </a:ext>
            </a:extLst>
          </p:cNvPr>
          <p:cNvSpPr txBox="1"/>
          <p:nvPr/>
        </p:nvSpPr>
        <p:spPr>
          <a:xfrm>
            <a:off x="382753" y="1848957"/>
            <a:ext cx="2026391" cy="675907"/>
          </a:xfrm>
          <a:prstGeom prst="rect">
            <a:avLst/>
          </a:prstGeom>
          <a:noFill/>
          <a:ln w="6350">
            <a:noFill/>
            <a:prstDash val="sysDash"/>
          </a:ln>
        </p:spPr>
        <p:txBody>
          <a:bodyPr wrap="square" lIns="0" tIns="0" rIns="0" bIns="0" rtlCol="0" anchor="ctr" anchorCtr="0">
            <a:noAutofit/>
          </a:bodyPr>
          <a:lstStyle/>
          <a:p>
            <a:pPr algn="l">
              <a:buFontTx/>
              <a:buNone/>
            </a:pPr>
            <a:r>
              <a:rPr lang="en-GB" sz="9600" dirty="0">
                <a:solidFill>
                  <a:srgbClr val="30373B"/>
                </a:solidFill>
                <a:latin typeface="Impact" panose="020B0806030902050204" pitchFamily="34" charset="0"/>
              </a:rPr>
              <a:t>«</a:t>
            </a:r>
          </a:p>
        </p:txBody>
      </p:sp>
      <p:sp>
        <p:nvSpPr>
          <p:cNvPr id="47" name="Rectangle 46">
            <a:extLst>
              <a:ext uri="{FF2B5EF4-FFF2-40B4-BE49-F238E27FC236}">
                <a16:creationId xmlns:a16="http://schemas.microsoft.com/office/drawing/2014/main" id="{2722B123-2C31-4534-86A4-3B72934562A0}"/>
              </a:ext>
            </a:extLst>
          </p:cNvPr>
          <p:cNvSpPr/>
          <p:nvPr/>
        </p:nvSpPr>
        <p:spPr>
          <a:xfrm>
            <a:off x="855020" y="4867234"/>
            <a:ext cx="2879956" cy="215444"/>
          </a:xfrm>
          <a:prstGeom prst="rect">
            <a:avLst/>
          </a:prstGeom>
        </p:spPr>
        <p:txBody>
          <a:bodyPr wrap="none" lIns="0" tIns="0" bIns="0" anchor="ctr">
            <a:noAutofit/>
          </a:bodyPr>
          <a:lstStyle/>
          <a:p>
            <a:r>
              <a:rPr lang="en-GB" sz="1400" dirty="0">
                <a:solidFill>
                  <a:srgbClr val="1F2023"/>
                </a:solidFill>
              </a:rPr>
              <a:t>What we look for is what we see …</a:t>
            </a:r>
          </a:p>
        </p:txBody>
      </p:sp>
      <p:cxnSp>
        <p:nvCxnSpPr>
          <p:cNvPr id="53" name="Straight Connector 52">
            <a:extLst>
              <a:ext uri="{FF2B5EF4-FFF2-40B4-BE49-F238E27FC236}">
                <a16:creationId xmlns:a16="http://schemas.microsoft.com/office/drawing/2014/main" id="{5EE0C677-D74A-4C4F-93FA-BDF3C8A49326}"/>
              </a:ext>
            </a:extLst>
          </p:cNvPr>
          <p:cNvCxnSpPr>
            <a:cxnSpLocks/>
          </p:cNvCxnSpPr>
          <p:nvPr/>
        </p:nvCxnSpPr>
        <p:spPr>
          <a:xfrm flipH="1">
            <a:off x="382754" y="3696050"/>
            <a:ext cx="439244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pic>
        <p:nvPicPr>
          <p:cNvPr id="43" name="Picture Placeholder 10">
            <a:extLst>
              <a:ext uri="{FF2B5EF4-FFF2-40B4-BE49-F238E27FC236}">
                <a16:creationId xmlns:a16="http://schemas.microsoft.com/office/drawing/2014/main" id="{F9C51D27-1DB3-4D96-8822-1EB78E852E2E}"/>
              </a:ext>
            </a:extLst>
          </p:cNvPr>
          <p:cNvPicPr>
            <a:picLocks noChangeAspect="1"/>
          </p:cNvPicPr>
          <p:nvPr/>
        </p:nvPicPr>
        <p:blipFill rotWithShape="1">
          <a:blip r:embed="rId2"/>
          <a:srcRect l="7323" t="6286" r="7323" b="6286"/>
          <a:stretch/>
        </p:blipFill>
        <p:spPr>
          <a:xfrm>
            <a:off x="5309895" y="1866378"/>
            <a:ext cx="4112440" cy="4212420"/>
          </a:xfrm>
          <a:prstGeom prst="rect">
            <a:avLst/>
          </a:prstGeom>
        </p:spPr>
      </p:pic>
      <p:sp>
        <p:nvSpPr>
          <p:cNvPr id="46" name="Rectangle 45">
            <a:extLst>
              <a:ext uri="{FF2B5EF4-FFF2-40B4-BE49-F238E27FC236}">
                <a16:creationId xmlns:a16="http://schemas.microsoft.com/office/drawing/2014/main" id="{6A332187-59A2-44DF-BEDF-8A0F0734B2A8}"/>
              </a:ext>
            </a:extLst>
          </p:cNvPr>
          <p:cNvSpPr/>
          <p:nvPr/>
        </p:nvSpPr>
        <p:spPr>
          <a:xfrm>
            <a:off x="771691" y="4004644"/>
            <a:ext cx="2326471" cy="553998"/>
          </a:xfrm>
          <a:prstGeom prst="rect">
            <a:avLst/>
          </a:prstGeom>
        </p:spPr>
        <p:txBody>
          <a:bodyPr wrap="none" tIns="0" bIns="0" anchor="ctr">
            <a:noAutofit/>
          </a:bodyPr>
          <a:lstStyle/>
          <a:p>
            <a:r>
              <a:rPr lang="en-GB" sz="3600" dirty="0">
                <a:latin typeface="Impact" panose="020B0806030902050204" pitchFamily="34" charset="0"/>
              </a:rPr>
              <a:t>APPRECIATE</a:t>
            </a:r>
            <a:endParaRPr lang="en-GB" sz="3600" dirty="0"/>
          </a:p>
        </p:txBody>
      </p:sp>
      <p:grpSp>
        <p:nvGrpSpPr>
          <p:cNvPr id="48" name="Group 47">
            <a:extLst>
              <a:ext uri="{FF2B5EF4-FFF2-40B4-BE49-F238E27FC236}">
                <a16:creationId xmlns:a16="http://schemas.microsoft.com/office/drawing/2014/main" id="{FCB56929-2BD0-4AD1-A204-CB8DCECDF240}"/>
              </a:ext>
            </a:extLst>
          </p:cNvPr>
          <p:cNvGrpSpPr/>
          <p:nvPr/>
        </p:nvGrpSpPr>
        <p:grpSpPr>
          <a:xfrm>
            <a:off x="382754" y="4080916"/>
            <a:ext cx="274172" cy="392733"/>
            <a:chOff x="5324475" y="3667125"/>
            <a:chExt cx="352425" cy="504826"/>
          </a:xfrm>
        </p:grpSpPr>
        <p:sp>
          <p:nvSpPr>
            <p:cNvPr id="49" name="Oval 77">
              <a:extLst>
                <a:ext uri="{FF2B5EF4-FFF2-40B4-BE49-F238E27FC236}">
                  <a16:creationId xmlns:a16="http://schemas.microsoft.com/office/drawing/2014/main" id="{D1ED1F2C-DCB8-416E-B56C-F9E0B2B45F88}"/>
                </a:ext>
              </a:extLst>
            </p:cNvPr>
            <p:cNvSpPr>
              <a:spLocks noChangeArrowheads="1"/>
            </p:cNvSpPr>
            <p:nvPr/>
          </p:nvSpPr>
          <p:spPr bwMode="auto">
            <a:xfrm>
              <a:off x="5324475" y="3689350"/>
              <a:ext cx="293688" cy="293688"/>
            </a:xfrm>
            <a:prstGeom prst="ellipse">
              <a:avLst/>
            </a:pr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78">
              <a:extLst>
                <a:ext uri="{FF2B5EF4-FFF2-40B4-BE49-F238E27FC236}">
                  <a16:creationId xmlns:a16="http://schemas.microsoft.com/office/drawing/2014/main" id="{726A4A91-4FDC-4940-8CC7-045E6132BE36}"/>
                </a:ext>
              </a:extLst>
            </p:cNvPr>
            <p:cNvSpPr>
              <a:spLocks/>
            </p:cNvSpPr>
            <p:nvPr/>
          </p:nvSpPr>
          <p:spPr bwMode="auto">
            <a:xfrm>
              <a:off x="5410200" y="4014788"/>
              <a:ext cx="180975" cy="157163"/>
            </a:xfrm>
            <a:custGeom>
              <a:avLst/>
              <a:gdLst>
                <a:gd name="T0" fmla="*/ 0 w 114"/>
                <a:gd name="T1" fmla="*/ 0 h 99"/>
                <a:gd name="T2" fmla="*/ 0 w 114"/>
                <a:gd name="T3" fmla="*/ 99 h 99"/>
                <a:gd name="T4" fmla="*/ 57 w 114"/>
                <a:gd name="T5" fmla="*/ 56 h 99"/>
                <a:gd name="T6" fmla="*/ 114 w 114"/>
                <a:gd name="T7" fmla="*/ 99 h 99"/>
                <a:gd name="T8" fmla="*/ 114 w 114"/>
                <a:gd name="T9" fmla="*/ 14 h 99"/>
              </a:gdLst>
              <a:ahLst/>
              <a:cxnLst>
                <a:cxn ang="0">
                  <a:pos x="T0" y="T1"/>
                </a:cxn>
                <a:cxn ang="0">
                  <a:pos x="T2" y="T3"/>
                </a:cxn>
                <a:cxn ang="0">
                  <a:pos x="T4" y="T5"/>
                </a:cxn>
                <a:cxn ang="0">
                  <a:pos x="T6" y="T7"/>
                </a:cxn>
                <a:cxn ang="0">
                  <a:pos x="T8" y="T9"/>
                </a:cxn>
              </a:cxnLst>
              <a:rect l="0" t="0" r="r" b="b"/>
              <a:pathLst>
                <a:path w="114" h="99">
                  <a:moveTo>
                    <a:pt x="0" y="0"/>
                  </a:moveTo>
                  <a:lnTo>
                    <a:pt x="0" y="99"/>
                  </a:lnTo>
                  <a:lnTo>
                    <a:pt x="57" y="56"/>
                  </a:lnTo>
                  <a:lnTo>
                    <a:pt x="114" y="99"/>
                  </a:lnTo>
                  <a:lnTo>
                    <a:pt x="114" y="14"/>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79">
              <a:extLst>
                <a:ext uri="{FF2B5EF4-FFF2-40B4-BE49-F238E27FC236}">
                  <a16:creationId xmlns:a16="http://schemas.microsoft.com/office/drawing/2014/main" id="{627FBE4C-1533-423F-8D27-30D13FF87849}"/>
                </a:ext>
              </a:extLst>
            </p:cNvPr>
            <p:cNvSpPr>
              <a:spLocks/>
            </p:cNvSpPr>
            <p:nvPr/>
          </p:nvSpPr>
          <p:spPr bwMode="auto">
            <a:xfrm>
              <a:off x="5324475" y="3667125"/>
              <a:ext cx="352425" cy="350838"/>
            </a:xfrm>
            <a:custGeom>
              <a:avLst/>
              <a:gdLst>
                <a:gd name="T0" fmla="*/ 29 w 78"/>
                <a:gd name="T1" fmla="*/ 77 h 78"/>
                <a:gd name="T2" fmla="*/ 39 w 78"/>
                <a:gd name="T3" fmla="*/ 78 h 78"/>
                <a:gd name="T4" fmla="*/ 78 w 78"/>
                <a:gd name="T5" fmla="*/ 39 h 78"/>
                <a:gd name="T6" fmla="*/ 39 w 78"/>
                <a:gd name="T7" fmla="*/ 0 h 78"/>
                <a:gd name="T8" fmla="*/ 0 w 78"/>
                <a:gd name="T9" fmla="*/ 39 h 78"/>
                <a:gd name="T10" fmla="*/ 17 w 78"/>
                <a:gd name="T11" fmla="*/ 72 h 78"/>
                <a:gd name="T12" fmla="*/ 19 w 78"/>
                <a:gd name="T13" fmla="*/ 77 h 78"/>
              </a:gdLst>
              <a:ahLst/>
              <a:cxnLst>
                <a:cxn ang="0">
                  <a:pos x="T0" y="T1"/>
                </a:cxn>
                <a:cxn ang="0">
                  <a:pos x="T2" y="T3"/>
                </a:cxn>
                <a:cxn ang="0">
                  <a:pos x="T4" y="T5"/>
                </a:cxn>
                <a:cxn ang="0">
                  <a:pos x="T6" y="T7"/>
                </a:cxn>
                <a:cxn ang="0">
                  <a:pos x="T8" y="T9"/>
                </a:cxn>
                <a:cxn ang="0">
                  <a:pos x="T10" y="T11"/>
                </a:cxn>
                <a:cxn ang="0">
                  <a:pos x="T12" y="T13"/>
                </a:cxn>
              </a:cxnLst>
              <a:rect l="0" t="0" r="r" b="b"/>
              <a:pathLst>
                <a:path w="78" h="78">
                  <a:moveTo>
                    <a:pt x="29" y="77"/>
                  </a:moveTo>
                  <a:cubicBezTo>
                    <a:pt x="32" y="78"/>
                    <a:pt x="35" y="78"/>
                    <a:pt x="39" y="78"/>
                  </a:cubicBezTo>
                  <a:cubicBezTo>
                    <a:pt x="61" y="78"/>
                    <a:pt x="78" y="61"/>
                    <a:pt x="78" y="39"/>
                  </a:cubicBezTo>
                  <a:cubicBezTo>
                    <a:pt x="78" y="17"/>
                    <a:pt x="61" y="0"/>
                    <a:pt x="39" y="0"/>
                  </a:cubicBezTo>
                  <a:cubicBezTo>
                    <a:pt x="17" y="0"/>
                    <a:pt x="0" y="17"/>
                    <a:pt x="0" y="39"/>
                  </a:cubicBezTo>
                  <a:cubicBezTo>
                    <a:pt x="0" y="53"/>
                    <a:pt x="7" y="65"/>
                    <a:pt x="17" y="72"/>
                  </a:cubicBezTo>
                  <a:cubicBezTo>
                    <a:pt x="18" y="72"/>
                    <a:pt x="19" y="73"/>
                    <a:pt x="19" y="7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80">
              <a:extLst>
                <a:ext uri="{FF2B5EF4-FFF2-40B4-BE49-F238E27FC236}">
                  <a16:creationId xmlns:a16="http://schemas.microsoft.com/office/drawing/2014/main" id="{888A3B30-DE8B-4DB2-B61F-4B1705874BC4}"/>
                </a:ext>
              </a:extLst>
            </p:cNvPr>
            <p:cNvSpPr>
              <a:spLocks/>
            </p:cNvSpPr>
            <p:nvPr/>
          </p:nvSpPr>
          <p:spPr bwMode="auto">
            <a:xfrm>
              <a:off x="5419725" y="3765550"/>
              <a:ext cx="152400" cy="153988"/>
            </a:xfrm>
            <a:custGeom>
              <a:avLst/>
              <a:gdLst>
                <a:gd name="T0" fmla="*/ 0 w 34"/>
                <a:gd name="T1" fmla="*/ 17 h 34"/>
                <a:gd name="T2" fmla="*/ 17 w 34"/>
                <a:gd name="T3" fmla="*/ 0 h 34"/>
                <a:gd name="T4" fmla="*/ 34 w 34"/>
                <a:gd name="T5" fmla="*/ 17 h 34"/>
                <a:gd name="T6" fmla="*/ 17 w 34"/>
                <a:gd name="T7" fmla="*/ 34 h 34"/>
              </a:gdLst>
              <a:ahLst/>
              <a:cxnLst>
                <a:cxn ang="0">
                  <a:pos x="T0" y="T1"/>
                </a:cxn>
                <a:cxn ang="0">
                  <a:pos x="T2" y="T3"/>
                </a:cxn>
                <a:cxn ang="0">
                  <a:pos x="T4" y="T5"/>
                </a:cxn>
                <a:cxn ang="0">
                  <a:pos x="T6" y="T7"/>
                </a:cxn>
              </a:cxnLst>
              <a:rect l="0" t="0" r="r" b="b"/>
              <a:pathLst>
                <a:path w="34" h="34">
                  <a:moveTo>
                    <a:pt x="0" y="17"/>
                  </a:moveTo>
                  <a:cubicBezTo>
                    <a:pt x="0" y="8"/>
                    <a:pt x="8" y="0"/>
                    <a:pt x="17" y="0"/>
                  </a:cubicBezTo>
                  <a:cubicBezTo>
                    <a:pt x="27" y="0"/>
                    <a:pt x="34" y="8"/>
                    <a:pt x="34" y="17"/>
                  </a:cubicBezTo>
                  <a:cubicBezTo>
                    <a:pt x="34" y="26"/>
                    <a:pt x="27" y="34"/>
                    <a:pt x="17"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0" name="Group 59">
            <a:extLst>
              <a:ext uri="{FF2B5EF4-FFF2-40B4-BE49-F238E27FC236}">
                <a16:creationId xmlns:a16="http://schemas.microsoft.com/office/drawing/2014/main" id="{E00BAE0F-753B-401A-BEFF-395FAD1A07B0}"/>
              </a:ext>
            </a:extLst>
          </p:cNvPr>
          <p:cNvGrpSpPr/>
          <p:nvPr/>
        </p:nvGrpSpPr>
        <p:grpSpPr>
          <a:xfrm>
            <a:off x="382754" y="4882612"/>
            <a:ext cx="288466" cy="184688"/>
            <a:chOff x="8197851" y="1503363"/>
            <a:chExt cx="520700" cy="333375"/>
          </a:xfrm>
        </p:grpSpPr>
        <p:sp>
          <p:nvSpPr>
            <p:cNvPr id="61" name="Oval 27">
              <a:extLst>
                <a:ext uri="{FF2B5EF4-FFF2-40B4-BE49-F238E27FC236}">
                  <a16:creationId xmlns:a16="http://schemas.microsoft.com/office/drawing/2014/main" id="{0CE8F231-A260-4BC4-9A4A-69E725517D40}"/>
                </a:ext>
              </a:extLst>
            </p:cNvPr>
            <p:cNvSpPr>
              <a:spLocks noChangeArrowheads="1"/>
            </p:cNvSpPr>
            <p:nvPr/>
          </p:nvSpPr>
          <p:spPr bwMode="auto">
            <a:xfrm>
              <a:off x="8315326" y="1552575"/>
              <a:ext cx="223838" cy="225425"/>
            </a:xfrm>
            <a:prstGeom prst="ellipse">
              <a:avLst/>
            </a:pr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8">
              <a:extLst>
                <a:ext uri="{FF2B5EF4-FFF2-40B4-BE49-F238E27FC236}">
                  <a16:creationId xmlns:a16="http://schemas.microsoft.com/office/drawing/2014/main" id="{995CAEAE-4BD1-45BB-ADED-3806675F3DDC}"/>
                </a:ext>
              </a:extLst>
            </p:cNvPr>
            <p:cNvSpPr>
              <a:spLocks/>
            </p:cNvSpPr>
            <p:nvPr/>
          </p:nvSpPr>
          <p:spPr bwMode="auto">
            <a:xfrm>
              <a:off x="8197851" y="1503363"/>
              <a:ext cx="520700" cy="333375"/>
            </a:xfrm>
            <a:custGeom>
              <a:avLst/>
              <a:gdLst>
                <a:gd name="T0" fmla="*/ 108 w 116"/>
                <a:gd name="T1" fmla="*/ 47 h 74"/>
                <a:gd name="T2" fmla="*/ 58 w 116"/>
                <a:gd name="T3" fmla="*/ 74 h 74"/>
                <a:gd name="T4" fmla="*/ 1 w 116"/>
                <a:gd name="T5" fmla="*/ 40 h 74"/>
                <a:gd name="T6" fmla="*/ 0 w 116"/>
                <a:gd name="T7" fmla="*/ 37 h 74"/>
                <a:gd name="T8" fmla="*/ 1 w 116"/>
                <a:gd name="T9" fmla="*/ 35 h 74"/>
                <a:gd name="T10" fmla="*/ 58 w 116"/>
                <a:gd name="T11" fmla="*/ 0 h 74"/>
                <a:gd name="T12" fmla="*/ 116 w 116"/>
                <a:gd name="T13" fmla="*/ 37 h 74"/>
                <a:gd name="T14" fmla="*/ 108 w 116"/>
                <a:gd name="T15" fmla="*/ 47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6" h="74">
                  <a:moveTo>
                    <a:pt x="108" y="47"/>
                  </a:moveTo>
                  <a:cubicBezTo>
                    <a:pt x="99" y="57"/>
                    <a:pt x="80" y="74"/>
                    <a:pt x="58" y="74"/>
                  </a:cubicBezTo>
                  <a:cubicBezTo>
                    <a:pt x="27" y="74"/>
                    <a:pt x="2" y="41"/>
                    <a:pt x="1" y="40"/>
                  </a:cubicBezTo>
                  <a:cubicBezTo>
                    <a:pt x="0" y="37"/>
                    <a:pt x="0" y="37"/>
                    <a:pt x="0" y="37"/>
                  </a:cubicBezTo>
                  <a:cubicBezTo>
                    <a:pt x="1" y="35"/>
                    <a:pt x="1" y="35"/>
                    <a:pt x="1" y="35"/>
                  </a:cubicBezTo>
                  <a:cubicBezTo>
                    <a:pt x="2" y="34"/>
                    <a:pt x="27" y="0"/>
                    <a:pt x="58" y="0"/>
                  </a:cubicBezTo>
                  <a:cubicBezTo>
                    <a:pt x="89" y="0"/>
                    <a:pt x="116" y="37"/>
                    <a:pt x="116" y="37"/>
                  </a:cubicBezTo>
                  <a:lnTo>
                    <a:pt x="108" y="47"/>
                  </a:ln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29">
              <a:extLst>
                <a:ext uri="{FF2B5EF4-FFF2-40B4-BE49-F238E27FC236}">
                  <a16:creationId xmlns:a16="http://schemas.microsoft.com/office/drawing/2014/main" id="{09C0D706-46A7-41F9-B085-6352CC6D675B}"/>
                </a:ext>
              </a:extLst>
            </p:cNvPr>
            <p:cNvSpPr>
              <a:spLocks/>
            </p:cNvSpPr>
            <p:nvPr/>
          </p:nvSpPr>
          <p:spPr bwMode="auto">
            <a:xfrm>
              <a:off x="8355013" y="1571625"/>
              <a:ext cx="206375" cy="201613"/>
            </a:xfrm>
            <a:custGeom>
              <a:avLst/>
              <a:gdLst>
                <a:gd name="T0" fmla="*/ 23 w 46"/>
                <a:gd name="T1" fmla="*/ 45 h 45"/>
                <a:gd name="T2" fmla="*/ 0 w 46"/>
                <a:gd name="T3" fmla="*/ 22 h 45"/>
                <a:gd name="T4" fmla="*/ 23 w 46"/>
                <a:gd name="T5" fmla="*/ 0 h 45"/>
                <a:gd name="T6" fmla="*/ 46 w 46"/>
                <a:gd name="T7" fmla="*/ 22 h 45"/>
              </a:gdLst>
              <a:ahLst/>
              <a:cxnLst>
                <a:cxn ang="0">
                  <a:pos x="T0" y="T1"/>
                </a:cxn>
                <a:cxn ang="0">
                  <a:pos x="T2" y="T3"/>
                </a:cxn>
                <a:cxn ang="0">
                  <a:pos x="T4" y="T5"/>
                </a:cxn>
                <a:cxn ang="0">
                  <a:pos x="T6" y="T7"/>
                </a:cxn>
              </a:cxnLst>
              <a:rect l="0" t="0" r="r" b="b"/>
              <a:pathLst>
                <a:path w="46" h="45">
                  <a:moveTo>
                    <a:pt x="23" y="45"/>
                  </a:moveTo>
                  <a:cubicBezTo>
                    <a:pt x="10" y="45"/>
                    <a:pt x="0" y="35"/>
                    <a:pt x="0" y="22"/>
                  </a:cubicBezTo>
                  <a:cubicBezTo>
                    <a:pt x="0" y="10"/>
                    <a:pt x="10" y="0"/>
                    <a:pt x="23" y="0"/>
                  </a:cubicBezTo>
                  <a:cubicBezTo>
                    <a:pt x="35" y="0"/>
                    <a:pt x="46" y="10"/>
                    <a:pt x="46" y="22"/>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3" name="Freeform: Shape 22">
            <a:extLst>
              <a:ext uri="{FF2B5EF4-FFF2-40B4-BE49-F238E27FC236}">
                <a16:creationId xmlns:a16="http://schemas.microsoft.com/office/drawing/2014/main" id="{B820799A-2B7F-4AF2-BDE1-A21355A40D69}"/>
              </a:ext>
            </a:extLst>
          </p:cNvPr>
          <p:cNvSpPr/>
          <p:nvPr/>
        </p:nvSpPr>
        <p:spPr>
          <a:xfrm>
            <a:off x="814045" y="3326677"/>
            <a:ext cx="362233" cy="45719"/>
          </a:xfrm>
          <a:custGeom>
            <a:avLst/>
            <a:gdLst/>
            <a:ahLst/>
            <a:cxnLst/>
            <a:rect l="0" t="0" r="0" b="0"/>
            <a:pathLst>
              <a:path w="499910" h="63095">
                <a:moveTo>
                  <a:pt x="288636" y="11891"/>
                </a:moveTo>
                <a:cubicBezTo>
                  <a:pt x="290092" y="11891"/>
                  <a:pt x="291063" y="11891"/>
                  <a:pt x="291063" y="10435"/>
                </a:cubicBezTo>
                <a:cubicBezTo>
                  <a:pt x="294946" y="8008"/>
                  <a:pt x="299799" y="6552"/>
                  <a:pt x="304653" y="6552"/>
                </a:cubicBezTo>
                <a:cubicBezTo>
                  <a:pt x="314360" y="8008"/>
                  <a:pt x="324067" y="6552"/>
                  <a:pt x="335230" y="5096"/>
                </a:cubicBezTo>
                <a:cubicBezTo>
                  <a:pt x="339113" y="5096"/>
                  <a:pt x="343966" y="3640"/>
                  <a:pt x="347364" y="5096"/>
                </a:cubicBezTo>
                <a:cubicBezTo>
                  <a:pt x="351247" y="5096"/>
                  <a:pt x="353673" y="5096"/>
                  <a:pt x="357071" y="5096"/>
                </a:cubicBezTo>
                <a:cubicBezTo>
                  <a:pt x="363380" y="3640"/>
                  <a:pt x="369204" y="3640"/>
                  <a:pt x="375514" y="3640"/>
                </a:cubicBezTo>
                <a:cubicBezTo>
                  <a:pt x="385221" y="5096"/>
                  <a:pt x="396384" y="6067"/>
                  <a:pt x="406091" y="5096"/>
                </a:cubicBezTo>
                <a:cubicBezTo>
                  <a:pt x="409974" y="5096"/>
                  <a:pt x="412401" y="5096"/>
                  <a:pt x="415798" y="5096"/>
                </a:cubicBezTo>
                <a:cubicBezTo>
                  <a:pt x="420652" y="5096"/>
                  <a:pt x="425505" y="6552"/>
                  <a:pt x="430359" y="5096"/>
                </a:cubicBezTo>
                <a:cubicBezTo>
                  <a:pt x="431815" y="5096"/>
                  <a:pt x="432785" y="5096"/>
                  <a:pt x="434241" y="5096"/>
                </a:cubicBezTo>
                <a:cubicBezTo>
                  <a:pt x="443948" y="7523"/>
                  <a:pt x="453655" y="6552"/>
                  <a:pt x="463362" y="6552"/>
                </a:cubicBezTo>
                <a:cubicBezTo>
                  <a:pt x="472099" y="8008"/>
                  <a:pt x="480350" y="8979"/>
                  <a:pt x="487630" y="11406"/>
                </a:cubicBezTo>
                <a:cubicBezTo>
                  <a:pt x="493939" y="12862"/>
                  <a:pt x="496366" y="17715"/>
                  <a:pt x="497337" y="22569"/>
                </a:cubicBezTo>
                <a:cubicBezTo>
                  <a:pt x="497337" y="24996"/>
                  <a:pt x="495881" y="28878"/>
                  <a:pt x="493454" y="28878"/>
                </a:cubicBezTo>
                <a:cubicBezTo>
                  <a:pt x="491998" y="28878"/>
                  <a:pt x="491027" y="30334"/>
                  <a:pt x="489571" y="30334"/>
                </a:cubicBezTo>
                <a:cubicBezTo>
                  <a:pt x="472584" y="31791"/>
                  <a:pt x="455597" y="32761"/>
                  <a:pt x="438610" y="34217"/>
                </a:cubicBezTo>
                <a:cubicBezTo>
                  <a:pt x="426476" y="35673"/>
                  <a:pt x="412886" y="38100"/>
                  <a:pt x="400752" y="40527"/>
                </a:cubicBezTo>
                <a:cubicBezTo>
                  <a:pt x="379882" y="42954"/>
                  <a:pt x="360468" y="46836"/>
                  <a:pt x="340083" y="50234"/>
                </a:cubicBezTo>
                <a:cubicBezTo>
                  <a:pt x="326494" y="52661"/>
                  <a:pt x="313389" y="55087"/>
                  <a:pt x="299799" y="57514"/>
                </a:cubicBezTo>
                <a:cubicBezTo>
                  <a:pt x="270678" y="62368"/>
                  <a:pt x="241557" y="63824"/>
                  <a:pt x="212436" y="62368"/>
                </a:cubicBezTo>
                <a:cubicBezTo>
                  <a:pt x="186713" y="60912"/>
                  <a:pt x="162445" y="59941"/>
                  <a:pt x="137207" y="62368"/>
                </a:cubicBezTo>
                <a:cubicBezTo>
                  <a:pt x="135751" y="62368"/>
                  <a:pt x="134780" y="62368"/>
                  <a:pt x="133324" y="62368"/>
                </a:cubicBezTo>
                <a:cubicBezTo>
                  <a:pt x="130897" y="62368"/>
                  <a:pt x="128471" y="60912"/>
                  <a:pt x="127015" y="58485"/>
                </a:cubicBezTo>
                <a:cubicBezTo>
                  <a:pt x="127015" y="57029"/>
                  <a:pt x="125559" y="56058"/>
                  <a:pt x="125559" y="54602"/>
                </a:cubicBezTo>
                <a:cubicBezTo>
                  <a:pt x="124103" y="50719"/>
                  <a:pt x="127015" y="47322"/>
                  <a:pt x="130412" y="47322"/>
                </a:cubicBezTo>
                <a:cubicBezTo>
                  <a:pt x="135266" y="45866"/>
                  <a:pt x="140119" y="45866"/>
                  <a:pt x="144002" y="47322"/>
                </a:cubicBezTo>
                <a:cubicBezTo>
                  <a:pt x="148855" y="47322"/>
                  <a:pt x="152738" y="47322"/>
                  <a:pt x="157592" y="45866"/>
                </a:cubicBezTo>
                <a:cubicBezTo>
                  <a:pt x="160018" y="44410"/>
                  <a:pt x="163901" y="44410"/>
                  <a:pt x="167299" y="44410"/>
                </a:cubicBezTo>
                <a:cubicBezTo>
                  <a:pt x="173608" y="45866"/>
                  <a:pt x="179432" y="45866"/>
                  <a:pt x="185742" y="44410"/>
                </a:cubicBezTo>
                <a:cubicBezTo>
                  <a:pt x="189625" y="44410"/>
                  <a:pt x="193022" y="44410"/>
                  <a:pt x="197876" y="45866"/>
                </a:cubicBezTo>
                <a:cubicBezTo>
                  <a:pt x="201759" y="45866"/>
                  <a:pt x="206612" y="45866"/>
                  <a:pt x="210010" y="45866"/>
                </a:cubicBezTo>
                <a:cubicBezTo>
                  <a:pt x="214863" y="45866"/>
                  <a:pt x="219717" y="47322"/>
                  <a:pt x="224570" y="45866"/>
                </a:cubicBezTo>
                <a:cubicBezTo>
                  <a:pt x="233306" y="45866"/>
                  <a:pt x="243013" y="44410"/>
                  <a:pt x="252720" y="45866"/>
                </a:cubicBezTo>
                <a:cubicBezTo>
                  <a:pt x="262427" y="44410"/>
                  <a:pt x="272134" y="45866"/>
                  <a:pt x="283298" y="43439"/>
                </a:cubicBezTo>
                <a:cubicBezTo>
                  <a:pt x="285724" y="41983"/>
                  <a:pt x="288151" y="41983"/>
                  <a:pt x="290578" y="41012"/>
                </a:cubicBezTo>
                <a:cubicBezTo>
                  <a:pt x="306594" y="39556"/>
                  <a:pt x="322126" y="37129"/>
                  <a:pt x="338142" y="33732"/>
                </a:cubicBezTo>
                <a:cubicBezTo>
                  <a:pt x="356585" y="31305"/>
                  <a:pt x="373573" y="26452"/>
                  <a:pt x="391531" y="24996"/>
                </a:cubicBezTo>
                <a:cubicBezTo>
                  <a:pt x="396384" y="24996"/>
                  <a:pt x="400267" y="23540"/>
                  <a:pt x="403664" y="21113"/>
                </a:cubicBezTo>
                <a:cubicBezTo>
                  <a:pt x="403664" y="19657"/>
                  <a:pt x="403664" y="19657"/>
                  <a:pt x="402208" y="19657"/>
                </a:cubicBezTo>
                <a:cubicBezTo>
                  <a:pt x="385221" y="18201"/>
                  <a:pt x="368234" y="18201"/>
                  <a:pt x="351247" y="18201"/>
                </a:cubicBezTo>
                <a:cubicBezTo>
                  <a:pt x="339113" y="18201"/>
                  <a:pt x="326979" y="19657"/>
                  <a:pt x="314845" y="19657"/>
                </a:cubicBezTo>
                <a:cubicBezTo>
                  <a:pt x="306109" y="19657"/>
                  <a:pt x="297858" y="19657"/>
                  <a:pt x="289122" y="22084"/>
                </a:cubicBezTo>
                <a:cubicBezTo>
                  <a:pt x="287666" y="22084"/>
                  <a:pt x="286695" y="22084"/>
                  <a:pt x="285239" y="22084"/>
                </a:cubicBezTo>
                <a:cubicBezTo>
                  <a:pt x="271649" y="20627"/>
                  <a:pt x="259515" y="23540"/>
                  <a:pt x="246411" y="24510"/>
                </a:cubicBezTo>
                <a:cubicBezTo>
                  <a:pt x="220687" y="26937"/>
                  <a:pt x="195449" y="28393"/>
                  <a:pt x="169725" y="31791"/>
                </a:cubicBezTo>
                <a:cubicBezTo>
                  <a:pt x="151282" y="34217"/>
                  <a:pt x="133324" y="36644"/>
                  <a:pt x="113910" y="38100"/>
                </a:cubicBezTo>
                <a:cubicBezTo>
                  <a:pt x="107601" y="39556"/>
                  <a:pt x="100320" y="40527"/>
                  <a:pt x="93040" y="41983"/>
                </a:cubicBezTo>
                <a:cubicBezTo>
                  <a:pt x="81877" y="44410"/>
                  <a:pt x="71199" y="45866"/>
                  <a:pt x="59066" y="46836"/>
                </a:cubicBezTo>
                <a:cubicBezTo>
                  <a:pt x="46932" y="49263"/>
                  <a:pt x="34798" y="51690"/>
                  <a:pt x="23635" y="54117"/>
                </a:cubicBezTo>
                <a:cubicBezTo>
                  <a:pt x="16355" y="55573"/>
                  <a:pt x="11501" y="54117"/>
                  <a:pt x="6648" y="50234"/>
                </a:cubicBezTo>
                <a:cubicBezTo>
                  <a:pt x="5192" y="48778"/>
                  <a:pt x="4221" y="46351"/>
                  <a:pt x="4221" y="45380"/>
                </a:cubicBezTo>
                <a:cubicBezTo>
                  <a:pt x="2765" y="42954"/>
                  <a:pt x="4221" y="39071"/>
                  <a:pt x="6648" y="38100"/>
                </a:cubicBezTo>
                <a:cubicBezTo>
                  <a:pt x="9075" y="38100"/>
                  <a:pt x="11501" y="36644"/>
                  <a:pt x="13928" y="36644"/>
                </a:cubicBezTo>
                <a:cubicBezTo>
                  <a:pt x="22664" y="35188"/>
                  <a:pt x="30915" y="34217"/>
                  <a:pt x="40622" y="32761"/>
                </a:cubicBezTo>
                <a:cubicBezTo>
                  <a:pt x="56639" y="30334"/>
                  <a:pt x="72170" y="27908"/>
                  <a:pt x="89157" y="25481"/>
                </a:cubicBezTo>
                <a:cubicBezTo>
                  <a:pt x="95467" y="25481"/>
                  <a:pt x="101291" y="24025"/>
                  <a:pt x="107601" y="23054"/>
                </a:cubicBezTo>
                <a:cubicBezTo>
                  <a:pt x="113910" y="22084"/>
                  <a:pt x="119734" y="20627"/>
                  <a:pt x="124588" y="21598"/>
                </a:cubicBezTo>
                <a:cubicBezTo>
                  <a:pt x="127015" y="21598"/>
                  <a:pt x="128471" y="21598"/>
                  <a:pt x="130897" y="21598"/>
                </a:cubicBezTo>
                <a:cubicBezTo>
                  <a:pt x="139634" y="19171"/>
                  <a:pt x="147885" y="19171"/>
                  <a:pt x="156621" y="19171"/>
                </a:cubicBezTo>
                <a:cubicBezTo>
                  <a:pt x="161475" y="17715"/>
                  <a:pt x="165357" y="17715"/>
                  <a:pt x="170211" y="16745"/>
                </a:cubicBezTo>
                <a:cubicBezTo>
                  <a:pt x="170211" y="16745"/>
                  <a:pt x="171667" y="16745"/>
                  <a:pt x="172638" y="16745"/>
                </a:cubicBezTo>
                <a:cubicBezTo>
                  <a:pt x="177491" y="15289"/>
                  <a:pt x="183801" y="18201"/>
                  <a:pt x="188654" y="14318"/>
                </a:cubicBezTo>
                <a:cubicBezTo>
                  <a:pt x="193508" y="12862"/>
                  <a:pt x="198361" y="12862"/>
                  <a:pt x="204671" y="11891"/>
                </a:cubicBezTo>
                <a:cubicBezTo>
                  <a:pt x="207097" y="10435"/>
                  <a:pt x="210980" y="10435"/>
                  <a:pt x="213407" y="11891"/>
                </a:cubicBezTo>
                <a:cubicBezTo>
                  <a:pt x="219717" y="13347"/>
                  <a:pt x="224570" y="13347"/>
                  <a:pt x="229424" y="11891"/>
                </a:cubicBezTo>
                <a:cubicBezTo>
                  <a:pt x="234277" y="10435"/>
                  <a:pt x="238160" y="9464"/>
                  <a:pt x="243013" y="10435"/>
                </a:cubicBezTo>
                <a:cubicBezTo>
                  <a:pt x="245440" y="10435"/>
                  <a:pt x="247867" y="8979"/>
                  <a:pt x="250294" y="8979"/>
                </a:cubicBezTo>
                <a:cubicBezTo>
                  <a:pt x="257574" y="7523"/>
                  <a:pt x="264854" y="6552"/>
                  <a:pt x="272134" y="7523"/>
                </a:cubicBezTo>
                <a:cubicBezTo>
                  <a:pt x="277473" y="9464"/>
                  <a:pt x="283783" y="8494"/>
                  <a:pt x="288636" y="11891"/>
                </a:cubicBezTo>
                <a:lnTo>
                  <a:pt x="288636" y="11891"/>
                </a:lnTo>
                <a:close/>
              </a:path>
            </a:pathLst>
          </a:custGeom>
          <a:solidFill>
            <a:srgbClr val="1F2023"/>
          </a:solidFill>
          <a:ln w="9525" cap="flat">
            <a:noFill/>
            <a:prstDash val="solid"/>
            <a:miter/>
          </a:ln>
        </p:spPr>
        <p:txBody>
          <a:bodyPr/>
          <a:lstStyle/>
          <a:p>
            <a:endParaRPr lang="en-GB" dirty="0"/>
          </a:p>
        </p:txBody>
      </p:sp>
      <p:sp>
        <p:nvSpPr>
          <p:cNvPr id="24" name="Freeform: Shape 23">
            <a:extLst>
              <a:ext uri="{FF2B5EF4-FFF2-40B4-BE49-F238E27FC236}">
                <a16:creationId xmlns:a16="http://schemas.microsoft.com/office/drawing/2014/main" id="{CF6A70E2-3E50-4A65-AF8E-8DF0D8B73D2C}"/>
              </a:ext>
            </a:extLst>
          </p:cNvPr>
          <p:cNvSpPr/>
          <p:nvPr/>
        </p:nvSpPr>
        <p:spPr>
          <a:xfrm>
            <a:off x="794993" y="4507203"/>
            <a:ext cx="362233" cy="45719"/>
          </a:xfrm>
          <a:custGeom>
            <a:avLst/>
            <a:gdLst/>
            <a:ahLst/>
            <a:cxnLst/>
            <a:rect l="0" t="0" r="0" b="0"/>
            <a:pathLst>
              <a:path w="499910" h="63095">
                <a:moveTo>
                  <a:pt x="288636" y="11891"/>
                </a:moveTo>
                <a:cubicBezTo>
                  <a:pt x="290092" y="11891"/>
                  <a:pt x="291063" y="11891"/>
                  <a:pt x="291063" y="10435"/>
                </a:cubicBezTo>
                <a:cubicBezTo>
                  <a:pt x="294946" y="8008"/>
                  <a:pt x="299799" y="6552"/>
                  <a:pt x="304653" y="6552"/>
                </a:cubicBezTo>
                <a:cubicBezTo>
                  <a:pt x="314360" y="8008"/>
                  <a:pt x="324067" y="6552"/>
                  <a:pt x="335230" y="5096"/>
                </a:cubicBezTo>
                <a:cubicBezTo>
                  <a:pt x="339113" y="5096"/>
                  <a:pt x="343966" y="3640"/>
                  <a:pt x="347364" y="5096"/>
                </a:cubicBezTo>
                <a:cubicBezTo>
                  <a:pt x="351247" y="5096"/>
                  <a:pt x="353673" y="5096"/>
                  <a:pt x="357071" y="5096"/>
                </a:cubicBezTo>
                <a:cubicBezTo>
                  <a:pt x="363380" y="3640"/>
                  <a:pt x="369204" y="3640"/>
                  <a:pt x="375514" y="3640"/>
                </a:cubicBezTo>
                <a:cubicBezTo>
                  <a:pt x="385221" y="5096"/>
                  <a:pt x="396384" y="6067"/>
                  <a:pt x="406091" y="5096"/>
                </a:cubicBezTo>
                <a:cubicBezTo>
                  <a:pt x="409974" y="5096"/>
                  <a:pt x="412401" y="5096"/>
                  <a:pt x="415798" y="5096"/>
                </a:cubicBezTo>
                <a:cubicBezTo>
                  <a:pt x="420652" y="5096"/>
                  <a:pt x="425505" y="6552"/>
                  <a:pt x="430359" y="5096"/>
                </a:cubicBezTo>
                <a:cubicBezTo>
                  <a:pt x="431815" y="5096"/>
                  <a:pt x="432785" y="5096"/>
                  <a:pt x="434241" y="5096"/>
                </a:cubicBezTo>
                <a:cubicBezTo>
                  <a:pt x="443948" y="7523"/>
                  <a:pt x="453655" y="6552"/>
                  <a:pt x="463362" y="6552"/>
                </a:cubicBezTo>
                <a:cubicBezTo>
                  <a:pt x="472099" y="8008"/>
                  <a:pt x="480350" y="8979"/>
                  <a:pt x="487630" y="11406"/>
                </a:cubicBezTo>
                <a:cubicBezTo>
                  <a:pt x="493939" y="12862"/>
                  <a:pt x="496366" y="17715"/>
                  <a:pt x="497337" y="22569"/>
                </a:cubicBezTo>
                <a:cubicBezTo>
                  <a:pt x="497337" y="24996"/>
                  <a:pt x="495881" y="28878"/>
                  <a:pt x="493454" y="28878"/>
                </a:cubicBezTo>
                <a:cubicBezTo>
                  <a:pt x="491998" y="28878"/>
                  <a:pt x="491027" y="30334"/>
                  <a:pt x="489571" y="30334"/>
                </a:cubicBezTo>
                <a:cubicBezTo>
                  <a:pt x="472584" y="31791"/>
                  <a:pt x="455597" y="32761"/>
                  <a:pt x="438610" y="34217"/>
                </a:cubicBezTo>
                <a:cubicBezTo>
                  <a:pt x="426476" y="35673"/>
                  <a:pt x="412886" y="38100"/>
                  <a:pt x="400752" y="40527"/>
                </a:cubicBezTo>
                <a:cubicBezTo>
                  <a:pt x="379882" y="42954"/>
                  <a:pt x="360468" y="46836"/>
                  <a:pt x="340083" y="50234"/>
                </a:cubicBezTo>
                <a:cubicBezTo>
                  <a:pt x="326494" y="52661"/>
                  <a:pt x="313389" y="55087"/>
                  <a:pt x="299799" y="57514"/>
                </a:cubicBezTo>
                <a:cubicBezTo>
                  <a:pt x="270678" y="62368"/>
                  <a:pt x="241557" y="63824"/>
                  <a:pt x="212436" y="62368"/>
                </a:cubicBezTo>
                <a:cubicBezTo>
                  <a:pt x="186713" y="60912"/>
                  <a:pt x="162445" y="59941"/>
                  <a:pt x="137207" y="62368"/>
                </a:cubicBezTo>
                <a:cubicBezTo>
                  <a:pt x="135751" y="62368"/>
                  <a:pt x="134780" y="62368"/>
                  <a:pt x="133324" y="62368"/>
                </a:cubicBezTo>
                <a:cubicBezTo>
                  <a:pt x="130897" y="62368"/>
                  <a:pt x="128471" y="60912"/>
                  <a:pt x="127015" y="58485"/>
                </a:cubicBezTo>
                <a:cubicBezTo>
                  <a:pt x="127015" y="57029"/>
                  <a:pt x="125559" y="56058"/>
                  <a:pt x="125559" y="54602"/>
                </a:cubicBezTo>
                <a:cubicBezTo>
                  <a:pt x="124103" y="50719"/>
                  <a:pt x="127015" y="47322"/>
                  <a:pt x="130412" y="47322"/>
                </a:cubicBezTo>
                <a:cubicBezTo>
                  <a:pt x="135266" y="45866"/>
                  <a:pt x="140119" y="45866"/>
                  <a:pt x="144002" y="47322"/>
                </a:cubicBezTo>
                <a:cubicBezTo>
                  <a:pt x="148855" y="47322"/>
                  <a:pt x="152738" y="47322"/>
                  <a:pt x="157592" y="45866"/>
                </a:cubicBezTo>
                <a:cubicBezTo>
                  <a:pt x="160018" y="44410"/>
                  <a:pt x="163901" y="44410"/>
                  <a:pt x="167299" y="44410"/>
                </a:cubicBezTo>
                <a:cubicBezTo>
                  <a:pt x="173608" y="45866"/>
                  <a:pt x="179432" y="45866"/>
                  <a:pt x="185742" y="44410"/>
                </a:cubicBezTo>
                <a:cubicBezTo>
                  <a:pt x="189625" y="44410"/>
                  <a:pt x="193022" y="44410"/>
                  <a:pt x="197876" y="45866"/>
                </a:cubicBezTo>
                <a:cubicBezTo>
                  <a:pt x="201759" y="45866"/>
                  <a:pt x="206612" y="45866"/>
                  <a:pt x="210010" y="45866"/>
                </a:cubicBezTo>
                <a:cubicBezTo>
                  <a:pt x="214863" y="45866"/>
                  <a:pt x="219717" y="47322"/>
                  <a:pt x="224570" y="45866"/>
                </a:cubicBezTo>
                <a:cubicBezTo>
                  <a:pt x="233306" y="45866"/>
                  <a:pt x="243013" y="44410"/>
                  <a:pt x="252720" y="45866"/>
                </a:cubicBezTo>
                <a:cubicBezTo>
                  <a:pt x="262427" y="44410"/>
                  <a:pt x="272134" y="45866"/>
                  <a:pt x="283298" y="43439"/>
                </a:cubicBezTo>
                <a:cubicBezTo>
                  <a:pt x="285724" y="41983"/>
                  <a:pt x="288151" y="41983"/>
                  <a:pt x="290578" y="41012"/>
                </a:cubicBezTo>
                <a:cubicBezTo>
                  <a:pt x="306594" y="39556"/>
                  <a:pt x="322126" y="37129"/>
                  <a:pt x="338142" y="33732"/>
                </a:cubicBezTo>
                <a:cubicBezTo>
                  <a:pt x="356585" y="31305"/>
                  <a:pt x="373573" y="26452"/>
                  <a:pt x="391531" y="24996"/>
                </a:cubicBezTo>
                <a:cubicBezTo>
                  <a:pt x="396384" y="24996"/>
                  <a:pt x="400267" y="23540"/>
                  <a:pt x="403664" y="21113"/>
                </a:cubicBezTo>
                <a:cubicBezTo>
                  <a:pt x="403664" y="19657"/>
                  <a:pt x="403664" y="19657"/>
                  <a:pt x="402208" y="19657"/>
                </a:cubicBezTo>
                <a:cubicBezTo>
                  <a:pt x="385221" y="18201"/>
                  <a:pt x="368234" y="18201"/>
                  <a:pt x="351247" y="18201"/>
                </a:cubicBezTo>
                <a:cubicBezTo>
                  <a:pt x="339113" y="18201"/>
                  <a:pt x="326979" y="19657"/>
                  <a:pt x="314845" y="19657"/>
                </a:cubicBezTo>
                <a:cubicBezTo>
                  <a:pt x="306109" y="19657"/>
                  <a:pt x="297858" y="19657"/>
                  <a:pt x="289122" y="22084"/>
                </a:cubicBezTo>
                <a:cubicBezTo>
                  <a:pt x="287666" y="22084"/>
                  <a:pt x="286695" y="22084"/>
                  <a:pt x="285239" y="22084"/>
                </a:cubicBezTo>
                <a:cubicBezTo>
                  <a:pt x="271649" y="20627"/>
                  <a:pt x="259515" y="23540"/>
                  <a:pt x="246411" y="24510"/>
                </a:cubicBezTo>
                <a:cubicBezTo>
                  <a:pt x="220687" y="26937"/>
                  <a:pt x="195449" y="28393"/>
                  <a:pt x="169725" y="31791"/>
                </a:cubicBezTo>
                <a:cubicBezTo>
                  <a:pt x="151282" y="34217"/>
                  <a:pt x="133324" y="36644"/>
                  <a:pt x="113910" y="38100"/>
                </a:cubicBezTo>
                <a:cubicBezTo>
                  <a:pt x="107601" y="39556"/>
                  <a:pt x="100320" y="40527"/>
                  <a:pt x="93040" y="41983"/>
                </a:cubicBezTo>
                <a:cubicBezTo>
                  <a:pt x="81877" y="44410"/>
                  <a:pt x="71199" y="45866"/>
                  <a:pt x="59066" y="46836"/>
                </a:cubicBezTo>
                <a:cubicBezTo>
                  <a:pt x="46932" y="49263"/>
                  <a:pt x="34798" y="51690"/>
                  <a:pt x="23635" y="54117"/>
                </a:cubicBezTo>
                <a:cubicBezTo>
                  <a:pt x="16355" y="55573"/>
                  <a:pt x="11501" y="54117"/>
                  <a:pt x="6648" y="50234"/>
                </a:cubicBezTo>
                <a:cubicBezTo>
                  <a:pt x="5192" y="48778"/>
                  <a:pt x="4221" y="46351"/>
                  <a:pt x="4221" y="45380"/>
                </a:cubicBezTo>
                <a:cubicBezTo>
                  <a:pt x="2765" y="42954"/>
                  <a:pt x="4221" y="39071"/>
                  <a:pt x="6648" y="38100"/>
                </a:cubicBezTo>
                <a:cubicBezTo>
                  <a:pt x="9075" y="38100"/>
                  <a:pt x="11501" y="36644"/>
                  <a:pt x="13928" y="36644"/>
                </a:cubicBezTo>
                <a:cubicBezTo>
                  <a:pt x="22664" y="35188"/>
                  <a:pt x="30915" y="34217"/>
                  <a:pt x="40622" y="32761"/>
                </a:cubicBezTo>
                <a:cubicBezTo>
                  <a:pt x="56639" y="30334"/>
                  <a:pt x="72170" y="27908"/>
                  <a:pt x="89157" y="25481"/>
                </a:cubicBezTo>
                <a:cubicBezTo>
                  <a:pt x="95467" y="25481"/>
                  <a:pt x="101291" y="24025"/>
                  <a:pt x="107601" y="23054"/>
                </a:cubicBezTo>
                <a:cubicBezTo>
                  <a:pt x="113910" y="22084"/>
                  <a:pt x="119734" y="20627"/>
                  <a:pt x="124588" y="21598"/>
                </a:cubicBezTo>
                <a:cubicBezTo>
                  <a:pt x="127015" y="21598"/>
                  <a:pt x="128471" y="21598"/>
                  <a:pt x="130897" y="21598"/>
                </a:cubicBezTo>
                <a:cubicBezTo>
                  <a:pt x="139634" y="19171"/>
                  <a:pt x="147885" y="19171"/>
                  <a:pt x="156621" y="19171"/>
                </a:cubicBezTo>
                <a:cubicBezTo>
                  <a:pt x="161475" y="17715"/>
                  <a:pt x="165357" y="17715"/>
                  <a:pt x="170211" y="16745"/>
                </a:cubicBezTo>
                <a:cubicBezTo>
                  <a:pt x="170211" y="16745"/>
                  <a:pt x="171667" y="16745"/>
                  <a:pt x="172638" y="16745"/>
                </a:cubicBezTo>
                <a:cubicBezTo>
                  <a:pt x="177491" y="15289"/>
                  <a:pt x="183801" y="18201"/>
                  <a:pt x="188654" y="14318"/>
                </a:cubicBezTo>
                <a:cubicBezTo>
                  <a:pt x="193508" y="12862"/>
                  <a:pt x="198361" y="12862"/>
                  <a:pt x="204671" y="11891"/>
                </a:cubicBezTo>
                <a:cubicBezTo>
                  <a:pt x="207097" y="10435"/>
                  <a:pt x="210980" y="10435"/>
                  <a:pt x="213407" y="11891"/>
                </a:cubicBezTo>
                <a:cubicBezTo>
                  <a:pt x="219717" y="13347"/>
                  <a:pt x="224570" y="13347"/>
                  <a:pt x="229424" y="11891"/>
                </a:cubicBezTo>
                <a:cubicBezTo>
                  <a:pt x="234277" y="10435"/>
                  <a:pt x="238160" y="9464"/>
                  <a:pt x="243013" y="10435"/>
                </a:cubicBezTo>
                <a:cubicBezTo>
                  <a:pt x="245440" y="10435"/>
                  <a:pt x="247867" y="8979"/>
                  <a:pt x="250294" y="8979"/>
                </a:cubicBezTo>
                <a:cubicBezTo>
                  <a:pt x="257574" y="7523"/>
                  <a:pt x="264854" y="6552"/>
                  <a:pt x="272134" y="7523"/>
                </a:cubicBezTo>
                <a:cubicBezTo>
                  <a:pt x="277473" y="9464"/>
                  <a:pt x="283783" y="8494"/>
                  <a:pt x="288636" y="11891"/>
                </a:cubicBezTo>
                <a:lnTo>
                  <a:pt x="288636" y="11891"/>
                </a:lnTo>
                <a:close/>
              </a:path>
            </a:pathLst>
          </a:custGeom>
          <a:solidFill>
            <a:srgbClr val="1F2023"/>
          </a:solidFill>
          <a:ln w="9525" cap="flat">
            <a:noFill/>
            <a:prstDash val="solid"/>
            <a:miter/>
          </a:ln>
        </p:spPr>
        <p:txBody>
          <a:bodyPr/>
          <a:lstStyle/>
          <a:p>
            <a:endParaRPr lang="en-GB" dirty="0"/>
          </a:p>
        </p:txBody>
      </p:sp>
    </p:spTree>
    <p:extLst>
      <p:ext uri="{BB962C8B-B14F-4D97-AF65-F5344CB8AC3E}">
        <p14:creationId xmlns:p14="http://schemas.microsoft.com/office/powerpoint/2010/main" val="119385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7022BAAC-DEE2-4C92-8EE7-DE3A2F3EA6BF}"/>
              </a:ext>
            </a:extLst>
          </p:cNvPr>
          <p:cNvSpPr/>
          <p:nvPr/>
        </p:nvSpPr>
        <p:spPr>
          <a:xfrm>
            <a:off x="4803044" y="1039226"/>
            <a:ext cx="4155339" cy="4155339"/>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8" name="Content Placeholder 7">
            <a:extLst>
              <a:ext uri="{FF2B5EF4-FFF2-40B4-BE49-F238E27FC236}">
                <a16:creationId xmlns:a16="http://schemas.microsoft.com/office/drawing/2014/main" id="{EC0BC1D7-0CC4-4372-AADE-DE326832241A}"/>
              </a:ext>
            </a:extLst>
          </p:cNvPr>
          <p:cNvSpPr>
            <a:spLocks noGrp="1"/>
          </p:cNvSpPr>
          <p:nvPr>
            <p:ph idx="1"/>
          </p:nvPr>
        </p:nvSpPr>
        <p:spPr>
          <a:xfrm>
            <a:off x="269876" y="2906013"/>
            <a:ext cx="3803360" cy="253910"/>
          </a:xfrm>
        </p:spPr>
        <p:txBody>
          <a:bodyPr>
            <a:noAutofit/>
          </a:bodyPr>
          <a:lstStyle/>
          <a:p>
            <a:pPr>
              <a:spcBef>
                <a:spcPts val="600"/>
              </a:spcBef>
            </a:pPr>
            <a:r>
              <a:rPr lang="en-GB" sz="1600" b="1" dirty="0">
                <a:latin typeface="Arial" pitchFamily="34" charset="0"/>
                <a:cs typeface="Arial" pitchFamily="34" charset="0"/>
              </a:rPr>
              <a:t>Some basic principles </a:t>
            </a:r>
          </a:p>
        </p:txBody>
      </p:sp>
      <p:sp>
        <p:nvSpPr>
          <p:cNvPr id="4" name="Date Placeholder 3">
            <a:extLst>
              <a:ext uri="{FF2B5EF4-FFF2-40B4-BE49-F238E27FC236}">
                <a16:creationId xmlns:a16="http://schemas.microsoft.com/office/drawing/2014/main" id="{C7523BF2-12AE-4DFE-A3BE-4D56D4E065EA}"/>
              </a:ext>
            </a:extLst>
          </p:cNvPr>
          <p:cNvSpPr>
            <a:spLocks noGrp="1"/>
          </p:cNvSpPr>
          <p:nvPr>
            <p:ph type="dt" sz="half" idx="10"/>
          </p:nvPr>
        </p:nvSpPr>
        <p:spPr/>
        <p:txBody>
          <a:bodyPr/>
          <a:lstStyle/>
          <a:p>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fld id="{8A6E0422-6ECB-43C9-8CFE-4C39AC685875}" type="datetime1">
              <a:rPr kumimoji="0" lang="en-GB" sz="100" b="0" i="0" u="none" strike="noStrike" kern="1200" cap="all" spc="163" normalizeH="0" baseline="0" noProof="0" smtClean="0">
                <a:ln>
                  <a:noFill/>
                </a:ln>
                <a:solidFill>
                  <a:srgbClr val="FFFFFF"/>
                </a:solidFill>
                <a:effectLst/>
                <a:uLnTx/>
                <a:uFillTx/>
                <a:latin typeface="Arial"/>
                <a:ea typeface="+mn-ea"/>
                <a:cs typeface="+mn-cs"/>
              </a:rPr>
              <a:pPr marL="0" marR="0" lvl="0" indent="0" algn="l" defTabSz="742950" rtl="0" eaLnBrk="1" fontAlgn="auto" latinLnBrk="0" hangingPunct="1">
                <a:lnSpc>
                  <a:spcPct val="90000"/>
                </a:lnSpc>
                <a:spcBef>
                  <a:spcPts val="0"/>
                </a:spcBef>
                <a:spcAft>
                  <a:spcPts val="600"/>
                </a:spcAft>
                <a:buClrTx/>
                <a:buSzTx/>
                <a:buFont typeface="Arial" panose="020B0604020202020204" pitchFamily="34" charset="0"/>
                <a:buChar char="​"/>
                <a:tabLst/>
                <a:defRPr/>
              </a:pPr>
              <a:t>17/01/2019</a:t>
            </a:fld>
            <a:endParaRPr kumimoji="0" lang="en-GB" sz="100" b="0" i="0" u="none" strike="noStrike" kern="1200" cap="all" spc="163" normalizeH="0" baseline="0" noProof="0" dirty="0">
              <a:ln>
                <a:noFill/>
              </a:ln>
              <a:solidFill>
                <a:srgbClr val="FFFFFF"/>
              </a:solidFill>
              <a:effectLst/>
              <a:uLnTx/>
              <a:uFillTx/>
              <a:latin typeface="Arial"/>
              <a:ea typeface="+mn-ea"/>
              <a:cs typeface="+mn-cs"/>
            </a:endParaRPr>
          </a:p>
        </p:txBody>
      </p:sp>
      <p:sp>
        <p:nvSpPr>
          <p:cNvPr id="7" name="Title 6">
            <a:extLst>
              <a:ext uri="{FF2B5EF4-FFF2-40B4-BE49-F238E27FC236}">
                <a16:creationId xmlns:a16="http://schemas.microsoft.com/office/drawing/2014/main" id="{B4B44695-2102-4720-90CB-F4F6D172DDB8}"/>
              </a:ext>
            </a:extLst>
          </p:cNvPr>
          <p:cNvSpPr>
            <a:spLocks noGrp="1"/>
          </p:cNvSpPr>
          <p:nvPr>
            <p:ph type="title"/>
          </p:nvPr>
        </p:nvSpPr>
        <p:spPr>
          <a:xfrm>
            <a:off x="308459" y="269875"/>
            <a:ext cx="8240140" cy="692336"/>
          </a:xfrm>
        </p:spPr>
        <p:txBody>
          <a:bodyPr/>
          <a:lstStyle/>
          <a:p>
            <a:r>
              <a:rPr lang="en-GB" dirty="0"/>
              <a:t>Appreciative inquiry </a:t>
            </a:r>
          </a:p>
        </p:txBody>
      </p:sp>
      <p:sp>
        <p:nvSpPr>
          <p:cNvPr id="5" name="Text Placeholder 4">
            <a:extLst>
              <a:ext uri="{FF2B5EF4-FFF2-40B4-BE49-F238E27FC236}">
                <a16:creationId xmlns:a16="http://schemas.microsoft.com/office/drawing/2014/main" id="{997FA78B-3890-4962-AD12-523F1B439379}"/>
              </a:ext>
            </a:extLst>
          </p:cNvPr>
          <p:cNvSpPr>
            <a:spLocks noGrp="1"/>
          </p:cNvSpPr>
          <p:nvPr>
            <p:ph type="body" sz="quarter" idx="13"/>
          </p:nvPr>
        </p:nvSpPr>
        <p:spPr/>
        <p:txBody>
          <a:bodyPr/>
          <a:lstStyle/>
          <a:p>
            <a:endParaRPr lang="en-GB" dirty="0"/>
          </a:p>
        </p:txBody>
      </p:sp>
      <p:sp>
        <p:nvSpPr>
          <p:cNvPr id="6" name="Text Placeholder 5">
            <a:extLst>
              <a:ext uri="{FF2B5EF4-FFF2-40B4-BE49-F238E27FC236}">
                <a16:creationId xmlns:a16="http://schemas.microsoft.com/office/drawing/2014/main" id="{EAD174B2-8A95-4952-97D4-B0D6002782F7}"/>
              </a:ext>
            </a:extLst>
          </p:cNvPr>
          <p:cNvSpPr>
            <a:spLocks noGrp="1"/>
          </p:cNvSpPr>
          <p:nvPr>
            <p:ph type="body" sz="quarter" idx="14"/>
          </p:nvPr>
        </p:nvSpPr>
        <p:spPr/>
        <p:txBody>
          <a:bodyPr/>
          <a:lstStyle/>
          <a:p>
            <a:endParaRPr lang="en-GB" dirty="0"/>
          </a:p>
        </p:txBody>
      </p:sp>
      <p:sp>
        <p:nvSpPr>
          <p:cNvPr id="2" name="Rectangle 1">
            <a:extLst>
              <a:ext uri="{FF2B5EF4-FFF2-40B4-BE49-F238E27FC236}">
                <a16:creationId xmlns:a16="http://schemas.microsoft.com/office/drawing/2014/main" id="{91481E97-0B67-42FA-9DE7-B66F68B1A275}"/>
              </a:ext>
            </a:extLst>
          </p:cNvPr>
          <p:cNvSpPr/>
          <p:nvPr/>
        </p:nvSpPr>
        <p:spPr>
          <a:xfrm>
            <a:off x="273050" y="6125759"/>
            <a:ext cx="8240140" cy="184666"/>
          </a:xfrm>
          <a:prstGeom prst="rect">
            <a:avLst/>
          </a:prstGeom>
        </p:spPr>
        <p:txBody>
          <a:bodyPr wrap="square" lIns="0" tIns="0" rIns="0" bIns="0">
            <a:spAutoFit/>
          </a:bodyPr>
          <a:lstStyle/>
          <a:p>
            <a:pPr marL="0" lvl="1">
              <a:spcBef>
                <a:spcPts val="600"/>
              </a:spcBef>
            </a:pPr>
            <a:r>
              <a:rPr lang="en-GB" sz="1200" dirty="0">
                <a:solidFill>
                  <a:srgbClr val="1F2023"/>
                </a:solidFill>
                <a:latin typeface="Arial" pitchFamily="34" charset="0"/>
                <a:cs typeface="Arial" pitchFamily="34" charset="0"/>
                <a:hlinkClick r:id="rId2"/>
              </a:rPr>
              <a:t>https://www.centerforappreciativeinquiry.net/more-on-ai/principles-of-appreciative-inquiry/</a:t>
            </a:r>
            <a:r>
              <a:rPr lang="en-GB" sz="1200" dirty="0">
                <a:solidFill>
                  <a:srgbClr val="1F2023"/>
                </a:solidFill>
                <a:latin typeface="Arial" pitchFamily="34" charset="0"/>
                <a:cs typeface="Arial" pitchFamily="34" charset="0"/>
              </a:rPr>
              <a:t> </a:t>
            </a:r>
          </a:p>
        </p:txBody>
      </p:sp>
      <p:grpSp>
        <p:nvGrpSpPr>
          <p:cNvPr id="73" name="Group 72">
            <a:extLst>
              <a:ext uri="{FF2B5EF4-FFF2-40B4-BE49-F238E27FC236}">
                <a16:creationId xmlns:a16="http://schemas.microsoft.com/office/drawing/2014/main" id="{383DA949-1FEC-405B-BBA5-D293E956754F}"/>
              </a:ext>
            </a:extLst>
          </p:cNvPr>
          <p:cNvGrpSpPr/>
          <p:nvPr/>
        </p:nvGrpSpPr>
        <p:grpSpPr>
          <a:xfrm rot="1022911">
            <a:off x="5336224" y="1806785"/>
            <a:ext cx="2911177" cy="2215122"/>
            <a:chOff x="10444163" y="3349625"/>
            <a:chExt cx="554038" cy="382588"/>
          </a:xfrm>
        </p:grpSpPr>
        <p:sp>
          <p:nvSpPr>
            <p:cNvPr id="74" name="Freeform 139">
              <a:extLst>
                <a:ext uri="{FF2B5EF4-FFF2-40B4-BE49-F238E27FC236}">
                  <a16:creationId xmlns:a16="http://schemas.microsoft.com/office/drawing/2014/main" id="{8247EDAB-CDF7-4D30-B431-EB06108B3C6F}"/>
                </a:ext>
              </a:extLst>
            </p:cNvPr>
            <p:cNvSpPr>
              <a:spLocks/>
            </p:cNvSpPr>
            <p:nvPr/>
          </p:nvSpPr>
          <p:spPr bwMode="auto">
            <a:xfrm>
              <a:off x="10444163" y="3349625"/>
              <a:ext cx="490538" cy="373062"/>
            </a:xfrm>
            <a:custGeom>
              <a:avLst/>
              <a:gdLst>
                <a:gd name="T0" fmla="*/ 0 w 109"/>
                <a:gd name="T1" fmla="*/ 51 h 83"/>
                <a:gd name="T2" fmla="*/ 108 w 109"/>
                <a:gd name="T3" fmla="*/ 1 h 83"/>
                <a:gd name="T4" fmla="*/ 109 w 109"/>
                <a:gd name="T5" fmla="*/ 2 h 83"/>
                <a:gd name="T6" fmla="*/ 83 w 109"/>
                <a:gd name="T7" fmla="*/ 82 h 83"/>
                <a:gd name="T8" fmla="*/ 82 w 109"/>
                <a:gd name="T9" fmla="*/ 83 h 83"/>
                <a:gd name="T10" fmla="*/ 0 w 109"/>
                <a:gd name="T11" fmla="*/ 52 h 83"/>
                <a:gd name="T12" fmla="*/ 0 w 109"/>
                <a:gd name="T13" fmla="*/ 51 h 83"/>
              </a:gdLst>
              <a:ahLst/>
              <a:cxnLst>
                <a:cxn ang="0">
                  <a:pos x="T0" y="T1"/>
                </a:cxn>
                <a:cxn ang="0">
                  <a:pos x="T2" y="T3"/>
                </a:cxn>
                <a:cxn ang="0">
                  <a:pos x="T4" y="T5"/>
                </a:cxn>
                <a:cxn ang="0">
                  <a:pos x="T6" y="T7"/>
                </a:cxn>
                <a:cxn ang="0">
                  <a:pos x="T8" y="T9"/>
                </a:cxn>
                <a:cxn ang="0">
                  <a:pos x="T10" y="T11"/>
                </a:cxn>
                <a:cxn ang="0">
                  <a:pos x="T12" y="T13"/>
                </a:cxn>
              </a:cxnLst>
              <a:rect l="0" t="0" r="r" b="b"/>
              <a:pathLst>
                <a:path w="109" h="83">
                  <a:moveTo>
                    <a:pt x="0" y="51"/>
                  </a:moveTo>
                  <a:cubicBezTo>
                    <a:pt x="108" y="1"/>
                    <a:pt x="108" y="1"/>
                    <a:pt x="108" y="1"/>
                  </a:cubicBezTo>
                  <a:cubicBezTo>
                    <a:pt x="109" y="0"/>
                    <a:pt x="109" y="1"/>
                    <a:pt x="109" y="2"/>
                  </a:cubicBezTo>
                  <a:cubicBezTo>
                    <a:pt x="83" y="82"/>
                    <a:pt x="83" y="82"/>
                    <a:pt x="83" y="82"/>
                  </a:cubicBezTo>
                  <a:cubicBezTo>
                    <a:pt x="83" y="83"/>
                    <a:pt x="82" y="83"/>
                    <a:pt x="82" y="83"/>
                  </a:cubicBezTo>
                  <a:cubicBezTo>
                    <a:pt x="0" y="52"/>
                    <a:pt x="0" y="52"/>
                    <a:pt x="0" y="52"/>
                  </a:cubicBezTo>
                  <a:cubicBezTo>
                    <a:pt x="0" y="52"/>
                    <a:pt x="0" y="51"/>
                    <a:pt x="0" y="51"/>
                  </a:cubicBezTo>
                  <a:close/>
                </a:path>
              </a:pathLst>
            </a:custGeom>
            <a:solidFill>
              <a:srgbClr val="F4E2B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140">
              <a:extLst>
                <a:ext uri="{FF2B5EF4-FFF2-40B4-BE49-F238E27FC236}">
                  <a16:creationId xmlns:a16="http://schemas.microsoft.com/office/drawing/2014/main" id="{3F3D1EDB-4D5E-428A-A8FA-BD30CF20444B}"/>
                </a:ext>
              </a:extLst>
            </p:cNvPr>
            <p:cNvSpPr>
              <a:spLocks/>
            </p:cNvSpPr>
            <p:nvPr/>
          </p:nvSpPr>
          <p:spPr bwMode="auto">
            <a:xfrm>
              <a:off x="10493376" y="3349625"/>
              <a:ext cx="504825" cy="382587"/>
            </a:xfrm>
            <a:custGeom>
              <a:avLst/>
              <a:gdLst>
                <a:gd name="T0" fmla="*/ 0 w 318"/>
                <a:gd name="T1" fmla="*/ 147 h 241"/>
                <a:gd name="T2" fmla="*/ 318 w 318"/>
                <a:gd name="T3" fmla="*/ 0 h 241"/>
                <a:gd name="T4" fmla="*/ 238 w 318"/>
                <a:gd name="T5" fmla="*/ 241 h 241"/>
                <a:gd name="T6" fmla="*/ 131 w 318"/>
                <a:gd name="T7" fmla="*/ 182 h 241"/>
                <a:gd name="T8" fmla="*/ 318 w 318"/>
                <a:gd name="T9" fmla="*/ 0 h 241"/>
                <a:gd name="T10" fmla="*/ 99 w 318"/>
                <a:gd name="T11" fmla="*/ 170 h 241"/>
                <a:gd name="T12" fmla="*/ 0 w 318"/>
                <a:gd name="T13" fmla="*/ 147 h 241"/>
              </a:gdLst>
              <a:ahLst/>
              <a:cxnLst>
                <a:cxn ang="0">
                  <a:pos x="T0" y="T1"/>
                </a:cxn>
                <a:cxn ang="0">
                  <a:pos x="T2" y="T3"/>
                </a:cxn>
                <a:cxn ang="0">
                  <a:pos x="T4" y="T5"/>
                </a:cxn>
                <a:cxn ang="0">
                  <a:pos x="T6" y="T7"/>
                </a:cxn>
                <a:cxn ang="0">
                  <a:pos x="T8" y="T9"/>
                </a:cxn>
                <a:cxn ang="0">
                  <a:pos x="T10" y="T11"/>
                </a:cxn>
                <a:cxn ang="0">
                  <a:pos x="T12" y="T13"/>
                </a:cxn>
              </a:cxnLst>
              <a:rect l="0" t="0" r="r" b="b"/>
              <a:pathLst>
                <a:path w="318" h="241">
                  <a:moveTo>
                    <a:pt x="0" y="147"/>
                  </a:moveTo>
                  <a:lnTo>
                    <a:pt x="318" y="0"/>
                  </a:lnTo>
                  <a:lnTo>
                    <a:pt x="238" y="241"/>
                  </a:lnTo>
                  <a:lnTo>
                    <a:pt x="131" y="182"/>
                  </a:lnTo>
                  <a:lnTo>
                    <a:pt x="318" y="0"/>
                  </a:lnTo>
                  <a:lnTo>
                    <a:pt x="99" y="170"/>
                  </a:lnTo>
                  <a:lnTo>
                    <a:pt x="0" y="147"/>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6" name="Freeform 141">
              <a:extLst>
                <a:ext uri="{FF2B5EF4-FFF2-40B4-BE49-F238E27FC236}">
                  <a16:creationId xmlns:a16="http://schemas.microsoft.com/office/drawing/2014/main" id="{7DD8305F-8DEA-46D6-950F-E06BA734A2F3}"/>
                </a:ext>
              </a:extLst>
            </p:cNvPr>
            <p:cNvSpPr>
              <a:spLocks/>
            </p:cNvSpPr>
            <p:nvPr/>
          </p:nvSpPr>
          <p:spPr bwMode="auto">
            <a:xfrm>
              <a:off x="10650538" y="3619500"/>
              <a:ext cx="50800" cy="112712"/>
            </a:xfrm>
            <a:custGeom>
              <a:avLst/>
              <a:gdLst>
                <a:gd name="T0" fmla="*/ 0 w 32"/>
                <a:gd name="T1" fmla="*/ 0 h 71"/>
                <a:gd name="T2" fmla="*/ 32 w 32"/>
                <a:gd name="T3" fmla="*/ 71 h 71"/>
                <a:gd name="T4" fmla="*/ 32 w 32"/>
                <a:gd name="T5" fmla="*/ 14 h 71"/>
              </a:gdLst>
              <a:ahLst/>
              <a:cxnLst>
                <a:cxn ang="0">
                  <a:pos x="T0" y="T1"/>
                </a:cxn>
                <a:cxn ang="0">
                  <a:pos x="T2" y="T3"/>
                </a:cxn>
                <a:cxn ang="0">
                  <a:pos x="T4" y="T5"/>
                </a:cxn>
              </a:cxnLst>
              <a:rect l="0" t="0" r="r" b="b"/>
              <a:pathLst>
                <a:path w="32" h="71">
                  <a:moveTo>
                    <a:pt x="0" y="0"/>
                  </a:moveTo>
                  <a:lnTo>
                    <a:pt x="32" y="71"/>
                  </a:lnTo>
                  <a:lnTo>
                    <a:pt x="32" y="1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7" name="Line 142">
              <a:extLst>
                <a:ext uri="{FF2B5EF4-FFF2-40B4-BE49-F238E27FC236}">
                  <a16:creationId xmlns:a16="http://schemas.microsoft.com/office/drawing/2014/main" id="{FC4EDDA7-9A9F-4C85-970F-58EBE8C47B4B}"/>
                </a:ext>
              </a:extLst>
            </p:cNvPr>
            <p:cNvSpPr>
              <a:spLocks noChangeShapeType="1"/>
            </p:cNvSpPr>
            <p:nvPr/>
          </p:nvSpPr>
          <p:spPr bwMode="auto">
            <a:xfrm flipH="1">
              <a:off x="10701338" y="3700463"/>
              <a:ext cx="49213" cy="3175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15">
            <a:extLst>
              <a:ext uri="{FF2B5EF4-FFF2-40B4-BE49-F238E27FC236}">
                <a16:creationId xmlns:a16="http://schemas.microsoft.com/office/drawing/2014/main" id="{BB102E3D-22B2-4F72-B03B-6DCC1FD6AD28}"/>
              </a:ext>
            </a:extLst>
          </p:cNvPr>
          <p:cNvGrpSpPr/>
          <p:nvPr/>
        </p:nvGrpSpPr>
        <p:grpSpPr>
          <a:xfrm>
            <a:off x="293977" y="3395161"/>
            <a:ext cx="277172" cy="274482"/>
            <a:chOff x="5499100" y="1640011"/>
            <a:chExt cx="490537" cy="485775"/>
          </a:xfrm>
        </p:grpSpPr>
        <p:grpSp>
          <p:nvGrpSpPr>
            <p:cNvPr id="17" name="Group 16">
              <a:extLst>
                <a:ext uri="{FF2B5EF4-FFF2-40B4-BE49-F238E27FC236}">
                  <a16:creationId xmlns:a16="http://schemas.microsoft.com/office/drawing/2014/main" id="{F10897BE-D0B2-4357-90A2-D723CF1F949E}"/>
                </a:ext>
              </a:extLst>
            </p:cNvPr>
            <p:cNvGrpSpPr/>
            <p:nvPr/>
          </p:nvGrpSpPr>
          <p:grpSpPr>
            <a:xfrm>
              <a:off x="5499100" y="1640011"/>
              <a:ext cx="490537" cy="485775"/>
              <a:chOff x="269874" y="1788783"/>
              <a:chExt cx="490537" cy="485775"/>
            </a:xfrm>
          </p:grpSpPr>
          <p:sp>
            <p:nvSpPr>
              <p:cNvPr id="19" name="Oval 232">
                <a:extLst>
                  <a:ext uri="{FF2B5EF4-FFF2-40B4-BE49-F238E27FC236}">
                    <a16:creationId xmlns:a16="http://schemas.microsoft.com/office/drawing/2014/main" id="{F59EDEAC-6DEA-4264-ACBD-56972C060114}"/>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20" name="Freeform 233">
                <a:extLst>
                  <a:ext uri="{FF2B5EF4-FFF2-40B4-BE49-F238E27FC236}">
                    <a16:creationId xmlns:a16="http://schemas.microsoft.com/office/drawing/2014/main" id="{8CA1BF3E-D1DB-4C2F-8030-FEA5BD5004F5}"/>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18" name="textruta 4">
              <a:extLst>
                <a:ext uri="{FF2B5EF4-FFF2-40B4-BE49-F238E27FC236}">
                  <a16:creationId xmlns:a16="http://schemas.microsoft.com/office/drawing/2014/main" id="{14CD97A4-8DF9-45CE-865F-3DE753B62BDC}"/>
                </a:ext>
              </a:extLst>
            </p:cNvPr>
            <p:cNvSpPr txBox="1"/>
            <p:nvPr/>
          </p:nvSpPr>
          <p:spPr>
            <a:xfrm>
              <a:off x="5607050" y="167652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1</a:t>
              </a:r>
            </a:p>
          </p:txBody>
        </p:sp>
      </p:grpSp>
      <p:grpSp>
        <p:nvGrpSpPr>
          <p:cNvPr id="21" name="Group 20">
            <a:extLst>
              <a:ext uri="{FF2B5EF4-FFF2-40B4-BE49-F238E27FC236}">
                <a16:creationId xmlns:a16="http://schemas.microsoft.com/office/drawing/2014/main" id="{A4622263-5DE2-4B53-A7E2-676DDD5C3101}"/>
              </a:ext>
            </a:extLst>
          </p:cNvPr>
          <p:cNvGrpSpPr/>
          <p:nvPr/>
        </p:nvGrpSpPr>
        <p:grpSpPr>
          <a:xfrm>
            <a:off x="293977" y="4062005"/>
            <a:ext cx="277172" cy="294800"/>
            <a:chOff x="5499100" y="1640011"/>
            <a:chExt cx="490537" cy="521734"/>
          </a:xfrm>
        </p:grpSpPr>
        <p:grpSp>
          <p:nvGrpSpPr>
            <p:cNvPr id="22" name="Group 21">
              <a:extLst>
                <a:ext uri="{FF2B5EF4-FFF2-40B4-BE49-F238E27FC236}">
                  <a16:creationId xmlns:a16="http://schemas.microsoft.com/office/drawing/2014/main" id="{3951218C-2528-475A-88F8-DD4002FB274D}"/>
                </a:ext>
              </a:extLst>
            </p:cNvPr>
            <p:cNvGrpSpPr/>
            <p:nvPr/>
          </p:nvGrpSpPr>
          <p:grpSpPr>
            <a:xfrm>
              <a:off x="5499100" y="1640011"/>
              <a:ext cx="490537" cy="485775"/>
              <a:chOff x="269874" y="1788783"/>
              <a:chExt cx="490537" cy="485775"/>
            </a:xfrm>
          </p:grpSpPr>
          <p:sp>
            <p:nvSpPr>
              <p:cNvPr id="24" name="Oval 232">
                <a:extLst>
                  <a:ext uri="{FF2B5EF4-FFF2-40B4-BE49-F238E27FC236}">
                    <a16:creationId xmlns:a16="http://schemas.microsoft.com/office/drawing/2014/main" id="{89C683D2-7545-4311-B29E-ECAEB9BDBEAB}"/>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25" name="Freeform 233">
                <a:extLst>
                  <a:ext uri="{FF2B5EF4-FFF2-40B4-BE49-F238E27FC236}">
                    <a16:creationId xmlns:a16="http://schemas.microsoft.com/office/drawing/2014/main" id="{5B7ED12C-38B1-48D8-8FC9-8CC7BF7990F1}"/>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23" name="textruta 4">
              <a:extLst>
                <a:ext uri="{FF2B5EF4-FFF2-40B4-BE49-F238E27FC236}">
                  <a16:creationId xmlns:a16="http://schemas.microsoft.com/office/drawing/2014/main" id="{3DBDAC5A-7363-4B89-957E-703F6A4F8A18}"/>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2</a:t>
              </a:r>
            </a:p>
          </p:txBody>
        </p:sp>
      </p:grpSp>
      <p:grpSp>
        <p:nvGrpSpPr>
          <p:cNvPr id="26" name="Group 25">
            <a:extLst>
              <a:ext uri="{FF2B5EF4-FFF2-40B4-BE49-F238E27FC236}">
                <a16:creationId xmlns:a16="http://schemas.microsoft.com/office/drawing/2014/main" id="{EFF4C369-A379-41AD-9F7C-1005163A9372}"/>
              </a:ext>
            </a:extLst>
          </p:cNvPr>
          <p:cNvGrpSpPr/>
          <p:nvPr/>
        </p:nvGrpSpPr>
        <p:grpSpPr>
          <a:xfrm>
            <a:off x="293977" y="4726337"/>
            <a:ext cx="277172" cy="294800"/>
            <a:chOff x="5499100" y="1640011"/>
            <a:chExt cx="490537" cy="521734"/>
          </a:xfrm>
        </p:grpSpPr>
        <p:grpSp>
          <p:nvGrpSpPr>
            <p:cNvPr id="27" name="Group 26">
              <a:extLst>
                <a:ext uri="{FF2B5EF4-FFF2-40B4-BE49-F238E27FC236}">
                  <a16:creationId xmlns:a16="http://schemas.microsoft.com/office/drawing/2014/main" id="{ADE41336-205F-4251-9608-152505A81D17}"/>
                </a:ext>
              </a:extLst>
            </p:cNvPr>
            <p:cNvGrpSpPr/>
            <p:nvPr/>
          </p:nvGrpSpPr>
          <p:grpSpPr>
            <a:xfrm>
              <a:off x="5499100" y="1640011"/>
              <a:ext cx="490537" cy="485775"/>
              <a:chOff x="269874" y="1788783"/>
              <a:chExt cx="490537" cy="485775"/>
            </a:xfrm>
          </p:grpSpPr>
          <p:sp>
            <p:nvSpPr>
              <p:cNvPr id="29" name="Oval 232">
                <a:extLst>
                  <a:ext uri="{FF2B5EF4-FFF2-40B4-BE49-F238E27FC236}">
                    <a16:creationId xmlns:a16="http://schemas.microsoft.com/office/drawing/2014/main" id="{A1DAA852-5462-492E-8F92-DEC24EF1114A}"/>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30" name="Freeform 233">
                <a:extLst>
                  <a:ext uri="{FF2B5EF4-FFF2-40B4-BE49-F238E27FC236}">
                    <a16:creationId xmlns:a16="http://schemas.microsoft.com/office/drawing/2014/main" id="{0F682EB5-C694-4270-89BB-D420E281D218}"/>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28" name="textruta 4">
              <a:extLst>
                <a:ext uri="{FF2B5EF4-FFF2-40B4-BE49-F238E27FC236}">
                  <a16:creationId xmlns:a16="http://schemas.microsoft.com/office/drawing/2014/main" id="{4B169CB9-3737-452A-97B9-4745B969D038}"/>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3</a:t>
              </a:r>
            </a:p>
          </p:txBody>
        </p:sp>
      </p:grpSp>
      <p:grpSp>
        <p:nvGrpSpPr>
          <p:cNvPr id="31" name="Group 30">
            <a:extLst>
              <a:ext uri="{FF2B5EF4-FFF2-40B4-BE49-F238E27FC236}">
                <a16:creationId xmlns:a16="http://schemas.microsoft.com/office/drawing/2014/main" id="{2333414F-DA9E-420D-9BB9-1C51223D0781}"/>
              </a:ext>
            </a:extLst>
          </p:cNvPr>
          <p:cNvGrpSpPr/>
          <p:nvPr/>
        </p:nvGrpSpPr>
        <p:grpSpPr>
          <a:xfrm>
            <a:off x="293977" y="5390668"/>
            <a:ext cx="277172" cy="294800"/>
            <a:chOff x="5499100" y="1640011"/>
            <a:chExt cx="490537" cy="521734"/>
          </a:xfrm>
        </p:grpSpPr>
        <p:grpSp>
          <p:nvGrpSpPr>
            <p:cNvPr id="32" name="Group 31">
              <a:extLst>
                <a:ext uri="{FF2B5EF4-FFF2-40B4-BE49-F238E27FC236}">
                  <a16:creationId xmlns:a16="http://schemas.microsoft.com/office/drawing/2014/main" id="{0AF7C371-58C9-4283-8432-14044707FBCC}"/>
                </a:ext>
              </a:extLst>
            </p:cNvPr>
            <p:cNvGrpSpPr/>
            <p:nvPr/>
          </p:nvGrpSpPr>
          <p:grpSpPr>
            <a:xfrm>
              <a:off x="5499100" y="1640011"/>
              <a:ext cx="490537" cy="485775"/>
              <a:chOff x="269874" y="1788783"/>
              <a:chExt cx="490537" cy="485775"/>
            </a:xfrm>
          </p:grpSpPr>
          <p:sp>
            <p:nvSpPr>
              <p:cNvPr id="34" name="Oval 232">
                <a:extLst>
                  <a:ext uri="{FF2B5EF4-FFF2-40B4-BE49-F238E27FC236}">
                    <a16:creationId xmlns:a16="http://schemas.microsoft.com/office/drawing/2014/main" id="{E55558B1-6CEF-465D-908A-75C971F780BB}"/>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35" name="Freeform 233">
                <a:extLst>
                  <a:ext uri="{FF2B5EF4-FFF2-40B4-BE49-F238E27FC236}">
                    <a16:creationId xmlns:a16="http://schemas.microsoft.com/office/drawing/2014/main" id="{12CFB478-9482-4C45-97B1-07DBC3530253}"/>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33" name="textruta 4">
              <a:extLst>
                <a:ext uri="{FF2B5EF4-FFF2-40B4-BE49-F238E27FC236}">
                  <a16:creationId xmlns:a16="http://schemas.microsoft.com/office/drawing/2014/main" id="{5D5719AB-C200-4C1B-AAFB-844C08C39165}"/>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4</a:t>
              </a:r>
            </a:p>
          </p:txBody>
        </p:sp>
      </p:grpSp>
      <p:cxnSp>
        <p:nvCxnSpPr>
          <p:cNvPr id="36" name="Straight Connector 35">
            <a:extLst>
              <a:ext uri="{FF2B5EF4-FFF2-40B4-BE49-F238E27FC236}">
                <a16:creationId xmlns:a16="http://schemas.microsoft.com/office/drawing/2014/main" id="{2B1D3D82-7647-4F43-AAF4-B51CBBD3B17E}"/>
              </a:ext>
            </a:extLst>
          </p:cNvPr>
          <p:cNvCxnSpPr>
            <a:cxnSpLocks/>
          </p:cNvCxnSpPr>
          <p:nvPr/>
        </p:nvCxnSpPr>
        <p:spPr>
          <a:xfrm>
            <a:off x="769154" y="5194570"/>
            <a:ext cx="3342182"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E83AF8E-F7F9-484D-AFEB-2834F2B3C1A7}"/>
              </a:ext>
            </a:extLst>
          </p:cNvPr>
          <p:cNvCxnSpPr>
            <a:cxnSpLocks/>
          </p:cNvCxnSpPr>
          <p:nvPr/>
        </p:nvCxnSpPr>
        <p:spPr>
          <a:xfrm>
            <a:off x="769154" y="4526014"/>
            <a:ext cx="3342182"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A546F30-815F-4E12-AEA9-82597286C2B9}"/>
              </a:ext>
            </a:extLst>
          </p:cNvPr>
          <p:cNvCxnSpPr>
            <a:cxnSpLocks/>
          </p:cNvCxnSpPr>
          <p:nvPr/>
        </p:nvCxnSpPr>
        <p:spPr>
          <a:xfrm>
            <a:off x="769154" y="3857458"/>
            <a:ext cx="3342182"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8759E32F-BC40-4C6E-9BC4-06103A38D569}"/>
              </a:ext>
            </a:extLst>
          </p:cNvPr>
          <p:cNvSpPr/>
          <p:nvPr/>
        </p:nvSpPr>
        <p:spPr>
          <a:xfrm>
            <a:off x="769154" y="3415458"/>
            <a:ext cx="3005631" cy="215444"/>
          </a:xfrm>
          <a:prstGeom prst="rect">
            <a:avLst/>
          </a:prstGeom>
        </p:spPr>
        <p:txBody>
          <a:bodyPr wrap="none" lIns="0" tIns="0" rIns="0" bIns="0">
            <a:spAutoFit/>
          </a:bodyPr>
          <a:lstStyle/>
          <a:p>
            <a:pPr marL="0" lvl="1">
              <a:spcBef>
                <a:spcPts val="600"/>
              </a:spcBef>
            </a:pPr>
            <a:r>
              <a:rPr lang="en-GB" sz="1400" dirty="0">
                <a:solidFill>
                  <a:srgbClr val="1F2023"/>
                </a:solidFill>
                <a:latin typeface="Arial" pitchFamily="34" charset="0"/>
                <a:cs typeface="Arial" pitchFamily="34" charset="0"/>
              </a:rPr>
              <a:t>What we ask determines what we find</a:t>
            </a:r>
          </a:p>
        </p:txBody>
      </p:sp>
      <p:sp>
        <p:nvSpPr>
          <p:cNvPr id="12" name="Rectangle 11">
            <a:extLst>
              <a:ext uri="{FF2B5EF4-FFF2-40B4-BE49-F238E27FC236}">
                <a16:creationId xmlns:a16="http://schemas.microsoft.com/office/drawing/2014/main" id="{3846AF99-BFB1-4DFF-BCB2-86ECB9D0F94B}"/>
              </a:ext>
            </a:extLst>
          </p:cNvPr>
          <p:cNvSpPr/>
          <p:nvPr/>
        </p:nvSpPr>
        <p:spPr>
          <a:xfrm>
            <a:off x="769154" y="4084014"/>
            <a:ext cx="2955937" cy="215444"/>
          </a:xfrm>
          <a:prstGeom prst="rect">
            <a:avLst/>
          </a:prstGeom>
        </p:spPr>
        <p:txBody>
          <a:bodyPr wrap="none" lIns="0" tIns="0" rIns="0" bIns="0">
            <a:spAutoFit/>
          </a:bodyPr>
          <a:lstStyle/>
          <a:p>
            <a:pPr marL="0" lvl="1">
              <a:spcBef>
                <a:spcPts val="600"/>
              </a:spcBef>
            </a:pPr>
            <a:r>
              <a:rPr lang="en-GB" sz="1400" dirty="0">
                <a:solidFill>
                  <a:srgbClr val="1F2023"/>
                </a:solidFill>
                <a:latin typeface="Arial" pitchFamily="34" charset="0"/>
                <a:cs typeface="Arial" pitchFamily="34" charset="0"/>
              </a:rPr>
              <a:t>What we find determines how we talk</a:t>
            </a:r>
          </a:p>
        </p:txBody>
      </p:sp>
      <p:sp>
        <p:nvSpPr>
          <p:cNvPr id="13" name="Rectangle 12">
            <a:extLst>
              <a:ext uri="{FF2B5EF4-FFF2-40B4-BE49-F238E27FC236}">
                <a16:creationId xmlns:a16="http://schemas.microsoft.com/office/drawing/2014/main" id="{56B27985-03FF-4FB9-9DB8-0323D733B188}"/>
              </a:ext>
            </a:extLst>
          </p:cNvPr>
          <p:cNvSpPr/>
          <p:nvPr/>
        </p:nvSpPr>
        <p:spPr>
          <a:xfrm>
            <a:off x="769154" y="4752570"/>
            <a:ext cx="2986395" cy="215444"/>
          </a:xfrm>
          <a:prstGeom prst="rect">
            <a:avLst/>
          </a:prstGeom>
        </p:spPr>
        <p:txBody>
          <a:bodyPr wrap="none" lIns="0" tIns="0" rIns="0" bIns="0">
            <a:spAutoFit/>
          </a:bodyPr>
          <a:lstStyle/>
          <a:p>
            <a:pPr marL="0" lvl="1">
              <a:spcBef>
                <a:spcPts val="600"/>
              </a:spcBef>
            </a:pPr>
            <a:r>
              <a:rPr lang="en-GB" sz="1400" dirty="0">
                <a:solidFill>
                  <a:srgbClr val="1F2023"/>
                </a:solidFill>
                <a:latin typeface="Arial" pitchFamily="34" charset="0"/>
                <a:cs typeface="Arial" pitchFamily="34" charset="0"/>
              </a:rPr>
              <a:t>How we talk determines how we think</a:t>
            </a:r>
          </a:p>
        </p:txBody>
      </p:sp>
      <p:sp>
        <p:nvSpPr>
          <p:cNvPr id="14" name="Rectangle 13">
            <a:extLst>
              <a:ext uri="{FF2B5EF4-FFF2-40B4-BE49-F238E27FC236}">
                <a16:creationId xmlns:a16="http://schemas.microsoft.com/office/drawing/2014/main" id="{3A76004C-0A3B-439A-9606-D0F7E7AEB92A}"/>
              </a:ext>
            </a:extLst>
          </p:cNvPr>
          <p:cNvSpPr/>
          <p:nvPr/>
        </p:nvSpPr>
        <p:spPr>
          <a:xfrm>
            <a:off x="769154" y="5421124"/>
            <a:ext cx="3424014" cy="215444"/>
          </a:xfrm>
          <a:prstGeom prst="rect">
            <a:avLst/>
          </a:prstGeom>
        </p:spPr>
        <p:txBody>
          <a:bodyPr wrap="none" lIns="0" tIns="0" rIns="0" bIns="0">
            <a:spAutoFit/>
          </a:bodyPr>
          <a:lstStyle/>
          <a:p>
            <a:pPr marL="0" lvl="1">
              <a:spcBef>
                <a:spcPts val="600"/>
              </a:spcBef>
            </a:pPr>
            <a:r>
              <a:rPr lang="en-GB" sz="1400" dirty="0">
                <a:solidFill>
                  <a:srgbClr val="1F2023"/>
                </a:solidFill>
                <a:latin typeface="Arial" pitchFamily="34" charset="0"/>
                <a:cs typeface="Arial" pitchFamily="34" charset="0"/>
              </a:rPr>
              <a:t>How we think determines what we achieve </a:t>
            </a:r>
          </a:p>
        </p:txBody>
      </p:sp>
      <p:grpSp>
        <p:nvGrpSpPr>
          <p:cNvPr id="49" name="Group 48">
            <a:extLst>
              <a:ext uri="{FF2B5EF4-FFF2-40B4-BE49-F238E27FC236}">
                <a16:creationId xmlns:a16="http://schemas.microsoft.com/office/drawing/2014/main" id="{5A9AF96F-9BD2-4D44-9E3F-1EEBB150E174}"/>
              </a:ext>
            </a:extLst>
          </p:cNvPr>
          <p:cNvGrpSpPr/>
          <p:nvPr/>
        </p:nvGrpSpPr>
        <p:grpSpPr>
          <a:xfrm>
            <a:off x="282863" y="2170424"/>
            <a:ext cx="604838" cy="492125"/>
            <a:chOff x="4057650" y="3311525"/>
            <a:chExt cx="604838" cy="492125"/>
          </a:xfrm>
        </p:grpSpPr>
        <p:sp>
          <p:nvSpPr>
            <p:cNvPr id="50" name="Freeform 15">
              <a:extLst>
                <a:ext uri="{FF2B5EF4-FFF2-40B4-BE49-F238E27FC236}">
                  <a16:creationId xmlns:a16="http://schemas.microsoft.com/office/drawing/2014/main" id="{909C9D9E-EE58-4070-8D38-A42B244C4C26}"/>
                </a:ext>
              </a:extLst>
            </p:cNvPr>
            <p:cNvSpPr>
              <a:spLocks/>
            </p:cNvSpPr>
            <p:nvPr/>
          </p:nvSpPr>
          <p:spPr bwMode="auto">
            <a:xfrm>
              <a:off x="4057650" y="3311525"/>
              <a:ext cx="577850" cy="492125"/>
            </a:xfrm>
            <a:custGeom>
              <a:avLst/>
              <a:gdLst>
                <a:gd name="T0" fmla="*/ 120 w 129"/>
                <a:gd name="T1" fmla="*/ 110 h 110"/>
                <a:gd name="T2" fmla="*/ 9 w 129"/>
                <a:gd name="T3" fmla="*/ 110 h 110"/>
                <a:gd name="T4" fmla="*/ 0 w 129"/>
                <a:gd name="T5" fmla="*/ 101 h 110"/>
                <a:gd name="T6" fmla="*/ 0 w 129"/>
                <a:gd name="T7" fmla="*/ 10 h 110"/>
                <a:gd name="T8" fmla="*/ 9 w 129"/>
                <a:gd name="T9" fmla="*/ 0 h 110"/>
                <a:gd name="T10" fmla="*/ 120 w 129"/>
                <a:gd name="T11" fmla="*/ 0 h 110"/>
                <a:gd name="T12" fmla="*/ 129 w 129"/>
                <a:gd name="T13" fmla="*/ 10 h 110"/>
                <a:gd name="T14" fmla="*/ 129 w 129"/>
                <a:gd name="T15" fmla="*/ 101 h 110"/>
                <a:gd name="T16" fmla="*/ 120 w 129"/>
                <a:gd name="T17"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110">
                  <a:moveTo>
                    <a:pt x="120" y="110"/>
                  </a:moveTo>
                  <a:cubicBezTo>
                    <a:pt x="9" y="110"/>
                    <a:pt x="9" y="110"/>
                    <a:pt x="9" y="110"/>
                  </a:cubicBezTo>
                  <a:cubicBezTo>
                    <a:pt x="4" y="110"/>
                    <a:pt x="0" y="106"/>
                    <a:pt x="0" y="101"/>
                  </a:cubicBezTo>
                  <a:cubicBezTo>
                    <a:pt x="0" y="10"/>
                    <a:pt x="0" y="10"/>
                    <a:pt x="0" y="10"/>
                  </a:cubicBezTo>
                  <a:cubicBezTo>
                    <a:pt x="0" y="4"/>
                    <a:pt x="4" y="0"/>
                    <a:pt x="9" y="0"/>
                  </a:cubicBezTo>
                  <a:cubicBezTo>
                    <a:pt x="120" y="0"/>
                    <a:pt x="120" y="0"/>
                    <a:pt x="120" y="0"/>
                  </a:cubicBezTo>
                  <a:cubicBezTo>
                    <a:pt x="125" y="0"/>
                    <a:pt x="129" y="4"/>
                    <a:pt x="129" y="10"/>
                  </a:cubicBezTo>
                  <a:cubicBezTo>
                    <a:pt x="129" y="101"/>
                    <a:pt x="129" y="101"/>
                    <a:pt x="129" y="101"/>
                  </a:cubicBezTo>
                  <a:cubicBezTo>
                    <a:pt x="129" y="106"/>
                    <a:pt x="125" y="110"/>
                    <a:pt x="120" y="11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Line 16">
              <a:extLst>
                <a:ext uri="{FF2B5EF4-FFF2-40B4-BE49-F238E27FC236}">
                  <a16:creationId xmlns:a16="http://schemas.microsoft.com/office/drawing/2014/main" id="{DBC24F18-1185-4C89-94FF-B0484904798E}"/>
                </a:ext>
              </a:extLst>
            </p:cNvPr>
            <p:cNvSpPr>
              <a:spLocks noChangeShapeType="1"/>
            </p:cNvSpPr>
            <p:nvPr/>
          </p:nvSpPr>
          <p:spPr bwMode="auto">
            <a:xfrm>
              <a:off x="4160838" y="3360738"/>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Line 17">
              <a:extLst>
                <a:ext uri="{FF2B5EF4-FFF2-40B4-BE49-F238E27FC236}">
                  <a16:creationId xmlns:a16="http://schemas.microsoft.com/office/drawing/2014/main" id="{A234A8B5-0357-49F5-A4B1-EC8EF3B66835}"/>
                </a:ext>
              </a:extLst>
            </p:cNvPr>
            <p:cNvSpPr>
              <a:spLocks noChangeShapeType="1"/>
            </p:cNvSpPr>
            <p:nvPr/>
          </p:nvSpPr>
          <p:spPr bwMode="auto">
            <a:xfrm>
              <a:off x="4160838" y="3486150"/>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Line 18">
              <a:extLst>
                <a:ext uri="{FF2B5EF4-FFF2-40B4-BE49-F238E27FC236}">
                  <a16:creationId xmlns:a16="http://schemas.microsoft.com/office/drawing/2014/main" id="{92B4593D-BE94-4FB4-B22D-663CA5D67BC5}"/>
                </a:ext>
              </a:extLst>
            </p:cNvPr>
            <p:cNvSpPr>
              <a:spLocks noChangeShapeType="1"/>
            </p:cNvSpPr>
            <p:nvPr/>
          </p:nvSpPr>
          <p:spPr bwMode="auto">
            <a:xfrm>
              <a:off x="4160838" y="3606800"/>
              <a:ext cx="50165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Line 19">
              <a:extLst>
                <a:ext uri="{FF2B5EF4-FFF2-40B4-BE49-F238E27FC236}">
                  <a16:creationId xmlns:a16="http://schemas.microsoft.com/office/drawing/2014/main" id="{BA769131-E4A0-4C8F-B712-2B14FE27F237}"/>
                </a:ext>
              </a:extLst>
            </p:cNvPr>
            <p:cNvSpPr>
              <a:spLocks noChangeShapeType="1"/>
            </p:cNvSpPr>
            <p:nvPr/>
          </p:nvSpPr>
          <p:spPr bwMode="auto">
            <a:xfrm>
              <a:off x="4160838" y="3732213"/>
              <a:ext cx="34448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55640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Rectangle 52">
            <a:extLst>
              <a:ext uri="{FF2B5EF4-FFF2-40B4-BE49-F238E27FC236}">
                <a16:creationId xmlns:a16="http://schemas.microsoft.com/office/drawing/2014/main" id="{F29C7D2E-8ED0-400C-B901-D580922EB700}"/>
              </a:ext>
            </a:extLst>
          </p:cNvPr>
          <p:cNvSpPr/>
          <p:nvPr/>
        </p:nvSpPr>
        <p:spPr>
          <a:xfrm>
            <a:off x="5087940" y="1627188"/>
            <a:ext cx="4546598" cy="4689474"/>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6" name="Title 5">
            <a:extLst>
              <a:ext uri="{FF2B5EF4-FFF2-40B4-BE49-F238E27FC236}">
                <a16:creationId xmlns:a16="http://schemas.microsoft.com/office/drawing/2014/main" id="{1CAB7806-C928-4A93-B801-DA195B0057A8}"/>
              </a:ext>
            </a:extLst>
          </p:cNvPr>
          <p:cNvSpPr>
            <a:spLocks noGrp="1"/>
          </p:cNvSpPr>
          <p:nvPr>
            <p:ph type="title"/>
          </p:nvPr>
        </p:nvSpPr>
        <p:spPr>
          <a:xfrm>
            <a:off x="269876" y="269876"/>
            <a:ext cx="6742112" cy="692336"/>
          </a:xfrm>
        </p:spPr>
        <p:txBody>
          <a:bodyPr/>
          <a:lstStyle/>
          <a:p>
            <a:r>
              <a:rPr lang="en-GB" dirty="0"/>
              <a:t>The traditional approach to change and change conversations</a:t>
            </a:r>
          </a:p>
        </p:txBody>
      </p:sp>
      <p:sp>
        <p:nvSpPr>
          <p:cNvPr id="4" name="Text Placeholder 3">
            <a:extLst>
              <a:ext uri="{FF2B5EF4-FFF2-40B4-BE49-F238E27FC236}">
                <a16:creationId xmlns:a16="http://schemas.microsoft.com/office/drawing/2014/main" id="{1D6C9A2A-3A71-4AAD-A494-5D6C17214D1D}"/>
              </a:ext>
            </a:extLst>
          </p:cNvPr>
          <p:cNvSpPr>
            <a:spLocks noGrp="1"/>
          </p:cNvSpPr>
          <p:nvPr>
            <p:ph type="body" sz="quarter" idx="13"/>
          </p:nvPr>
        </p:nvSpPr>
        <p:spPr/>
        <p:txBody>
          <a:bodyPr/>
          <a:lstStyle/>
          <a:p>
            <a:endParaRPr lang="en-GB" dirty="0"/>
          </a:p>
        </p:txBody>
      </p:sp>
      <p:sp>
        <p:nvSpPr>
          <p:cNvPr id="5" name="Text Placeholder 4">
            <a:extLst>
              <a:ext uri="{FF2B5EF4-FFF2-40B4-BE49-F238E27FC236}">
                <a16:creationId xmlns:a16="http://schemas.microsoft.com/office/drawing/2014/main" id="{1507B2DC-DBB1-4388-BCF3-35B3FC46669D}"/>
              </a:ext>
            </a:extLst>
          </p:cNvPr>
          <p:cNvSpPr>
            <a:spLocks noGrp="1"/>
          </p:cNvSpPr>
          <p:nvPr>
            <p:ph type="body" sz="quarter" idx="14"/>
          </p:nvPr>
        </p:nvSpPr>
        <p:spPr/>
        <p:txBody>
          <a:bodyPr/>
          <a:lstStyle/>
          <a:p>
            <a:endParaRPr lang="en-GB" dirty="0"/>
          </a:p>
        </p:txBody>
      </p:sp>
      <p:sp>
        <p:nvSpPr>
          <p:cNvPr id="21" name="Arc 20">
            <a:extLst>
              <a:ext uri="{FF2B5EF4-FFF2-40B4-BE49-F238E27FC236}">
                <a16:creationId xmlns:a16="http://schemas.microsoft.com/office/drawing/2014/main" id="{C496E70E-F458-4923-9A2F-5E066A8E15D9}"/>
              </a:ext>
            </a:extLst>
          </p:cNvPr>
          <p:cNvSpPr/>
          <p:nvPr/>
        </p:nvSpPr>
        <p:spPr>
          <a:xfrm rot="8100000" flipH="1">
            <a:off x="1031710" y="2414156"/>
            <a:ext cx="2953324" cy="2953324"/>
          </a:xfrm>
          <a:prstGeom prst="arc">
            <a:avLst>
              <a:gd name="adj1" fmla="val 20331451"/>
              <a:gd name="adj2" fmla="val 3581897"/>
            </a:avLst>
          </a:prstGeom>
          <a:ln w="6350">
            <a:solidFill>
              <a:srgbClr val="1F202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Arc 24">
            <a:extLst>
              <a:ext uri="{FF2B5EF4-FFF2-40B4-BE49-F238E27FC236}">
                <a16:creationId xmlns:a16="http://schemas.microsoft.com/office/drawing/2014/main" id="{F4B012B5-72C1-4D24-97FD-4C8439E93317}"/>
              </a:ext>
            </a:extLst>
          </p:cNvPr>
          <p:cNvSpPr/>
          <p:nvPr/>
        </p:nvSpPr>
        <p:spPr>
          <a:xfrm rot="3049633">
            <a:off x="1031710" y="2414156"/>
            <a:ext cx="2953324" cy="2953324"/>
          </a:xfrm>
          <a:prstGeom prst="arc">
            <a:avLst>
              <a:gd name="adj1" fmla="val 1727447"/>
              <a:gd name="adj2" fmla="val 6098248"/>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Arc 25">
            <a:extLst>
              <a:ext uri="{FF2B5EF4-FFF2-40B4-BE49-F238E27FC236}">
                <a16:creationId xmlns:a16="http://schemas.microsoft.com/office/drawing/2014/main" id="{D288518C-524B-4579-8B2B-363E2BF57112}"/>
              </a:ext>
            </a:extLst>
          </p:cNvPr>
          <p:cNvSpPr/>
          <p:nvPr/>
        </p:nvSpPr>
        <p:spPr>
          <a:xfrm rot="18900000">
            <a:off x="1031710" y="2414156"/>
            <a:ext cx="2953324" cy="2953324"/>
          </a:xfrm>
          <a:prstGeom prst="arc">
            <a:avLst>
              <a:gd name="adj1" fmla="val 2158794"/>
              <a:gd name="adj2" fmla="val 6495033"/>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7" name="Oval 26">
            <a:extLst>
              <a:ext uri="{FF2B5EF4-FFF2-40B4-BE49-F238E27FC236}">
                <a16:creationId xmlns:a16="http://schemas.microsoft.com/office/drawing/2014/main" id="{9B4E94EE-E7A5-4058-84F5-CADC60FBBD2E}"/>
              </a:ext>
            </a:extLst>
          </p:cNvPr>
          <p:cNvSpPr/>
          <p:nvPr/>
        </p:nvSpPr>
        <p:spPr>
          <a:xfrm rot="2700000">
            <a:off x="3361728" y="3359108"/>
            <a:ext cx="1137250" cy="1137248"/>
          </a:xfrm>
          <a:prstGeom prst="ellipse">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29" name="Oval 28">
            <a:extLst>
              <a:ext uri="{FF2B5EF4-FFF2-40B4-BE49-F238E27FC236}">
                <a16:creationId xmlns:a16="http://schemas.microsoft.com/office/drawing/2014/main" id="{6009EA13-CD51-476B-9A21-CE395CDF2AAB}"/>
              </a:ext>
            </a:extLst>
          </p:cNvPr>
          <p:cNvSpPr/>
          <p:nvPr/>
        </p:nvSpPr>
        <p:spPr>
          <a:xfrm rot="2700000">
            <a:off x="1976660" y="1974040"/>
            <a:ext cx="1137250" cy="1137248"/>
          </a:xfrm>
          <a:prstGeom prst="ellipse">
            <a:avLst/>
          </a:prstGeom>
          <a:solidFill>
            <a:srgbClr val="D7C5B0"/>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31" name="Oval 30">
            <a:extLst>
              <a:ext uri="{FF2B5EF4-FFF2-40B4-BE49-F238E27FC236}">
                <a16:creationId xmlns:a16="http://schemas.microsoft.com/office/drawing/2014/main" id="{91A2481D-69F3-4C49-A082-1F95958A844B}"/>
              </a:ext>
            </a:extLst>
          </p:cNvPr>
          <p:cNvSpPr/>
          <p:nvPr/>
        </p:nvSpPr>
        <p:spPr>
          <a:xfrm rot="2700000">
            <a:off x="1976660" y="4744176"/>
            <a:ext cx="1137250" cy="1137248"/>
          </a:xfrm>
          <a:prstGeom prst="ellipse">
            <a:avLst/>
          </a:prstGeom>
          <a:solidFill>
            <a:srgbClr val="E8E5E1"/>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32" name="Oval 31">
            <a:extLst>
              <a:ext uri="{FF2B5EF4-FFF2-40B4-BE49-F238E27FC236}">
                <a16:creationId xmlns:a16="http://schemas.microsoft.com/office/drawing/2014/main" id="{3B66ECE2-089D-431D-AD45-18D80CFA323C}"/>
              </a:ext>
            </a:extLst>
          </p:cNvPr>
          <p:cNvSpPr/>
          <p:nvPr/>
        </p:nvSpPr>
        <p:spPr>
          <a:xfrm rot="2700000">
            <a:off x="591592" y="3359108"/>
            <a:ext cx="1137250" cy="1137248"/>
          </a:xfrm>
          <a:prstGeom prst="ellipse">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33" name="Rectangle 32">
            <a:extLst>
              <a:ext uri="{FF2B5EF4-FFF2-40B4-BE49-F238E27FC236}">
                <a16:creationId xmlns:a16="http://schemas.microsoft.com/office/drawing/2014/main" id="{20373904-638D-4873-B8D0-137789217074}"/>
              </a:ext>
            </a:extLst>
          </p:cNvPr>
          <p:cNvSpPr/>
          <p:nvPr/>
        </p:nvSpPr>
        <p:spPr>
          <a:xfrm>
            <a:off x="1885617" y="3506098"/>
            <a:ext cx="1245510" cy="830997"/>
          </a:xfrm>
          <a:prstGeom prst="rect">
            <a:avLst/>
          </a:prstGeom>
        </p:spPr>
        <p:txBody>
          <a:bodyPr wrap="square" anchor="ctr">
            <a:spAutoFit/>
          </a:bodyPr>
          <a:lstStyle/>
          <a:p>
            <a:pPr algn="ctr"/>
            <a:r>
              <a:rPr lang="en-GB" sz="1200" b="1" dirty="0">
                <a:solidFill>
                  <a:srgbClr val="1F2023"/>
                </a:solidFill>
              </a:rPr>
              <a:t>Organisation becomes ”Problems to be solved”</a:t>
            </a:r>
          </a:p>
        </p:txBody>
      </p:sp>
      <p:sp>
        <p:nvSpPr>
          <p:cNvPr id="34" name="Rectangle 33">
            <a:extLst>
              <a:ext uri="{FF2B5EF4-FFF2-40B4-BE49-F238E27FC236}">
                <a16:creationId xmlns:a16="http://schemas.microsoft.com/office/drawing/2014/main" id="{8507E170-FBD5-486B-ACF6-01681AED4645}"/>
              </a:ext>
            </a:extLst>
          </p:cNvPr>
          <p:cNvSpPr/>
          <p:nvPr/>
        </p:nvSpPr>
        <p:spPr>
          <a:xfrm>
            <a:off x="2039315" y="2311832"/>
            <a:ext cx="1011941" cy="461665"/>
          </a:xfrm>
          <a:prstGeom prst="rect">
            <a:avLst/>
          </a:prstGeom>
        </p:spPr>
        <p:txBody>
          <a:bodyPr wrap="square" anchor="ctr">
            <a:noAutofit/>
          </a:bodyPr>
          <a:lstStyle/>
          <a:p>
            <a:pPr algn="ctr"/>
            <a:r>
              <a:rPr lang="en-GB" sz="1200" dirty="0">
                <a:solidFill>
                  <a:srgbClr val="1F2023"/>
                </a:solidFill>
              </a:rPr>
              <a:t>Identify the problem</a:t>
            </a:r>
          </a:p>
        </p:txBody>
      </p:sp>
      <p:sp>
        <p:nvSpPr>
          <p:cNvPr id="35" name="Rectangle 34">
            <a:extLst>
              <a:ext uri="{FF2B5EF4-FFF2-40B4-BE49-F238E27FC236}">
                <a16:creationId xmlns:a16="http://schemas.microsoft.com/office/drawing/2014/main" id="{8DEF1D03-8EF2-43D1-AC54-6FFA1357BF33}"/>
              </a:ext>
            </a:extLst>
          </p:cNvPr>
          <p:cNvSpPr/>
          <p:nvPr/>
        </p:nvSpPr>
        <p:spPr>
          <a:xfrm>
            <a:off x="3433714" y="3604567"/>
            <a:ext cx="993280" cy="646331"/>
          </a:xfrm>
          <a:prstGeom prst="rect">
            <a:avLst/>
          </a:prstGeom>
        </p:spPr>
        <p:txBody>
          <a:bodyPr wrap="square" anchor="ctr">
            <a:spAutoFit/>
          </a:bodyPr>
          <a:lstStyle/>
          <a:p>
            <a:pPr algn="ctr"/>
            <a:r>
              <a:rPr lang="en-GB" sz="1200" dirty="0">
                <a:solidFill>
                  <a:srgbClr val="1F2023"/>
                </a:solidFill>
              </a:rPr>
              <a:t>Analyse possible causes</a:t>
            </a:r>
          </a:p>
        </p:txBody>
      </p:sp>
      <p:sp>
        <p:nvSpPr>
          <p:cNvPr id="36" name="TextBox 35">
            <a:extLst>
              <a:ext uri="{FF2B5EF4-FFF2-40B4-BE49-F238E27FC236}">
                <a16:creationId xmlns:a16="http://schemas.microsoft.com/office/drawing/2014/main" id="{6DE0B3F6-8B1A-4241-831A-C80C12F7B10A}"/>
              </a:ext>
            </a:extLst>
          </p:cNvPr>
          <p:cNvSpPr txBox="1"/>
          <p:nvPr/>
        </p:nvSpPr>
        <p:spPr>
          <a:xfrm>
            <a:off x="2140716" y="5128134"/>
            <a:ext cx="809138" cy="369332"/>
          </a:xfrm>
          <a:prstGeom prst="rect">
            <a:avLst/>
          </a:prstGeom>
          <a:noFill/>
          <a:ln w="6350">
            <a:noFill/>
            <a:prstDash val="sysDash"/>
          </a:ln>
        </p:spPr>
        <p:txBody>
          <a:bodyPr wrap="square" lIns="0" tIns="0" rIns="0" bIns="0" rtlCol="0" anchor="ctr">
            <a:spAutoFit/>
          </a:bodyPr>
          <a:lstStyle>
            <a:defPPr>
              <a:defRPr lang="en-US"/>
            </a:defPPr>
            <a:lvl1pPr indent="-144000">
              <a:buSzPct val="100000"/>
              <a:buNone/>
              <a:defRPr>
                <a:latin typeface="Arial" panose="020B0604020202020204" pitchFamily="34" charset="0"/>
              </a:defRPr>
            </a:lvl1pPr>
            <a:lvl2pPr marL="0" lvl="1" indent="0">
              <a:buSzPct val="100000"/>
              <a:buChar char="​"/>
              <a:defRPr>
                <a:latin typeface="Arial" panose="020B0604020202020204" pitchFamily="34" charset="0"/>
              </a:defRPr>
            </a:lvl2pPr>
            <a:lvl3pPr marL="144000" lvl="2">
              <a:buSzPct val="100000"/>
              <a:defRPr>
                <a:latin typeface="Arial" panose="020B0604020202020204" pitchFamily="34" charset="0"/>
              </a:defRPr>
            </a:lvl3pPr>
            <a:lvl4pPr marL="288000" lvl="3">
              <a:buSzPct val="100000"/>
              <a:defRPr>
                <a:latin typeface="Arial" panose="020B0604020202020204" pitchFamily="34" charset="0"/>
              </a:defRPr>
            </a:lvl4pPr>
            <a:lvl5pPr marL="432000" lvl="4" indent="-144000">
              <a:buSzPct val="100000"/>
              <a:buChar char="•"/>
              <a:defRPr b="0">
                <a:latin typeface="Arial" panose="020B0604020202020204" pitchFamily="34" charset="0"/>
              </a:defRPr>
            </a:lvl5pPr>
          </a:lstStyle>
          <a:p>
            <a:pPr algn="ctr"/>
            <a:r>
              <a:rPr lang="en-GB" sz="1200" dirty="0">
                <a:solidFill>
                  <a:srgbClr val="1F2023"/>
                </a:solidFill>
              </a:rPr>
              <a:t>Generate solutions</a:t>
            </a:r>
          </a:p>
        </p:txBody>
      </p:sp>
      <p:sp>
        <p:nvSpPr>
          <p:cNvPr id="37" name="TextBox 36">
            <a:extLst>
              <a:ext uri="{FF2B5EF4-FFF2-40B4-BE49-F238E27FC236}">
                <a16:creationId xmlns:a16="http://schemas.microsoft.com/office/drawing/2014/main" id="{DFB75905-33D4-4690-A33B-38FB0F22D384}"/>
              </a:ext>
            </a:extLst>
          </p:cNvPr>
          <p:cNvSpPr txBox="1"/>
          <p:nvPr/>
        </p:nvSpPr>
        <p:spPr>
          <a:xfrm>
            <a:off x="692629" y="3743066"/>
            <a:ext cx="935176" cy="369332"/>
          </a:xfrm>
          <a:prstGeom prst="rect">
            <a:avLst/>
          </a:prstGeom>
          <a:noFill/>
          <a:ln w="6350">
            <a:noFill/>
            <a:prstDash val="sysDash"/>
          </a:ln>
        </p:spPr>
        <p:txBody>
          <a:bodyPr wrap="square" lIns="0" tIns="0" rIns="0" bIns="0" rtlCol="0" anchor="ctr">
            <a:spAutoFit/>
          </a:bodyPr>
          <a:lstStyle>
            <a:defPPr>
              <a:defRPr lang="en-US"/>
            </a:defPPr>
            <a:lvl1pPr indent="-144000">
              <a:buSzPct val="100000"/>
              <a:buNone/>
              <a:defRPr>
                <a:latin typeface="Arial" panose="020B0604020202020204" pitchFamily="34" charset="0"/>
              </a:defRPr>
            </a:lvl1pPr>
            <a:lvl2pPr marL="0" lvl="1" indent="0">
              <a:buSzPct val="100000"/>
              <a:buChar char="​"/>
              <a:defRPr>
                <a:latin typeface="Arial" panose="020B0604020202020204" pitchFamily="34" charset="0"/>
              </a:defRPr>
            </a:lvl2pPr>
            <a:lvl3pPr marL="144000" lvl="2">
              <a:buSzPct val="100000"/>
              <a:defRPr>
                <a:latin typeface="Arial" panose="020B0604020202020204" pitchFamily="34" charset="0"/>
              </a:defRPr>
            </a:lvl3pPr>
            <a:lvl4pPr marL="288000" lvl="3">
              <a:buSzPct val="100000"/>
              <a:defRPr>
                <a:latin typeface="Arial" panose="020B0604020202020204" pitchFamily="34" charset="0"/>
              </a:defRPr>
            </a:lvl4pPr>
            <a:lvl5pPr marL="432000" lvl="4" indent="-144000">
              <a:buSzPct val="100000"/>
              <a:buChar char="•"/>
              <a:defRPr b="0">
                <a:latin typeface="Arial" panose="020B0604020202020204" pitchFamily="34" charset="0"/>
              </a:defRPr>
            </a:lvl5pPr>
          </a:lstStyle>
          <a:p>
            <a:pPr algn="ctr"/>
            <a:r>
              <a:rPr lang="en-GB" sz="1200" dirty="0">
                <a:solidFill>
                  <a:srgbClr val="1F2023"/>
                </a:solidFill>
              </a:rPr>
              <a:t>Implement best solution</a:t>
            </a:r>
          </a:p>
        </p:txBody>
      </p:sp>
      <p:grpSp>
        <p:nvGrpSpPr>
          <p:cNvPr id="9" name="Group 4">
            <a:extLst>
              <a:ext uri="{FF2B5EF4-FFF2-40B4-BE49-F238E27FC236}">
                <a16:creationId xmlns:a16="http://schemas.microsoft.com/office/drawing/2014/main" id="{9B496AA1-9899-42D0-936A-E260E364C2CE}"/>
              </a:ext>
            </a:extLst>
          </p:cNvPr>
          <p:cNvGrpSpPr>
            <a:grpSpLocks noChangeAspect="1"/>
          </p:cNvGrpSpPr>
          <p:nvPr/>
        </p:nvGrpSpPr>
        <p:grpSpPr bwMode="auto">
          <a:xfrm>
            <a:off x="5467350" y="2623501"/>
            <a:ext cx="3787775" cy="2457450"/>
            <a:chOff x="3444" y="1728"/>
            <a:chExt cx="2386" cy="1548"/>
          </a:xfrm>
        </p:grpSpPr>
        <p:sp>
          <p:nvSpPr>
            <p:cNvPr id="11" name="Freeform 5">
              <a:extLst>
                <a:ext uri="{FF2B5EF4-FFF2-40B4-BE49-F238E27FC236}">
                  <a16:creationId xmlns:a16="http://schemas.microsoft.com/office/drawing/2014/main" id="{ABF4B2CC-761E-4754-96F1-F634BE784DA5}"/>
                </a:ext>
              </a:extLst>
            </p:cNvPr>
            <p:cNvSpPr>
              <a:spLocks/>
            </p:cNvSpPr>
            <p:nvPr/>
          </p:nvSpPr>
          <p:spPr bwMode="auto">
            <a:xfrm>
              <a:off x="4866" y="2286"/>
              <a:ext cx="447" cy="394"/>
            </a:xfrm>
            <a:custGeom>
              <a:avLst/>
              <a:gdLst>
                <a:gd name="T0" fmla="*/ 0 w 447"/>
                <a:gd name="T1" fmla="*/ 394 h 394"/>
                <a:gd name="T2" fmla="*/ 447 w 447"/>
                <a:gd name="T3" fmla="*/ 351 h 394"/>
                <a:gd name="T4" fmla="*/ 217 w 447"/>
                <a:gd name="T5" fmla="*/ 0 h 394"/>
                <a:gd name="T6" fmla="*/ 0 w 447"/>
                <a:gd name="T7" fmla="*/ 394 h 394"/>
              </a:gdLst>
              <a:ahLst/>
              <a:cxnLst>
                <a:cxn ang="0">
                  <a:pos x="T0" y="T1"/>
                </a:cxn>
                <a:cxn ang="0">
                  <a:pos x="T2" y="T3"/>
                </a:cxn>
                <a:cxn ang="0">
                  <a:pos x="T4" y="T5"/>
                </a:cxn>
                <a:cxn ang="0">
                  <a:pos x="T6" y="T7"/>
                </a:cxn>
              </a:cxnLst>
              <a:rect l="0" t="0" r="r" b="b"/>
              <a:pathLst>
                <a:path w="447" h="394">
                  <a:moveTo>
                    <a:pt x="0" y="394"/>
                  </a:moveTo>
                  <a:lnTo>
                    <a:pt x="447" y="351"/>
                  </a:lnTo>
                  <a:lnTo>
                    <a:pt x="217" y="0"/>
                  </a:lnTo>
                  <a:lnTo>
                    <a:pt x="0" y="394"/>
                  </a:ln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a:extLst>
                <a:ext uri="{FF2B5EF4-FFF2-40B4-BE49-F238E27FC236}">
                  <a16:creationId xmlns:a16="http://schemas.microsoft.com/office/drawing/2014/main" id="{BA99AE4D-377C-486B-8A53-344424539832}"/>
                </a:ext>
              </a:extLst>
            </p:cNvPr>
            <p:cNvSpPr>
              <a:spLocks/>
            </p:cNvSpPr>
            <p:nvPr/>
          </p:nvSpPr>
          <p:spPr bwMode="auto">
            <a:xfrm>
              <a:off x="4417" y="2585"/>
              <a:ext cx="419" cy="420"/>
            </a:xfrm>
            <a:custGeom>
              <a:avLst/>
              <a:gdLst>
                <a:gd name="T0" fmla="*/ 160 w 195"/>
                <a:gd name="T1" fmla="*/ 160 h 195"/>
                <a:gd name="T2" fmla="*/ 35 w 195"/>
                <a:gd name="T3" fmla="*/ 160 h 195"/>
                <a:gd name="T4" fmla="*/ 35 w 195"/>
                <a:gd name="T5" fmla="*/ 35 h 195"/>
                <a:gd name="T6" fmla="*/ 160 w 195"/>
                <a:gd name="T7" fmla="*/ 35 h 195"/>
                <a:gd name="T8" fmla="*/ 160 w 195"/>
                <a:gd name="T9" fmla="*/ 160 h 195"/>
              </a:gdLst>
              <a:ahLst/>
              <a:cxnLst>
                <a:cxn ang="0">
                  <a:pos x="T0" y="T1"/>
                </a:cxn>
                <a:cxn ang="0">
                  <a:pos x="T2" y="T3"/>
                </a:cxn>
                <a:cxn ang="0">
                  <a:pos x="T4" y="T5"/>
                </a:cxn>
                <a:cxn ang="0">
                  <a:pos x="T6" y="T7"/>
                </a:cxn>
                <a:cxn ang="0">
                  <a:pos x="T8" y="T9"/>
                </a:cxn>
              </a:cxnLst>
              <a:rect l="0" t="0" r="r" b="b"/>
              <a:pathLst>
                <a:path w="195" h="195">
                  <a:moveTo>
                    <a:pt x="160" y="160"/>
                  </a:moveTo>
                  <a:cubicBezTo>
                    <a:pt x="126" y="194"/>
                    <a:pt x="70" y="195"/>
                    <a:pt x="35" y="160"/>
                  </a:cubicBezTo>
                  <a:cubicBezTo>
                    <a:pt x="0" y="126"/>
                    <a:pt x="0" y="70"/>
                    <a:pt x="35" y="35"/>
                  </a:cubicBezTo>
                  <a:cubicBezTo>
                    <a:pt x="69" y="0"/>
                    <a:pt x="125" y="0"/>
                    <a:pt x="160" y="35"/>
                  </a:cubicBezTo>
                  <a:cubicBezTo>
                    <a:pt x="194" y="69"/>
                    <a:pt x="195" y="125"/>
                    <a:pt x="160" y="160"/>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7">
              <a:extLst>
                <a:ext uri="{FF2B5EF4-FFF2-40B4-BE49-F238E27FC236}">
                  <a16:creationId xmlns:a16="http://schemas.microsoft.com/office/drawing/2014/main" id="{78A53BD5-3CF0-4766-9389-7455C43090FA}"/>
                </a:ext>
              </a:extLst>
            </p:cNvPr>
            <p:cNvSpPr>
              <a:spLocks/>
            </p:cNvSpPr>
            <p:nvPr/>
          </p:nvSpPr>
          <p:spPr bwMode="auto">
            <a:xfrm>
              <a:off x="5019" y="2946"/>
              <a:ext cx="327" cy="328"/>
            </a:xfrm>
            <a:custGeom>
              <a:avLst/>
              <a:gdLst>
                <a:gd name="T0" fmla="*/ 290 w 327"/>
                <a:gd name="T1" fmla="*/ 328 h 328"/>
                <a:gd name="T2" fmla="*/ 0 w 327"/>
                <a:gd name="T3" fmla="*/ 291 h 328"/>
                <a:gd name="T4" fmla="*/ 36 w 327"/>
                <a:gd name="T5" fmla="*/ 0 h 328"/>
                <a:gd name="T6" fmla="*/ 327 w 327"/>
                <a:gd name="T7" fmla="*/ 37 h 328"/>
                <a:gd name="T8" fmla="*/ 290 w 327"/>
                <a:gd name="T9" fmla="*/ 328 h 328"/>
              </a:gdLst>
              <a:ahLst/>
              <a:cxnLst>
                <a:cxn ang="0">
                  <a:pos x="T0" y="T1"/>
                </a:cxn>
                <a:cxn ang="0">
                  <a:pos x="T2" y="T3"/>
                </a:cxn>
                <a:cxn ang="0">
                  <a:pos x="T4" y="T5"/>
                </a:cxn>
                <a:cxn ang="0">
                  <a:pos x="T6" y="T7"/>
                </a:cxn>
                <a:cxn ang="0">
                  <a:pos x="T8" y="T9"/>
                </a:cxn>
              </a:cxnLst>
              <a:rect l="0" t="0" r="r" b="b"/>
              <a:pathLst>
                <a:path w="327" h="328">
                  <a:moveTo>
                    <a:pt x="290" y="328"/>
                  </a:moveTo>
                  <a:lnTo>
                    <a:pt x="0" y="291"/>
                  </a:lnTo>
                  <a:lnTo>
                    <a:pt x="36" y="0"/>
                  </a:lnTo>
                  <a:lnTo>
                    <a:pt x="327" y="37"/>
                  </a:lnTo>
                  <a:lnTo>
                    <a:pt x="290" y="328"/>
                  </a:ln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8">
              <a:extLst>
                <a:ext uri="{FF2B5EF4-FFF2-40B4-BE49-F238E27FC236}">
                  <a16:creationId xmlns:a16="http://schemas.microsoft.com/office/drawing/2014/main" id="{F1F3F65D-97BA-4950-B4B7-E4587DB44973}"/>
                </a:ext>
              </a:extLst>
            </p:cNvPr>
            <p:cNvSpPr>
              <a:spLocks/>
            </p:cNvSpPr>
            <p:nvPr/>
          </p:nvSpPr>
          <p:spPr bwMode="auto">
            <a:xfrm>
              <a:off x="4866" y="2243"/>
              <a:ext cx="447" cy="394"/>
            </a:xfrm>
            <a:custGeom>
              <a:avLst/>
              <a:gdLst>
                <a:gd name="T0" fmla="*/ 0 w 447"/>
                <a:gd name="T1" fmla="*/ 394 h 394"/>
                <a:gd name="T2" fmla="*/ 447 w 447"/>
                <a:gd name="T3" fmla="*/ 350 h 394"/>
                <a:gd name="T4" fmla="*/ 217 w 447"/>
                <a:gd name="T5" fmla="*/ 0 h 394"/>
                <a:gd name="T6" fmla="*/ 0 w 447"/>
                <a:gd name="T7" fmla="*/ 394 h 394"/>
              </a:gdLst>
              <a:ahLst/>
              <a:cxnLst>
                <a:cxn ang="0">
                  <a:pos x="T0" y="T1"/>
                </a:cxn>
                <a:cxn ang="0">
                  <a:pos x="T2" y="T3"/>
                </a:cxn>
                <a:cxn ang="0">
                  <a:pos x="T4" y="T5"/>
                </a:cxn>
                <a:cxn ang="0">
                  <a:pos x="T6" y="T7"/>
                </a:cxn>
              </a:cxnLst>
              <a:rect l="0" t="0" r="r" b="b"/>
              <a:pathLst>
                <a:path w="447" h="394">
                  <a:moveTo>
                    <a:pt x="0" y="394"/>
                  </a:moveTo>
                  <a:lnTo>
                    <a:pt x="447" y="350"/>
                  </a:lnTo>
                  <a:lnTo>
                    <a:pt x="217" y="0"/>
                  </a:lnTo>
                  <a:lnTo>
                    <a:pt x="0" y="394"/>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9">
              <a:extLst>
                <a:ext uri="{FF2B5EF4-FFF2-40B4-BE49-F238E27FC236}">
                  <a16:creationId xmlns:a16="http://schemas.microsoft.com/office/drawing/2014/main" id="{0EFAE55F-8ACA-4DF7-B232-B5B73A5849AF}"/>
                </a:ext>
              </a:extLst>
            </p:cNvPr>
            <p:cNvSpPr>
              <a:spLocks/>
            </p:cNvSpPr>
            <p:nvPr/>
          </p:nvSpPr>
          <p:spPr bwMode="auto">
            <a:xfrm>
              <a:off x="4832" y="2068"/>
              <a:ext cx="105" cy="108"/>
            </a:xfrm>
            <a:custGeom>
              <a:avLst/>
              <a:gdLst>
                <a:gd name="T0" fmla="*/ 0 w 105"/>
                <a:gd name="T1" fmla="*/ 0 h 108"/>
                <a:gd name="T2" fmla="*/ 23 w 105"/>
                <a:gd name="T3" fmla="*/ 108 h 108"/>
                <a:gd name="T4" fmla="*/ 105 w 105"/>
                <a:gd name="T5" fmla="*/ 35 h 108"/>
                <a:gd name="T6" fmla="*/ 0 w 105"/>
                <a:gd name="T7" fmla="*/ 0 h 108"/>
              </a:gdLst>
              <a:ahLst/>
              <a:cxnLst>
                <a:cxn ang="0">
                  <a:pos x="T0" y="T1"/>
                </a:cxn>
                <a:cxn ang="0">
                  <a:pos x="T2" y="T3"/>
                </a:cxn>
                <a:cxn ang="0">
                  <a:pos x="T4" y="T5"/>
                </a:cxn>
                <a:cxn ang="0">
                  <a:pos x="T6" y="T7"/>
                </a:cxn>
              </a:cxnLst>
              <a:rect l="0" t="0" r="r" b="b"/>
              <a:pathLst>
                <a:path w="105" h="108">
                  <a:moveTo>
                    <a:pt x="0" y="0"/>
                  </a:moveTo>
                  <a:lnTo>
                    <a:pt x="23" y="108"/>
                  </a:lnTo>
                  <a:lnTo>
                    <a:pt x="105" y="35"/>
                  </a:lnTo>
                  <a:lnTo>
                    <a:pt x="0" y="0"/>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0">
              <a:extLst>
                <a:ext uri="{FF2B5EF4-FFF2-40B4-BE49-F238E27FC236}">
                  <a16:creationId xmlns:a16="http://schemas.microsoft.com/office/drawing/2014/main" id="{2C2643D5-9089-493D-A5DE-638392F364CF}"/>
                </a:ext>
              </a:extLst>
            </p:cNvPr>
            <p:cNvSpPr>
              <a:spLocks/>
            </p:cNvSpPr>
            <p:nvPr/>
          </p:nvSpPr>
          <p:spPr bwMode="auto">
            <a:xfrm>
              <a:off x="4922" y="2751"/>
              <a:ext cx="105" cy="107"/>
            </a:xfrm>
            <a:custGeom>
              <a:avLst/>
              <a:gdLst>
                <a:gd name="T0" fmla="*/ 0 w 105"/>
                <a:gd name="T1" fmla="*/ 0 h 107"/>
                <a:gd name="T2" fmla="*/ 24 w 105"/>
                <a:gd name="T3" fmla="*/ 107 h 107"/>
                <a:gd name="T4" fmla="*/ 105 w 105"/>
                <a:gd name="T5" fmla="*/ 34 h 107"/>
                <a:gd name="T6" fmla="*/ 0 w 105"/>
                <a:gd name="T7" fmla="*/ 0 h 107"/>
              </a:gdLst>
              <a:ahLst/>
              <a:cxnLst>
                <a:cxn ang="0">
                  <a:pos x="T0" y="T1"/>
                </a:cxn>
                <a:cxn ang="0">
                  <a:pos x="T2" y="T3"/>
                </a:cxn>
                <a:cxn ang="0">
                  <a:pos x="T4" y="T5"/>
                </a:cxn>
                <a:cxn ang="0">
                  <a:pos x="T6" y="T7"/>
                </a:cxn>
              </a:cxnLst>
              <a:rect l="0" t="0" r="r" b="b"/>
              <a:pathLst>
                <a:path w="105" h="107">
                  <a:moveTo>
                    <a:pt x="0" y="0"/>
                  </a:moveTo>
                  <a:lnTo>
                    <a:pt x="24" y="107"/>
                  </a:lnTo>
                  <a:lnTo>
                    <a:pt x="105" y="34"/>
                  </a:lnTo>
                  <a:lnTo>
                    <a:pt x="0" y="0"/>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11">
              <a:extLst>
                <a:ext uri="{FF2B5EF4-FFF2-40B4-BE49-F238E27FC236}">
                  <a16:creationId xmlns:a16="http://schemas.microsoft.com/office/drawing/2014/main" id="{EE6C9F81-6D1B-412D-9B65-6C7F064C4BCD}"/>
                </a:ext>
              </a:extLst>
            </p:cNvPr>
            <p:cNvSpPr>
              <a:spLocks/>
            </p:cNvSpPr>
            <p:nvPr/>
          </p:nvSpPr>
          <p:spPr bwMode="auto">
            <a:xfrm>
              <a:off x="4814" y="3022"/>
              <a:ext cx="108" cy="105"/>
            </a:xfrm>
            <a:custGeom>
              <a:avLst/>
              <a:gdLst>
                <a:gd name="T0" fmla="*/ 0 w 108"/>
                <a:gd name="T1" fmla="*/ 21 h 105"/>
                <a:gd name="T2" fmla="*/ 74 w 108"/>
                <a:gd name="T3" fmla="*/ 105 h 105"/>
                <a:gd name="T4" fmla="*/ 108 w 108"/>
                <a:gd name="T5" fmla="*/ 0 h 105"/>
                <a:gd name="T6" fmla="*/ 0 w 108"/>
                <a:gd name="T7" fmla="*/ 21 h 105"/>
              </a:gdLst>
              <a:ahLst/>
              <a:cxnLst>
                <a:cxn ang="0">
                  <a:pos x="T0" y="T1"/>
                </a:cxn>
                <a:cxn ang="0">
                  <a:pos x="T2" y="T3"/>
                </a:cxn>
                <a:cxn ang="0">
                  <a:pos x="T4" y="T5"/>
                </a:cxn>
                <a:cxn ang="0">
                  <a:pos x="T6" y="T7"/>
                </a:cxn>
              </a:cxnLst>
              <a:rect l="0" t="0" r="r" b="b"/>
              <a:pathLst>
                <a:path w="108" h="105">
                  <a:moveTo>
                    <a:pt x="0" y="21"/>
                  </a:moveTo>
                  <a:lnTo>
                    <a:pt x="74" y="105"/>
                  </a:lnTo>
                  <a:lnTo>
                    <a:pt x="108" y="0"/>
                  </a:lnTo>
                  <a:lnTo>
                    <a:pt x="0" y="21"/>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12">
              <a:extLst>
                <a:ext uri="{FF2B5EF4-FFF2-40B4-BE49-F238E27FC236}">
                  <a16:creationId xmlns:a16="http://schemas.microsoft.com/office/drawing/2014/main" id="{8425B897-8CD0-4C1D-A1CA-CB07BAF93F2F}"/>
                </a:ext>
              </a:extLst>
            </p:cNvPr>
            <p:cNvSpPr>
              <a:spLocks/>
            </p:cNvSpPr>
            <p:nvPr/>
          </p:nvSpPr>
          <p:spPr bwMode="auto">
            <a:xfrm>
              <a:off x="4563" y="2146"/>
              <a:ext cx="105" cy="107"/>
            </a:xfrm>
            <a:custGeom>
              <a:avLst/>
              <a:gdLst>
                <a:gd name="T0" fmla="*/ 0 w 105"/>
                <a:gd name="T1" fmla="*/ 0 h 107"/>
                <a:gd name="T2" fmla="*/ 23 w 105"/>
                <a:gd name="T3" fmla="*/ 107 h 107"/>
                <a:gd name="T4" fmla="*/ 105 w 105"/>
                <a:gd name="T5" fmla="*/ 34 h 107"/>
                <a:gd name="T6" fmla="*/ 0 w 105"/>
                <a:gd name="T7" fmla="*/ 0 h 107"/>
              </a:gdLst>
              <a:ahLst/>
              <a:cxnLst>
                <a:cxn ang="0">
                  <a:pos x="T0" y="T1"/>
                </a:cxn>
                <a:cxn ang="0">
                  <a:pos x="T2" y="T3"/>
                </a:cxn>
                <a:cxn ang="0">
                  <a:pos x="T4" y="T5"/>
                </a:cxn>
                <a:cxn ang="0">
                  <a:pos x="T6" y="T7"/>
                </a:cxn>
              </a:cxnLst>
              <a:rect l="0" t="0" r="r" b="b"/>
              <a:pathLst>
                <a:path w="105" h="107">
                  <a:moveTo>
                    <a:pt x="0" y="0"/>
                  </a:moveTo>
                  <a:lnTo>
                    <a:pt x="23" y="107"/>
                  </a:lnTo>
                  <a:lnTo>
                    <a:pt x="105" y="34"/>
                  </a:lnTo>
                  <a:lnTo>
                    <a:pt x="0" y="0"/>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13">
              <a:extLst>
                <a:ext uri="{FF2B5EF4-FFF2-40B4-BE49-F238E27FC236}">
                  <a16:creationId xmlns:a16="http://schemas.microsoft.com/office/drawing/2014/main" id="{9ED5DAE7-1955-4F69-B4C5-0BAF85FB2EE2}"/>
                </a:ext>
              </a:extLst>
            </p:cNvPr>
            <p:cNvSpPr>
              <a:spLocks/>
            </p:cNvSpPr>
            <p:nvPr/>
          </p:nvSpPr>
          <p:spPr bwMode="auto">
            <a:xfrm>
              <a:off x="4417" y="2542"/>
              <a:ext cx="417" cy="417"/>
            </a:xfrm>
            <a:custGeom>
              <a:avLst/>
              <a:gdLst>
                <a:gd name="T0" fmla="*/ 160 w 194"/>
                <a:gd name="T1" fmla="*/ 160 h 194"/>
                <a:gd name="T2" fmla="*/ 35 w 194"/>
                <a:gd name="T3" fmla="*/ 160 h 194"/>
                <a:gd name="T4" fmla="*/ 35 w 194"/>
                <a:gd name="T5" fmla="*/ 35 h 194"/>
                <a:gd name="T6" fmla="*/ 160 w 194"/>
                <a:gd name="T7" fmla="*/ 35 h 194"/>
                <a:gd name="T8" fmla="*/ 160 w 194"/>
                <a:gd name="T9" fmla="*/ 160 h 194"/>
              </a:gdLst>
              <a:ahLst/>
              <a:cxnLst>
                <a:cxn ang="0">
                  <a:pos x="T0" y="T1"/>
                </a:cxn>
                <a:cxn ang="0">
                  <a:pos x="T2" y="T3"/>
                </a:cxn>
                <a:cxn ang="0">
                  <a:pos x="T4" y="T5"/>
                </a:cxn>
                <a:cxn ang="0">
                  <a:pos x="T6" y="T7"/>
                </a:cxn>
                <a:cxn ang="0">
                  <a:pos x="T8" y="T9"/>
                </a:cxn>
              </a:cxnLst>
              <a:rect l="0" t="0" r="r" b="b"/>
              <a:pathLst>
                <a:path w="194" h="194">
                  <a:moveTo>
                    <a:pt x="160" y="160"/>
                  </a:moveTo>
                  <a:cubicBezTo>
                    <a:pt x="126" y="194"/>
                    <a:pt x="70" y="194"/>
                    <a:pt x="35" y="160"/>
                  </a:cubicBezTo>
                  <a:cubicBezTo>
                    <a:pt x="0" y="126"/>
                    <a:pt x="0" y="70"/>
                    <a:pt x="35" y="35"/>
                  </a:cubicBezTo>
                  <a:cubicBezTo>
                    <a:pt x="69" y="0"/>
                    <a:pt x="125" y="0"/>
                    <a:pt x="160" y="35"/>
                  </a:cubicBezTo>
                  <a:cubicBezTo>
                    <a:pt x="194" y="69"/>
                    <a:pt x="194" y="125"/>
                    <a:pt x="160" y="160"/>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Oval 14">
              <a:extLst>
                <a:ext uri="{FF2B5EF4-FFF2-40B4-BE49-F238E27FC236}">
                  <a16:creationId xmlns:a16="http://schemas.microsoft.com/office/drawing/2014/main" id="{F65070E2-F95B-4310-92DC-48881E7D04D0}"/>
                </a:ext>
              </a:extLst>
            </p:cNvPr>
            <p:cNvSpPr>
              <a:spLocks noChangeArrowheads="1"/>
            </p:cNvSpPr>
            <p:nvPr/>
          </p:nvSpPr>
          <p:spPr bwMode="auto">
            <a:xfrm>
              <a:off x="4664" y="3149"/>
              <a:ext cx="107" cy="107"/>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5">
              <a:extLst>
                <a:ext uri="{FF2B5EF4-FFF2-40B4-BE49-F238E27FC236}">
                  <a16:creationId xmlns:a16="http://schemas.microsoft.com/office/drawing/2014/main" id="{7819BF38-50AB-4F03-A60A-49D2F24BD608}"/>
                </a:ext>
              </a:extLst>
            </p:cNvPr>
            <p:cNvSpPr>
              <a:spLocks/>
            </p:cNvSpPr>
            <p:nvPr/>
          </p:nvSpPr>
          <p:spPr bwMode="auto">
            <a:xfrm>
              <a:off x="4722" y="2279"/>
              <a:ext cx="123" cy="123"/>
            </a:xfrm>
            <a:custGeom>
              <a:avLst/>
              <a:gdLst>
                <a:gd name="T0" fmla="*/ 50 w 57"/>
                <a:gd name="T1" fmla="*/ 40 h 57"/>
                <a:gd name="T2" fmla="*/ 16 w 57"/>
                <a:gd name="T3" fmla="*/ 50 h 57"/>
                <a:gd name="T4" fmla="*/ 6 w 57"/>
                <a:gd name="T5" fmla="*/ 17 h 57"/>
                <a:gd name="T6" fmla="*/ 40 w 57"/>
                <a:gd name="T7" fmla="*/ 6 h 57"/>
                <a:gd name="T8" fmla="*/ 50 w 57"/>
                <a:gd name="T9" fmla="*/ 40 h 57"/>
              </a:gdLst>
              <a:ahLst/>
              <a:cxnLst>
                <a:cxn ang="0">
                  <a:pos x="T0" y="T1"/>
                </a:cxn>
                <a:cxn ang="0">
                  <a:pos x="T2" y="T3"/>
                </a:cxn>
                <a:cxn ang="0">
                  <a:pos x="T4" y="T5"/>
                </a:cxn>
                <a:cxn ang="0">
                  <a:pos x="T6" y="T7"/>
                </a:cxn>
                <a:cxn ang="0">
                  <a:pos x="T8" y="T9"/>
                </a:cxn>
              </a:cxnLst>
              <a:rect l="0" t="0" r="r" b="b"/>
              <a:pathLst>
                <a:path w="57" h="57">
                  <a:moveTo>
                    <a:pt x="50" y="40"/>
                  </a:moveTo>
                  <a:cubicBezTo>
                    <a:pt x="44" y="52"/>
                    <a:pt x="29" y="57"/>
                    <a:pt x="16" y="50"/>
                  </a:cubicBezTo>
                  <a:cubicBezTo>
                    <a:pt x="4" y="44"/>
                    <a:pt x="0" y="29"/>
                    <a:pt x="6" y="17"/>
                  </a:cubicBezTo>
                  <a:cubicBezTo>
                    <a:pt x="13" y="5"/>
                    <a:pt x="28" y="0"/>
                    <a:pt x="40" y="6"/>
                  </a:cubicBezTo>
                  <a:cubicBezTo>
                    <a:pt x="52" y="13"/>
                    <a:pt x="57" y="28"/>
                    <a:pt x="50" y="40"/>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6">
              <a:extLst>
                <a:ext uri="{FF2B5EF4-FFF2-40B4-BE49-F238E27FC236}">
                  <a16:creationId xmlns:a16="http://schemas.microsoft.com/office/drawing/2014/main" id="{C11D74E5-773B-4BF7-B804-9B9CBDBAD4FE}"/>
                </a:ext>
              </a:extLst>
            </p:cNvPr>
            <p:cNvSpPr>
              <a:spLocks/>
            </p:cNvSpPr>
            <p:nvPr/>
          </p:nvSpPr>
          <p:spPr bwMode="auto">
            <a:xfrm>
              <a:off x="5019" y="2901"/>
              <a:ext cx="327" cy="330"/>
            </a:xfrm>
            <a:custGeom>
              <a:avLst/>
              <a:gdLst>
                <a:gd name="T0" fmla="*/ 290 w 327"/>
                <a:gd name="T1" fmla="*/ 330 h 330"/>
                <a:gd name="T2" fmla="*/ 0 w 327"/>
                <a:gd name="T3" fmla="*/ 293 h 330"/>
                <a:gd name="T4" fmla="*/ 36 w 327"/>
                <a:gd name="T5" fmla="*/ 0 h 330"/>
                <a:gd name="T6" fmla="*/ 327 w 327"/>
                <a:gd name="T7" fmla="*/ 39 h 330"/>
                <a:gd name="T8" fmla="*/ 290 w 327"/>
                <a:gd name="T9" fmla="*/ 330 h 330"/>
              </a:gdLst>
              <a:ahLst/>
              <a:cxnLst>
                <a:cxn ang="0">
                  <a:pos x="T0" y="T1"/>
                </a:cxn>
                <a:cxn ang="0">
                  <a:pos x="T2" y="T3"/>
                </a:cxn>
                <a:cxn ang="0">
                  <a:pos x="T4" y="T5"/>
                </a:cxn>
                <a:cxn ang="0">
                  <a:pos x="T6" y="T7"/>
                </a:cxn>
                <a:cxn ang="0">
                  <a:pos x="T8" y="T9"/>
                </a:cxn>
              </a:cxnLst>
              <a:rect l="0" t="0" r="r" b="b"/>
              <a:pathLst>
                <a:path w="327" h="330">
                  <a:moveTo>
                    <a:pt x="290" y="330"/>
                  </a:moveTo>
                  <a:lnTo>
                    <a:pt x="0" y="293"/>
                  </a:lnTo>
                  <a:lnTo>
                    <a:pt x="36" y="0"/>
                  </a:lnTo>
                  <a:lnTo>
                    <a:pt x="327" y="39"/>
                  </a:lnTo>
                  <a:lnTo>
                    <a:pt x="290" y="330"/>
                  </a:ln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7">
              <a:extLst>
                <a:ext uri="{FF2B5EF4-FFF2-40B4-BE49-F238E27FC236}">
                  <a16:creationId xmlns:a16="http://schemas.microsoft.com/office/drawing/2014/main" id="{0E30B0FF-B211-486D-9964-DD5DBC386488}"/>
                </a:ext>
              </a:extLst>
            </p:cNvPr>
            <p:cNvSpPr>
              <a:spLocks/>
            </p:cNvSpPr>
            <p:nvPr/>
          </p:nvSpPr>
          <p:spPr bwMode="auto">
            <a:xfrm>
              <a:off x="3935" y="2296"/>
              <a:ext cx="649" cy="799"/>
            </a:xfrm>
            <a:custGeom>
              <a:avLst/>
              <a:gdLst>
                <a:gd name="T0" fmla="*/ 299 w 302"/>
                <a:gd name="T1" fmla="*/ 62 h 371"/>
                <a:gd name="T2" fmla="*/ 282 w 302"/>
                <a:gd name="T3" fmla="*/ 46 h 371"/>
                <a:gd name="T4" fmla="*/ 272 w 302"/>
                <a:gd name="T5" fmla="*/ 47 h 371"/>
                <a:gd name="T6" fmla="*/ 146 w 302"/>
                <a:gd name="T7" fmla="*/ 174 h 371"/>
                <a:gd name="T8" fmla="*/ 146 w 302"/>
                <a:gd name="T9" fmla="*/ 174 h 371"/>
                <a:gd name="T10" fmla="*/ 237 w 302"/>
                <a:gd name="T11" fmla="*/ 50 h 371"/>
                <a:gd name="T12" fmla="*/ 245 w 302"/>
                <a:gd name="T13" fmla="*/ 20 h 371"/>
                <a:gd name="T14" fmla="*/ 230 w 302"/>
                <a:gd name="T15" fmla="*/ 9 h 371"/>
                <a:gd name="T16" fmla="*/ 215 w 302"/>
                <a:gd name="T17" fmla="*/ 12 h 371"/>
                <a:gd name="T18" fmla="*/ 104 w 302"/>
                <a:gd name="T19" fmla="*/ 160 h 371"/>
                <a:gd name="T20" fmla="*/ 167 w 302"/>
                <a:gd name="T21" fmla="*/ 37 h 371"/>
                <a:gd name="T22" fmla="*/ 166 w 302"/>
                <a:gd name="T23" fmla="*/ 6 h 371"/>
                <a:gd name="T24" fmla="*/ 155 w 302"/>
                <a:gd name="T25" fmla="*/ 1 h 371"/>
                <a:gd name="T26" fmla="*/ 135 w 302"/>
                <a:gd name="T27" fmla="*/ 8 h 371"/>
                <a:gd name="T28" fmla="*/ 120 w 302"/>
                <a:gd name="T29" fmla="*/ 25 h 371"/>
                <a:gd name="T30" fmla="*/ 112 w 302"/>
                <a:gd name="T31" fmla="*/ 11 h 371"/>
                <a:gd name="T32" fmla="*/ 104 w 302"/>
                <a:gd name="T33" fmla="*/ 7 h 371"/>
                <a:gd name="T34" fmla="*/ 81 w 302"/>
                <a:gd name="T35" fmla="*/ 15 h 371"/>
                <a:gd name="T36" fmla="*/ 27 w 302"/>
                <a:gd name="T37" fmla="*/ 127 h 371"/>
                <a:gd name="T38" fmla="*/ 16 w 302"/>
                <a:gd name="T39" fmla="*/ 220 h 371"/>
                <a:gd name="T40" fmla="*/ 0 w 302"/>
                <a:gd name="T41" fmla="*/ 226 h 371"/>
                <a:gd name="T42" fmla="*/ 46 w 302"/>
                <a:gd name="T43" fmla="*/ 348 h 371"/>
                <a:gd name="T44" fmla="*/ 150 w 302"/>
                <a:gd name="T45" fmla="*/ 308 h 371"/>
                <a:gd name="T46" fmla="*/ 173 w 302"/>
                <a:gd name="T47" fmla="*/ 315 h 371"/>
                <a:gd name="T48" fmla="*/ 227 w 302"/>
                <a:gd name="T49" fmla="*/ 365 h 371"/>
                <a:gd name="T50" fmla="*/ 257 w 302"/>
                <a:gd name="T51" fmla="*/ 357 h 371"/>
                <a:gd name="T52" fmla="*/ 250 w 302"/>
                <a:gd name="T53" fmla="*/ 327 h 371"/>
                <a:gd name="T54" fmla="*/ 188 w 302"/>
                <a:gd name="T55" fmla="*/ 187 h 371"/>
                <a:gd name="T56" fmla="*/ 283 w 302"/>
                <a:gd name="T57" fmla="*/ 89 h 371"/>
                <a:gd name="T58" fmla="*/ 299 w 302"/>
                <a:gd name="T59" fmla="*/ 6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2" h="371">
                  <a:moveTo>
                    <a:pt x="299" y="62"/>
                  </a:moveTo>
                  <a:cubicBezTo>
                    <a:pt x="297" y="54"/>
                    <a:pt x="290" y="48"/>
                    <a:pt x="282" y="46"/>
                  </a:cubicBezTo>
                  <a:cubicBezTo>
                    <a:pt x="279" y="46"/>
                    <a:pt x="276" y="46"/>
                    <a:pt x="272" y="47"/>
                  </a:cubicBezTo>
                  <a:cubicBezTo>
                    <a:pt x="209" y="63"/>
                    <a:pt x="161" y="112"/>
                    <a:pt x="146" y="174"/>
                  </a:cubicBezTo>
                  <a:cubicBezTo>
                    <a:pt x="146" y="174"/>
                    <a:pt x="146" y="174"/>
                    <a:pt x="146" y="174"/>
                  </a:cubicBezTo>
                  <a:cubicBezTo>
                    <a:pt x="159" y="121"/>
                    <a:pt x="192" y="76"/>
                    <a:pt x="237" y="50"/>
                  </a:cubicBezTo>
                  <a:cubicBezTo>
                    <a:pt x="247" y="43"/>
                    <a:pt x="251" y="30"/>
                    <a:pt x="245" y="20"/>
                  </a:cubicBezTo>
                  <a:cubicBezTo>
                    <a:pt x="241" y="14"/>
                    <a:pt x="236" y="11"/>
                    <a:pt x="230" y="9"/>
                  </a:cubicBezTo>
                  <a:cubicBezTo>
                    <a:pt x="225" y="8"/>
                    <a:pt x="219" y="9"/>
                    <a:pt x="215" y="12"/>
                  </a:cubicBezTo>
                  <a:cubicBezTo>
                    <a:pt x="161" y="44"/>
                    <a:pt x="121" y="97"/>
                    <a:pt x="104" y="160"/>
                  </a:cubicBezTo>
                  <a:cubicBezTo>
                    <a:pt x="114" y="113"/>
                    <a:pt x="136" y="71"/>
                    <a:pt x="167" y="37"/>
                  </a:cubicBezTo>
                  <a:cubicBezTo>
                    <a:pt x="175" y="28"/>
                    <a:pt x="175" y="15"/>
                    <a:pt x="166" y="6"/>
                  </a:cubicBezTo>
                  <a:cubicBezTo>
                    <a:pt x="163" y="3"/>
                    <a:pt x="159" y="2"/>
                    <a:pt x="155" y="1"/>
                  </a:cubicBezTo>
                  <a:cubicBezTo>
                    <a:pt x="148" y="0"/>
                    <a:pt x="140" y="2"/>
                    <a:pt x="135" y="8"/>
                  </a:cubicBezTo>
                  <a:cubicBezTo>
                    <a:pt x="130" y="13"/>
                    <a:pt x="125" y="19"/>
                    <a:pt x="120" y="25"/>
                  </a:cubicBezTo>
                  <a:cubicBezTo>
                    <a:pt x="119" y="20"/>
                    <a:pt x="117" y="14"/>
                    <a:pt x="112" y="11"/>
                  </a:cubicBezTo>
                  <a:cubicBezTo>
                    <a:pt x="109" y="9"/>
                    <a:pt x="107" y="8"/>
                    <a:pt x="104" y="7"/>
                  </a:cubicBezTo>
                  <a:cubicBezTo>
                    <a:pt x="96" y="5"/>
                    <a:pt x="87" y="7"/>
                    <a:pt x="81" y="15"/>
                  </a:cubicBezTo>
                  <a:cubicBezTo>
                    <a:pt x="56" y="48"/>
                    <a:pt x="37" y="86"/>
                    <a:pt x="27" y="127"/>
                  </a:cubicBezTo>
                  <a:cubicBezTo>
                    <a:pt x="19" y="158"/>
                    <a:pt x="15" y="189"/>
                    <a:pt x="16" y="220"/>
                  </a:cubicBezTo>
                  <a:cubicBezTo>
                    <a:pt x="0" y="226"/>
                    <a:pt x="0" y="226"/>
                    <a:pt x="0" y="226"/>
                  </a:cubicBezTo>
                  <a:cubicBezTo>
                    <a:pt x="46" y="348"/>
                    <a:pt x="46" y="348"/>
                    <a:pt x="46" y="348"/>
                  </a:cubicBezTo>
                  <a:cubicBezTo>
                    <a:pt x="150" y="308"/>
                    <a:pt x="150" y="308"/>
                    <a:pt x="150" y="308"/>
                  </a:cubicBezTo>
                  <a:cubicBezTo>
                    <a:pt x="159" y="305"/>
                    <a:pt x="168" y="308"/>
                    <a:pt x="173" y="315"/>
                  </a:cubicBezTo>
                  <a:cubicBezTo>
                    <a:pt x="187" y="334"/>
                    <a:pt x="206" y="352"/>
                    <a:pt x="227" y="365"/>
                  </a:cubicBezTo>
                  <a:cubicBezTo>
                    <a:pt x="238" y="371"/>
                    <a:pt x="251" y="368"/>
                    <a:pt x="257" y="357"/>
                  </a:cubicBezTo>
                  <a:cubicBezTo>
                    <a:pt x="264" y="347"/>
                    <a:pt x="260" y="334"/>
                    <a:pt x="250" y="327"/>
                  </a:cubicBezTo>
                  <a:cubicBezTo>
                    <a:pt x="201" y="298"/>
                    <a:pt x="176" y="241"/>
                    <a:pt x="188" y="187"/>
                  </a:cubicBezTo>
                  <a:cubicBezTo>
                    <a:pt x="198" y="139"/>
                    <a:pt x="235" y="102"/>
                    <a:pt x="283" y="89"/>
                  </a:cubicBezTo>
                  <a:cubicBezTo>
                    <a:pt x="295" y="86"/>
                    <a:pt x="302" y="74"/>
                    <a:pt x="299" y="62"/>
                  </a:cubicBezTo>
                  <a:close/>
                </a:path>
              </a:pathLst>
            </a:custGeom>
            <a:noFill/>
            <a:ln w="12700"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8">
              <a:extLst>
                <a:ext uri="{FF2B5EF4-FFF2-40B4-BE49-F238E27FC236}">
                  <a16:creationId xmlns:a16="http://schemas.microsoft.com/office/drawing/2014/main" id="{F4A93B06-A6E3-4610-BA9E-3F7A0F31429A}"/>
                </a:ext>
              </a:extLst>
            </p:cNvPr>
            <p:cNvSpPr>
              <a:spLocks/>
            </p:cNvSpPr>
            <p:nvPr/>
          </p:nvSpPr>
          <p:spPr bwMode="auto">
            <a:xfrm>
              <a:off x="4070" y="2314"/>
              <a:ext cx="155" cy="284"/>
            </a:xfrm>
            <a:custGeom>
              <a:avLst/>
              <a:gdLst>
                <a:gd name="T0" fmla="*/ 0 w 72"/>
                <a:gd name="T1" fmla="*/ 132 h 132"/>
                <a:gd name="T2" fmla="*/ 72 w 72"/>
                <a:gd name="T3" fmla="*/ 0 h 132"/>
              </a:gdLst>
              <a:ahLst/>
              <a:cxnLst>
                <a:cxn ang="0">
                  <a:pos x="T0" y="T1"/>
                </a:cxn>
                <a:cxn ang="0">
                  <a:pos x="T2" y="T3"/>
                </a:cxn>
              </a:cxnLst>
              <a:rect l="0" t="0" r="r" b="b"/>
              <a:pathLst>
                <a:path w="72" h="132">
                  <a:moveTo>
                    <a:pt x="0" y="132"/>
                  </a:moveTo>
                  <a:cubicBezTo>
                    <a:pt x="14" y="82"/>
                    <a:pt x="36" y="36"/>
                    <a:pt x="72"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9">
              <a:extLst>
                <a:ext uri="{FF2B5EF4-FFF2-40B4-BE49-F238E27FC236}">
                  <a16:creationId xmlns:a16="http://schemas.microsoft.com/office/drawing/2014/main" id="{3189E75F-FF78-4D80-94C3-BD7B1D7CECE5}"/>
                </a:ext>
              </a:extLst>
            </p:cNvPr>
            <p:cNvSpPr>
              <a:spLocks/>
            </p:cNvSpPr>
            <p:nvPr/>
          </p:nvSpPr>
          <p:spPr bwMode="auto">
            <a:xfrm>
              <a:off x="3444" y="2764"/>
              <a:ext cx="609" cy="512"/>
            </a:xfrm>
            <a:custGeom>
              <a:avLst/>
              <a:gdLst>
                <a:gd name="T0" fmla="*/ 0 w 609"/>
                <a:gd name="T1" fmla="*/ 176 h 512"/>
                <a:gd name="T2" fmla="*/ 482 w 609"/>
                <a:gd name="T3" fmla="*/ 0 h 512"/>
                <a:gd name="T4" fmla="*/ 609 w 609"/>
                <a:gd name="T5" fmla="*/ 337 h 512"/>
                <a:gd name="T6" fmla="*/ 127 w 609"/>
                <a:gd name="T7" fmla="*/ 512 h 512"/>
              </a:gdLst>
              <a:ahLst/>
              <a:cxnLst>
                <a:cxn ang="0">
                  <a:pos x="T0" y="T1"/>
                </a:cxn>
                <a:cxn ang="0">
                  <a:pos x="T2" y="T3"/>
                </a:cxn>
                <a:cxn ang="0">
                  <a:pos x="T4" y="T5"/>
                </a:cxn>
                <a:cxn ang="0">
                  <a:pos x="T6" y="T7"/>
                </a:cxn>
              </a:cxnLst>
              <a:rect l="0" t="0" r="r" b="b"/>
              <a:pathLst>
                <a:path w="609" h="512">
                  <a:moveTo>
                    <a:pt x="0" y="176"/>
                  </a:moveTo>
                  <a:lnTo>
                    <a:pt x="482" y="0"/>
                  </a:lnTo>
                  <a:lnTo>
                    <a:pt x="609" y="337"/>
                  </a:lnTo>
                  <a:lnTo>
                    <a:pt x="127" y="512"/>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20">
              <a:extLst>
                <a:ext uri="{FF2B5EF4-FFF2-40B4-BE49-F238E27FC236}">
                  <a16:creationId xmlns:a16="http://schemas.microsoft.com/office/drawing/2014/main" id="{BB9ECCE0-DF1C-4A40-ACBC-C0025D973A0A}"/>
                </a:ext>
              </a:extLst>
            </p:cNvPr>
            <p:cNvSpPr>
              <a:spLocks/>
            </p:cNvSpPr>
            <p:nvPr/>
          </p:nvSpPr>
          <p:spPr bwMode="auto">
            <a:xfrm>
              <a:off x="5092" y="1728"/>
              <a:ext cx="738" cy="1079"/>
            </a:xfrm>
            <a:custGeom>
              <a:avLst/>
              <a:gdLst>
                <a:gd name="T0" fmla="*/ 231 w 343"/>
                <a:gd name="T1" fmla="*/ 0 h 501"/>
                <a:gd name="T2" fmla="*/ 118 w 343"/>
                <a:gd name="T3" fmla="*/ 164 h 501"/>
                <a:gd name="T4" fmla="*/ 101 w 343"/>
                <a:gd name="T5" fmla="*/ 180 h 501"/>
                <a:gd name="T6" fmla="*/ 79 w 343"/>
                <a:gd name="T7" fmla="*/ 186 h 501"/>
                <a:gd name="T8" fmla="*/ 27 w 343"/>
                <a:gd name="T9" fmla="*/ 171 h 501"/>
                <a:gd name="T10" fmla="*/ 1 w 343"/>
                <a:gd name="T11" fmla="*/ 190 h 501"/>
                <a:gd name="T12" fmla="*/ 21 w 343"/>
                <a:gd name="T13" fmla="*/ 216 h 501"/>
                <a:gd name="T14" fmla="*/ 138 w 343"/>
                <a:gd name="T15" fmla="*/ 325 h 501"/>
                <a:gd name="T16" fmla="*/ 87 w 343"/>
                <a:gd name="T17" fmla="*/ 459 h 501"/>
                <a:gd name="T18" fmla="*/ 83 w 343"/>
                <a:gd name="T19" fmla="*/ 491 h 501"/>
                <a:gd name="T20" fmla="*/ 106 w 343"/>
                <a:gd name="T21" fmla="*/ 499 h 501"/>
                <a:gd name="T22" fmla="*/ 115 w 343"/>
                <a:gd name="T23" fmla="*/ 495 h 501"/>
                <a:gd name="T24" fmla="*/ 183 w 343"/>
                <a:gd name="T25" fmla="*/ 316 h 501"/>
                <a:gd name="T26" fmla="*/ 180 w 343"/>
                <a:gd name="T27" fmla="*/ 305 h 501"/>
                <a:gd name="T28" fmla="*/ 171 w 343"/>
                <a:gd name="T29" fmla="*/ 466 h 501"/>
                <a:gd name="T30" fmla="*/ 181 w 343"/>
                <a:gd name="T31" fmla="*/ 496 h 501"/>
                <a:gd name="T32" fmla="*/ 199 w 343"/>
                <a:gd name="T33" fmla="*/ 497 h 501"/>
                <a:gd name="T34" fmla="*/ 212 w 343"/>
                <a:gd name="T35" fmla="*/ 486 h 501"/>
                <a:gd name="T36" fmla="*/ 225 w 343"/>
                <a:gd name="T37" fmla="*/ 294 h 501"/>
                <a:gd name="T38" fmla="*/ 239 w 343"/>
                <a:gd name="T39" fmla="*/ 437 h 501"/>
                <a:gd name="T40" fmla="*/ 258 w 343"/>
                <a:gd name="T41" fmla="*/ 463 h 501"/>
                <a:gd name="T42" fmla="*/ 270 w 343"/>
                <a:gd name="T43" fmla="*/ 462 h 501"/>
                <a:gd name="T44" fmla="*/ 284 w 343"/>
                <a:gd name="T45" fmla="*/ 445 h 501"/>
                <a:gd name="T46" fmla="*/ 287 w 343"/>
                <a:gd name="T47" fmla="*/ 421 h 501"/>
                <a:gd name="T48" fmla="*/ 303 w 343"/>
                <a:gd name="T49" fmla="*/ 429 h 501"/>
                <a:gd name="T50" fmla="*/ 312 w 343"/>
                <a:gd name="T51" fmla="*/ 428 h 501"/>
                <a:gd name="T52" fmla="*/ 327 w 343"/>
                <a:gd name="T53" fmla="*/ 408 h 501"/>
                <a:gd name="T54" fmla="*/ 311 w 343"/>
                <a:gd name="T55" fmla="*/ 279 h 501"/>
                <a:gd name="T56" fmla="*/ 267 w 343"/>
                <a:gd name="T57" fmla="*/ 190 h 501"/>
                <a:gd name="T58" fmla="*/ 343 w 343"/>
                <a:gd name="T59" fmla="*/ 83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3" h="501">
                  <a:moveTo>
                    <a:pt x="231" y="0"/>
                  </a:moveTo>
                  <a:cubicBezTo>
                    <a:pt x="118" y="164"/>
                    <a:pt x="118" y="164"/>
                    <a:pt x="118" y="164"/>
                  </a:cubicBezTo>
                  <a:cubicBezTo>
                    <a:pt x="101" y="180"/>
                    <a:pt x="101" y="180"/>
                    <a:pt x="101" y="180"/>
                  </a:cubicBezTo>
                  <a:cubicBezTo>
                    <a:pt x="95" y="186"/>
                    <a:pt x="87" y="188"/>
                    <a:pt x="79" y="186"/>
                  </a:cubicBezTo>
                  <a:cubicBezTo>
                    <a:pt x="63" y="178"/>
                    <a:pt x="46" y="173"/>
                    <a:pt x="27" y="171"/>
                  </a:cubicBezTo>
                  <a:cubicBezTo>
                    <a:pt x="15" y="169"/>
                    <a:pt x="3" y="178"/>
                    <a:pt x="1" y="190"/>
                  </a:cubicBezTo>
                  <a:cubicBezTo>
                    <a:pt x="0" y="203"/>
                    <a:pt x="8" y="214"/>
                    <a:pt x="21" y="216"/>
                  </a:cubicBezTo>
                  <a:cubicBezTo>
                    <a:pt x="80" y="224"/>
                    <a:pt x="127" y="268"/>
                    <a:pt x="138" y="325"/>
                  </a:cubicBezTo>
                  <a:cubicBezTo>
                    <a:pt x="148" y="375"/>
                    <a:pt x="128" y="426"/>
                    <a:pt x="87" y="459"/>
                  </a:cubicBezTo>
                  <a:cubicBezTo>
                    <a:pt x="77" y="467"/>
                    <a:pt x="75" y="481"/>
                    <a:pt x="83" y="491"/>
                  </a:cubicBezTo>
                  <a:cubicBezTo>
                    <a:pt x="89" y="498"/>
                    <a:pt x="97" y="501"/>
                    <a:pt x="106" y="499"/>
                  </a:cubicBezTo>
                  <a:cubicBezTo>
                    <a:pt x="109" y="499"/>
                    <a:pt x="112" y="497"/>
                    <a:pt x="115" y="495"/>
                  </a:cubicBezTo>
                  <a:cubicBezTo>
                    <a:pt x="170" y="452"/>
                    <a:pt x="196" y="383"/>
                    <a:pt x="183" y="316"/>
                  </a:cubicBezTo>
                  <a:cubicBezTo>
                    <a:pt x="182" y="313"/>
                    <a:pt x="181" y="309"/>
                    <a:pt x="180" y="305"/>
                  </a:cubicBezTo>
                  <a:cubicBezTo>
                    <a:pt x="198" y="359"/>
                    <a:pt x="195" y="417"/>
                    <a:pt x="171" y="466"/>
                  </a:cubicBezTo>
                  <a:cubicBezTo>
                    <a:pt x="165" y="477"/>
                    <a:pt x="170" y="491"/>
                    <a:pt x="181" y="496"/>
                  </a:cubicBezTo>
                  <a:cubicBezTo>
                    <a:pt x="187" y="499"/>
                    <a:pt x="193" y="499"/>
                    <a:pt x="199" y="497"/>
                  </a:cubicBezTo>
                  <a:cubicBezTo>
                    <a:pt x="204" y="495"/>
                    <a:pt x="209" y="491"/>
                    <a:pt x="212" y="486"/>
                  </a:cubicBezTo>
                  <a:cubicBezTo>
                    <a:pt x="241" y="427"/>
                    <a:pt x="245" y="358"/>
                    <a:pt x="225" y="294"/>
                  </a:cubicBezTo>
                  <a:cubicBezTo>
                    <a:pt x="242" y="340"/>
                    <a:pt x="247" y="389"/>
                    <a:pt x="239" y="437"/>
                  </a:cubicBezTo>
                  <a:cubicBezTo>
                    <a:pt x="237" y="449"/>
                    <a:pt x="245" y="461"/>
                    <a:pt x="258" y="463"/>
                  </a:cubicBezTo>
                  <a:cubicBezTo>
                    <a:pt x="262" y="464"/>
                    <a:pt x="266" y="463"/>
                    <a:pt x="270" y="462"/>
                  </a:cubicBezTo>
                  <a:cubicBezTo>
                    <a:pt x="277" y="459"/>
                    <a:pt x="283" y="453"/>
                    <a:pt x="284" y="445"/>
                  </a:cubicBezTo>
                  <a:cubicBezTo>
                    <a:pt x="285" y="437"/>
                    <a:pt x="286" y="429"/>
                    <a:pt x="287" y="421"/>
                  </a:cubicBezTo>
                  <a:cubicBezTo>
                    <a:pt x="291" y="425"/>
                    <a:pt x="296" y="428"/>
                    <a:pt x="303" y="429"/>
                  </a:cubicBezTo>
                  <a:cubicBezTo>
                    <a:pt x="306" y="429"/>
                    <a:pt x="309" y="429"/>
                    <a:pt x="312" y="428"/>
                  </a:cubicBezTo>
                  <a:cubicBezTo>
                    <a:pt x="320" y="425"/>
                    <a:pt x="327" y="417"/>
                    <a:pt x="327" y="408"/>
                  </a:cubicBezTo>
                  <a:cubicBezTo>
                    <a:pt x="331" y="364"/>
                    <a:pt x="325" y="321"/>
                    <a:pt x="311" y="279"/>
                  </a:cubicBezTo>
                  <a:cubicBezTo>
                    <a:pt x="301" y="247"/>
                    <a:pt x="286" y="217"/>
                    <a:pt x="267" y="190"/>
                  </a:cubicBezTo>
                  <a:cubicBezTo>
                    <a:pt x="343" y="83"/>
                    <a:pt x="343" y="83"/>
                    <a:pt x="343" y="83"/>
                  </a:cubicBezTo>
                </a:path>
              </a:pathLst>
            </a:custGeom>
            <a:noFill/>
            <a:ln w="12700"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21">
              <a:extLst>
                <a:ext uri="{FF2B5EF4-FFF2-40B4-BE49-F238E27FC236}">
                  <a16:creationId xmlns:a16="http://schemas.microsoft.com/office/drawing/2014/main" id="{8ED15B93-0108-4B56-9390-D2B31CDE3596}"/>
                </a:ext>
              </a:extLst>
            </p:cNvPr>
            <p:cNvSpPr>
              <a:spLocks/>
            </p:cNvSpPr>
            <p:nvPr/>
          </p:nvSpPr>
          <p:spPr bwMode="auto">
            <a:xfrm>
              <a:off x="5677" y="2346"/>
              <a:ext cx="49" cy="340"/>
            </a:xfrm>
            <a:custGeom>
              <a:avLst/>
              <a:gdLst>
                <a:gd name="T0" fmla="*/ 0 w 23"/>
                <a:gd name="T1" fmla="*/ 0 h 158"/>
                <a:gd name="T2" fmla="*/ 12 w 23"/>
                <a:gd name="T3" fmla="*/ 158 h 158"/>
              </a:gdLst>
              <a:ahLst/>
              <a:cxnLst>
                <a:cxn ang="0">
                  <a:pos x="T0" y="T1"/>
                </a:cxn>
                <a:cxn ang="0">
                  <a:pos x="T2" y="T3"/>
                </a:cxn>
              </a:cxnLst>
              <a:rect l="0" t="0" r="r" b="b"/>
              <a:pathLst>
                <a:path w="23" h="158">
                  <a:moveTo>
                    <a:pt x="0" y="0"/>
                  </a:moveTo>
                  <a:cubicBezTo>
                    <a:pt x="15" y="52"/>
                    <a:pt x="23" y="105"/>
                    <a:pt x="12" y="15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22">
              <a:extLst>
                <a:ext uri="{FF2B5EF4-FFF2-40B4-BE49-F238E27FC236}">
                  <a16:creationId xmlns:a16="http://schemas.microsoft.com/office/drawing/2014/main" id="{E753E2C4-F2CA-4F0A-B020-52DBC38B396B}"/>
                </a:ext>
              </a:extLst>
            </p:cNvPr>
            <p:cNvSpPr>
              <a:spLocks/>
            </p:cNvSpPr>
            <p:nvPr/>
          </p:nvSpPr>
          <p:spPr bwMode="auto">
            <a:xfrm>
              <a:off x="3827" y="2800"/>
              <a:ext cx="110" cy="308"/>
            </a:xfrm>
            <a:custGeom>
              <a:avLst/>
              <a:gdLst>
                <a:gd name="T0" fmla="*/ 0 w 110"/>
                <a:gd name="T1" fmla="*/ 0 h 308"/>
                <a:gd name="T2" fmla="*/ 110 w 110"/>
                <a:gd name="T3" fmla="*/ 308 h 308"/>
                <a:gd name="T4" fmla="*/ 0 w 110"/>
                <a:gd name="T5" fmla="*/ 0 h 308"/>
              </a:gdLst>
              <a:ahLst/>
              <a:cxnLst>
                <a:cxn ang="0">
                  <a:pos x="T0" y="T1"/>
                </a:cxn>
                <a:cxn ang="0">
                  <a:pos x="T2" y="T3"/>
                </a:cxn>
                <a:cxn ang="0">
                  <a:pos x="T4" y="T5"/>
                </a:cxn>
              </a:cxnLst>
              <a:rect l="0" t="0" r="r" b="b"/>
              <a:pathLst>
                <a:path w="110" h="308">
                  <a:moveTo>
                    <a:pt x="0" y="0"/>
                  </a:moveTo>
                  <a:lnTo>
                    <a:pt x="110" y="308"/>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Line 23">
              <a:extLst>
                <a:ext uri="{FF2B5EF4-FFF2-40B4-BE49-F238E27FC236}">
                  <a16:creationId xmlns:a16="http://schemas.microsoft.com/office/drawing/2014/main" id="{208C177C-9DD8-4056-B35B-16EAEAB0D860}"/>
                </a:ext>
              </a:extLst>
            </p:cNvPr>
            <p:cNvSpPr>
              <a:spLocks noChangeShapeType="1"/>
            </p:cNvSpPr>
            <p:nvPr/>
          </p:nvSpPr>
          <p:spPr bwMode="auto">
            <a:xfrm>
              <a:off x="3827" y="2800"/>
              <a:ext cx="110" cy="30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24">
              <a:extLst>
                <a:ext uri="{FF2B5EF4-FFF2-40B4-BE49-F238E27FC236}">
                  <a16:creationId xmlns:a16="http://schemas.microsoft.com/office/drawing/2014/main" id="{A68A43C2-439A-498C-A13F-103FF1651764}"/>
                </a:ext>
              </a:extLst>
            </p:cNvPr>
            <p:cNvSpPr>
              <a:spLocks/>
            </p:cNvSpPr>
            <p:nvPr/>
          </p:nvSpPr>
          <p:spPr bwMode="auto">
            <a:xfrm>
              <a:off x="3743" y="2850"/>
              <a:ext cx="65" cy="62"/>
            </a:xfrm>
            <a:custGeom>
              <a:avLst/>
              <a:gdLst>
                <a:gd name="T0" fmla="*/ 0 w 30"/>
                <a:gd name="T1" fmla="*/ 15 h 29"/>
                <a:gd name="T2" fmla="*/ 15 w 30"/>
                <a:gd name="T3" fmla="*/ 0 h 29"/>
                <a:gd name="T4" fmla="*/ 30 w 30"/>
                <a:gd name="T5" fmla="*/ 15 h 29"/>
                <a:gd name="T6" fmla="*/ 15 w 30"/>
                <a:gd name="T7" fmla="*/ 29 h 29"/>
              </a:gdLst>
              <a:ahLst/>
              <a:cxnLst>
                <a:cxn ang="0">
                  <a:pos x="T0" y="T1"/>
                </a:cxn>
                <a:cxn ang="0">
                  <a:pos x="T2" y="T3"/>
                </a:cxn>
                <a:cxn ang="0">
                  <a:pos x="T4" y="T5"/>
                </a:cxn>
                <a:cxn ang="0">
                  <a:pos x="T6" y="T7"/>
                </a:cxn>
              </a:cxnLst>
              <a:rect l="0" t="0" r="r" b="b"/>
              <a:pathLst>
                <a:path w="30" h="29">
                  <a:moveTo>
                    <a:pt x="0" y="15"/>
                  </a:moveTo>
                  <a:cubicBezTo>
                    <a:pt x="0" y="7"/>
                    <a:pt x="7" y="0"/>
                    <a:pt x="15" y="0"/>
                  </a:cubicBezTo>
                  <a:cubicBezTo>
                    <a:pt x="23" y="0"/>
                    <a:pt x="30" y="7"/>
                    <a:pt x="30" y="15"/>
                  </a:cubicBezTo>
                  <a:cubicBezTo>
                    <a:pt x="30" y="23"/>
                    <a:pt x="23" y="29"/>
                    <a:pt x="15" y="2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800870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 name="Rectangle 153">
            <a:extLst>
              <a:ext uri="{FF2B5EF4-FFF2-40B4-BE49-F238E27FC236}">
                <a16:creationId xmlns:a16="http://schemas.microsoft.com/office/drawing/2014/main" id="{5D829153-01D4-42CB-977C-109CA2FA439B}"/>
              </a:ext>
            </a:extLst>
          </p:cNvPr>
          <p:cNvSpPr/>
          <p:nvPr/>
        </p:nvSpPr>
        <p:spPr>
          <a:xfrm>
            <a:off x="5087940" y="1627188"/>
            <a:ext cx="4546598" cy="4689474"/>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6" name="Title 5">
            <a:extLst>
              <a:ext uri="{FF2B5EF4-FFF2-40B4-BE49-F238E27FC236}">
                <a16:creationId xmlns:a16="http://schemas.microsoft.com/office/drawing/2014/main" id="{1CAB7806-C928-4A93-B801-DA195B0057A8}"/>
              </a:ext>
            </a:extLst>
          </p:cNvPr>
          <p:cNvSpPr>
            <a:spLocks noGrp="1"/>
          </p:cNvSpPr>
          <p:nvPr>
            <p:ph type="title"/>
          </p:nvPr>
        </p:nvSpPr>
        <p:spPr/>
        <p:txBody>
          <a:bodyPr/>
          <a:lstStyle/>
          <a:p>
            <a:r>
              <a:rPr lang="en-GB" dirty="0"/>
              <a:t>The Appreciative Inquiry (AI) approach to change and change conversations</a:t>
            </a:r>
          </a:p>
        </p:txBody>
      </p:sp>
      <p:sp>
        <p:nvSpPr>
          <p:cNvPr id="3" name="Date Placeholder 2">
            <a:extLst>
              <a:ext uri="{FF2B5EF4-FFF2-40B4-BE49-F238E27FC236}">
                <a16:creationId xmlns:a16="http://schemas.microsoft.com/office/drawing/2014/main" id="{9D833804-A5B4-4826-BAEC-A11B21FE25C3}"/>
              </a:ext>
            </a:extLst>
          </p:cNvPr>
          <p:cNvSpPr>
            <a:spLocks noGrp="1"/>
          </p:cNvSpPr>
          <p:nvPr>
            <p:ph type="dt" sz="half" idx="10"/>
          </p:nvPr>
        </p:nvSpPr>
        <p:spPr/>
        <p:txBody>
          <a:bodyPr/>
          <a:lstStyle/>
          <a:p>
            <a:fld id="{8A6E0422-6ECB-43C9-8CFE-4C39AC685875}" type="datetime1">
              <a:rPr lang="en-GB" smtClean="0"/>
              <a:pPr/>
              <a:t>17/01/2019</a:t>
            </a:fld>
            <a:endParaRPr lang="en-GB" dirty="0"/>
          </a:p>
        </p:txBody>
      </p:sp>
      <p:sp>
        <p:nvSpPr>
          <p:cNvPr id="10" name="Text Placeholder 9">
            <a:extLst>
              <a:ext uri="{FF2B5EF4-FFF2-40B4-BE49-F238E27FC236}">
                <a16:creationId xmlns:a16="http://schemas.microsoft.com/office/drawing/2014/main" id="{002AA1F1-4C91-4CF8-AB71-E04B66E26293}"/>
              </a:ext>
            </a:extLst>
          </p:cNvPr>
          <p:cNvSpPr>
            <a:spLocks noGrp="1"/>
          </p:cNvSpPr>
          <p:nvPr>
            <p:ph type="body" sz="quarter" idx="13"/>
          </p:nvPr>
        </p:nvSpPr>
        <p:spPr/>
        <p:txBody>
          <a:bodyPr/>
          <a:lstStyle/>
          <a:p>
            <a:endParaRPr lang="en-GB" dirty="0"/>
          </a:p>
        </p:txBody>
      </p:sp>
      <p:sp>
        <p:nvSpPr>
          <p:cNvPr id="11" name="Text Placeholder 10">
            <a:extLst>
              <a:ext uri="{FF2B5EF4-FFF2-40B4-BE49-F238E27FC236}">
                <a16:creationId xmlns:a16="http://schemas.microsoft.com/office/drawing/2014/main" id="{2D18E526-5CCE-4AA2-AFC1-BCBFF60D57E8}"/>
              </a:ext>
            </a:extLst>
          </p:cNvPr>
          <p:cNvSpPr>
            <a:spLocks noGrp="1"/>
          </p:cNvSpPr>
          <p:nvPr>
            <p:ph type="body" sz="quarter" idx="14"/>
          </p:nvPr>
        </p:nvSpPr>
        <p:spPr/>
        <p:txBody>
          <a:bodyPr/>
          <a:lstStyle/>
          <a:p>
            <a:endParaRPr lang="en-GB" dirty="0"/>
          </a:p>
        </p:txBody>
      </p:sp>
      <p:sp>
        <p:nvSpPr>
          <p:cNvPr id="17" name="Arc 16">
            <a:extLst>
              <a:ext uri="{FF2B5EF4-FFF2-40B4-BE49-F238E27FC236}">
                <a16:creationId xmlns:a16="http://schemas.microsoft.com/office/drawing/2014/main" id="{5CD616C5-B0EF-4147-90BC-DB72D308D2E4}"/>
              </a:ext>
            </a:extLst>
          </p:cNvPr>
          <p:cNvSpPr/>
          <p:nvPr/>
        </p:nvSpPr>
        <p:spPr>
          <a:xfrm rot="8100000" flipH="1">
            <a:off x="1031710" y="2414156"/>
            <a:ext cx="2953324" cy="2953324"/>
          </a:xfrm>
          <a:prstGeom prst="arc">
            <a:avLst>
              <a:gd name="adj1" fmla="val 20331451"/>
              <a:gd name="adj2" fmla="val 3581897"/>
            </a:avLst>
          </a:prstGeom>
          <a:ln w="6350">
            <a:solidFill>
              <a:srgbClr val="1F2023"/>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8" name="Arc 17">
            <a:extLst>
              <a:ext uri="{FF2B5EF4-FFF2-40B4-BE49-F238E27FC236}">
                <a16:creationId xmlns:a16="http://schemas.microsoft.com/office/drawing/2014/main" id="{C77957F0-BCAF-472F-AF8D-7CE08608584B}"/>
              </a:ext>
            </a:extLst>
          </p:cNvPr>
          <p:cNvSpPr/>
          <p:nvPr/>
        </p:nvSpPr>
        <p:spPr>
          <a:xfrm rot="3049633">
            <a:off x="1031710" y="2414156"/>
            <a:ext cx="2953324" cy="2953324"/>
          </a:xfrm>
          <a:prstGeom prst="arc">
            <a:avLst>
              <a:gd name="adj1" fmla="val 1727447"/>
              <a:gd name="adj2" fmla="val 6098248"/>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1" name="Arc 20">
            <a:extLst>
              <a:ext uri="{FF2B5EF4-FFF2-40B4-BE49-F238E27FC236}">
                <a16:creationId xmlns:a16="http://schemas.microsoft.com/office/drawing/2014/main" id="{2C9F65E3-578C-4497-8AD2-924B1E3941A2}"/>
              </a:ext>
            </a:extLst>
          </p:cNvPr>
          <p:cNvSpPr/>
          <p:nvPr/>
        </p:nvSpPr>
        <p:spPr>
          <a:xfrm rot="18900000">
            <a:off x="1031710" y="2414156"/>
            <a:ext cx="2953324" cy="2953324"/>
          </a:xfrm>
          <a:prstGeom prst="arc">
            <a:avLst>
              <a:gd name="adj1" fmla="val 2158794"/>
              <a:gd name="adj2" fmla="val 6495033"/>
            </a:avLst>
          </a:prstGeom>
          <a:ln w="6350">
            <a:solidFill>
              <a:srgbClr val="1F202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5" name="Oval 24">
            <a:extLst>
              <a:ext uri="{FF2B5EF4-FFF2-40B4-BE49-F238E27FC236}">
                <a16:creationId xmlns:a16="http://schemas.microsoft.com/office/drawing/2014/main" id="{1ABDE8ED-A7BC-4111-8EF7-F9D99BD58C14}"/>
              </a:ext>
            </a:extLst>
          </p:cNvPr>
          <p:cNvSpPr/>
          <p:nvPr/>
        </p:nvSpPr>
        <p:spPr>
          <a:xfrm rot="2700000">
            <a:off x="3361728" y="3359108"/>
            <a:ext cx="1137250" cy="1137248"/>
          </a:xfrm>
          <a:prstGeom prst="ellipse">
            <a:avLst/>
          </a:prstGeom>
          <a:solidFill>
            <a:srgbClr val="66817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26" name="Oval 25">
            <a:extLst>
              <a:ext uri="{FF2B5EF4-FFF2-40B4-BE49-F238E27FC236}">
                <a16:creationId xmlns:a16="http://schemas.microsoft.com/office/drawing/2014/main" id="{D1D82B16-BD6E-44C2-9FEF-DCA1694BD7B9}"/>
              </a:ext>
            </a:extLst>
          </p:cNvPr>
          <p:cNvSpPr/>
          <p:nvPr/>
        </p:nvSpPr>
        <p:spPr>
          <a:xfrm rot="2700000">
            <a:off x="1976660" y="1974040"/>
            <a:ext cx="1137250" cy="1137248"/>
          </a:xfrm>
          <a:prstGeom prst="ellipse">
            <a:avLst/>
          </a:prstGeom>
          <a:solidFill>
            <a:srgbClr val="40615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27" name="Oval 26">
            <a:extLst>
              <a:ext uri="{FF2B5EF4-FFF2-40B4-BE49-F238E27FC236}">
                <a16:creationId xmlns:a16="http://schemas.microsoft.com/office/drawing/2014/main" id="{F108C332-0DAC-43E4-AA57-B9DFC55FFA80}"/>
              </a:ext>
            </a:extLst>
          </p:cNvPr>
          <p:cNvSpPr/>
          <p:nvPr/>
        </p:nvSpPr>
        <p:spPr>
          <a:xfrm rot="2700000">
            <a:off x="1976660" y="4744176"/>
            <a:ext cx="1137250" cy="1137248"/>
          </a:xfrm>
          <a:prstGeom prst="ellipse">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29" name="Oval 28">
            <a:extLst>
              <a:ext uri="{FF2B5EF4-FFF2-40B4-BE49-F238E27FC236}">
                <a16:creationId xmlns:a16="http://schemas.microsoft.com/office/drawing/2014/main" id="{48FC92EA-44FC-4380-B518-FD63E3630C4B}"/>
              </a:ext>
            </a:extLst>
          </p:cNvPr>
          <p:cNvSpPr/>
          <p:nvPr/>
        </p:nvSpPr>
        <p:spPr>
          <a:xfrm rot="2700000">
            <a:off x="591592" y="3359108"/>
            <a:ext cx="1137250" cy="1137248"/>
          </a:xfrm>
          <a:prstGeom prst="ellipse">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t" anchorCtr="0">
            <a:spAutoFit/>
          </a:bodyPr>
          <a:lstStyle/>
          <a:p>
            <a:pPr algn="l"/>
            <a:endParaRPr lang="en-GB" sz="1100" noProof="0" dirty="0">
              <a:solidFill>
                <a:srgbClr val="2F363B"/>
              </a:solidFill>
            </a:endParaRPr>
          </a:p>
        </p:txBody>
      </p:sp>
      <p:sp>
        <p:nvSpPr>
          <p:cNvPr id="4" name="Rectangle 3">
            <a:extLst>
              <a:ext uri="{FF2B5EF4-FFF2-40B4-BE49-F238E27FC236}">
                <a16:creationId xmlns:a16="http://schemas.microsoft.com/office/drawing/2014/main" id="{E40450A4-3473-4ACE-9694-E2DCD2E2D024}"/>
              </a:ext>
            </a:extLst>
          </p:cNvPr>
          <p:cNvSpPr/>
          <p:nvPr/>
        </p:nvSpPr>
        <p:spPr>
          <a:xfrm>
            <a:off x="1739735" y="3413765"/>
            <a:ext cx="1537274" cy="830997"/>
          </a:xfrm>
          <a:prstGeom prst="rect">
            <a:avLst/>
          </a:prstGeom>
        </p:spPr>
        <p:txBody>
          <a:bodyPr wrap="square">
            <a:spAutoFit/>
          </a:bodyPr>
          <a:lstStyle/>
          <a:p>
            <a:pPr algn="ctr"/>
            <a:r>
              <a:rPr lang="en-GB" sz="1200" b="1" dirty="0">
                <a:solidFill>
                  <a:srgbClr val="1F2023"/>
                </a:solidFill>
              </a:rPr>
              <a:t>Organisation becomes ”Possibilities to happen”</a:t>
            </a:r>
          </a:p>
        </p:txBody>
      </p:sp>
      <p:sp>
        <p:nvSpPr>
          <p:cNvPr id="7" name="Rectangle 6">
            <a:extLst>
              <a:ext uri="{FF2B5EF4-FFF2-40B4-BE49-F238E27FC236}">
                <a16:creationId xmlns:a16="http://schemas.microsoft.com/office/drawing/2014/main" id="{25D82BD4-B356-43BC-9202-F4BB96EBA4A7}"/>
              </a:ext>
            </a:extLst>
          </p:cNvPr>
          <p:cNvSpPr/>
          <p:nvPr/>
        </p:nvSpPr>
        <p:spPr>
          <a:xfrm>
            <a:off x="2039315" y="2311832"/>
            <a:ext cx="1011941" cy="461665"/>
          </a:xfrm>
          <a:prstGeom prst="rect">
            <a:avLst/>
          </a:prstGeom>
        </p:spPr>
        <p:txBody>
          <a:bodyPr wrap="square">
            <a:noAutofit/>
          </a:bodyPr>
          <a:lstStyle/>
          <a:p>
            <a:pPr algn="ctr"/>
            <a:r>
              <a:rPr lang="en-GB" sz="1200" dirty="0">
                <a:solidFill>
                  <a:schemeClr val="bg1"/>
                </a:solidFill>
              </a:rPr>
              <a:t>Inquire into what works</a:t>
            </a:r>
          </a:p>
        </p:txBody>
      </p:sp>
      <p:sp>
        <p:nvSpPr>
          <p:cNvPr id="68" name="Rectangle 67">
            <a:extLst>
              <a:ext uri="{FF2B5EF4-FFF2-40B4-BE49-F238E27FC236}">
                <a16:creationId xmlns:a16="http://schemas.microsoft.com/office/drawing/2014/main" id="{7B6CE171-3AFF-40F3-A210-0F2925AF9ED6}"/>
              </a:ext>
            </a:extLst>
          </p:cNvPr>
          <p:cNvSpPr/>
          <p:nvPr/>
        </p:nvSpPr>
        <p:spPr>
          <a:xfrm>
            <a:off x="3433714" y="3604567"/>
            <a:ext cx="993280" cy="646331"/>
          </a:xfrm>
          <a:prstGeom prst="rect">
            <a:avLst/>
          </a:prstGeom>
        </p:spPr>
        <p:txBody>
          <a:bodyPr wrap="square">
            <a:spAutoFit/>
          </a:bodyPr>
          <a:lstStyle/>
          <a:p>
            <a:pPr algn="ctr"/>
            <a:r>
              <a:rPr lang="en-GB" sz="1200" dirty="0">
                <a:solidFill>
                  <a:schemeClr val="bg1"/>
                </a:solidFill>
              </a:rPr>
              <a:t>Imagine how good it could be</a:t>
            </a:r>
          </a:p>
        </p:txBody>
      </p:sp>
      <p:sp>
        <p:nvSpPr>
          <p:cNvPr id="69" name="TextBox 68">
            <a:extLst>
              <a:ext uri="{FF2B5EF4-FFF2-40B4-BE49-F238E27FC236}">
                <a16:creationId xmlns:a16="http://schemas.microsoft.com/office/drawing/2014/main" id="{49A188D5-909F-4DCC-8AFA-ED244398068B}"/>
              </a:ext>
            </a:extLst>
          </p:cNvPr>
          <p:cNvSpPr txBox="1"/>
          <p:nvPr/>
        </p:nvSpPr>
        <p:spPr>
          <a:xfrm>
            <a:off x="2140716" y="5035801"/>
            <a:ext cx="809138" cy="553998"/>
          </a:xfrm>
          <a:prstGeom prst="rect">
            <a:avLst/>
          </a:prstGeom>
          <a:noFill/>
          <a:ln w="6350">
            <a:noFill/>
            <a:prstDash val="sysDash"/>
          </a:ln>
        </p:spPr>
        <p:txBody>
          <a:bodyPr wrap="square" lIns="0" tIns="0" rIns="0" bIns="0" rtlCol="0">
            <a:spAutoFit/>
          </a:bodyPr>
          <a:lstStyle>
            <a:defPPr>
              <a:defRPr lang="en-US"/>
            </a:defPPr>
            <a:lvl1pPr indent="-144000">
              <a:buSzPct val="100000"/>
              <a:buNone/>
              <a:defRPr>
                <a:latin typeface="Arial" panose="020B0604020202020204" pitchFamily="34" charset="0"/>
              </a:defRPr>
            </a:lvl1pPr>
            <a:lvl2pPr marL="0" lvl="1" indent="0">
              <a:buSzPct val="100000"/>
              <a:buChar char="​"/>
              <a:defRPr>
                <a:latin typeface="Arial" panose="020B0604020202020204" pitchFamily="34" charset="0"/>
              </a:defRPr>
            </a:lvl2pPr>
            <a:lvl3pPr marL="144000" lvl="2">
              <a:buSzPct val="100000"/>
              <a:defRPr>
                <a:latin typeface="Arial" panose="020B0604020202020204" pitchFamily="34" charset="0"/>
              </a:defRPr>
            </a:lvl3pPr>
            <a:lvl4pPr marL="288000" lvl="3">
              <a:buSzPct val="100000"/>
              <a:defRPr>
                <a:latin typeface="Arial" panose="020B0604020202020204" pitchFamily="34" charset="0"/>
              </a:defRPr>
            </a:lvl4pPr>
            <a:lvl5pPr marL="432000" lvl="4" indent="-144000">
              <a:buSzPct val="100000"/>
              <a:buChar char="•"/>
              <a:defRPr b="0">
                <a:latin typeface="Arial" panose="020B0604020202020204" pitchFamily="34" charset="0"/>
              </a:defRPr>
            </a:lvl5pPr>
          </a:lstStyle>
          <a:p>
            <a:pPr algn="ctr"/>
            <a:r>
              <a:rPr lang="en-GB" sz="1200" dirty="0">
                <a:solidFill>
                  <a:schemeClr val="bg1"/>
                </a:solidFill>
              </a:rPr>
              <a:t>Agree how good it should be</a:t>
            </a:r>
          </a:p>
        </p:txBody>
      </p:sp>
      <p:sp>
        <p:nvSpPr>
          <p:cNvPr id="70" name="TextBox 69">
            <a:extLst>
              <a:ext uri="{FF2B5EF4-FFF2-40B4-BE49-F238E27FC236}">
                <a16:creationId xmlns:a16="http://schemas.microsoft.com/office/drawing/2014/main" id="{BECDC30C-46B3-490A-9855-258757E49971}"/>
              </a:ext>
            </a:extLst>
          </p:cNvPr>
          <p:cNvSpPr txBox="1"/>
          <p:nvPr/>
        </p:nvSpPr>
        <p:spPr>
          <a:xfrm>
            <a:off x="692629" y="3743066"/>
            <a:ext cx="935176" cy="369332"/>
          </a:xfrm>
          <a:prstGeom prst="rect">
            <a:avLst/>
          </a:prstGeom>
          <a:noFill/>
          <a:ln w="6350">
            <a:noFill/>
            <a:prstDash val="sysDash"/>
          </a:ln>
        </p:spPr>
        <p:txBody>
          <a:bodyPr wrap="square" lIns="0" tIns="0" rIns="0" bIns="0" rtlCol="0">
            <a:spAutoFit/>
          </a:bodyPr>
          <a:lstStyle>
            <a:defPPr>
              <a:defRPr lang="en-US"/>
            </a:defPPr>
            <a:lvl1pPr indent="-144000">
              <a:buSzPct val="100000"/>
              <a:buNone/>
              <a:defRPr>
                <a:latin typeface="Arial" panose="020B0604020202020204" pitchFamily="34" charset="0"/>
              </a:defRPr>
            </a:lvl1pPr>
            <a:lvl2pPr marL="0" lvl="1" indent="0">
              <a:buSzPct val="100000"/>
              <a:buChar char="​"/>
              <a:defRPr>
                <a:latin typeface="Arial" panose="020B0604020202020204" pitchFamily="34" charset="0"/>
              </a:defRPr>
            </a:lvl2pPr>
            <a:lvl3pPr marL="144000" lvl="2">
              <a:buSzPct val="100000"/>
              <a:defRPr>
                <a:latin typeface="Arial" panose="020B0604020202020204" pitchFamily="34" charset="0"/>
              </a:defRPr>
            </a:lvl3pPr>
            <a:lvl4pPr marL="288000" lvl="3">
              <a:buSzPct val="100000"/>
              <a:defRPr>
                <a:latin typeface="Arial" panose="020B0604020202020204" pitchFamily="34" charset="0"/>
              </a:defRPr>
            </a:lvl4pPr>
            <a:lvl5pPr marL="432000" lvl="4" indent="-144000">
              <a:buSzPct val="100000"/>
              <a:buChar char="•"/>
              <a:defRPr b="0">
                <a:latin typeface="Arial" panose="020B0604020202020204" pitchFamily="34" charset="0"/>
              </a:defRPr>
            </a:lvl5pPr>
          </a:lstStyle>
          <a:p>
            <a:pPr algn="ctr"/>
            <a:r>
              <a:rPr lang="en-GB" sz="1200" dirty="0">
                <a:solidFill>
                  <a:schemeClr val="bg1"/>
                </a:solidFill>
              </a:rPr>
              <a:t>Commit to what will be</a:t>
            </a:r>
          </a:p>
        </p:txBody>
      </p:sp>
      <p:grpSp>
        <p:nvGrpSpPr>
          <p:cNvPr id="84" name="Group 4">
            <a:extLst>
              <a:ext uri="{FF2B5EF4-FFF2-40B4-BE49-F238E27FC236}">
                <a16:creationId xmlns:a16="http://schemas.microsoft.com/office/drawing/2014/main" id="{663AC6CD-CFF7-4EDF-BA7E-3D41B65AF4CC}"/>
              </a:ext>
            </a:extLst>
          </p:cNvPr>
          <p:cNvGrpSpPr>
            <a:grpSpLocks noChangeAspect="1"/>
          </p:cNvGrpSpPr>
          <p:nvPr/>
        </p:nvGrpSpPr>
        <p:grpSpPr bwMode="auto">
          <a:xfrm>
            <a:off x="5360988" y="2495550"/>
            <a:ext cx="4000500" cy="2911475"/>
            <a:chOff x="3377" y="1572"/>
            <a:chExt cx="2520" cy="1834"/>
          </a:xfrm>
        </p:grpSpPr>
        <p:sp>
          <p:nvSpPr>
            <p:cNvPr id="86" name="Freeform 5">
              <a:extLst>
                <a:ext uri="{FF2B5EF4-FFF2-40B4-BE49-F238E27FC236}">
                  <a16:creationId xmlns:a16="http://schemas.microsoft.com/office/drawing/2014/main" id="{ADDE6A8C-3AA6-4B05-BC2B-9F0B3A25AEAB}"/>
                </a:ext>
              </a:extLst>
            </p:cNvPr>
            <p:cNvSpPr>
              <a:spLocks/>
            </p:cNvSpPr>
            <p:nvPr/>
          </p:nvSpPr>
          <p:spPr bwMode="auto">
            <a:xfrm>
              <a:off x="5232" y="2814"/>
              <a:ext cx="382" cy="126"/>
            </a:xfrm>
            <a:custGeom>
              <a:avLst/>
              <a:gdLst>
                <a:gd name="T0" fmla="*/ 0 w 382"/>
                <a:gd name="T1" fmla="*/ 0 h 126"/>
                <a:gd name="T2" fmla="*/ 318 w 382"/>
                <a:gd name="T3" fmla="*/ 0 h 126"/>
                <a:gd name="T4" fmla="*/ 382 w 382"/>
                <a:gd name="T5" fmla="*/ 64 h 126"/>
                <a:gd name="T6" fmla="*/ 316 w 382"/>
                <a:gd name="T7" fmla="*/ 126 h 126"/>
                <a:gd name="T8" fmla="*/ 2 w 382"/>
                <a:gd name="T9" fmla="*/ 126 h 126"/>
                <a:gd name="T10" fmla="*/ 0 w 382"/>
                <a:gd name="T11" fmla="*/ 0 h 126"/>
              </a:gdLst>
              <a:ahLst/>
              <a:cxnLst>
                <a:cxn ang="0">
                  <a:pos x="T0" y="T1"/>
                </a:cxn>
                <a:cxn ang="0">
                  <a:pos x="T2" y="T3"/>
                </a:cxn>
                <a:cxn ang="0">
                  <a:pos x="T4" y="T5"/>
                </a:cxn>
                <a:cxn ang="0">
                  <a:pos x="T6" y="T7"/>
                </a:cxn>
                <a:cxn ang="0">
                  <a:pos x="T8" y="T9"/>
                </a:cxn>
                <a:cxn ang="0">
                  <a:pos x="T10" y="T11"/>
                </a:cxn>
              </a:cxnLst>
              <a:rect l="0" t="0" r="r" b="b"/>
              <a:pathLst>
                <a:path w="382" h="126">
                  <a:moveTo>
                    <a:pt x="0" y="0"/>
                  </a:moveTo>
                  <a:lnTo>
                    <a:pt x="318" y="0"/>
                  </a:lnTo>
                  <a:lnTo>
                    <a:pt x="382" y="64"/>
                  </a:lnTo>
                  <a:lnTo>
                    <a:pt x="316" y="126"/>
                  </a:lnTo>
                  <a:lnTo>
                    <a:pt x="2" y="126"/>
                  </a:lnTo>
                  <a:lnTo>
                    <a:pt x="0" y="0"/>
                  </a:ln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6">
              <a:extLst>
                <a:ext uri="{FF2B5EF4-FFF2-40B4-BE49-F238E27FC236}">
                  <a16:creationId xmlns:a16="http://schemas.microsoft.com/office/drawing/2014/main" id="{B6B4F038-7103-4737-B24B-1F3E707EFB19}"/>
                </a:ext>
              </a:extLst>
            </p:cNvPr>
            <p:cNvSpPr>
              <a:spLocks/>
            </p:cNvSpPr>
            <p:nvPr/>
          </p:nvSpPr>
          <p:spPr bwMode="auto">
            <a:xfrm>
              <a:off x="3815" y="2682"/>
              <a:ext cx="1055" cy="309"/>
            </a:xfrm>
            <a:custGeom>
              <a:avLst/>
              <a:gdLst>
                <a:gd name="T0" fmla="*/ 543 w 544"/>
                <a:gd name="T1" fmla="*/ 0 h 159"/>
                <a:gd name="T2" fmla="*/ 79 w 544"/>
                <a:gd name="T3" fmla="*/ 0 h 159"/>
                <a:gd name="T4" fmla="*/ 0 w 544"/>
                <a:gd name="T5" fmla="*/ 80 h 159"/>
                <a:gd name="T6" fmla="*/ 0 w 544"/>
                <a:gd name="T7" fmla="*/ 80 h 159"/>
                <a:gd name="T8" fmla="*/ 79 w 544"/>
                <a:gd name="T9" fmla="*/ 159 h 159"/>
                <a:gd name="T10" fmla="*/ 544 w 544"/>
                <a:gd name="T11" fmla="*/ 159 h 159"/>
                <a:gd name="T12" fmla="*/ 512 w 544"/>
                <a:gd name="T13" fmla="*/ 75 h 159"/>
                <a:gd name="T14" fmla="*/ 543 w 544"/>
                <a:gd name="T15" fmla="*/ 0 h 1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4" h="159">
                  <a:moveTo>
                    <a:pt x="543" y="0"/>
                  </a:moveTo>
                  <a:cubicBezTo>
                    <a:pt x="79" y="0"/>
                    <a:pt x="79" y="0"/>
                    <a:pt x="79" y="0"/>
                  </a:cubicBezTo>
                  <a:cubicBezTo>
                    <a:pt x="35" y="0"/>
                    <a:pt x="0" y="36"/>
                    <a:pt x="0" y="80"/>
                  </a:cubicBezTo>
                  <a:cubicBezTo>
                    <a:pt x="0" y="80"/>
                    <a:pt x="0" y="80"/>
                    <a:pt x="0" y="80"/>
                  </a:cubicBezTo>
                  <a:cubicBezTo>
                    <a:pt x="0" y="124"/>
                    <a:pt x="35" y="159"/>
                    <a:pt x="79" y="159"/>
                  </a:cubicBezTo>
                  <a:cubicBezTo>
                    <a:pt x="544" y="159"/>
                    <a:pt x="544" y="159"/>
                    <a:pt x="544" y="159"/>
                  </a:cubicBezTo>
                  <a:cubicBezTo>
                    <a:pt x="544" y="159"/>
                    <a:pt x="512" y="139"/>
                    <a:pt x="512" y="75"/>
                  </a:cubicBezTo>
                  <a:cubicBezTo>
                    <a:pt x="512" y="23"/>
                    <a:pt x="543" y="0"/>
                    <a:pt x="543" y="0"/>
                  </a:cubicBez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r>
                <a:rPr lang="en-GB" dirty="0"/>
                <a:t> </a:t>
              </a:r>
            </a:p>
          </p:txBody>
        </p:sp>
        <p:sp>
          <p:nvSpPr>
            <p:cNvPr id="88" name="Freeform 7">
              <a:extLst>
                <a:ext uri="{FF2B5EF4-FFF2-40B4-BE49-F238E27FC236}">
                  <a16:creationId xmlns:a16="http://schemas.microsoft.com/office/drawing/2014/main" id="{4EBFD2C6-1C3E-4EA1-B067-F212DB7097ED}"/>
                </a:ext>
              </a:extLst>
            </p:cNvPr>
            <p:cNvSpPr>
              <a:spLocks/>
            </p:cNvSpPr>
            <p:nvPr/>
          </p:nvSpPr>
          <p:spPr bwMode="auto">
            <a:xfrm>
              <a:off x="4711" y="1721"/>
              <a:ext cx="143" cy="460"/>
            </a:xfrm>
            <a:custGeom>
              <a:avLst/>
              <a:gdLst>
                <a:gd name="T0" fmla="*/ 72 w 74"/>
                <a:gd name="T1" fmla="*/ 30 h 237"/>
                <a:gd name="T2" fmla="*/ 64 w 74"/>
                <a:gd name="T3" fmla="*/ 24 h 237"/>
                <a:gd name="T4" fmla="*/ 55 w 74"/>
                <a:gd name="T5" fmla="*/ 32 h 237"/>
                <a:gd name="T6" fmla="*/ 55 w 74"/>
                <a:gd name="T7" fmla="*/ 34 h 237"/>
                <a:gd name="T8" fmla="*/ 52 w 74"/>
                <a:gd name="T9" fmla="*/ 34 h 237"/>
                <a:gd name="T10" fmla="*/ 53 w 74"/>
                <a:gd name="T11" fmla="*/ 26 h 237"/>
                <a:gd name="T12" fmla="*/ 48 w 74"/>
                <a:gd name="T13" fmla="*/ 6 h 237"/>
                <a:gd name="T14" fmla="*/ 33 w 74"/>
                <a:gd name="T15" fmla="*/ 0 h 237"/>
                <a:gd name="T16" fmla="*/ 19 w 74"/>
                <a:gd name="T17" fmla="*/ 6 h 237"/>
                <a:gd name="T18" fmla="*/ 13 w 74"/>
                <a:gd name="T19" fmla="*/ 26 h 237"/>
                <a:gd name="T20" fmla="*/ 23 w 74"/>
                <a:gd name="T21" fmla="*/ 47 h 237"/>
                <a:gd name="T22" fmla="*/ 0 w 74"/>
                <a:gd name="T23" fmla="*/ 67 h 237"/>
                <a:gd name="T24" fmla="*/ 7 w 74"/>
                <a:gd name="T25" fmla="*/ 79 h 237"/>
                <a:gd name="T26" fmla="*/ 6 w 74"/>
                <a:gd name="T27" fmla="*/ 116 h 237"/>
                <a:gd name="T28" fmla="*/ 14 w 74"/>
                <a:gd name="T29" fmla="*/ 230 h 237"/>
                <a:gd name="T30" fmla="*/ 22 w 74"/>
                <a:gd name="T31" fmla="*/ 237 h 237"/>
                <a:gd name="T32" fmla="*/ 44 w 74"/>
                <a:gd name="T33" fmla="*/ 237 h 237"/>
                <a:gd name="T34" fmla="*/ 52 w 74"/>
                <a:gd name="T35" fmla="*/ 230 h 237"/>
                <a:gd name="T36" fmla="*/ 58 w 74"/>
                <a:gd name="T37" fmla="*/ 151 h 237"/>
                <a:gd name="T38" fmla="*/ 58 w 74"/>
                <a:gd name="T39" fmla="*/ 151 h 237"/>
                <a:gd name="T40" fmla="*/ 66 w 74"/>
                <a:gd name="T41" fmla="*/ 143 h 237"/>
                <a:gd name="T42" fmla="*/ 66 w 74"/>
                <a:gd name="T43" fmla="*/ 60 h 237"/>
                <a:gd name="T44" fmla="*/ 69 w 74"/>
                <a:gd name="T45" fmla="*/ 53 h 237"/>
                <a:gd name="T46" fmla="*/ 72 w 74"/>
                <a:gd name="T47" fmla="*/ 30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4" h="237">
                  <a:moveTo>
                    <a:pt x="72" y="30"/>
                  </a:moveTo>
                  <a:cubicBezTo>
                    <a:pt x="72" y="28"/>
                    <a:pt x="68" y="23"/>
                    <a:pt x="64" y="24"/>
                  </a:cubicBezTo>
                  <a:cubicBezTo>
                    <a:pt x="64" y="24"/>
                    <a:pt x="56" y="25"/>
                    <a:pt x="55" y="32"/>
                  </a:cubicBezTo>
                  <a:cubicBezTo>
                    <a:pt x="55" y="32"/>
                    <a:pt x="55" y="33"/>
                    <a:pt x="55" y="34"/>
                  </a:cubicBezTo>
                  <a:cubicBezTo>
                    <a:pt x="52" y="34"/>
                    <a:pt x="52" y="34"/>
                    <a:pt x="52" y="34"/>
                  </a:cubicBezTo>
                  <a:cubicBezTo>
                    <a:pt x="52" y="31"/>
                    <a:pt x="53" y="29"/>
                    <a:pt x="53" y="26"/>
                  </a:cubicBezTo>
                  <a:cubicBezTo>
                    <a:pt x="54" y="18"/>
                    <a:pt x="52" y="11"/>
                    <a:pt x="48" y="6"/>
                  </a:cubicBezTo>
                  <a:cubicBezTo>
                    <a:pt x="44" y="2"/>
                    <a:pt x="39" y="0"/>
                    <a:pt x="33" y="0"/>
                  </a:cubicBezTo>
                  <a:cubicBezTo>
                    <a:pt x="27" y="0"/>
                    <a:pt x="22" y="2"/>
                    <a:pt x="19" y="6"/>
                  </a:cubicBezTo>
                  <a:cubicBezTo>
                    <a:pt x="15" y="11"/>
                    <a:pt x="13" y="18"/>
                    <a:pt x="13" y="26"/>
                  </a:cubicBezTo>
                  <a:cubicBezTo>
                    <a:pt x="14" y="36"/>
                    <a:pt x="18" y="43"/>
                    <a:pt x="23" y="47"/>
                  </a:cubicBezTo>
                  <a:cubicBezTo>
                    <a:pt x="14" y="50"/>
                    <a:pt x="2" y="55"/>
                    <a:pt x="0" y="67"/>
                  </a:cubicBezTo>
                  <a:cubicBezTo>
                    <a:pt x="0" y="72"/>
                    <a:pt x="3" y="76"/>
                    <a:pt x="7" y="79"/>
                  </a:cubicBezTo>
                  <a:cubicBezTo>
                    <a:pt x="6" y="116"/>
                    <a:pt x="6" y="116"/>
                    <a:pt x="6" y="116"/>
                  </a:cubicBezTo>
                  <a:cubicBezTo>
                    <a:pt x="14" y="230"/>
                    <a:pt x="14" y="230"/>
                    <a:pt x="14" y="230"/>
                  </a:cubicBezTo>
                  <a:cubicBezTo>
                    <a:pt x="14" y="234"/>
                    <a:pt x="17" y="237"/>
                    <a:pt x="22" y="237"/>
                  </a:cubicBezTo>
                  <a:cubicBezTo>
                    <a:pt x="44" y="237"/>
                    <a:pt x="44" y="237"/>
                    <a:pt x="44" y="237"/>
                  </a:cubicBezTo>
                  <a:cubicBezTo>
                    <a:pt x="49" y="237"/>
                    <a:pt x="52" y="234"/>
                    <a:pt x="52" y="230"/>
                  </a:cubicBezTo>
                  <a:cubicBezTo>
                    <a:pt x="58" y="151"/>
                    <a:pt x="58" y="151"/>
                    <a:pt x="58" y="151"/>
                  </a:cubicBezTo>
                  <a:cubicBezTo>
                    <a:pt x="58" y="151"/>
                    <a:pt x="58" y="151"/>
                    <a:pt x="58" y="151"/>
                  </a:cubicBezTo>
                  <a:cubicBezTo>
                    <a:pt x="62" y="152"/>
                    <a:pt x="65" y="146"/>
                    <a:pt x="66" y="143"/>
                  </a:cubicBezTo>
                  <a:cubicBezTo>
                    <a:pt x="67" y="139"/>
                    <a:pt x="70" y="73"/>
                    <a:pt x="66" y="60"/>
                  </a:cubicBezTo>
                  <a:cubicBezTo>
                    <a:pt x="68" y="56"/>
                    <a:pt x="69" y="53"/>
                    <a:pt x="69" y="53"/>
                  </a:cubicBezTo>
                  <a:cubicBezTo>
                    <a:pt x="71" y="46"/>
                    <a:pt x="74" y="39"/>
                    <a:pt x="72" y="30"/>
                  </a:cubicBez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Line 8">
              <a:extLst>
                <a:ext uri="{FF2B5EF4-FFF2-40B4-BE49-F238E27FC236}">
                  <a16:creationId xmlns:a16="http://schemas.microsoft.com/office/drawing/2014/main" id="{576EBD51-A7F1-4891-8629-B3FA79384228}"/>
                </a:ext>
              </a:extLst>
            </p:cNvPr>
            <p:cNvSpPr>
              <a:spLocks noChangeShapeType="1"/>
            </p:cNvSpPr>
            <p:nvPr/>
          </p:nvSpPr>
          <p:spPr bwMode="auto">
            <a:xfrm flipV="1">
              <a:off x="3623" y="1935"/>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0" name="Line 9">
              <a:extLst>
                <a:ext uri="{FF2B5EF4-FFF2-40B4-BE49-F238E27FC236}">
                  <a16:creationId xmlns:a16="http://schemas.microsoft.com/office/drawing/2014/main" id="{D31E7E1D-2D56-4A63-939B-27975EA236C7}"/>
                </a:ext>
              </a:extLst>
            </p:cNvPr>
            <p:cNvSpPr>
              <a:spLocks noChangeShapeType="1"/>
            </p:cNvSpPr>
            <p:nvPr/>
          </p:nvSpPr>
          <p:spPr bwMode="auto">
            <a:xfrm flipH="1" flipV="1">
              <a:off x="3623" y="1935"/>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Line 10">
              <a:extLst>
                <a:ext uri="{FF2B5EF4-FFF2-40B4-BE49-F238E27FC236}">
                  <a16:creationId xmlns:a16="http://schemas.microsoft.com/office/drawing/2014/main" id="{0A6F3E40-F94D-46B6-872A-AFF165C4E3E5}"/>
                </a:ext>
              </a:extLst>
            </p:cNvPr>
            <p:cNvSpPr>
              <a:spLocks noChangeShapeType="1"/>
            </p:cNvSpPr>
            <p:nvPr/>
          </p:nvSpPr>
          <p:spPr bwMode="auto">
            <a:xfrm flipV="1">
              <a:off x="3532" y="2954"/>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2" name="Line 11">
              <a:extLst>
                <a:ext uri="{FF2B5EF4-FFF2-40B4-BE49-F238E27FC236}">
                  <a16:creationId xmlns:a16="http://schemas.microsoft.com/office/drawing/2014/main" id="{22FBF61A-3E37-4D8F-AAA6-6F79120E535B}"/>
                </a:ext>
              </a:extLst>
            </p:cNvPr>
            <p:cNvSpPr>
              <a:spLocks noChangeShapeType="1"/>
            </p:cNvSpPr>
            <p:nvPr/>
          </p:nvSpPr>
          <p:spPr bwMode="auto">
            <a:xfrm flipH="1" flipV="1">
              <a:off x="3532" y="2954"/>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3" name="Line 12">
              <a:extLst>
                <a:ext uri="{FF2B5EF4-FFF2-40B4-BE49-F238E27FC236}">
                  <a16:creationId xmlns:a16="http://schemas.microsoft.com/office/drawing/2014/main" id="{3E21C985-67A0-4048-8858-DAC2F995C53D}"/>
                </a:ext>
              </a:extLst>
            </p:cNvPr>
            <p:cNvSpPr>
              <a:spLocks noChangeShapeType="1"/>
            </p:cNvSpPr>
            <p:nvPr/>
          </p:nvSpPr>
          <p:spPr bwMode="auto">
            <a:xfrm flipV="1">
              <a:off x="5215" y="2451"/>
              <a:ext cx="70"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4" name="Line 13">
              <a:extLst>
                <a:ext uri="{FF2B5EF4-FFF2-40B4-BE49-F238E27FC236}">
                  <a16:creationId xmlns:a16="http://schemas.microsoft.com/office/drawing/2014/main" id="{C3072A5D-F2E8-4334-9CFF-9E82A55E6FDA}"/>
                </a:ext>
              </a:extLst>
            </p:cNvPr>
            <p:cNvSpPr>
              <a:spLocks noChangeShapeType="1"/>
            </p:cNvSpPr>
            <p:nvPr/>
          </p:nvSpPr>
          <p:spPr bwMode="auto">
            <a:xfrm flipH="1" flipV="1">
              <a:off x="5215" y="2451"/>
              <a:ext cx="70"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5" name="Line 14">
              <a:extLst>
                <a:ext uri="{FF2B5EF4-FFF2-40B4-BE49-F238E27FC236}">
                  <a16:creationId xmlns:a16="http://schemas.microsoft.com/office/drawing/2014/main" id="{41D7E16E-09CA-4BEF-A0CB-32003904313D}"/>
                </a:ext>
              </a:extLst>
            </p:cNvPr>
            <p:cNvSpPr>
              <a:spLocks noChangeShapeType="1"/>
            </p:cNvSpPr>
            <p:nvPr/>
          </p:nvSpPr>
          <p:spPr bwMode="auto">
            <a:xfrm flipV="1">
              <a:off x="5829" y="1956"/>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Line 15">
              <a:extLst>
                <a:ext uri="{FF2B5EF4-FFF2-40B4-BE49-F238E27FC236}">
                  <a16:creationId xmlns:a16="http://schemas.microsoft.com/office/drawing/2014/main" id="{0FF25411-A2DD-4C9B-8ECF-7DF01FC09135}"/>
                </a:ext>
              </a:extLst>
            </p:cNvPr>
            <p:cNvSpPr>
              <a:spLocks noChangeShapeType="1"/>
            </p:cNvSpPr>
            <p:nvPr/>
          </p:nvSpPr>
          <p:spPr bwMode="auto">
            <a:xfrm flipH="1" flipV="1">
              <a:off x="5829" y="1956"/>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7" name="Line 16">
              <a:extLst>
                <a:ext uri="{FF2B5EF4-FFF2-40B4-BE49-F238E27FC236}">
                  <a16:creationId xmlns:a16="http://schemas.microsoft.com/office/drawing/2014/main" id="{75154C8E-EE5D-4823-8EAE-8DA3E16E8594}"/>
                </a:ext>
              </a:extLst>
            </p:cNvPr>
            <p:cNvSpPr>
              <a:spLocks noChangeShapeType="1"/>
            </p:cNvSpPr>
            <p:nvPr/>
          </p:nvSpPr>
          <p:spPr bwMode="auto">
            <a:xfrm flipV="1">
              <a:off x="5135" y="1572"/>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8" name="Line 17">
              <a:extLst>
                <a:ext uri="{FF2B5EF4-FFF2-40B4-BE49-F238E27FC236}">
                  <a16:creationId xmlns:a16="http://schemas.microsoft.com/office/drawing/2014/main" id="{8D7BD17F-8DCD-4038-B2A3-B113FE8B8F58}"/>
                </a:ext>
              </a:extLst>
            </p:cNvPr>
            <p:cNvSpPr>
              <a:spLocks noChangeShapeType="1"/>
            </p:cNvSpPr>
            <p:nvPr/>
          </p:nvSpPr>
          <p:spPr bwMode="auto">
            <a:xfrm flipH="1" flipV="1">
              <a:off x="5135" y="1572"/>
              <a:ext cx="68" cy="6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Line 18">
              <a:extLst>
                <a:ext uri="{FF2B5EF4-FFF2-40B4-BE49-F238E27FC236}">
                  <a16:creationId xmlns:a16="http://schemas.microsoft.com/office/drawing/2014/main" id="{1AF92E4F-164C-40DB-BDCF-88C25441B820}"/>
                </a:ext>
              </a:extLst>
            </p:cNvPr>
            <p:cNvSpPr>
              <a:spLocks noChangeShapeType="1"/>
            </p:cNvSpPr>
            <p:nvPr/>
          </p:nvSpPr>
          <p:spPr bwMode="auto">
            <a:xfrm>
              <a:off x="5506" y="3276"/>
              <a:ext cx="32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19">
              <a:extLst>
                <a:ext uri="{FF2B5EF4-FFF2-40B4-BE49-F238E27FC236}">
                  <a16:creationId xmlns:a16="http://schemas.microsoft.com/office/drawing/2014/main" id="{D68A2EBC-A77B-4160-9671-3DF3CCF0F2B8}"/>
                </a:ext>
              </a:extLst>
            </p:cNvPr>
            <p:cNvSpPr>
              <a:spLocks/>
            </p:cNvSpPr>
            <p:nvPr/>
          </p:nvSpPr>
          <p:spPr bwMode="auto">
            <a:xfrm>
              <a:off x="4548" y="3084"/>
              <a:ext cx="471" cy="264"/>
            </a:xfrm>
            <a:custGeom>
              <a:avLst/>
              <a:gdLst>
                <a:gd name="T0" fmla="*/ 0 w 243"/>
                <a:gd name="T1" fmla="*/ 136 h 136"/>
                <a:gd name="T2" fmla="*/ 243 w 243"/>
                <a:gd name="T3" fmla="*/ 136 h 136"/>
                <a:gd name="T4" fmla="*/ 214 w 243"/>
                <a:gd name="T5" fmla="*/ 0 h 136"/>
              </a:gdLst>
              <a:ahLst/>
              <a:cxnLst>
                <a:cxn ang="0">
                  <a:pos x="T0" y="T1"/>
                </a:cxn>
                <a:cxn ang="0">
                  <a:pos x="T2" y="T3"/>
                </a:cxn>
                <a:cxn ang="0">
                  <a:pos x="T4" y="T5"/>
                </a:cxn>
              </a:cxnLst>
              <a:rect l="0" t="0" r="r" b="b"/>
              <a:pathLst>
                <a:path w="243" h="136">
                  <a:moveTo>
                    <a:pt x="0" y="136"/>
                  </a:moveTo>
                  <a:cubicBezTo>
                    <a:pt x="243" y="136"/>
                    <a:pt x="243" y="136"/>
                    <a:pt x="243" y="136"/>
                  </a:cubicBezTo>
                  <a:cubicBezTo>
                    <a:pt x="216" y="136"/>
                    <a:pt x="173" y="63"/>
                    <a:pt x="214"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20">
              <a:extLst>
                <a:ext uri="{FF2B5EF4-FFF2-40B4-BE49-F238E27FC236}">
                  <a16:creationId xmlns:a16="http://schemas.microsoft.com/office/drawing/2014/main" id="{30D61852-DD7A-426C-9FD0-2DB52C6F7A2B}"/>
                </a:ext>
              </a:extLst>
            </p:cNvPr>
            <p:cNvSpPr>
              <a:spLocks/>
            </p:cNvSpPr>
            <p:nvPr/>
          </p:nvSpPr>
          <p:spPr bwMode="auto">
            <a:xfrm>
              <a:off x="3834" y="3018"/>
              <a:ext cx="1264" cy="330"/>
            </a:xfrm>
            <a:custGeom>
              <a:avLst/>
              <a:gdLst>
                <a:gd name="T0" fmla="*/ 652 w 652"/>
                <a:gd name="T1" fmla="*/ 0 h 170"/>
                <a:gd name="T2" fmla="*/ 644 w 652"/>
                <a:gd name="T3" fmla="*/ 2 h 170"/>
                <a:gd name="T4" fmla="*/ 97 w 652"/>
                <a:gd name="T5" fmla="*/ 2 h 170"/>
                <a:gd name="T6" fmla="*/ 85 w 652"/>
                <a:gd name="T7" fmla="*/ 2 h 170"/>
                <a:gd name="T8" fmla="*/ 1 w 652"/>
                <a:gd name="T9" fmla="*/ 89 h 170"/>
                <a:gd name="T10" fmla="*/ 87 w 652"/>
                <a:gd name="T11" fmla="*/ 170 h 170"/>
                <a:gd name="T12" fmla="*/ 99 w 652"/>
                <a:gd name="T13" fmla="*/ 170 h 170"/>
                <a:gd name="T14" fmla="*/ 267 w 652"/>
                <a:gd name="T15" fmla="*/ 170 h 1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2" h="170">
                  <a:moveTo>
                    <a:pt x="652" y="0"/>
                  </a:moveTo>
                  <a:cubicBezTo>
                    <a:pt x="649" y="1"/>
                    <a:pt x="647" y="2"/>
                    <a:pt x="644" y="2"/>
                  </a:cubicBezTo>
                  <a:cubicBezTo>
                    <a:pt x="97" y="2"/>
                    <a:pt x="97" y="2"/>
                    <a:pt x="97" y="2"/>
                  </a:cubicBezTo>
                  <a:cubicBezTo>
                    <a:pt x="85" y="2"/>
                    <a:pt x="85" y="2"/>
                    <a:pt x="85" y="2"/>
                  </a:cubicBezTo>
                  <a:cubicBezTo>
                    <a:pt x="38" y="2"/>
                    <a:pt x="0" y="41"/>
                    <a:pt x="1" y="89"/>
                  </a:cubicBezTo>
                  <a:cubicBezTo>
                    <a:pt x="3" y="135"/>
                    <a:pt x="42" y="170"/>
                    <a:pt x="87" y="170"/>
                  </a:cubicBezTo>
                  <a:cubicBezTo>
                    <a:pt x="99" y="170"/>
                    <a:pt x="99" y="170"/>
                    <a:pt x="99" y="170"/>
                  </a:cubicBezTo>
                  <a:cubicBezTo>
                    <a:pt x="267" y="170"/>
                    <a:pt x="267" y="170"/>
                    <a:pt x="267" y="17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21">
              <a:extLst>
                <a:ext uri="{FF2B5EF4-FFF2-40B4-BE49-F238E27FC236}">
                  <a16:creationId xmlns:a16="http://schemas.microsoft.com/office/drawing/2014/main" id="{6BC1DF1B-AB57-4DB2-960B-A5135C1E8FB1}"/>
                </a:ext>
              </a:extLst>
            </p:cNvPr>
            <p:cNvSpPr>
              <a:spLocks/>
            </p:cNvSpPr>
            <p:nvPr/>
          </p:nvSpPr>
          <p:spPr bwMode="auto">
            <a:xfrm>
              <a:off x="5060" y="2962"/>
              <a:ext cx="52" cy="56"/>
            </a:xfrm>
            <a:custGeom>
              <a:avLst/>
              <a:gdLst>
                <a:gd name="T0" fmla="*/ 0 w 27"/>
                <a:gd name="T1" fmla="*/ 0 h 29"/>
                <a:gd name="T2" fmla="*/ 12 w 27"/>
                <a:gd name="T3" fmla="*/ 0 h 29"/>
                <a:gd name="T4" fmla="*/ 27 w 27"/>
                <a:gd name="T5" fmla="*/ 15 h 29"/>
                <a:gd name="T6" fmla="*/ 27 w 27"/>
                <a:gd name="T7" fmla="*/ 15 h 29"/>
                <a:gd name="T8" fmla="*/ 20 w 27"/>
                <a:gd name="T9" fmla="*/ 29 h 29"/>
              </a:gdLst>
              <a:ahLst/>
              <a:cxnLst>
                <a:cxn ang="0">
                  <a:pos x="T0" y="T1"/>
                </a:cxn>
                <a:cxn ang="0">
                  <a:pos x="T2" y="T3"/>
                </a:cxn>
                <a:cxn ang="0">
                  <a:pos x="T4" y="T5"/>
                </a:cxn>
                <a:cxn ang="0">
                  <a:pos x="T6" y="T7"/>
                </a:cxn>
                <a:cxn ang="0">
                  <a:pos x="T8" y="T9"/>
                </a:cxn>
              </a:cxnLst>
              <a:rect l="0" t="0" r="r" b="b"/>
              <a:pathLst>
                <a:path w="27" h="29">
                  <a:moveTo>
                    <a:pt x="0" y="0"/>
                  </a:moveTo>
                  <a:cubicBezTo>
                    <a:pt x="12" y="0"/>
                    <a:pt x="12" y="0"/>
                    <a:pt x="12" y="0"/>
                  </a:cubicBezTo>
                  <a:cubicBezTo>
                    <a:pt x="20" y="0"/>
                    <a:pt x="27" y="7"/>
                    <a:pt x="27" y="15"/>
                  </a:cubicBezTo>
                  <a:cubicBezTo>
                    <a:pt x="27" y="15"/>
                    <a:pt x="27" y="15"/>
                    <a:pt x="27" y="15"/>
                  </a:cubicBezTo>
                  <a:cubicBezTo>
                    <a:pt x="27" y="21"/>
                    <a:pt x="24" y="26"/>
                    <a:pt x="20" y="2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22">
              <a:extLst>
                <a:ext uri="{FF2B5EF4-FFF2-40B4-BE49-F238E27FC236}">
                  <a16:creationId xmlns:a16="http://schemas.microsoft.com/office/drawing/2014/main" id="{0A18E400-BB4B-4AA2-B42D-6F915C8ED2F0}"/>
                </a:ext>
              </a:extLst>
            </p:cNvPr>
            <p:cNvSpPr>
              <a:spLocks/>
            </p:cNvSpPr>
            <p:nvPr/>
          </p:nvSpPr>
          <p:spPr bwMode="auto">
            <a:xfrm>
              <a:off x="4594" y="3402"/>
              <a:ext cx="504" cy="4"/>
            </a:xfrm>
            <a:custGeom>
              <a:avLst/>
              <a:gdLst>
                <a:gd name="T0" fmla="*/ 260 w 260"/>
                <a:gd name="T1" fmla="*/ 0 h 2"/>
                <a:gd name="T2" fmla="*/ 252 w 260"/>
                <a:gd name="T3" fmla="*/ 2 h 2"/>
                <a:gd name="T4" fmla="*/ 0 w 260"/>
                <a:gd name="T5" fmla="*/ 2 h 2"/>
              </a:gdLst>
              <a:ahLst/>
              <a:cxnLst>
                <a:cxn ang="0">
                  <a:pos x="T0" y="T1"/>
                </a:cxn>
                <a:cxn ang="0">
                  <a:pos x="T2" y="T3"/>
                </a:cxn>
                <a:cxn ang="0">
                  <a:pos x="T4" y="T5"/>
                </a:cxn>
              </a:cxnLst>
              <a:rect l="0" t="0" r="r" b="b"/>
              <a:pathLst>
                <a:path w="260" h="2">
                  <a:moveTo>
                    <a:pt x="260" y="0"/>
                  </a:moveTo>
                  <a:cubicBezTo>
                    <a:pt x="257" y="1"/>
                    <a:pt x="255" y="2"/>
                    <a:pt x="252" y="2"/>
                  </a:cubicBezTo>
                  <a:cubicBezTo>
                    <a:pt x="0" y="2"/>
                    <a:pt x="0" y="2"/>
                    <a:pt x="0" y="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23">
              <a:extLst>
                <a:ext uri="{FF2B5EF4-FFF2-40B4-BE49-F238E27FC236}">
                  <a16:creationId xmlns:a16="http://schemas.microsoft.com/office/drawing/2014/main" id="{327F2AE2-DF2D-4998-A99D-205AA5CF18A0}"/>
                </a:ext>
              </a:extLst>
            </p:cNvPr>
            <p:cNvSpPr>
              <a:spLocks/>
            </p:cNvSpPr>
            <p:nvPr/>
          </p:nvSpPr>
          <p:spPr bwMode="auto">
            <a:xfrm>
              <a:off x="5060" y="3348"/>
              <a:ext cx="52" cy="54"/>
            </a:xfrm>
            <a:custGeom>
              <a:avLst/>
              <a:gdLst>
                <a:gd name="T0" fmla="*/ 0 w 27"/>
                <a:gd name="T1" fmla="*/ 0 h 28"/>
                <a:gd name="T2" fmla="*/ 12 w 27"/>
                <a:gd name="T3" fmla="*/ 0 h 28"/>
                <a:gd name="T4" fmla="*/ 27 w 27"/>
                <a:gd name="T5" fmla="*/ 15 h 28"/>
                <a:gd name="T6" fmla="*/ 27 w 27"/>
                <a:gd name="T7" fmla="*/ 15 h 28"/>
                <a:gd name="T8" fmla="*/ 20 w 27"/>
                <a:gd name="T9" fmla="*/ 28 h 28"/>
              </a:gdLst>
              <a:ahLst/>
              <a:cxnLst>
                <a:cxn ang="0">
                  <a:pos x="T0" y="T1"/>
                </a:cxn>
                <a:cxn ang="0">
                  <a:pos x="T2" y="T3"/>
                </a:cxn>
                <a:cxn ang="0">
                  <a:pos x="T4" y="T5"/>
                </a:cxn>
                <a:cxn ang="0">
                  <a:pos x="T6" y="T7"/>
                </a:cxn>
                <a:cxn ang="0">
                  <a:pos x="T8" y="T9"/>
                </a:cxn>
              </a:cxnLst>
              <a:rect l="0" t="0" r="r" b="b"/>
              <a:pathLst>
                <a:path w="27" h="28">
                  <a:moveTo>
                    <a:pt x="0" y="0"/>
                  </a:moveTo>
                  <a:cubicBezTo>
                    <a:pt x="12" y="0"/>
                    <a:pt x="12" y="0"/>
                    <a:pt x="12" y="0"/>
                  </a:cubicBezTo>
                  <a:cubicBezTo>
                    <a:pt x="20" y="0"/>
                    <a:pt x="27" y="6"/>
                    <a:pt x="27" y="15"/>
                  </a:cubicBezTo>
                  <a:cubicBezTo>
                    <a:pt x="27" y="15"/>
                    <a:pt x="27" y="15"/>
                    <a:pt x="27" y="15"/>
                  </a:cubicBezTo>
                  <a:cubicBezTo>
                    <a:pt x="27" y="20"/>
                    <a:pt x="24" y="25"/>
                    <a:pt x="20" y="2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Line 24">
              <a:extLst>
                <a:ext uri="{FF2B5EF4-FFF2-40B4-BE49-F238E27FC236}">
                  <a16:creationId xmlns:a16="http://schemas.microsoft.com/office/drawing/2014/main" id="{60A9E11D-276B-41DD-95A8-8C348D6B43C8}"/>
                </a:ext>
              </a:extLst>
            </p:cNvPr>
            <p:cNvSpPr>
              <a:spLocks noChangeShapeType="1"/>
            </p:cNvSpPr>
            <p:nvPr/>
          </p:nvSpPr>
          <p:spPr bwMode="auto">
            <a:xfrm flipH="1">
              <a:off x="3968" y="3406"/>
              <a:ext cx="34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25">
              <a:extLst>
                <a:ext uri="{FF2B5EF4-FFF2-40B4-BE49-F238E27FC236}">
                  <a16:creationId xmlns:a16="http://schemas.microsoft.com/office/drawing/2014/main" id="{EEB76BC0-9C15-41E3-8FC1-1E974A3CCFBB}"/>
                </a:ext>
              </a:extLst>
            </p:cNvPr>
            <p:cNvSpPr>
              <a:spLocks/>
            </p:cNvSpPr>
            <p:nvPr/>
          </p:nvSpPr>
          <p:spPr bwMode="auto">
            <a:xfrm>
              <a:off x="3377" y="3030"/>
              <a:ext cx="465" cy="246"/>
            </a:xfrm>
            <a:custGeom>
              <a:avLst/>
              <a:gdLst>
                <a:gd name="T0" fmla="*/ 0 w 240"/>
                <a:gd name="T1" fmla="*/ 127 h 127"/>
                <a:gd name="T2" fmla="*/ 184 w 240"/>
                <a:gd name="T3" fmla="*/ 127 h 127"/>
                <a:gd name="T4" fmla="*/ 218 w 240"/>
                <a:gd name="T5" fmla="*/ 127 h 127"/>
                <a:gd name="T6" fmla="*/ 208 w 240"/>
                <a:gd name="T7" fmla="*/ 84 h 127"/>
                <a:gd name="T8" fmla="*/ 240 w 240"/>
                <a:gd name="T9" fmla="*/ 0 h 127"/>
              </a:gdLst>
              <a:ahLst/>
              <a:cxnLst>
                <a:cxn ang="0">
                  <a:pos x="T0" y="T1"/>
                </a:cxn>
                <a:cxn ang="0">
                  <a:pos x="T2" y="T3"/>
                </a:cxn>
                <a:cxn ang="0">
                  <a:pos x="T4" y="T5"/>
                </a:cxn>
                <a:cxn ang="0">
                  <a:pos x="T6" y="T7"/>
                </a:cxn>
                <a:cxn ang="0">
                  <a:pos x="T8" y="T9"/>
                </a:cxn>
              </a:cxnLst>
              <a:rect l="0" t="0" r="r" b="b"/>
              <a:pathLst>
                <a:path w="240" h="127">
                  <a:moveTo>
                    <a:pt x="0" y="127"/>
                  </a:moveTo>
                  <a:cubicBezTo>
                    <a:pt x="184" y="127"/>
                    <a:pt x="184" y="127"/>
                    <a:pt x="184" y="127"/>
                  </a:cubicBezTo>
                  <a:cubicBezTo>
                    <a:pt x="218" y="127"/>
                    <a:pt x="218" y="127"/>
                    <a:pt x="218" y="127"/>
                  </a:cubicBezTo>
                  <a:cubicBezTo>
                    <a:pt x="212" y="114"/>
                    <a:pt x="208" y="99"/>
                    <a:pt x="208" y="84"/>
                  </a:cubicBezTo>
                  <a:cubicBezTo>
                    <a:pt x="207" y="52"/>
                    <a:pt x="218" y="23"/>
                    <a:pt x="24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26">
              <a:extLst>
                <a:ext uri="{FF2B5EF4-FFF2-40B4-BE49-F238E27FC236}">
                  <a16:creationId xmlns:a16="http://schemas.microsoft.com/office/drawing/2014/main" id="{2581028F-4E81-4A1C-9E49-07DBA85A0F2F}"/>
                </a:ext>
              </a:extLst>
            </p:cNvPr>
            <p:cNvSpPr>
              <a:spLocks/>
            </p:cNvSpPr>
            <p:nvPr/>
          </p:nvSpPr>
          <p:spPr bwMode="auto">
            <a:xfrm>
              <a:off x="3778" y="2189"/>
              <a:ext cx="281" cy="414"/>
            </a:xfrm>
            <a:custGeom>
              <a:avLst/>
              <a:gdLst>
                <a:gd name="T0" fmla="*/ 58 w 145"/>
                <a:gd name="T1" fmla="*/ 213 h 213"/>
                <a:gd name="T2" fmla="*/ 37 w 145"/>
                <a:gd name="T3" fmla="*/ 197 h 213"/>
                <a:gd name="T4" fmla="*/ 1 w 145"/>
                <a:gd name="T5" fmla="*/ 119 h 213"/>
                <a:gd name="T6" fmla="*/ 33 w 145"/>
                <a:gd name="T7" fmla="*/ 35 h 213"/>
                <a:gd name="T8" fmla="*/ 115 w 145"/>
                <a:gd name="T9" fmla="*/ 0 h 213"/>
                <a:gd name="T10" fmla="*/ 145 w 145"/>
                <a:gd name="T11" fmla="*/ 0 h 213"/>
              </a:gdLst>
              <a:ahLst/>
              <a:cxnLst>
                <a:cxn ang="0">
                  <a:pos x="T0" y="T1"/>
                </a:cxn>
                <a:cxn ang="0">
                  <a:pos x="T2" y="T3"/>
                </a:cxn>
                <a:cxn ang="0">
                  <a:pos x="T4" y="T5"/>
                </a:cxn>
                <a:cxn ang="0">
                  <a:pos x="T6" y="T7"/>
                </a:cxn>
                <a:cxn ang="0">
                  <a:pos x="T8" y="T9"/>
                </a:cxn>
                <a:cxn ang="0">
                  <a:pos x="T10" y="T11"/>
                </a:cxn>
              </a:cxnLst>
              <a:rect l="0" t="0" r="r" b="b"/>
              <a:pathLst>
                <a:path w="145" h="213">
                  <a:moveTo>
                    <a:pt x="58" y="213"/>
                  </a:moveTo>
                  <a:cubicBezTo>
                    <a:pt x="50" y="209"/>
                    <a:pt x="43" y="203"/>
                    <a:pt x="37" y="197"/>
                  </a:cubicBezTo>
                  <a:cubicBezTo>
                    <a:pt x="15" y="177"/>
                    <a:pt x="2" y="149"/>
                    <a:pt x="1" y="119"/>
                  </a:cubicBezTo>
                  <a:cubicBezTo>
                    <a:pt x="0" y="87"/>
                    <a:pt x="11" y="58"/>
                    <a:pt x="33" y="35"/>
                  </a:cubicBezTo>
                  <a:cubicBezTo>
                    <a:pt x="55" y="12"/>
                    <a:pt x="84" y="0"/>
                    <a:pt x="115" y="0"/>
                  </a:cubicBezTo>
                  <a:cubicBezTo>
                    <a:pt x="145" y="0"/>
                    <a:pt x="145" y="0"/>
                    <a:pt x="145"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27">
              <a:extLst>
                <a:ext uri="{FF2B5EF4-FFF2-40B4-BE49-F238E27FC236}">
                  <a16:creationId xmlns:a16="http://schemas.microsoft.com/office/drawing/2014/main" id="{B160DE13-9BC6-4108-B61D-DE9E71C78065}"/>
                </a:ext>
              </a:extLst>
            </p:cNvPr>
            <p:cNvSpPr>
              <a:spLocks/>
            </p:cNvSpPr>
            <p:nvPr/>
          </p:nvSpPr>
          <p:spPr bwMode="auto">
            <a:xfrm>
              <a:off x="4835" y="2698"/>
              <a:ext cx="184" cy="264"/>
            </a:xfrm>
            <a:custGeom>
              <a:avLst/>
              <a:gdLst>
                <a:gd name="T0" fmla="*/ 0 w 95"/>
                <a:gd name="T1" fmla="*/ 136 h 136"/>
                <a:gd name="T2" fmla="*/ 95 w 95"/>
                <a:gd name="T3" fmla="*/ 136 h 136"/>
                <a:gd name="T4" fmla="*/ 66 w 95"/>
                <a:gd name="T5" fmla="*/ 0 h 136"/>
              </a:gdLst>
              <a:ahLst/>
              <a:cxnLst>
                <a:cxn ang="0">
                  <a:pos x="T0" y="T1"/>
                </a:cxn>
                <a:cxn ang="0">
                  <a:pos x="T2" y="T3"/>
                </a:cxn>
                <a:cxn ang="0">
                  <a:pos x="T4" y="T5"/>
                </a:cxn>
              </a:cxnLst>
              <a:rect l="0" t="0" r="r" b="b"/>
              <a:pathLst>
                <a:path w="95" h="136">
                  <a:moveTo>
                    <a:pt x="0" y="136"/>
                  </a:moveTo>
                  <a:cubicBezTo>
                    <a:pt x="95" y="136"/>
                    <a:pt x="95" y="136"/>
                    <a:pt x="95" y="136"/>
                  </a:cubicBezTo>
                  <a:cubicBezTo>
                    <a:pt x="68" y="136"/>
                    <a:pt x="25" y="63"/>
                    <a:pt x="66"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28">
              <a:extLst>
                <a:ext uri="{FF2B5EF4-FFF2-40B4-BE49-F238E27FC236}">
                  <a16:creationId xmlns:a16="http://schemas.microsoft.com/office/drawing/2014/main" id="{7EC29C01-A7B3-4653-8340-C74FBB305EBE}"/>
                </a:ext>
              </a:extLst>
            </p:cNvPr>
            <p:cNvSpPr>
              <a:spLocks/>
            </p:cNvSpPr>
            <p:nvPr/>
          </p:nvSpPr>
          <p:spPr bwMode="auto">
            <a:xfrm>
              <a:off x="3834" y="2636"/>
              <a:ext cx="803" cy="326"/>
            </a:xfrm>
            <a:custGeom>
              <a:avLst/>
              <a:gdLst>
                <a:gd name="T0" fmla="*/ 389 w 414"/>
                <a:gd name="T1" fmla="*/ 0 h 168"/>
                <a:gd name="T2" fmla="*/ 97 w 414"/>
                <a:gd name="T3" fmla="*/ 0 h 168"/>
                <a:gd name="T4" fmla="*/ 85 w 414"/>
                <a:gd name="T5" fmla="*/ 0 h 168"/>
                <a:gd name="T6" fmla="*/ 1 w 414"/>
                <a:gd name="T7" fmla="*/ 87 h 168"/>
                <a:gd name="T8" fmla="*/ 87 w 414"/>
                <a:gd name="T9" fmla="*/ 168 h 168"/>
                <a:gd name="T10" fmla="*/ 99 w 414"/>
                <a:gd name="T11" fmla="*/ 168 h 168"/>
                <a:gd name="T12" fmla="*/ 414 w 414"/>
                <a:gd name="T13" fmla="*/ 168 h 168"/>
              </a:gdLst>
              <a:ahLst/>
              <a:cxnLst>
                <a:cxn ang="0">
                  <a:pos x="T0" y="T1"/>
                </a:cxn>
                <a:cxn ang="0">
                  <a:pos x="T2" y="T3"/>
                </a:cxn>
                <a:cxn ang="0">
                  <a:pos x="T4" y="T5"/>
                </a:cxn>
                <a:cxn ang="0">
                  <a:pos x="T6" y="T7"/>
                </a:cxn>
                <a:cxn ang="0">
                  <a:pos x="T8" y="T9"/>
                </a:cxn>
                <a:cxn ang="0">
                  <a:pos x="T10" y="T11"/>
                </a:cxn>
                <a:cxn ang="0">
                  <a:pos x="T12" y="T13"/>
                </a:cxn>
              </a:cxnLst>
              <a:rect l="0" t="0" r="r" b="b"/>
              <a:pathLst>
                <a:path w="414" h="168">
                  <a:moveTo>
                    <a:pt x="389" y="0"/>
                  </a:moveTo>
                  <a:cubicBezTo>
                    <a:pt x="97" y="0"/>
                    <a:pt x="97" y="0"/>
                    <a:pt x="97" y="0"/>
                  </a:cubicBezTo>
                  <a:cubicBezTo>
                    <a:pt x="85" y="0"/>
                    <a:pt x="85" y="0"/>
                    <a:pt x="85" y="0"/>
                  </a:cubicBezTo>
                  <a:cubicBezTo>
                    <a:pt x="38" y="0"/>
                    <a:pt x="0" y="39"/>
                    <a:pt x="1" y="87"/>
                  </a:cubicBezTo>
                  <a:cubicBezTo>
                    <a:pt x="3" y="133"/>
                    <a:pt x="42" y="168"/>
                    <a:pt x="87" y="168"/>
                  </a:cubicBezTo>
                  <a:cubicBezTo>
                    <a:pt x="99" y="168"/>
                    <a:pt x="99" y="168"/>
                    <a:pt x="99" y="168"/>
                  </a:cubicBezTo>
                  <a:cubicBezTo>
                    <a:pt x="414" y="168"/>
                    <a:pt x="414" y="168"/>
                    <a:pt x="414" y="16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0" name="Line 29">
              <a:extLst>
                <a:ext uri="{FF2B5EF4-FFF2-40B4-BE49-F238E27FC236}">
                  <a16:creationId xmlns:a16="http://schemas.microsoft.com/office/drawing/2014/main" id="{3403E891-D888-420C-84AA-EA465BD5F148}"/>
                </a:ext>
              </a:extLst>
            </p:cNvPr>
            <p:cNvSpPr>
              <a:spLocks noChangeShapeType="1"/>
            </p:cNvSpPr>
            <p:nvPr/>
          </p:nvSpPr>
          <p:spPr bwMode="auto">
            <a:xfrm flipH="1">
              <a:off x="4779" y="2636"/>
              <a:ext cx="294"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1" name="Freeform 30">
              <a:extLst>
                <a:ext uri="{FF2B5EF4-FFF2-40B4-BE49-F238E27FC236}">
                  <a16:creationId xmlns:a16="http://schemas.microsoft.com/office/drawing/2014/main" id="{797245D4-C0DD-4663-8581-FD9602386111}"/>
                </a:ext>
              </a:extLst>
            </p:cNvPr>
            <p:cNvSpPr>
              <a:spLocks/>
            </p:cNvSpPr>
            <p:nvPr/>
          </p:nvSpPr>
          <p:spPr bwMode="auto">
            <a:xfrm>
              <a:off x="4548" y="2311"/>
              <a:ext cx="471" cy="264"/>
            </a:xfrm>
            <a:custGeom>
              <a:avLst/>
              <a:gdLst>
                <a:gd name="T0" fmla="*/ 0 w 243"/>
                <a:gd name="T1" fmla="*/ 136 h 136"/>
                <a:gd name="T2" fmla="*/ 243 w 243"/>
                <a:gd name="T3" fmla="*/ 136 h 136"/>
                <a:gd name="T4" fmla="*/ 214 w 243"/>
                <a:gd name="T5" fmla="*/ 0 h 136"/>
              </a:gdLst>
              <a:ahLst/>
              <a:cxnLst>
                <a:cxn ang="0">
                  <a:pos x="T0" y="T1"/>
                </a:cxn>
                <a:cxn ang="0">
                  <a:pos x="T2" y="T3"/>
                </a:cxn>
                <a:cxn ang="0">
                  <a:pos x="T4" y="T5"/>
                </a:cxn>
              </a:cxnLst>
              <a:rect l="0" t="0" r="r" b="b"/>
              <a:pathLst>
                <a:path w="243" h="136">
                  <a:moveTo>
                    <a:pt x="0" y="136"/>
                  </a:moveTo>
                  <a:cubicBezTo>
                    <a:pt x="243" y="136"/>
                    <a:pt x="243" y="136"/>
                    <a:pt x="243" y="136"/>
                  </a:cubicBezTo>
                  <a:cubicBezTo>
                    <a:pt x="216" y="136"/>
                    <a:pt x="173" y="63"/>
                    <a:pt x="214"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2" name="Freeform 31">
              <a:extLst>
                <a:ext uri="{FF2B5EF4-FFF2-40B4-BE49-F238E27FC236}">
                  <a16:creationId xmlns:a16="http://schemas.microsoft.com/office/drawing/2014/main" id="{7C6F2A58-648B-4DCC-9362-E90F61902DF7}"/>
                </a:ext>
              </a:extLst>
            </p:cNvPr>
            <p:cNvSpPr>
              <a:spLocks/>
            </p:cNvSpPr>
            <p:nvPr/>
          </p:nvSpPr>
          <p:spPr bwMode="auto">
            <a:xfrm>
              <a:off x="3834" y="2249"/>
              <a:ext cx="518" cy="326"/>
            </a:xfrm>
            <a:custGeom>
              <a:avLst/>
              <a:gdLst>
                <a:gd name="T0" fmla="*/ 97 w 267"/>
                <a:gd name="T1" fmla="*/ 0 h 168"/>
                <a:gd name="T2" fmla="*/ 85 w 267"/>
                <a:gd name="T3" fmla="*/ 0 h 168"/>
                <a:gd name="T4" fmla="*/ 1 w 267"/>
                <a:gd name="T5" fmla="*/ 87 h 168"/>
                <a:gd name="T6" fmla="*/ 87 w 267"/>
                <a:gd name="T7" fmla="*/ 168 h 168"/>
                <a:gd name="T8" fmla="*/ 99 w 267"/>
                <a:gd name="T9" fmla="*/ 168 h 168"/>
                <a:gd name="T10" fmla="*/ 267 w 267"/>
                <a:gd name="T11" fmla="*/ 168 h 168"/>
              </a:gdLst>
              <a:ahLst/>
              <a:cxnLst>
                <a:cxn ang="0">
                  <a:pos x="T0" y="T1"/>
                </a:cxn>
                <a:cxn ang="0">
                  <a:pos x="T2" y="T3"/>
                </a:cxn>
                <a:cxn ang="0">
                  <a:pos x="T4" y="T5"/>
                </a:cxn>
                <a:cxn ang="0">
                  <a:pos x="T6" y="T7"/>
                </a:cxn>
                <a:cxn ang="0">
                  <a:pos x="T8" y="T9"/>
                </a:cxn>
                <a:cxn ang="0">
                  <a:pos x="T10" y="T11"/>
                </a:cxn>
              </a:cxnLst>
              <a:rect l="0" t="0" r="r" b="b"/>
              <a:pathLst>
                <a:path w="267" h="168">
                  <a:moveTo>
                    <a:pt x="97" y="0"/>
                  </a:moveTo>
                  <a:cubicBezTo>
                    <a:pt x="85" y="0"/>
                    <a:pt x="85" y="0"/>
                    <a:pt x="85" y="0"/>
                  </a:cubicBezTo>
                  <a:cubicBezTo>
                    <a:pt x="38" y="0"/>
                    <a:pt x="0" y="39"/>
                    <a:pt x="1" y="87"/>
                  </a:cubicBezTo>
                  <a:cubicBezTo>
                    <a:pt x="3" y="133"/>
                    <a:pt x="42" y="168"/>
                    <a:pt x="87" y="168"/>
                  </a:cubicBezTo>
                  <a:cubicBezTo>
                    <a:pt x="99" y="168"/>
                    <a:pt x="99" y="168"/>
                    <a:pt x="99" y="168"/>
                  </a:cubicBezTo>
                  <a:cubicBezTo>
                    <a:pt x="267" y="168"/>
                    <a:pt x="267" y="168"/>
                    <a:pt x="267" y="16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32">
              <a:extLst>
                <a:ext uri="{FF2B5EF4-FFF2-40B4-BE49-F238E27FC236}">
                  <a16:creationId xmlns:a16="http://schemas.microsoft.com/office/drawing/2014/main" id="{17F3B373-27D1-4E54-81F1-2A03AF0EE7B6}"/>
                </a:ext>
              </a:extLst>
            </p:cNvPr>
            <p:cNvSpPr>
              <a:spLocks/>
            </p:cNvSpPr>
            <p:nvPr/>
          </p:nvSpPr>
          <p:spPr bwMode="auto">
            <a:xfrm>
              <a:off x="4529" y="2245"/>
              <a:ext cx="569" cy="4"/>
            </a:xfrm>
            <a:custGeom>
              <a:avLst/>
              <a:gdLst>
                <a:gd name="T0" fmla="*/ 294 w 294"/>
                <a:gd name="T1" fmla="*/ 0 h 2"/>
                <a:gd name="T2" fmla="*/ 286 w 294"/>
                <a:gd name="T3" fmla="*/ 2 h 2"/>
                <a:gd name="T4" fmla="*/ 0 w 294"/>
                <a:gd name="T5" fmla="*/ 2 h 2"/>
              </a:gdLst>
              <a:ahLst/>
              <a:cxnLst>
                <a:cxn ang="0">
                  <a:pos x="T0" y="T1"/>
                </a:cxn>
                <a:cxn ang="0">
                  <a:pos x="T2" y="T3"/>
                </a:cxn>
                <a:cxn ang="0">
                  <a:pos x="T4" y="T5"/>
                </a:cxn>
              </a:cxnLst>
              <a:rect l="0" t="0" r="r" b="b"/>
              <a:pathLst>
                <a:path w="294" h="2">
                  <a:moveTo>
                    <a:pt x="294" y="0"/>
                  </a:moveTo>
                  <a:cubicBezTo>
                    <a:pt x="291" y="1"/>
                    <a:pt x="289" y="2"/>
                    <a:pt x="286" y="2"/>
                  </a:cubicBezTo>
                  <a:cubicBezTo>
                    <a:pt x="0" y="2"/>
                    <a:pt x="0" y="2"/>
                    <a:pt x="0" y="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33">
              <a:extLst>
                <a:ext uri="{FF2B5EF4-FFF2-40B4-BE49-F238E27FC236}">
                  <a16:creationId xmlns:a16="http://schemas.microsoft.com/office/drawing/2014/main" id="{D78C2914-7232-4C83-A1C1-338F75FAC87A}"/>
                </a:ext>
              </a:extLst>
            </p:cNvPr>
            <p:cNvSpPr>
              <a:spLocks/>
            </p:cNvSpPr>
            <p:nvPr/>
          </p:nvSpPr>
          <p:spPr bwMode="auto">
            <a:xfrm>
              <a:off x="4011" y="2189"/>
              <a:ext cx="1101" cy="56"/>
            </a:xfrm>
            <a:custGeom>
              <a:avLst/>
              <a:gdLst>
                <a:gd name="T0" fmla="*/ 561 w 568"/>
                <a:gd name="T1" fmla="*/ 29 h 29"/>
                <a:gd name="T2" fmla="*/ 568 w 568"/>
                <a:gd name="T3" fmla="*/ 16 h 29"/>
                <a:gd name="T4" fmla="*/ 568 w 568"/>
                <a:gd name="T5" fmla="*/ 16 h 29"/>
                <a:gd name="T6" fmla="*/ 553 w 568"/>
                <a:gd name="T7" fmla="*/ 0 h 29"/>
                <a:gd name="T8" fmla="*/ 541 w 568"/>
                <a:gd name="T9" fmla="*/ 0 h 29"/>
                <a:gd name="T10" fmla="*/ 0 w 568"/>
                <a:gd name="T11" fmla="*/ 0 h 29"/>
              </a:gdLst>
              <a:ahLst/>
              <a:cxnLst>
                <a:cxn ang="0">
                  <a:pos x="T0" y="T1"/>
                </a:cxn>
                <a:cxn ang="0">
                  <a:pos x="T2" y="T3"/>
                </a:cxn>
                <a:cxn ang="0">
                  <a:pos x="T4" y="T5"/>
                </a:cxn>
                <a:cxn ang="0">
                  <a:pos x="T6" y="T7"/>
                </a:cxn>
                <a:cxn ang="0">
                  <a:pos x="T8" y="T9"/>
                </a:cxn>
                <a:cxn ang="0">
                  <a:pos x="T10" y="T11"/>
                </a:cxn>
              </a:cxnLst>
              <a:rect l="0" t="0" r="r" b="b"/>
              <a:pathLst>
                <a:path w="568" h="29">
                  <a:moveTo>
                    <a:pt x="561" y="29"/>
                  </a:moveTo>
                  <a:cubicBezTo>
                    <a:pt x="565" y="26"/>
                    <a:pt x="568" y="21"/>
                    <a:pt x="568" y="16"/>
                  </a:cubicBezTo>
                  <a:cubicBezTo>
                    <a:pt x="568" y="16"/>
                    <a:pt x="568" y="16"/>
                    <a:pt x="568" y="16"/>
                  </a:cubicBezTo>
                  <a:cubicBezTo>
                    <a:pt x="568" y="7"/>
                    <a:pt x="561" y="0"/>
                    <a:pt x="553" y="0"/>
                  </a:cubicBezTo>
                  <a:cubicBezTo>
                    <a:pt x="541" y="0"/>
                    <a:pt x="541" y="0"/>
                    <a:pt x="541" y="0"/>
                  </a:cubicBezTo>
                  <a:cubicBezTo>
                    <a:pt x="0" y="0"/>
                    <a:pt x="0"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5" name="Line 34">
              <a:extLst>
                <a:ext uri="{FF2B5EF4-FFF2-40B4-BE49-F238E27FC236}">
                  <a16:creationId xmlns:a16="http://schemas.microsoft.com/office/drawing/2014/main" id="{A47BD371-8CDA-4625-939D-87C499C77595}"/>
                </a:ext>
              </a:extLst>
            </p:cNvPr>
            <p:cNvSpPr>
              <a:spLocks noChangeShapeType="1"/>
            </p:cNvSpPr>
            <p:nvPr/>
          </p:nvSpPr>
          <p:spPr bwMode="auto">
            <a:xfrm>
              <a:off x="4356" y="2249"/>
              <a:ext cx="52" cy="336"/>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6" name="Line 35">
              <a:extLst>
                <a:ext uri="{FF2B5EF4-FFF2-40B4-BE49-F238E27FC236}">
                  <a16:creationId xmlns:a16="http://schemas.microsoft.com/office/drawing/2014/main" id="{A829F8FB-DADC-4DA5-96F7-BCDC729F8DDA}"/>
                </a:ext>
              </a:extLst>
            </p:cNvPr>
            <p:cNvSpPr>
              <a:spLocks noChangeShapeType="1"/>
            </p:cNvSpPr>
            <p:nvPr/>
          </p:nvSpPr>
          <p:spPr bwMode="auto">
            <a:xfrm>
              <a:off x="4449" y="2249"/>
              <a:ext cx="52" cy="336"/>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7" name="Line 36">
              <a:extLst>
                <a:ext uri="{FF2B5EF4-FFF2-40B4-BE49-F238E27FC236}">
                  <a16:creationId xmlns:a16="http://schemas.microsoft.com/office/drawing/2014/main" id="{61A9ACC7-0371-4F85-9AF4-1DEB416B909F}"/>
                </a:ext>
              </a:extLst>
            </p:cNvPr>
            <p:cNvSpPr>
              <a:spLocks noChangeShapeType="1"/>
            </p:cNvSpPr>
            <p:nvPr/>
          </p:nvSpPr>
          <p:spPr bwMode="auto">
            <a:xfrm>
              <a:off x="4364" y="2298"/>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8" name="Line 37">
              <a:extLst>
                <a:ext uri="{FF2B5EF4-FFF2-40B4-BE49-F238E27FC236}">
                  <a16:creationId xmlns:a16="http://schemas.microsoft.com/office/drawing/2014/main" id="{5BD88580-BA01-4A56-A0F0-02F29FC2A007}"/>
                </a:ext>
              </a:extLst>
            </p:cNvPr>
            <p:cNvSpPr>
              <a:spLocks noChangeShapeType="1"/>
            </p:cNvSpPr>
            <p:nvPr/>
          </p:nvSpPr>
          <p:spPr bwMode="auto">
            <a:xfrm>
              <a:off x="4373" y="2356"/>
              <a:ext cx="92"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9" name="Line 38">
              <a:extLst>
                <a:ext uri="{FF2B5EF4-FFF2-40B4-BE49-F238E27FC236}">
                  <a16:creationId xmlns:a16="http://schemas.microsoft.com/office/drawing/2014/main" id="{4230F5DD-B757-4D98-BDB2-6258ED67D478}"/>
                </a:ext>
              </a:extLst>
            </p:cNvPr>
            <p:cNvSpPr>
              <a:spLocks noChangeShapeType="1"/>
            </p:cNvSpPr>
            <p:nvPr/>
          </p:nvSpPr>
          <p:spPr bwMode="auto">
            <a:xfrm>
              <a:off x="4383" y="2414"/>
              <a:ext cx="9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0" name="Line 39">
              <a:extLst>
                <a:ext uri="{FF2B5EF4-FFF2-40B4-BE49-F238E27FC236}">
                  <a16:creationId xmlns:a16="http://schemas.microsoft.com/office/drawing/2014/main" id="{EBB7D11F-7DDD-427E-9A28-BDC9C48A4DD7}"/>
                </a:ext>
              </a:extLst>
            </p:cNvPr>
            <p:cNvSpPr>
              <a:spLocks noChangeShapeType="1"/>
            </p:cNvSpPr>
            <p:nvPr/>
          </p:nvSpPr>
          <p:spPr bwMode="auto">
            <a:xfrm>
              <a:off x="4391" y="2474"/>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1" name="Line 40">
              <a:extLst>
                <a:ext uri="{FF2B5EF4-FFF2-40B4-BE49-F238E27FC236}">
                  <a16:creationId xmlns:a16="http://schemas.microsoft.com/office/drawing/2014/main" id="{86B07C3D-9915-4FFA-A8B0-D6EFDA0A55F7}"/>
                </a:ext>
              </a:extLst>
            </p:cNvPr>
            <p:cNvSpPr>
              <a:spLocks noChangeShapeType="1"/>
            </p:cNvSpPr>
            <p:nvPr/>
          </p:nvSpPr>
          <p:spPr bwMode="auto">
            <a:xfrm>
              <a:off x="4401" y="2533"/>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2" name="Line 41">
              <a:extLst>
                <a:ext uri="{FF2B5EF4-FFF2-40B4-BE49-F238E27FC236}">
                  <a16:creationId xmlns:a16="http://schemas.microsoft.com/office/drawing/2014/main" id="{93308EFF-4A56-46FB-88FC-3021696783B4}"/>
                </a:ext>
              </a:extLst>
            </p:cNvPr>
            <p:cNvSpPr>
              <a:spLocks noChangeShapeType="1"/>
            </p:cNvSpPr>
            <p:nvPr/>
          </p:nvSpPr>
          <p:spPr bwMode="auto">
            <a:xfrm>
              <a:off x="5005" y="3276"/>
              <a:ext cx="367"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3" name="Freeform 42">
              <a:extLst>
                <a:ext uri="{FF2B5EF4-FFF2-40B4-BE49-F238E27FC236}">
                  <a16:creationId xmlns:a16="http://schemas.microsoft.com/office/drawing/2014/main" id="{B75ADA2C-5105-43A3-AE93-1CA3964F408A}"/>
                </a:ext>
              </a:extLst>
            </p:cNvPr>
            <p:cNvSpPr>
              <a:spLocks/>
            </p:cNvSpPr>
            <p:nvPr/>
          </p:nvSpPr>
          <p:spPr bwMode="auto">
            <a:xfrm>
              <a:off x="5256" y="2793"/>
              <a:ext cx="379" cy="124"/>
            </a:xfrm>
            <a:custGeom>
              <a:avLst/>
              <a:gdLst>
                <a:gd name="T0" fmla="*/ 0 w 196"/>
                <a:gd name="T1" fmla="*/ 0 h 64"/>
                <a:gd name="T2" fmla="*/ 163 w 196"/>
                <a:gd name="T3" fmla="*/ 0 h 64"/>
                <a:gd name="T4" fmla="*/ 196 w 196"/>
                <a:gd name="T5" fmla="*/ 33 h 64"/>
                <a:gd name="T6" fmla="*/ 162 w 196"/>
                <a:gd name="T7" fmla="*/ 64 h 64"/>
                <a:gd name="T8" fmla="*/ 2 w 196"/>
                <a:gd name="T9" fmla="*/ 64 h 64"/>
                <a:gd name="T10" fmla="*/ 13 w 196"/>
                <a:gd name="T11" fmla="*/ 35 h 64"/>
                <a:gd name="T12" fmla="*/ 22 w 196"/>
                <a:gd name="T13" fmla="*/ 26 h 64"/>
                <a:gd name="T14" fmla="*/ 38 w 196"/>
                <a:gd name="T15" fmla="*/ 27 h 64"/>
                <a:gd name="T16" fmla="*/ 41 w 196"/>
                <a:gd name="T17" fmla="*/ 35 h 64"/>
                <a:gd name="T18" fmla="*/ 38 w 196"/>
                <a:gd name="T19" fmla="*/ 42 h 64"/>
                <a:gd name="T20" fmla="*/ 24 w 196"/>
                <a:gd name="T21" fmla="*/ 43 h 64"/>
                <a:gd name="T22" fmla="*/ 8 w 196"/>
                <a:gd name="T23" fmla="*/ 1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6" h="64">
                  <a:moveTo>
                    <a:pt x="0" y="0"/>
                  </a:moveTo>
                  <a:cubicBezTo>
                    <a:pt x="163" y="0"/>
                    <a:pt x="163" y="0"/>
                    <a:pt x="163" y="0"/>
                  </a:cubicBezTo>
                  <a:cubicBezTo>
                    <a:pt x="196" y="33"/>
                    <a:pt x="196" y="33"/>
                    <a:pt x="196" y="33"/>
                  </a:cubicBezTo>
                  <a:cubicBezTo>
                    <a:pt x="162" y="64"/>
                    <a:pt x="162" y="64"/>
                    <a:pt x="162" y="64"/>
                  </a:cubicBezTo>
                  <a:cubicBezTo>
                    <a:pt x="2" y="64"/>
                    <a:pt x="2" y="64"/>
                    <a:pt x="2" y="64"/>
                  </a:cubicBezTo>
                  <a:cubicBezTo>
                    <a:pt x="2" y="64"/>
                    <a:pt x="5" y="47"/>
                    <a:pt x="13" y="35"/>
                  </a:cubicBezTo>
                  <a:cubicBezTo>
                    <a:pt x="17" y="31"/>
                    <a:pt x="20" y="28"/>
                    <a:pt x="22" y="26"/>
                  </a:cubicBezTo>
                  <a:cubicBezTo>
                    <a:pt x="27" y="23"/>
                    <a:pt x="34" y="23"/>
                    <a:pt x="38" y="27"/>
                  </a:cubicBezTo>
                  <a:cubicBezTo>
                    <a:pt x="40" y="29"/>
                    <a:pt x="41" y="31"/>
                    <a:pt x="41" y="35"/>
                  </a:cubicBezTo>
                  <a:cubicBezTo>
                    <a:pt x="41" y="38"/>
                    <a:pt x="40" y="40"/>
                    <a:pt x="38" y="42"/>
                  </a:cubicBezTo>
                  <a:cubicBezTo>
                    <a:pt x="35" y="46"/>
                    <a:pt x="28" y="46"/>
                    <a:pt x="24" y="43"/>
                  </a:cubicBezTo>
                  <a:cubicBezTo>
                    <a:pt x="17" y="39"/>
                    <a:pt x="8" y="27"/>
                    <a:pt x="8" y="1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4" name="Line 43">
              <a:extLst>
                <a:ext uri="{FF2B5EF4-FFF2-40B4-BE49-F238E27FC236}">
                  <a16:creationId xmlns:a16="http://schemas.microsoft.com/office/drawing/2014/main" id="{F3A314FE-776C-4FB2-81B3-E26B49D4C92F}"/>
                </a:ext>
              </a:extLst>
            </p:cNvPr>
            <p:cNvSpPr>
              <a:spLocks noChangeShapeType="1"/>
            </p:cNvSpPr>
            <p:nvPr/>
          </p:nvSpPr>
          <p:spPr bwMode="auto">
            <a:xfrm flipV="1">
              <a:off x="5428" y="3053"/>
              <a:ext cx="0" cy="324"/>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5" name="Line 44">
              <a:extLst>
                <a:ext uri="{FF2B5EF4-FFF2-40B4-BE49-F238E27FC236}">
                  <a16:creationId xmlns:a16="http://schemas.microsoft.com/office/drawing/2014/main" id="{9498B8B6-875D-487B-AACB-E7929941B065}"/>
                </a:ext>
              </a:extLst>
            </p:cNvPr>
            <p:cNvSpPr>
              <a:spLocks noChangeShapeType="1"/>
            </p:cNvSpPr>
            <p:nvPr/>
          </p:nvSpPr>
          <p:spPr bwMode="auto">
            <a:xfrm>
              <a:off x="5430" y="2917"/>
              <a:ext cx="0" cy="54"/>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45">
              <a:extLst>
                <a:ext uri="{FF2B5EF4-FFF2-40B4-BE49-F238E27FC236}">
                  <a16:creationId xmlns:a16="http://schemas.microsoft.com/office/drawing/2014/main" id="{E2A1B427-83DB-40D2-B9EB-DA40AE46A806}"/>
                </a:ext>
              </a:extLst>
            </p:cNvPr>
            <p:cNvSpPr>
              <a:spLocks/>
            </p:cNvSpPr>
            <p:nvPr/>
          </p:nvSpPr>
          <p:spPr bwMode="auto">
            <a:xfrm>
              <a:off x="5290" y="2971"/>
              <a:ext cx="241" cy="82"/>
            </a:xfrm>
            <a:custGeom>
              <a:avLst/>
              <a:gdLst>
                <a:gd name="T0" fmla="*/ 124 w 124"/>
                <a:gd name="T1" fmla="*/ 0 h 42"/>
                <a:gd name="T2" fmla="*/ 124 w 124"/>
                <a:gd name="T3" fmla="*/ 42 h 42"/>
                <a:gd name="T4" fmla="*/ 25 w 124"/>
                <a:gd name="T5" fmla="*/ 42 h 42"/>
                <a:gd name="T6" fmla="*/ 0 w 124"/>
                <a:gd name="T7" fmla="*/ 23 h 42"/>
                <a:gd name="T8" fmla="*/ 24 w 124"/>
                <a:gd name="T9" fmla="*/ 0 h 42"/>
                <a:gd name="T10" fmla="*/ 124 w 124"/>
                <a:gd name="T11" fmla="*/ 0 h 42"/>
              </a:gdLst>
              <a:ahLst/>
              <a:cxnLst>
                <a:cxn ang="0">
                  <a:pos x="T0" y="T1"/>
                </a:cxn>
                <a:cxn ang="0">
                  <a:pos x="T2" y="T3"/>
                </a:cxn>
                <a:cxn ang="0">
                  <a:pos x="T4" y="T5"/>
                </a:cxn>
                <a:cxn ang="0">
                  <a:pos x="T6" y="T7"/>
                </a:cxn>
                <a:cxn ang="0">
                  <a:pos x="T8" y="T9"/>
                </a:cxn>
                <a:cxn ang="0">
                  <a:pos x="T10" y="T11"/>
                </a:cxn>
              </a:cxnLst>
              <a:rect l="0" t="0" r="r" b="b"/>
              <a:pathLst>
                <a:path w="124" h="42">
                  <a:moveTo>
                    <a:pt x="124" y="0"/>
                  </a:moveTo>
                  <a:cubicBezTo>
                    <a:pt x="124" y="42"/>
                    <a:pt x="124" y="42"/>
                    <a:pt x="124" y="42"/>
                  </a:cubicBezTo>
                  <a:cubicBezTo>
                    <a:pt x="25" y="42"/>
                    <a:pt x="25" y="42"/>
                    <a:pt x="25" y="42"/>
                  </a:cubicBezTo>
                  <a:cubicBezTo>
                    <a:pt x="0" y="23"/>
                    <a:pt x="0" y="23"/>
                    <a:pt x="0" y="23"/>
                  </a:cubicBezTo>
                  <a:cubicBezTo>
                    <a:pt x="24" y="0"/>
                    <a:pt x="24" y="0"/>
                    <a:pt x="24" y="0"/>
                  </a:cubicBezTo>
                  <a:cubicBezTo>
                    <a:pt x="24" y="0"/>
                    <a:pt x="124" y="0"/>
                    <a:pt x="124" y="0"/>
                  </a:cubicBezTo>
                  <a:close/>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7" name="Line 46">
              <a:extLst>
                <a:ext uri="{FF2B5EF4-FFF2-40B4-BE49-F238E27FC236}">
                  <a16:creationId xmlns:a16="http://schemas.microsoft.com/office/drawing/2014/main" id="{E2D194FC-7CE4-44DE-B691-B104931849D0}"/>
                </a:ext>
              </a:extLst>
            </p:cNvPr>
            <p:cNvSpPr>
              <a:spLocks noChangeShapeType="1"/>
            </p:cNvSpPr>
            <p:nvPr/>
          </p:nvSpPr>
          <p:spPr bwMode="auto">
            <a:xfrm>
              <a:off x="5409" y="3377"/>
              <a:ext cx="38"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8" name="Freeform 47">
              <a:extLst>
                <a:ext uri="{FF2B5EF4-FFF2-40B4-BE49-F238E27FC236}">
                  <a16:creationId xmlns:a16="http://schemas.microsoft.com/office/drawing/2014/main" id="{21BA313A-F2F5-4D33-9B4D-97135B5DF2BE}"/>
                </a:ext>
              </a:extLst>
            </p:cNvPr>
            <p:cNvSpPr>
              <a:spLocks noEditPoints="1"/>
            </p:cNvSpPr>
            <p:nvPr/>
          </p:nvSpPr>
          <p:spPr bwMode="auto">
            <a:xfrm>
              <a:off x="4001" y="1591"/>
              <a:ext cx="307" cy="220"/>
            </a:xfrm>
            <a:custGeom>
              <a:avLst/>
              <a:gdLst>
                <a:gd name="T0" fmla="*/ 87 w 158"/>
                <a:gd name="T1" fmla="*/ 113 h 113"/>
                <a:gd name="T2" fmla="*/ 30 w 158"/>
                <a:gd name="T3" fmla="*/ 113 h 113"/>
                <a:gd name="T4" fmla="*/ 0 w 158"/>
                <a:gd name="T5" fmla="*/ 83 h 113"/>
                <a:gd name="T6" fmla="*/ 30 w 158"/>
                <a:gd name="T7" fmla="*/ 53 h 113"/>
                <a:gd name="T8" fmla="*/ 92 w 158"/>
                <a:gd name="T9" fmla="*/ 0 h 113"/>
                <a:gd name="T10" fmla="*/ 92 w 158"/>
                <a:gd name="T11" fmla="*/ 0 h 113"/>
                <a:gd name="T12" fmla="*/ 157 w 158"/>
                <a:gd name="T13" fmla="*/ 75 h 113"/>
                <a:gd name="T14" fmla="*/ 158 w 158"/>
                <a:gd name="T15" fmla="*/ 75 h 113"/>
                <a:gd name="T16" fmla="*/ 120 w 158"/>
                <a:gd name="T17" fmla="*/ 113 h 113"/>
                <a:gd name="T18" fmla="*/ 120 w 158"/>
                <a:gd name="T19"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113">
                  <a:moveTo>
                    <a:pt x="87" y="113"/>
                  </a:moveTo>
                  <a:cubicBezTo>
                    <a:pt x="30" y="113"/>
                    <a:pt x="30" y="113"/>
                    <a:pt x="30" y="113"/>
                  </a:cubicBezTo>
                  <a:cubicBezTo>
                    <a:pt x="14" y="113"/>
                    <a:pt x="0" y="99"/>
                    <a:pt x="0" y="83"/>
                  </a:cubicBezTo>
                  <a:cubicBezTo>
                    <a:pt x="0" y="67"/>
                    <a:pt x="13" y="53"/>
                    <a:pt x="30" y="53"/>
                  </a:cubicBezTo>
                  <a:cubicBezTo>
                    <a:pt x="38" y="23"/>
                    <a:pt x="63" y="0"/>
                    <a:pt x="92" y="0"/>
                  </a:cubicBezTo>
                  <a:moveTo>
                    <a:pt x="92" y="0"/>
                  </a:moveTo>
                  <a:cubicBezTo>
                    <a:pt x="128" y="0"/>
                    <a:pt x="157" y="34"/>
                    <a:pt x="157" y="75"/>
                  </a:cubicBezTo>
                  <a:cubicBezTo>
                    <a:pt x="157" y="75"/>
                    <a:pt x="158" y="75"/>
                    <a:pt x="158" y="75"/>
                  </a:cubicBezTo>
                  <a:cubicBezTo>
                    <a:pt x="158" y="96"/>
                    <a:pt x="141" y="113"/>
                    <a:pt x="120" y="113"/>
                  </a:cubicBezTo>
                  <a:cubicBezTo>
                    <a:pt x="120" y="113"/>
                    <a:pt x="120" y="113"/>
                    <a:pt x="120" y="113"/>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9" name="Freeform 48">
              <a:extLst>
                <a:ext uri="{FF2B5EF4-FFF2-40B4-BE49-F238E27FC236}">
                  <a16:creationId xmlns:a16="http://schemas.microsoft.com/office/drawing/2014/main" id="{E4D564B5-A8E7-43EE-894C-E5143AC32A95}"/>
                </a:ext>
              </a:extLst>
            </p:cNvPr>
            <p:cNvSpPr>
              <a:spLocks/>
            </p:cNvSpPr>
            <p:nvPr/>
          </p:nvSpPr>
          <p:spPr bwMode="auto">
            <a:xfrm>
              <a:off x="4063" y="1706"/>
              <a:ext cx="41" cy="37"/>
            </a:xfrm>
            <a:custGeom>
              <a:avLst/>
              <a:gdLst>
                <a:gd name="T0" fmla="*/ 17 w 21"/>
                <a:gd name="T1" fmla="*/ 0 h 19"/>
                <a:gd name="T2" fmla="*/ 20 w 21"/>
                <a:gd name="T3" fmla="*/ 5 h 19"/>
                <a:gd name="T4" fmla="*/ 12 w 21"/>
                <a:gd name="T5" fmla="*/ 18 h 19"/>
                <a:gd name="T6" fmla="*/ 0 w 21"/>
                <a:gd name="T7" fmla="*/ 12 h 19"/>
              </a:gdLst>
              <a:ahLst/>
              <a:cxnLst>
                <a:cxn ang="0">
                  <a:pos x="T0" y="T1"/>
                </a:cxn>
                <a:cxn ang="0">
                  <a:pos x="T2" y="T3"/>
                </a:cxn>
                <a:cxn ang="0">
                  <a:pos x="T4" y="T5"/>
                </a:cxn>
                <a:cxn ang="0">
                  <a:pos x="T6" y="T7"/>
                </a:cxn>
              </a:cxnLst>
              <a:rect l="0" t="0" r="r" b="b"/>
              <a:pathLst>
                <a:path w="21" h="19">
                  <a:moveTo>
                    <a:pt x="17" y="0"/>
                  </a:moveTo>
                  <a:cubicBezTo>
                    <a:pt x="18" y="1"/>
                    <a:pt x="19" y="3"/>
                    <a:pt x="20" y="5"/>
                  </a:cubicBezTo>
                  <a:cubicBezTo>
                    <a:pt x="21" y="11"/>
                    <a:pt x="17" y="16"/>
                    <a:pt x="12" y="18"/>
                  </a:cubicBezTo>
                  <a:cubicBezTo>
                    <a:pt x="7" y="19"/>
                    <a:pt x="2" y="16"/>
                    <a:pt x="0" y="1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0" name="Freeform 49">
              <a:extLst>
                <a:ext uri="{FF2B5EF4-FFF2-40B4-BE49-F238E27FC236}">
                  <a16:creationId xmlns:a16="http://schemas.microsoft.com/office/drawing/2014/main" id="{78EB3D07-BBB9-48DD-B550-4A6769D8F491}"/>
                </a:ext>
              </a:extLst>
            </p:cNvPr>
            <p:cNvSpPr>
              <a:spLocks/>
            </p:cNvSpPr>
            <p:nvPr/>
          </p:nvSpPr>
          <p:spPr bwMode="auto">
            <a:xfrm>
              <a:off x="4057" y="1692"/>
              <a:ext cx="37" cy="12"/>
            </a:xfrm>
            <a:custGeom>
              <a:avLst/>
              <a:gdLst>
                <a:gd name="T0" fmla="*/ 0 w 19"/>
                <a:gd name="T1" fmla="*/ 0 h 6"/>
                <a:gd name="T2" fmla="*/ 19 w 19"/>
                <a:gd name="T3" fmla="*/ 6 h 6"/>
              </a:gdLst>
              <a:ahLst/>
              <a:cxnLst>
                <a:cxn ang="0">
                  <a:pos x="T0" y="T1"/>
                </a:cxn>
                <a:cxn ang="0">
                  <a:pos x="T2" y="T3"/>
                </a:cxn>
              </a:cxnLst>
              <a:rect l="0" t="0" r="r" b="b"/>
              <a:pathLst>
                <a:path w="19" h="6">
                  <a:moveTo>
                    <a:pt x="0" y="0"/>
                  </a:moveTo>
                  <a:cubicBezTo>
                    <a:pt x="0" y="0"/>
                    <a:pt x="12" y="0"/>
                    <a:pt x="19" y="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1" name="Freeform 50">
              <a:extLst>
                <a:ext uri="{FF2B5EF4-FFF2-40B4-BE49-F238E27FC236}">
                  <a16:creationId xmlns:a16="http://schemas.microsoft.com/office/drawing/2014/main" id="{B38CE568-0BF2-42B6-B857-F0C896A4B44D}"/>
                </a:ext>
              </a:extLst>
            </p:cNvPr>
            <p:cNvSpPr>
              <a:spLocks/>
            </p:cNvSpPr>
            <p:nvPr/>
          </p:nvSpPr>
          <p:spPr bwMode="auto">
            <a:xfrm>
              <a:off x="4052" y="1686"/>
              <a:ext cx="9" cy="41"/>
            </a:xfrm>
            <a:custGeom>
              <a:avLst/>
              <a:gdLst>
                <a:gd name="T0" fmla="*/ 5 w 5"/>
                <a:gd name="T1" fmla="*/ 0 h 21"/>
                <a:gd name="T2" fmla="*/ 5 w 5"/>
                <a:gd name="T3" fmla="*/ 21 h 21"/>
              </a:gdLst>
              <a:ahLst/>
              <a:cxnLst>
                <a:cxn ang="0">
                  <a:pos x="T0" y="T1"/>
                </a:cxn>
                <a:cxn ang="0">
                  <a:pos x="T2" y="T3"/>
                </a:cxn>
              </a:cxnLst>
              <a:rect l="0" t="0" r="r" b="b"/>
              <a:pathLst>
                <a:path w="5" h="21">
                  <a:moveTo>
                    <a:pt x="5" y="0"/>
                  </a:moveTo>
                  <a:cubicBezTo>
                    <a:pt x="5" y="0"/>
                    <a:pt x="0" y="12"/>
                    <a:pt x="5" y="2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51">
              <a:extLst>
                <a:ext uri="{FF2B5EF4-FFF2-40B4-BE49-F238E27FC236}">
                  <a16:creationId xmlns:a16="http://schemas.microsoft.com/office/drawing/2014/main" id="{DFDDE7B9-098D-47CF-8F63-DE5DC2A39498}"/>
                </a:ext>
              </a:extLst>
            </p:cNvPr>
            <p:cNvSpPr>
              <a:spLocks/>
            </p:cNvSpPr>
            <p:nvPr/>
          </p:nvSpPr>
          <p:spPr bwMode="auto">
            <a:xfrm>
              <a:off x="4866" y="1739"/>
              <a:ext cx="70" cy="23"/>
            </a:xfrm>
            <a:custGeom>
              <a:avLst/>
              <a:gdLst>
                <a:gd name="T0" fmla="*/ 36 w 36"/>
                <a:gd name="T1" fmla="*/ 12 h 12"/>
                <a:gd name="T2" fmla="*/ 0 w 36"/>
                <a:gd name="T3" fmla="*/ 12 h 12"/>
                <a:gd name="T4" fmla="*/ 0 w 36"/>
                <a:gd name="T5" fmla="*/ 0 h 12"/>
                <a:gd name="T6" fmla="*/ 36 w 36"/>
                <a:gd name="T7" fmla="*/ 0 h 12"/>
                <a:gd name="T8" fmla="*/ 34 w 36"/>
                <a:gd name="T9" fmla="*/ 5 h 12"/>
              </a:gdLst>
              <a:ahLst/>
              <a:cxnLst>
                <a:cxn ang="0">
                  <a:pos x="T0" y="T1"/>
                </a:cxn>
                <a:cxn ang="0">
                  <a:pos x="T2" y="T3"/>
                </a:cxn>
                <a:cxn ang="0">
                  <a:pos x="T4" y="T5"/>
                </a:cxn>
                <a:cxn ang="0">
                  <a:pos x="T6" y="T7"/>
                </a:cxn>
                <a:cxn ang="0">
                  <a:pos x="T8" y="T9"/>
                </a:cxn>
              </a:cxnLst>
              <a:rect l="0" t="0" r="r" b="b"/>
              <a:pathLst>
                <a:path w="36" h="12">
                  <a:moveTo>
                    <a:pt x="36" y="12"/>
                  </a:moveTo>
                  <a:cubicBezTo>
                    <a:pt x="0" y="12"/>
                    <a:pt x="0" y="12"/>
                    <a:pt x="0" y="12"/>
                  </a:cubicBezTo>
                  <a:cubicBezTo>
                    <a:pt x="0" y="0"/>
                    <a:pt x="0" y="0"/>
                    <a:pt x="0" y="0"/>
                  </a:cubicBezTo>
                  <a:cubicBezTo>
                    <a:pt x="36" y="0"/>
                    <a:pt x="36" y="0"/>
                    <a:pt x="36" y="0"/>
                  </a:cubicBezTo>
                  <a:cubicBezTo>
                    <a:pt x="36" y="0"/>
                    <a:pt x="35" y="2"/>
                    <a:pt x="34" y="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3" name="Line 52">
              <a:extLst>
                <a:ext uri="{FF2B5EF4-FFF2-40B4-BE49-F238E27FC236}">
                  <a16:creationId xmlns:a16="http://schemas.microsoft.com/office/drawing/2014/main" id="{8E96A908-24CE-450E-A6E1-D067B3190482}"/>
                </a:ext>
              </a:extLst>
            </p:cNvPr>
            <p:cNvSpPr>
              <a:spLocks noChangeShapeType="1"/>
            </p:cNvSpPr>
            <p:nvPr/>
          </p:nvSpPr>
          <p:spPr bwMode="auto">
            <a:xfrm>
              <a:off x="4814" y="1750"/>
              <a:ext cx="52"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4" name="Freeform 53">
              <a:extLst>
                <a:ext uri="{FF2B5EF4-FFF2-40B4-BE49-F238E27FC236}">
                  <a16:creationId xmlns:a16="http://schemas.microsoft.com/office/drawing/2014/main" id="{044EA04C-22DF-41E2-9F6F-D1C88673DDFF}"/>
                </a:ext>
              </a:extLst>
            </p:cNvPr>
            <p:cNvSpPr>
              <a:spLocks/>
            </p:cNvSpPr>
            <p:nvPr/>
          </p:nvSpPr>
          <p:spPr bwMode="auto">
            <a:xfrm>
              <a:off x="4732" y="1886"/>
              <a:ext cx="16" cy="280"/>
            </a:xfrm>
            <a:custGeom>
              <a:avLst/>
              <a:gdLst>
                <a:gd name="T0" fmla="*/ 16 w 16"/>
                <a:gd name="T1" fmla="*/ 280 h 280"/>
                <a:gd name="T2" fmla="*/ 0 w 16"/>
                <a:gd name="T3" fmla="*/ 49 h 280"/>
                <a:gd name="T4" fmla="*/ 2 w 16"/>
                <a:gd name="T5" fmla="*/ 0 h 280"/>
              </a:gdLst>
              <a:ahLst/>
              <a:cxnLst>
                <a:cxn ang="0">
                  <a:pos x="T0" y="T1"/>
                </a:cxn>
                <a:cxn ang="0">
                  <a:pos x="T2" y="T3"/>
                </a:cxn>
                <a:cxn ang="0">
                  <a:pos x="T4" y="T5"/>
                </a:cxn>
              </a:cxnLst>
              <a:rect l="0" t="0" r="r" b="b"/>
              <a:pathLst>
                <a:path w="16" h="280">
                  <a:moveTo>
                    <a:pt x="16" y="280"/>
                  </a:moveTo>
                  <a:lnTo>
                    <a:pt x="0" y="49"/>
                  </a:lnTo>
                  <a:lnTo>
                    <a:pt x="2"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5" name="Freeform 54">
              <a:extLst>
                <a:ext uri="{FF2B5EF4-FFF2-40B4-BE49-F238E27FC236}">
                  <a16:creationId xmlns:a16="http://schemas.microsoft.com/office/drawing/2014/main" id="{6D33C014-97E3-4EB3-8974-EF3CFA208F1D}"/>
                </a:ext>
              </a:extLst>
            </p:cNvPr>
            <p:cNvSpPr>
              <a:spLocks/>
            </p:cNvSpPr>
            <p:nvPr/>
          </p:nvSpPr>
          <p:spPr bwMode="auto">
            <a:xfrm>
              <a:off x="4812" y="1875"/>
              <a:ext cx="15" cy="291"/>
            </a:xfrm>
            <a:custGeom>
              <a:avLst/>
              <a:gdLst>
                <a:gd name="T0" fmla="*/ 13 w 15"/>
                <a:gd name="T1" fmla="*/ 0 h 291"/>
                <a:gd name="T2" fmla="*/ 15 w 15"/>
                <a:gd name="T3" fmla="*/ 60 h 291"/>
                <a:gd name="T4" fmla="*/ 0 w 15"/>
                <a:gd name="T5" fmla="*/ 291 h 291"/>
              </a:gdLst>
              <a:ahLst/>
              <a:cxnLst>
                <a:cxn ang="0">
                  <a:pos x="T0" y="T1"/>
                </a:cxn>
                <a:cxn ang="0">
                  <a:pos x="T2" y="T3"/>
                </a:cxn>
                <a:cxn ang="0">
                  <a:pos x="T4" y="T5"/>
                </a:cxn>
              </a:cxnLst>
              <a:rect l="0" t="0" r="r" b="b"/>
              <a:pathLst>
                <a:path w="15" h="291">
                  <a:moveTo>
                    <a:pt x="13" y="0"/>
                  </a:moveTo>
                  <a:lnTo>
                    <a:pt x="15" y="60"/>
                  </a:lnTo>
                  <a:lnTo>
                    <a:pt x="0" y="291"/>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6" name="Line 55">
              <a:extLst>
                <a:ext uri="{FF2B5EF4-FFF2-40B4-BE49-F238E27FC236}">
                  <a16:creationId xmlns:a16="http://schemas.microsoft.com/office/drawing/2014/main" id="{EDE3F37A-ED80-458F-A660-E3B9DCA5CE62}"/>
                </a:ext>
              </a:extLst>
            </p:cNvPr>
            <p:cNvSpPr>
              <a:spLocks noChangeShapeType="1"/>
            </p:cNvSpPr>
            <p:nvPr/>
          </p:nvSpPr>
          <p:spPr bwMode="auto">
            <a:xfrm>
              <a:off x="4781" y="1978"/>
              <a:ext cx="0" cy="18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7" name="Line 56">
              <a:extLst>
                <a:ext uri="{FF2B5EF4-FFF2-40B4-BE49-F238E27FC236}">
                  <a16:creationId xmlns:a16="http://schemas.microsoft.com/office/drawing/2014/main" id="{D10EC463-8045-491D-89B4-BD2515971B08}"/>
                </a:ext>
              </a:extLst>
            </p:cNvPr>
            <p:cNvSpPr>
              <a:spLocks noChangeShapeType="1"/>
            </p:cNvSpPr>
            <p:nvPr/>
          </p:nvSpPr>
          <p:spPr bwMode="auto">
            <a:xfrm>
              <a:off x="4808" y="1783"/>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8" name="Freeform 57">
              <a:extLst>
                <a:ext uri="{FF2B5EF4-FFF2-40B4-BE49-F238E27FC236}">
                  <a16:creationId xmlns:a16="http://schemas.microsoft.com/office/drawing/2014/main" id="{DEC2C8F2-57FA-41EE-84D9-85291A1C4D5B}"/>
                </a:ext>
              </a:extLst>
            </p:cNvPr>
            <p:cNvSpPr>
              <a:spLocks/>
            </p:cNvSpPr>
            <p:nvPr/>
          </p:nvSpPr>
          <p:spPr bwMode="auto">
            <a:xfrm>
              <a:off x="4719" y="1716"/>
              <a:ext cx="131" cy="174"/>
            </a:xfrm>
            <a:custGeom>
              <a:avLst/>
              <a:gdLst>
                <a:gd name="T0" fmla="*/ 46 w 68"/>
                <a:gd name="T1" fmla="*/ 34 h 90"/>
                <a:gd name="T2" fmla="*/ 49 w 68"/>
                <a:gd name="T3" fmla="*/ 23 h 90"/>
                <a:gd name="T4" fmla="*/ 32 w 68"/>
                <a:gd name="T5" fmla="*/ 0 h 90"/>
                <a:gd name="T6" fmla="*/ 15 w 68"/>
                <a:gd name="T7" fmla="*/ 23 h 90"/>
                <a:gd name="T8" fmla="*/ 32 w 68"/>
                <a:gd name="T9" fmla="*/ 46 h 90"/>
                <a:gd name="T10" fmla="*/ 2 w 68"/>
                <a:gd name="T11" fmla="*/ 65 h 90"/>
                <a:gd name="T12" fmla="*/ 66 w 68"/>
                <a:gd name="T13" fmla="*/ 29 h 90"/>
              </a:gdLst>
              <a:ahLst/>
              <a:cxnLst>
                <a:cxn ang="0">
                  <a:pos x="T0" y="T1"/>
                </a:cxn>
                <a:cxn ang="0">
                  <a:pos x="T2" y="T3"/>
                </a:cxn>
                <a:cxn ang="0">
                  <a:pos x="T4" y="T5"/>
                </a:cxn>
                <a:cxn ang="0">
                  <a:pos x="T6" y="T7"/>
                </a:cxn>
                <a:cxn ang="0">
                  <a:pos x="T8" y="T9"/>
                </a:cxn>
                <a:cxn ang="0">
                  <a:pos x="T10" y="T11"/>
                </a:cxn>
                <a:cxn ang="0">
                  <a:pos x="T12" y="T13"/>
                </a:cxn>
              </a:cxnLst>
              <a:rect l="0" t="0" r="r" b="b"/>
              <a:pathLst>
                <a:path w="68" h="90">
                  <a:moveTo>
                    <a:pt x="46" y="34"/>
                  </a:moveTo>
                  <a:cubicBezTo>
                    <a:pt x="48" y="31"/>
                    <a:pt x="49" y="27"/>
                    <a:pt x="49" y="23"/>
                  </a:cubicBezTo>
                  <a:cubicBezTo>
                    <a:pt x="50" y="11"/>
                    <a:pt x="44" y="0"/>
                    <a:pt x="32" y="0"/>
                  </a:cubicBezTo>
                  <a:cubicBezTo>
                    <a:pt x="19" y="0"/>
                    <a:pt x="14" y="11"/>
                    <a:pt x="15" y="23"/>
                  </a:cubicBezTo>
                  <a:cubicBezTo>
                    <a:pt x="16" y="37"/>
                    <a:pt x="25" y="46"/>
                    <a:pt x="32" y="46"/>
                  </a:cubicBezTo>
                  <a:cubicBezTo>
                    <a:pt x="32" y="46"/>
                    <a:pt x="3" y="48"/>
                    <a:pt x="2" y="65"/>
                  </a:cubicBezTo>
                  <a:cubicBezTo>
                    <a:pt x="0" y="85"/>
                    <a:pt x="68" y="90"/>
                    <a:pt x="66" y="2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9" name="Line 58">
              <a:extLst>
                <a:ext uri="{FF2B5EF4-FFF2-40B4-BE49-F238E27FC236}">
                  <a16:creationId xmlns:a16="http://schemas.microsoft.com/office/drawing/2014/main" id="{9F2403C4-8B78-4665-B847-F5181D813B82}"/>
                </a:ext>
              </a:extLst>
            </p:cNvPr>
            <p:cNvSpPr>
              <a:spLocks noChangeShapeType="1"/>
            </p:cNvSpPr>
            <p:nvPr/>
          </p:nvSpPr>
          <p:spPr bwMode="auto">
            <a:xfrm>
              <a:off x="4643" y="2639"/>
              <a:ext cx="52" cy="3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0" name="Line 59">
              <a:extLst>
                <a:ext uri="{FF2B5EF4-FFF2-40B4-BE49-F238E27FC236}">
                  <a16:creationId xmlns:a16="http://schemas.microsoft.com/office/drawing/2014/main" id="{090AC722-05CA-4708-B22F-D347F7F05723}"/>
                </a:ext>
              </a:extLst>
            </p:cNvPr>
            <p:cNvSpPr>
              <a:spLocks noChangeShapeType="1"/>
            </p:cNvSpPr>
            <p:nvPr/>
          </p:nvSpPr>
          <p:spPr bwMode="auto">
            <a:xfrm>
              <a:off x="4734" y="2639"/>
              <a:ext cx="52" cy="3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1" name="Line 60">
              <a:extLst>
                <a:ext uri="{FF2B5EF4-FFF2-40B4-BE49-F238E27FC236}">
                  <a16:creationId xmlns:a16="http://schemas.microsoft.com/office/drawing/2014/main" id="{52D5660D-B384-498E-9446-8102FEB62696}"/>
                </a:ext>
              </a:extLst>
            </p:cNvPr>
            <p:cNvSpPr>
              <a:spLocks noChangeShapeType="1"/>
            </p:cNvSpPr>
            <p:nvPr/>
          </p:nvSpPr>
          <p:spPr bwMode="auto">
            <a:xfrm>
              <a:off x="4651" y="2688"/>
              <a:ext cx="9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2" name="Line 61">
              <a:extLst>
                <a:ext uri="{FF2B5EF4-FFF2-40B4-BE49-F238E27FC236}">
                  <a16:creationId xmlns:a16="http://schemas.microsoft.com/office/drawing/2014/main" id="{720AC18C-DBB8-48D7-A5C0-3AB5663C7080}"/>
                </a:ext>
              </a:extLst>
            </p:cNvPr>
            <p:cNvSpPr>
              <a:spLocks noChangeShapeType="1"/>
            </p:cNvSpPr>
            <p:nvPr/>
          </p:nvSpPr>
          <p:spPr bwMode="auto">
            <a:xfrm>
              <a:off x="4658" y="2746"/>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3" name="Line 62">
              <a:extLst>
                <a:ext uri="{FF2B5EF4-FFF2-40B4-BE49-F238E27FC236}">
                  <a16:creationId xmlns:a16="http://schemas.microsoft.com/office/drawing/2014/main" id="{76A2365B-73B6-484E-A875-2B9E34AB22E6}"/>
                </a:ext>
              </a:extLst>
            </p:cNvPr>
            <p:cNvSpPr>
              <a:spLocks noChangeShapeType="1"/>
            </p:cNvSpPr>
            <p:nvPr/>
          </p:nvSpPr>
          <p:spPr bwMode="auto">
            <a:xfrm>
              <a:off x="4668" y="2806"/>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4" name="Line 63">
              <a:extLst>
                <a:ext uri="{FF2B5EF4-FFF2-40B4-BE49-F238E27FC236}">
                  <a16:creationId xmlns:a16="http://schemas.microsoft.com/office/drawing/2014/main" id="{AEF96E69-E294-4EFA-A2CD-3D63AE7A620F}"/>
                </a:ext>
              </a:extLst>
            </p:cNvPr>
            <p:cNvSpPr>
              <a:spLocks noChangeShapeType="1"/>
            </p:cNvSpPr>
            <p:nvPr/>
          </p:nvSpPr>
          <p:spPr bwMode="auto">
            <a:xfrm>
              <a:off x="4678" y="2865"/>
              <a:ext cx="9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5" name="Line 64">
              <a:extLst>
                <a:ext uri="{FF2B5EF4-FFF2-40B4-BE49-F238E27FC236}">
                  <a16:creationId xmlns:a16="http://schemas.microsoft.com/office/drawing/2014/main" id="{4526460A-4512-495C-9508-3109123E2DCB}"/>
                </a:ext>
              </a:extLst>
            </p:cNvPr>
            <p:cNvSpPr>
              <a:spLocks noChangeShapeType="1"/>
            </p:cNvSpPr>
            <p:nvPr/>
          </p:nvSpPr>
          <p:spPr bwMode="auto">
            <a:xfrm>
              <a:off x="4687" y="2923"/>
              <a:ext cx="92"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6" name="Line 65">
              <a:extLst>
                <a:ext uri="{FF2B5EF4-FFF2-40B4-BE49-F238E27FC236}">
                  <a16:creationId xmlns:a16="http://schemas.microsoft.com/office/drawing/2014/main" id="{B2D48AF4-5520-4EC7-B53E-73C242922F14}"/>
                </a:ext>
              </a:extLst>
            </p:cNvPr>
            <p:cNvSpPr>
              <a:spLocks noChangeShapeType="1"/>
            </p:cNvSpPr>
            <p:nvPr/>
          </p:nvSpPr>
          <p:spPr bwMode="auto">
            <a:xfrm>
              <a:off x="4412" y="3065"/>
              <a:ext cx="53" cy="3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7" name="Line 66">
              <a:extLst>
                <a:ext uri="{FF2B5EF4-FFF2-40B4-BE49-F238E27FC236}">
                  <a16:creationId xmlns:a16="http://schemas.microsoft.com/office/drawing/2014/main" id="{599EA53B-734F-4488-AB72-1CF31F317C42}"/>
                </a:ext>
              </a:extLst>
            </p:cNvPr>
            <p:cNvSpPr>
              <a:spLocks noChangeShapeType="1"/>
            </p:cNvSpPr>
            <p:nvPr/>
          </p:nvSpPr>
          <p:spPr bwMode="auto">
            <a:xfrm>
              <a:off x="4503" y="3065"/>
              <a:ext cx="53" cy="337"/>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8" name="Line 67">
              <a:extLst>
                <a:ext uri="{FF2B5EF4-FFF2-40B4-BE49-F238E27FC236}">
                  <a16:creationId xmlns:a16="http://schemas.microsoft.com/office/drawing/2014/main" id="{D374A3D4-05C2-4891-A519-59DBF4BAA2DB}"/>
                </a:ext>
              </a:extLst>
            </p:cNvPr>
            <p:cNvSpPr>
              <a:spLocks noChangeShapeType="1"/>
            </p:cNvSpPr>
            <p:nvPr/>
          </p:nvSpPr>
          <p:spPr bwMode="auto">
            <a:xfrm>
              <a:off x="4420" y="3113"/>
              <a:ext cx="9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9" name="Line 68">
              <a:extLst>
                <a:ext uri="{FF2B5EF4-FFF2-40B4-BE49-F238E27FC236}">
                  <a16:creationId xmlns:a16="http://schemas.microsoft.com/office/drawing/2014/main" id="{EAC6BC78-FA3A-4AAA-B3E5-C0A8754CB662}"/>
                </a:ext>
              </a:extLst>
            </p:cNvPr>
            <p:cNvSpPr>
              <a:spLocks noChangeShapeType="1"/>
            </p:cNvSpPr>
            <p:nvPr/>
          </p:nvSpPr>
          <p:spPr bwMode="auto">
            <a:xfrm>
              <a:off x="4428" y="3171"/>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0" name="Line 69">
              <a:extLst>
                <a:ext uri="{FF2B5EF4-FFF2-40B4-BE49-F238E27FC236}">
                  <a16:creationId xmlns:a16="http://schemas.microsoft.com/office/drawing/2014/main" id="{50C688A5-D63C-4124-8228-28C99E23F71B}"/>
                </a:ext>
              </a:extLst>
            </p:cNvPr>
            <p:cNvSpPr>
              <a:spLocks noChangeShapeType="1"/>
            </p:cNvSpPr>
            <p:nvPr/>
          </p:nvSpPr>
          <p:spPr bwMode="auto">
            <a:xfrm>
              <a:off x="4437" y="3231"/>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1" name="Line 70">
              <a:extLst>
                <a:ext uri="{FF2B5EF4-FFF2-40B4-BE49-F238E27FC236}">
                  <a16:creationId xmlns:a16="http://schemas.microsoft.com/office/drawing/2014/main" id="{DC9EEF0D-AAB4-4E5F-84B1-FAFDE10BAF0B}"/>
                </a:ext>
              </a:extLst>
            </p:cNvPr>
            <p:cNvSpPr>
              <a:spLocks noChangeShapeType="1"/>
            </p:cNvSpPr>
            <p:nvPr/>
          </p:nvSpPr>
          <p:spPr bwMode="auto">
            <a:xfrm>
              <a:off x="4447" y="3290"/>
              <a:ext cx="9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2" name="Line 71">
              <a:extLst>
                <a:ext uri="{FF2B5EF4-FFF2-40B4-BE49-F238E27FC236}">
                  <a16:creationId xmlns:a16="http://schemas.microsoft.com/office/drawing/2014/main" id="{BB89F073-82A9-400E-8DBF-716C580616D9}"/>
                </a:ext>
              </a:extLst>
            </p:cNvPr>
            <p:cNvSpPr>
              <a:spLocks noChangeShapeType="1"/>
            </p:cNvSpPr>
            <p:nvPr/>
          </p:nvSpPr>
          <p:spPr bwMode="auto">
            <a:xfrm>
              <a:off x="4455" y="3348"/>
              <a:ext cx="9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426744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a:extLst>
              <a:ext uri="{FF2B5EF4-FFF2-40B4-BE49-F238E27FC236}">
                <a16:creationId xmlns:a16="http://schemas.microsoft.com/office/drawing/2014/main" id="{0AE5DF48-023C-458D-91BB-B06EDC803660}"/>
              </a:ext>
            </a:extLst>
          </p:cNvPr>
          <p:cNvSpPr/>
          <p:nvPr/>
        </p:nvSpPr>
        <p:spPr>
          <a:xfrm>
            <a:off x="1" y="1627303"/>
            <a:ext cx="8510016" cy="877771"/>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algn="ctr"/>
            <a:endParaRPr lang="en-GB" sz="1600" b="1" dirty="0">
              <a:solidFill>
                <a:schemeClr val="bg1"/>
              </a:solidFill>
            </a:endParaRPr>
          </a:p>
        </p:txBody>
      </p:sp>
      <p:sp>
        <p:nvSpPr>
          <p:cNvPr id="48" name="Rectangle 47">
            <a:extLst>
              <a:ext uri="{FF2B5EF4-FFF2-40B4-BE49-F238E27FC236}">
                <a16:creationId xmlns:a16="http://schemas.microsoft.com/office/drawing/2014/main" id="{DA9169D7-2918-4C07-BC96-057C36062E2B}"/>
              </a:ext>
            </a:extLst>
          </p:cNvPr>
          <p:cNvSpPr/>
          <p:nvPr/>
        </p:nvSpPr>
        <p:spPr>
          <a:xfrm>
            <a:off x="1" y="1627303"/>
            <a:ext cx="878400" cy="877771"/>
          </a:xfrm>
          <a:prstGeom prst="rect">
            <a:avLst/>
          </a:prstGeom>
          <a:solidFill>
            <a:srgbClr val="B3C0BF"/>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algn="ctr"/>
            <a:endParaRPr lang="en-GB" sz="1600" b="1" dirty="0">
              <a:solidFill>
                <a:schemeClr val="bg1"/>
              </a:solidFill>
            </a:endParaRPr>
          </a:p>
        </p:txBody>
      </p:sp>
      <p:sp>
        <p:nvSpPr>
          <p:cNvPr id="2" name="Title 1">
            <a:extLst>
              <a:ext uri="{FF2B5EF4-FFF2-40B4-BE49-F238E27FC236}">
                <a16:creationId xmlns:a16="http://schemas.microsoft.com/office/drawing/2014/main" id="{F5BE630D-31B3-4955-9C35-61FE2F79B7D2}"/>
              </a:ext>
            </a:extLst>
          </p:cNvPr>
          <p:cNvSpPr>
            <a:spLocks noGrp="1"/>
          </p:cNvSpPr>
          <p:nvPr>
            <p:ph type="title"/>
          </p:nvPr>
        </p:nvSpPr>
        <p:spPr/>
        <p:txBody>
          <a:bodyPr/>
          <a:lstStyle/>
          <a:p>
            <a:r>
              <a:rPr lang="en-GB" dirty="0"/>
              <a:t>Why focus on strengths?</a:t>
            </a:r>
          </a:p>
        </p:txBody>
      </p:sp>
      <p:sp>
        <p:nvSpPr>
          <p:cNvPr id="32" name="Text Placeholder 31">
            <a:extLst>
              <a:ext uri="{FF2B5EF4-FFF2-40B4-BE49-F238E27FC236}">
                <a16:creationId xmlns:a16="http://schemas.microsoft.com/office/drawing/2014/main" id="{BB2F3D93-4837-45B9-ADA6-E65E68732593}"/>
              </a:ext>
            </a:extLst>
          </p:cNvPr>
          <p:cNvSpPr>
            <a:spLocks noGrp="1"/>
          </p:cNvSpPr>
          <p:nvPr>
            <p:ph type="body" sz="quarter" idx="13"/>
          </p:nvPr>
        </p:nvSpPr>
        <p:spPr/>
        <p:txBody>
          <a:bodyPr/>
          <a:lstStyle/>
          <a:p>
            <a:endParaRPr lang="en-GB" dirty="0"/>
          </a:p>
        </p:txBody>
      </p:sp>
      <p:sp>
        <p:nvSpPr>
          <p:cNvPr id="3" name="Footer Placeholder 2">
            <a:extLst>
              <a:ext uri="{FF2B5EF4-FFF2-40B4-BE49-F238E27FC236}">
                <a16:creationId xmlns:a16="http://schemas.microsoft.com/office/drawing/2014/main" id="{F254B426-EBD2-4F65-9486-418F43D50D90}"/>
              </a:ext>
            </a:extLst>
          </p:cNvPr>
          <p:cNvSpPr>
            <a:spLocks noGrp="1"/>
          </p:cNvSpPr>
          <p:nvPr>
            <p:ph type="ftr" sz="quarter" idx="3"/>
          </p:nvPr>
        </p:nvSpPr>
        <p:spPr/>
        <p:txBody>
          <a:bodyPr/>
          <a:lstStyle/>
          <a:p>
            <a:endParaRPr lang="en-GB" dirty="0"/>
          </a:p>
        </p:txBody>
      </p:sp>
      <p:sp>
        <p:nvSpPr>
          <p:cNvPr id="33" name="Text Placeholder 32">
            <a:extLst>
              <a:ext uri="{FF2B5EF4-FFF2-40B4-BE49-F238E27FC236}">
                <a16:creationId xmlns:a16="http://schemas.microsoft.com/office/drawing/2014/main" id="{93110F88-9F8A-4E35-A6A4-30C864F8404F}"/>
              </a:ext>
            </a:extLst>
          </p:cNvPr>
          <p:cNvSpPr>
            <a:spLocks noGrp="1"/>
          </p:cNvSpPr>
          <p:nvPr>
            <p:ph type="body" sz="quarter" idx="14"/>
          </p:nvPr>
        </p:nvSpPr>
        <p:spPr/>
        <p:txBody>
          <a:bodyPr/>
          <a:lstStyle/>
          <a:p>
            <a:endParaRPr lang="en-GB" dirty="0"/>
          </a:p>
        </p:txBody>
      </p:sp>
      <p:sp>
        <p:nvSpPr>
          <p:cNvPr id="9" name="Content Placeholder 4">
            <a:extLst>
              <a:ext uri="{FF2B5EF4-FFF2-40B4-BE49-F238E27FC236}">
                <a16:creationId xmlns:a16="http://schemas.microsoft.com/office/drawing/2014/main" id="{6B920AC8-A919-4187-8E0B-736BD7F59A01}"/>
              </a:ext>
            </a:extLst>
          </p:cNvPr>
          <p:cNvSpPr txBox="1">
            <a:spLocks/>
          </p:cNvSpPr>
          <p:nvPr/>
        </p:nvSpPr>
        <p:spPr>
          <a:xfrm>
            <a:off x="219743" y="2735162"/>
            <a:ext cx="4936650" cy="1960537"/>
          </a:xfrm>
          <a:prstGeom prst="rect">
            <a:avLst/>
          </a:prstGeom>
        </p:spPr>
        <p:txBody>
          <a:bodyPr lIns="0" tIns="0" rIns="0" bIns="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r>
              <a:rPr lang="en-GB" sz="1200" b="1" dirty="0"/>
              <a:t>Gallup found that 90 % of the groups studied had performance increases at or above the following ranges:</a:t>
            </a:r>
          </a:p>
          <a:p>
            <a:pPr marL="180000" lvl="2" indent="-180000">
              <a:spcBef>
                <a:spcPts val="600"/>
              </a:spcBef>
            </a:pPr>
            <a:r>
              <a:rPr lang="en-GB" sz="1200" dirty="0"/>
              <a:t>10-19 % increase in sales</a:t>
            </a:r>
          </a:p>
          <a:p>
            <a:pPr marL="180000" lvl="2" indent="-180000"/>
            <a:r>
              <a:rPr lang="en-GB" sz="1200" dirty="0"/>
              <a:t>14-29 % increase in profit</a:t>
            </a:r>
          </a:p>
          <a:p>
            <a:pPr marL="180000" lvl="2" indent="-180000"/>
            <a:r>
              <a:rPr lang="en-GB" sz="1200" dirty="0"/>
              <a:t>3-7 % higher customer engagement</a:t>
            </a:r>
          </a:p>
          <a:p>
            <a:pPr marL="180000" lvl="2" indent="-180000"/>
            <a:r>
              <a:rPr lang="en-GB" sz="1200" dirty="0"/>
              <a:t>6-16 % lower turnover (in low-turnover organizations)</a:t>
            </a:r>
          </a:p>
          <a:p>
            <a:pPr marL="180000" lvl="2" indent="-180000"/>
            <a:r>
              <a:rPr lang="en-GB" sz="1200" dirty="0"/>
              <a:t>26-72 % lower turnover (in high-turnover organizations)</a:t>
            </a:r>
          </a:p>
          <a:p>
            <a:pPr marL="180000" lvl="2" indent="-180000"/>
            <a:r>
              <a:rPr lang="en-GB" sz="1200" dirty="0"/>
              <a:t>9-15 % increase in engaged employees</a:t>
            </a:r>
          </a:p>
        </p:txBody>
      </p:sp>
      <p:sp>
        <p:nvSpPr>
          <p:cNvPr id="11" name="Rectangle 10">
            <a:extLst>
              <a:ext uri="{FF2B5EF4-FFF2-40B4-BE49-F238E27FC236}">
                <a16:creationId xmlns:a16="http://schemas.microsoft.com/office/drawing/2014/main" id="{812BB9F0-D56F-45DD-8D1D-5C309DECA6B8}"/>
              </a:ext>
            </a:extLst>
          </p:cNvPr>
          <p:cNvSpPr/>
          <p:nvPr/>
        </p:nvSpPr>
        <p:spPr>
          <a:xfrm>
            <a:off x="209264" y="6041660"/>
            <a:ext cx="4936650" cy="313932"/>
          </a:xfrm>
          <a:prstGeom prst="rect">
            <a:avLst/>
          </a:prstGeom>
        </p:spPr>
        <p:txBody>
          <a:bodyPr wrap="square">
            <a:spAutoFit/>
          </a:bodyPr>
          <a:lstStyle/>
          <a:p>
            <a:pPr lvl="0" defTabSz="742950">
              <a:lnSpc>
                <a:spcPct val="90000"/>
              </a:lnSpc>
              <a:defRPr/>
            </a:pPr>
            <a:r>
              <a:rPr lang="en-GB" sz="800" i="1" dirty="0">
                <a:solidFill>
                  <a:srgbClr val="1F2023"/>
                </a:solidFill>
                <a:latin typeface="Arial" panose="020B0604020202020204" pitchFamily="34" charset="0"/>
                <a:cs typeface="Arial" panose="020B0604020202020204" pitchFamily="34" charset="0"/>
                <a:hlinkClick r:id="rId2"/>
              </a:rPr>
              <a:t>http://www.gallup.com/businessjournal/200123/strengths-based-cultures-attract-top-talent.aspx?utm_source=alert&amp;utm_medium=email&amp;utm_content=morelink&amp;utm_campaign=syndication</a:t>
            </a:r>
            <a:endParaRPr lang="en-GB" sz="800" i="1" dirty="0">
              <a:solidFill>
                <a:srgbClr val="1F2023"/>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id="{0875AACC-5427-40CD-948C-E5457152AB3E}"/>
              </a:ext>
            </a:extLst>
          </p:cNvPr>
          <p:cNvGrpSpPr/>
          <p:nvPr/>
        </p:nvGrpSpPr>
        <p:grpSpPr>
          <a:xfrm>
            <a:off x="273338" y="1881521"/>
            <a:ext cx="383315" cy="369334"/>
            <a:chOff x="5208588" y="1397001"/>
            <a:chExt cx="522288" cy="503238"/>
          </a:xfrm>
        </p:grpSpPr>
        <p:sp>
          <p:nvSpPr>
            <p:cNvPr id="18" name="Oval 104">
              <a:extLst>
                <a:ext uri="{FF2B5EF4-FFF2-40B4-BE49-F238E27FC236}">
                  <a16:creationId xmlns:a16="http://schemas.microsoft.com/office/drawing/2014/main" id="{C7869491-BD23-4E73-B2A0-CA3B98EC524E}"/>
                </a:ext>
              </a:extLst>
            </p:cNvPr>
            <p:cNvSpPr>
              <a:spLocks noChangeArrowheads="1"/>
            </p:cNvSpPr>
            <p:nvPr/>
          </p:nvSpPr>
          <p:spPr bwMode="auto">
            <a:xfrm>
              <a:off x="5284788" y="1585913"/>
              <a:ext cx="49213" cy="49213"/>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Oval 105">
              <a:extLst>
                <a:ext uri="{FF2B5EF4-FFF2-40B4-BE49-F238E27FC236}">
                  <a16:creationId xmlns:a16="http://schemas.microsoft.com/office/drawing/2014/main" id="{5FBB7981-07A7-480D-8E1C-7C4B20A47574}"/>
                </a:ext>
              </a:extLst>
            </p:cNvPr>
            <p:cNvSpPr>
              <a:spLocks noChangeArrowheads="1"/>
            </p:cNvSpPr>
            <p:nvPr/>
          </p:nvSpPr>
          <p:spPr bwMode="auto">
            <a:xfrm>
              <a:off x="5397500" y="1644651"/>
              <a:ext cx="49213" cy="49213"/>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Oval 106">
              <a:extLst>
                <a:ext uri="{FF2B5EF4-FFF2-40B4-BE49-F238E27FC236}">
                  <a16:creationId xmlns:a16="http://schemas.microsoft.com/office/drawing/2014/main" id="{C51A70E1-F449-490F-9933-AE08CB7E5D62}"/>
                </a:ext>
              </a:extLst>
            </p:cNvPr>
            <p:cNvSpPr>
              <a:spLocks noChangeArrowheads="1"/>
            </p:cNvSpPr>
            <p:nvPr/>
          </p:nvSpPr>
          <p:spPr bwMode="auto">
            <a:xfrm>
              <a:off x="5492750" y="1544638"/>
              <a:ext cx="53975" cy="53975"/>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Line 107">
              <a:extLst>
                <a:ext uri="{FF2B5EF4-FFF2-40B4-BE49-F238E27FC236}">
                  <a16:creationId xmlns:a16="http://schemas.microsoft.com/office/drawing/2014/main" id="{A3CF6360-B72F-4107-9692-043BDF877681}"/>
                </a:ext>
              </a:extLst>
            </p:cNvPr>
            <p:cNvSpPr>
              <a:spLocks noChangeShapeType="1"/>
            </p:cNvSpPr>
            <p:nvPr/>
          </p:nvSpPr>
          <p:spPr bwMode="auto">
            <a:xfrm>
              <a:off x="5334000" y="1620838"/>
              <a:ext cx="58738" cy="36513"/>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Line 108">
              <a:extLst>
                <a:ext uri="{FF2B5EF4-FFF2-40B4-BE49-F238E27FC236}">
                  <a16:creationId xmlns:a16="http://schemas.microsoft.com/office/drawing/2014/main" id="{FBDD65A3-D988-43E3-8620-D4E4B8E5A186}"/>
                </a:ext>
              </a:extLst>
            </p:cNvPr>
            <p:cNvSpPr>
              <a:spLocks noChangeShapeType="1"/>
            </p:cNvSpPr>
            <p:nvPr/>
          </p:nvSpPr>
          <p:spPr bwMode="auto">
            <a:xfrm flipV="1">
              <a:off x="5446713" y="1589088"/>
              <a:ext cx="53975" cy="587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09">
              <a:extLst>
                <a:ext uri="{FF2B5EF4-FFF2-40B4-BE49-F238E27FC236}">
                  <a16:creationId xmlns:a16="http://schemas.microsoft.com/office/drawing/2014/main" id="{BB5B4C90-B317-454D-94B8-57852BEB45C1}"/>
                </a:ext>
              </a:extLst>
            </p:cNvPr>
            <p:cNvSpPr>
              <a:spLocks/>
            </p:cNvSpPr>
            <p:nvPr/>
          </p:nvSpPr>
          <p:spPr bwMode="auto">
            <a:xfrm>
              <a:off x="5541963" y="1589088"/>
              <a:ext cx="61913" cy="36513"/>
            </a:xfrm>
            <a:custGeom>
              <a:avLst/>
              <a:gdLst>
                <a:gd name="T0" fmla="*/ 0 w 14"/>
                <a:gd name="T1" fmla="*/ 0 h 8"/>
                <a:gd name="T2" fmla="*/ 14 w 14"/>
                <a:gd name="T3" fmla="*/ 8 h 8"/>
              </a:gdLst>
              <a:ahLst/>
              <a:cxnLst>
                <a:cxn ang="0">
                  <a:pos x="T0" y="T1"/>
                </a:cxn>
                <a:cxn ang="0">
                  <a:pos x="T2" y="T3"/>
                </a:cxn>
              </a:cxnLst>
              <a:rect l="0" t="0" r="r" b="b"/>
              <a:pathLst>
                <a:path w="14" h="8">
                  <a:moveTo>
                    <a:pt x="0" y="0"/>
                  </a:moveTo>
                  <a:cubicBezTo>
                    <a:pt x="6" y="3"/>
                    <a:pt x="14" y="8"/>
                    <a:pt x="14" y="8"/>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10">
              <a:extLst>
                <a:ext uri="{FF2B5EF4-FFF2-40B4-BE49-F238E27FC236}">
                  <a16:creationId xmlns:a16="http://schemas.microsoft.com/office/drawing/2014/main" id="{7B4CA1EB-0E7C-4FD4-9A5F-53ACA9E59374}"/>
                </a:ext>
              </a:extLst>
            </p:cNvPr>
            <p:cNvSpPr>
              <a:spLocks/>
            </p:cNvSpPr>
            <p:nvPr/>
          </p:nvSpPr>
          <p:spPr bwMode="auto">
            <a:xfrm>
              <a:off x="5208588" y="1397001"/>
              <a:ext cx="522288" cy="503238"/>
            </a:xfrm>
            <a:custGeom>
              <a:avLst/>
              <a:gdLst>
                <a:gd name="T0" fmla="*/ 85 w 116"/>
                <a:gd name="T1" fmla="*/ 64 h 112"/>
                <a:gd name="T2" fmla="*/ 88 w 116"/>
                <a:gd name="T3" fmla="*/ 53 h 112"/>
                <a:gd name="T4" fmla="*/ 89 w 116"/>
                <a:gd name="T5" fmla="*/ 42 h 112"/>
                <a:gd name="T6" fmla="*/ 49 w 116"/>
                <a:gd name="T7" fmla="*/ 3 h 112"/>
                <a:gd name="T8" fmla="*/ 3 w 116"/>
                <a:gd name="T9" fmla="*/ 49 h 112"/>
                <a:gd name="T10" fmla="*/ 42 w 116"/>
                <a:gd name="T11" fmla="*/ 89 h 112"/>
                <a:gd name="T12" fmla="*/ 73 w 116"/>
                <a:gd name="T13" fmla="*/ 79 h 112"/>
                <a:gd name="T14" fmla="*/ 84 w 116"/>
                <a:gd name="T15" fmla="*/ 80 h 112"/>
                <a:gd name="T16" fmla="*/ 86 w 116"/>
                <a:gd name="T17" fmla="*/ 82 h 112"/>
                <a:gd name="T18" fmla="*/ 116 w 116"/>
                <a:gd name="T19" fmla="*/ 11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6" h="112">
                  <a:moveTo>
                    <a:pt x="85" y="64"/>
                  </a:moveTo>
                  <a:cubicBezTo>
                    <a:pt x="86" y="61"/>
                    <a:pt x="88" y="57"/>
                    <a:pt x="88" y="53"/>
                  </a:cubicBezTo>
                  <a:cubicBezTo>
                    <a:pt x="89" y="49"/>
                    <a:pt x="89" y="46"/>
                    <a:pt x="89" y="42"/>
                  </a:cubicBezTo>
                  <a:cubicBezTo>
                    <a:pt x="87" y="21"/>
                    <a:pt x="70" y="4"/>
                    <a:pt x="49" y="3"/>
                  </a:cubicBezTo>
                  <a:cubicBezTo>
                    <a:pt x="23" y="0"/>
                    <a:pt x="0" y="22"/>
                    <a:pt x="3" y="49"/>
                  </a:cubicBezTo>
                  <a:cubicBezTo>
                    <a:pt x="4" y="70"/>
                    <a:pt x="21" y="87"/>
                    <a:pt x="42" y="89"/>
                  </a:cubicBezTo>
                  <a:cubicBezTo>
                    <a:pt x="54" y="90"/>
                    <a:pt x="64" y="86"/>
                    <a:pt x="73" y="79"/>
                  </a:cubicBezTo>
                  <a:cubicBezTo>
                    <a:pt x="76" y="77"/>
                    <a:pt x="81" y="77"/>
                    <a:pt x="84" y="80"/>
                  </a:cubicBezTo>
                  <a:cubicBezTo>
                    <a:pt x="86" y="82"/>
                    <a:pt x="86" y="82"/>
                    <a:pt x="86" y="82"/>
                  </a:cubicBezTo>
                  <a:cubicBezTo>
                    <a:pt x="116" y="112"/>
                    <a:pt x="116" y="112"/>
                    <a:pt x="116" y="11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Line 111">
              <a:extLst>
                <a:ext uri="{FF2B5EF4-FFF2-40B4-BE49-F238E27FC236}">
                  <a16:creationId xmlns:a16="http://schemas.microsoft.com/office/drawing/2014/main" id="{0524F0C8-F6EE-44DC-9920-A850445F0DDF}"/>
                </a:ext>
              </a:extLst>
            </p:cNvPr>
            <p:cNvSpPr>
              <a:spLocks noChangeShapeType="1"/>
            </p:cNvSpPr>
            <p:nvPr/>
          </p:nvSpPr>
          <p:spPr bwMode="auto">
            <a:xfrm flipH="1">
              <a:off x="5221288" y="1608138"/>
              <a:ext cx="6350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30" name="Rectangle 29">
            <a:extLst>
              <a:ext uri="{FF2B5EF4-FFF2-40B4-BE49-F238E27FC236}">
                <a16:creationId xmlns:a16="http://schemas.microsoft.com/office/drawing/2014/main" id="{EC8110C1-A530-41DA-BA35-3B4EFBC11E4F}"/>
              </a:ext>
            </a:extLst>
          </p:cNvPr>
          <p:cNvSpPr/>
          <p:nvPr/>
        </p:nvSpPr>
        <p:spPr>
          <a:xfrm>
            <a:off x="994910" y="1835356"/>
            <a:ext cx="5738336" cy="461665"/>
          </a:xfrm>
          <a:prstGeom prst="rect">
            <a:avLst/>
          </a:prstGeom>
        </p:spPr>
        <p:txBody>
          <a:bodyPr wrap="square">
            <a:spAutoFit/>
          </a:bodyPr>
          <a:lstStyle/>
          <a:p>
            <a:pPr lvl="0"/>
            <a:r>
              <a:rPr lang="en-GB" sz="1200" dirty="0">
                <a:solidFill>
                  <a:srgbClr val="000000"/>
                </a:solidFill>
              </a:rPr>
              <a:t>Gallup recently completed global research on companies that implemented </a:t>
            </a:r>
            <a:r>
              <a:rPr lang="en-GB" sz="1200" dirty="0">
                <a:solidFill>
                  <a:srgbClr val="000000"/>
                </a:solidFill>
                <a:hlinkClick r:id="rId3"/>
              </a:rPr>
              <a:t>strengths-based management practices</a:t>
            </a:r>
            <a:r>
              <a:rPr lang="en-GB" sz="1200" dirty="0">
                <a:solidFill>
                  <a:srgbClr val="000000"/>
                </a:solidFill>
              </a:rPr>
              <a:t>. </a:t>
            </a:r>
            <a:r>
              <a:rPr lang="en-GB" sz="1200" i="1" dirty="0">
                <a:solidFill>
                  <a:srgbClr val="000000"/>
                </a:solidFill>
              </a:rPr>
              <a:t>Business Journal - January 3, 2017</a:t>
            </a:r>
          </a:p>
        </p:txBody>
      </p:sp>
      <p:pic>
        <p:nvPicPr>
          <p:cNvPr id="47" name="Picture 46">
            <a:extLst>
              <a:ext uri="{FF2B5EF4-FFF2-40B4-BE49-F238E27FC236}">
                <a16:creationId xmlns:a16="http://schemas.microsoft.com/office/drawing/2014/main" id="{9A3CCF36-A797-445C-9B8B-607EF737C169}"/>
              </a:ext>
            </a:extLst>
          </p:cNvPr>
          <p:cNvPicPr>
            <a:picLocks noChangeAspect="1"/>
          </p:cNvPicPr>
          <p:nvPr/>
        </p:nvPicPr>
        <p:blipFill>
          <a:blip r:embed="rId4"/>
          <a:stretch>
            <a:fillRect/>
          </a:stretch>
        </p:blipFill>
        <p:spPr>
          <a:xfrm>
            <a:off x="4196152" y="3213396"/>
            <a:ext cx="4002662" cy="2263410"/>
          </a:xfrm>
          <a:prstGeom prst="rect">
            <a:avLst/>
          </a:prstGeom>
        </p:spPr>
      </p:pic>
      <p:cxnSp>
        <p:nvCxnSpPr>
          <p:cNvPr id="5" name="Straight Connector 4"/>
          <p:cNvCxnSpPr/>
          <p:nvPr/>
        </p:nvCxnSpPr>
        <p:spPr>
          <a:xfrm>
            <a:off x="1" y="1627303"/>
            <a:ext cx="8431618" cy="0"/>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9096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a:extLst>
              <a:ext uri="{FF2B5EF4-FFF2-40B4-BE49-F238E27FC236}">
                <a16:creationId xmlns:a16="http://schemas.microsoft.com/office/drawing/2014/main" id="{01CFC5ED-7626-4DB3-A601-5A814857FFDC}"/>
              </a:ext>
            </a:extLst>
          </p:cNvPr>
          <p:cNvSpPr/>
          <p:nvPr/>
        </p:nvSpPr>
        <p:spPr>
          <a:xfrm>
            <a:off x="273049" y="1690459"/>
            <a:ext cx="2602401" cy="413883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le 1"/>
          <p:cNvSpPr>
            <a:spLocks noGrp="1"/>
          </p:cNvSpPr>
          <p:nvPr>
            <p:ph type="title"/>
          </p:nvPr>
        </p:nvSpPr>
        <p:spPr/>
        <p:txBody>
          <a:bodyPr/>
          <a:lstStyle/>
          <a:p>
            <a:r>
              <a:rPr lang="en-GB" dirty="0"/>
              <a:t>Why think appreciatively?</a:t>
            </a:r>
          </a:p>
        </p:txBody>
      </p:sp>
      <p:sp>
        <p:nvSpPr>
          <p:cNvPr id="10" name="Text Placeholder 9">
            <a:extLst>
              <a:ext uri="{FF2B5EF4-FFF2-40B4-BE49-F238E27FC236}">
                <a16:creationId xmlns:a16="http://schemas.microsoft.com/office/drawing/2014/main" id="{0BE226ED-1231-42F0-BCF4-A7B475109FAF}"/>
              </a:ext>
            </a:extLst>
          </p:cNvPr>
          <p:cNvSpPr>
            <a:spLocks noGrp="1"/>
          </p:cNvSpPr>
          <p:nvPr>
            <p:ph type="body" sz="quarter" idx="13"/>
          </p:nvPr>
        </p:nvSpPr>
        <p:spPr/>
        <p:txBody>
          <a:bodyPr/>
          <a:lstStyle/>
          <a:p>
            <a:endParaRPr lang="en-GB" dirty="0"/>
          </a:p>
        </p:txBody>
      </p:sp>
      <p:sp>
        <p:nvSpPr>
          <p:cNvPr id="11" name="Text Placeholder 10">
            <a:extLst>
              <a:ext uri="{FF2B5EF4-FFF2-40B4-BE49-F238E27FC236}">
                <a16:creationId xmlns:a16="http://schemas.microsoft.com/office/drawing/2014/main" id="{91AC71F3-9A5E-45C9-869A-0E1F56FDFB7F}"/>
              </a:ext>
            </a:extLst>
          </p:cNvPr>
          <p:cNvSpPr>
            <a:spLocks noGrp="1"/>
          </p:cNvSpPr>
          <p:nvPr>
            <p:ph type="body" sz="quarter" idx="14"/>
          </p:nvPr>
        </p:nvSpPr>
        <p:spPr/>
        <p:txBody>
          <a:bodyPr/>
          <a:lstStyle/>
          <a:p>
            <a:endParaRPr lang="en-GB" dirty="0"/>
          </a:p>
        </p:txBody>
      </p:sp>
      <p:sp>
        <p:nvSpPr>
          <p:cNvPr id="3" name="Content Placeholder 7"/>
          <p:cNvSpPr txBox="1">
            <a:spLocks/>
          </p:cNvSpPr>
          <p:nvPr/>
        </p:nvSpPr>
        <p:spPr>
          <a:xfrm>
            <a:off x="273049" y="1627189"/>
            <a:ext cx="2425150" cy="318034"/>
          </a:xfrm>
          <a:prstGeom prst="rect">
            <a:avLst/>
          </a:prstGeom>
          <a:solidFill>
            <a:srgbClr val="E2DED9"/>
          </a:solidFill>
        </p:spPr>
        <p:txBody>
          <a:bodyPr vert="horz" wrap="square" lIns="72000" tIns="36000" rIns="72000" bIns="360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buNone/>
            </a:pPr>
            <a:r>
              <a:rPr lang="en-GB" sz="1200" dirty="0"/>
              <a:t>% of respondents</a:t>
            </a:r>
            <a:r>
              <a:rPr lang="en-GB" sz="800" dirty="0"/>
              <a:t>1</a:t>
            </a:r>
            <a:endParaRPr lang="en-GB" sz="800" baseline="30000" dirty="0"/>
          </a:p>
        </p:txBody>
      </p:sp>
      <p:sp>
        <p:nvSpPr>
          <p:cNvPr id="4" name="Content Placeholder 7"/>
          <p:cNvSpPr txBox="1">
            <a:spLocks/>
          </p:cNvSpPr>
          <p:nvPr/>
        </p:nvSpPr>
        <p:spPr>
          <a:xfrm>
            <a:off x="2875450" y="973662"/>
            <a:ext cx="6757501" cy="404074"/>
          </a:xfrm>
          <a:prstGeom prst="rect">
            <a:avLst/>
          </a:prstGeom>
          <a:solidFill>
            <a:srgbClr val="66817F"/>
          </a:solidFill>
        </p:spPr>
        <p:txBody>
          <a:bodyPr vert="horz" wrap="square" lIns="108000" tIns="0" rIns="0" bIns="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solidFill>
                  <a:schemeClr val="bg1"/>
                </a:solidFill>
              </a:rPr>
              <a:t>How did your organisation balance your communication through the transformation?</a:t>
            </a:r>
            <a:endParaRPr lang="en-GB" sz="1200" b="1" baseline="30000" dirty="0">
              <a:solidFill>
                <a:schemeClr val="bg1"/>
              </a:solidFill>
            </a:endParaRPr>
          </a:p>
        </p:txBody>
      </p:sp>
      <p:sp>
        <p:nvSpPr>
          <p:cNvPr id="18" name="Content Placeholder 7"/>
          <p:cNvSpPr txBox="1">
            <a:spLocks/>
          </p:cNvSpPr>
          <p:nvPr/>
        </p:nvSpPr>
        <p:spPr>
          <a:xfrm>
            <a:off x="277640" y="2415330"/>
            <a:ext cx="2247900"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t>A roughly equal mix</a:t>
            </a:r>
            <a:r>
              <a:rPr lang="en-GB" sz="1200" dirty="0"/>
              <a:t> underlining both problems and successes</a:t>
            </a:r>
            <a:endParaRPr lang="en-GB" sz="1200" baseline="30000" dirty="0"/>
          </a:p>
        </p:txBody>
      </p:sp>
      <p:sp>
        <p:nvSpPr>
          <p:cNvPr id="19" name="Content Placeholder 7"/>
          <p:cNvSpPr txBox="1">
            <a:spLocks/>
          </p:cNvSpPr>
          <p:nvPr/>
        </p:nvSpPr>
        <p:spPr>
          <a:xfrm>
            <a:off x="277640" y="3027316"/>
            <a:ext cx="2247900" cy="553998"/>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t>Focused on what worked</a:t>
            </a:r>
            <a:r>
              <a:rPr lang="en-GB" sz="1200" dirty="0"/>
              <a:t> asking how we could build on that in other areas</a:t>
            </a:r>
            <a:endParaRPr lang="en-GB" sz="1200" baseline="30000" dirty="0"/>
          </a:p>
        </p:txBody>
      </p:sp>
      <p:sp>
        <p:nvSpPr>
          <p:cNvPr id="20" name="Content Placeholder 7"/>
          <p:cNvSpPr txBox="1">
            <a:spLocks/>
          </p:cNvSpPr>
          <p:nvPr/>
        </p:nvSpPr>
        <p:spPr>
          <a:xfrm>
            <a:off x="277640" y="3786755"/>
            <a:ext cx="2247900"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t>Focused on what did not work</a:t>
            </a:r>
            <a:r>
              <a:rPr lang="en-GB" sz="1200" dirty="0"/>
              <a:t> and who to fix it</a:t>
            </a:r>
            <a:endParaRPr lang="en-GB" sz="1200" baseline="30000" dirty="0"/>
          </a:p>
        </p:txBody>
      </p:sp>
      <p:sp>
        <p:nvSpPr>
          <p:cNvPr id="21" name="Content Placeholder 7"/>
          <p:cNvSpPr txBox="1">
            <a:spLocks/>
          </p:cNvSpPr>
          <p:nvPr/>
        </p:nvSpPr>
        <p:spPr>
          <a:xfrm>
            <a:off x="277640" y="4555141"/>
            <a:ext cx="2247900"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t>Other</a:t>
            </a:r>
            <a:endParaRPr lang="en-GB" sz="1200" b="1" baseline="30000" dirty="0"/>
          </a:p>
        </p:txBody>
      </p:sp>
      <p:sp>
        <p:nvSpPr>
          <p:cNvPr id="22" name="Content Placeholder 7"/>
          <p:cNvSpPr txBox="1">
            <a:spLocks/>
          </p:cNvSpPr>
          <p:nvPr/>
        </p:nvSpPr>
        <p:spPr>
          <a:xfrm>
            <a:off x="277640" y="5229785"/>
            <a:ext cx="2247900" cy="184666"/>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dirty="0"/>
              <a:t>Do not know</a:t>
            </a:r>
            <a:endParaRPr lang="en-GB" sz="1200" baseline="30000" dirty="0"/>
          </a:p>
        </p:txBody>
      </p:sp>
      <p:sp>
        <p:nvSpPr>
          <p:cNvPr id="34" name="Rectangle 33">
            <a:extLst>
              <a:ext uri="{FF2B5EF4-FFF2-40B4-BE49-F238E27FC236}">
                <a16:creationId xmlns:a16="http://schemas.microsoft.com/office/drawing/2014/main" id="{1789079B-BC74-4B13-A82C-F66F4FEAACB1}"/>
              </a:ext>
            </a:extLst>
          </p:cNvPr>
          <p:cNvSpPr/>
          <p:nvPr/>
        </p:nvSpPr>
        <p:spPr>
          <a:xfrm>
            <a:off x="4564827" y="1695453"/>
            <a:ext cx="1689375" cy="413384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5" name="Rectangle 34">
            <a:extLst>
              <a:ext uri="{FF2B5EF4-FFF2-40B4-BE49-F238E27FC236}">
                <a16:creationId xmlns:a16="http://schemas.microsoft.com/office/drawing/2014/main" id="{A028AC1E-B5CE-4585-A069-05AE6CA43E7C}"/>
              </a:ext>
            </a:extLst>
          </p:cNvPr>
          <p:cNvSpPr/>
          <p:nvPr/>
        </p:nvSpPr>
        <p:spPr>
          <a:xfrm>
            <a:off x="6254201" y="1695453"/>
            <a:ext cx="1689375" cy="4133846"/>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b="1" noProof="0" dirty="0">
              <a:solidFill>
                <a:srgbClr val="2F363B"/>
              </a:solidFill>
            </a:endParaRPr>
          </a:p>
        </p:txBody>
      </p:sp>
      <p:sp>
        <p:nvSpPr>
          <p:cNvPr id="36" name="Rectangle 35">
            <a:extLst>
              <a:ext uri="{FF2B5EF4-FFF2-40B4-BE49-F238E27FC236}">
                <a16:creationId xmlns:a16="http://schemas.microsoft.com/office/drawing/2014/main" id="{909140F4-0294-476F-8C09-704D3D875BD6}"/>
              </a:ext>
            </a:extLst>
          </p:cNvPr>
          <p:cNvSpPr/>
          <p:nvPr/>
        </p:nvSpPr>
        <p:spPr>
          <a:xfrm>
            <a:off x="7943576" y="1695453"/>
            <a:ext cx="1689375" cy="413384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b="1" noProof="0" dirty="0">
              <a:solidFill>
                <a:srgbClr val="2F363B"/>
              </a:solidFill>
            </a:endParaRPr>
          </a:p>
        </p:txBody>
      </p:sp>
      <p:sp>
        <p:nvSpPr>
          <p:cNvPr id="6" name="Rectangle 5">
            <a:extLst>
              <a:ext uri="{FF2B5EF4-FFF2-40B4-BE49-F238E27FC236}">
                <a16:creationId xmlns:a16="http://schemas.microsoft.com/office/drawing/2014/main" id="{99615743-AE27-417B-8517-B95ADEBAF2F6}"/>
              </a:ext>
            </a:extLst>
          </p:cNvPr>
          <p:cNvSpPr/>
          <p:nvPr/>
        </p:nvSpPr>
        <p:spPr>
          <a:xfrm>
            <a:off x="2875452" y="1695453"/>
            <a:ext cx="1689375" cy="4133846"/>
          </a:xfrm>
          <a:prstGeom prst="rect">
            <a:avLst/>
          </a:prstGeom>
          <a:solidFill>
            <a:srgbClr val="EEEBE8"/>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5" name="Content Placeholder 7"/>
          <p:cNvSpPr txBox="1">
            <a:spLocks/>
          </p:cNvSpPr>
          <p:nvPr/>
        </p:nvSpPr>
        <p:spPr>
          <a:xfrm>
            <a:off x="2875452" y="1377736"/>
            <a:ext cx="6757498" cy="317716"/>
          </a:xfrm>
          <a:prstGeom prst="rect">
            <a:avLst/>
          </a:prstGeom>
          <a:solidFill>
            <a:srgbClr val="D0DAD6"/>
          </a:solidFill>
        </p:spPr>
        <p:txBody>
          <a:bodyPr vert="horz" wrap="square" lIns="108000" tIns="0" rIns="0" bIns="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b="1" dirty="0">
                <a:solidFill>
                  <a:srgbClr val="1F2023"/>
                </a:solidFill>
              </a:rPr>
              <a:t>Transformation success</a:t>
            </a:r>
            <a:endParaRPr lang="en-GB" sz="1200" b="1" baseline="30000" dirty="0">
              <a:solidFill>
                <a:srgbClr val="1F2023"/>
              </a:solidFill>
            </a:endParaRPr>
          </a:p>
        </p:txBody>
      </p:sp>
      <p:sp>
        <p:nvSpPr>
          <p:cNvPr id="13" name="Content Placeholder 7"/>
          <p:cNvSpPr txBox="1">
            <a:spLocks/>
          </p:cNvSpPr>
          <p:nvPr/>
        </p:nvSpPr>
        <p:spPr>
          <a:xfrm>
            <a:off x="2983574" y="1828503"/>
            <a:ext cx="1473131"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dirty="0"/>
              <a:t>Not successful           n = 150</a:t>
            </a:r>
            <a:endParaRPr lang="en-GB" sz="1200" baseline="30000" dirty="0"/>
          </a:p>
        </p:txBody>
      </p:sp>
      <p:sp>
        <p:nvSpPr>
          <p:cNvPr id="14" name="Content Placeholder 7"/>
          <p:cNvSpPr txBox="1">
            <a:spLocks/>
          </p:cNvSpPr>
          <p:nvPr/>
        </p:nvSpPr>
        <p:spPr>
          <a:xfrm>
            <a:off x="4672948" y="1828503"/>
            <a:ext cx="1473131"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dirty="0"/>
              <a:t>Somewhat successful </a:t>
            </a:r>
            <a:br>
              <a:rPr lang="en-GB" sz="1200" dirty="0"/>
            </a:br>
            <a:r>
              <a:rPr lang="en-GB" sz="1200" dirty="0"/>
              <a:t>n = 1,540</a:t>
            </a:r>
            <a:r>
              <a:rPr lang="en-GB" sz="1200" baseline="30000" dirty="0"/>
              <a:t>2</a:t>
            </a:r>
          </a:p>
        </p:txBody>
      </p:sp>
      <p:sp>
        <p:nvSpPr>
          <p:cNvPr id="15" name="Content Placeholder 7"/>
          <p:cNvSpPr txBox="1">
            <a:spLocks/>
          </p:cNvSpPr>
          <p:nvPr/>
        </p:nvSpPr>
        <p:spPr>
          <a:xfrm>
            <a:off x="6362323" y="1828503"/>
            <a:ext cx="1473131"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dirty="0"/>
              <a:t>Very successful</a:t>
            </a:r>
            <a:br>
              <a:rPr lang="en-GB" sz="1200" dirty="0"/>
            </a:br>
            <a:r>
              <a:rPr lang="en-GB" sz="1200" dirty="0"/>
              <a:t>n = 838</a:t>
            </a:r>
            <a:r>
              <a:rPr lang="en-GB" sz="1200" baseline="30000" dirty="0"/>
              <a:t>2</a:t>
            </a:r>
          </a:p>
        </p:txBody>
      </p:sp>
      <p:sp>
        <p:nvSpPr>
          <p:cNvPr id="16" name="Content Placeholder 7"/>
          <p:cNvSpPr txBox="1">
            <a:spLocks/>
          </p:cNvSpPr>
          <p:nvPr/>
        </p:nvSpPr>
        <p:spPr>
          <a:xfrm>
            <a:off x="8051697" y="1828503"/>
            <a:ext cx="1473132" cy="369332"/>
          </a:xfrm>
          <a:prstGeom prst="rect">
            <a:avLst/>
          </a:prstGeom>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GB" sz="1200" dirty="0"/>
              <a:t>Extremely successful</a:t>
            </a:r>
            <a:br>
              <a:rPr lang="en-GB" sz="1200" dirty="0"/>
            </a:br>
            <a:r>
              <a:rPr lang="en-GB" sz="1200" dirty="0"/>
              <a:t>n = 166</a:t>
            </a:r>
            <a:r>
              <a:rPr lang="en-GB" sz="1200" baseline="30000" dirty="0"/>
              <a:t>2</a:t>
            </a:r>
          </a:p>
        </p:txBody>
      </p:sp>
      <p:graphicFrame>
        <p:nvGraphicFramePr>
          <p:cNvPr id="24" name="Object 2"/>
          <p:cNvGraphicFramePr>
            <a:graphicFrameLocks noChangeAspect="1"/>
          </p:cNvGraphicFramePr>
          <p:nvPr>
            <p:extLst/>
          </p:nvPr>
        </p:nvGraphicFramePr>
        <p:xfrm>
          <a:off x="2983574" y="2293653"/>
          <a:ext cx="1473131" cy="33623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6" name="Object 2"/>
          <p:cNvGraphicFramePr>
            <a:graphicFrameLocks noChangeAspect="1"/>
          </p:cNvGraphicFramePr>
          <p:nvPr>
            <p:extLst/>
          </p:nvPr>
        </p:nvGraphicFramePr>
        <p:xfrm>
          <a:off x="4672948" y="2293653"/>
          <a:ext cx="1473131" cy="336232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7" name="Object 2"/>
          <p:cNvGraphicFramePr>
            <a:graphicFrameLocks noChangeAspect="1"/>
          </p:cNvGraphicFramePr>
          <p:nvPr>
            <p:extLst/>
          </p:nvPr>
        </p:nvGraphicFramePr>
        <p:xfrm>
          <a:off x="6362323" y="2293653"/>
          <a:ext cx="1473131" cy="3362325"/>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Object 2"/>
          <p:cNvGraphicFramePr>
            <a:graphicFrameLocks noChangeAspect="1"/>
          </p:cNvGraphicFramePr>
          <p:nvPr>
            <p:extLst/>
          </p:nvPr>
        </p:nvGraphicFramePr>
        <p:xfrm>
          <a:off x="8051697" y="2293653"/>
          <a:ext cx="1473131" cy="3362325"/>
        </p:xfrm>
        <a:graphic>
          <a:graphicData uri="http://schemas.openxmlformats.org/drawingml/2006/chart">
            <c:chart xmlns:c="http://schemas.openxmlformats.org/drawingml/2006/chart" xmlns:r="http://schemas.openxmlformats.org/officeDocument/2006/relationships" r:id="rId7"/>
          </a:graphicData>
        </a:graphic>
      </p:graphicFrame>
      <p:sp>
        <p:nvSpPr>
          <p:cNvPr id="29" name="Rectangle 17">
            <a:extLst>
              <a:ext uri="{FF2B5EF4-FFF2-40B4-BE49-F238E27FC236}">
                <a16:creationId xmlns:a16="http://schemas.microsoft.com/office/drawing/2014/main" id="{22618669-B962-475D-B257-4177A47F923F}"/>
              </a:ext>
            </a:extLst>
          </p:cNvPr>
          <p:cNvSpPr>
            <a:spLocks noChangeArrowheads="1"/>
          </p:cNvSpPr>
          <p:nvPr/>
        </p:nvSpPr>
        <p:spPr bwMode="auto">
          <a:xfrm>
            <a:off x="0" y="5920262"/>
            <a:ext cx="9359900" cy="492443"/>
          </a:xfrm>
          <a:prstGeom prst="rect">
            <a:avLst/>
          </a:prstGeom>
          <a:noFill/>
          <a:ln w="9525">
            <a:noFill/>
            <a:miter lim="800000"/>
            <a:headEnd/>
            <a:tailEnd/>
          </a:ln>
          <a:effectLst/>
        </p:spPr>
        <p:txBody>
          <a:bodyPr lIns="0" tIns="0" rIns="0" bIns="0" anchor="b">
            <a:spAutoFit/>
          </a:bodyPr>
          <a:lstStyle/>
          <a:p>
            <a:pPr>
              <a:tabLst>
                <a:tab pos="320675" algn="r"/>
                <a:tab pos="388938" algn="l"/>
              </a:tabLst>
              <a:defRPr/>
            </a:pPr>
            <a:r>
              <a:rPr lang="en-GB" sz="800" kern="0" dirty="0"/>
              <a:t>	1	Data are weighted by GDPs of constituent countries to adjust for differences in response rates.</a:t>
            </a:r>
          </a:p>
          <a:p>
            <a:pPr>
              <a:tabLst>
                <a:tab pos="320675" algn="r"/>
                <a:tab pos="388938" algn="l"/>
              </a:tabLst>
              <a:defRPr/>
            </a:pPr>
            <a:r>
              <a:rPr lang="en-GB" sz="800" kern="0" dirty="0"/>
              <a:t>	2	Figures do not sum to 100%, because of rounding</a:t>
            </a:r>
            <a:br>
              <a:rPr lang="en-GB" sz="800" kern="0" dirty="0"/>
            </a:br>
            <a:r>
              <a:rPr lang="en-GB" sz="800" kern="0" dirty="0"/>
              <a:t>         3.199 Executives, July 2008, </a:t>
            </a:r>
            <a:r>
              <a:rPr lang="en-GB" sz="800" kern="0" dirty="0" err="1"/>
              <a:t>Mckinsey</a:t>
            </a:r>
            <a:r>
              <a:rPr lang="en-GB" sz="800" kern="0" dirty="0"/>
              <a:t> Quarterly</a:t>
            </a:r>
          </a:p>
          <a:p>
            <a:pPr>
              <a:tabLst>
                <a:tab pos="320675" algn="r"/>
                <a:tab pos="388938" algn="l"/>
              </a:tabLst>
              <a:defRPr/>
            </a:pPr>
            <a:endParaRPr lang="en-GB" sz="800" kern="0" dirty="0"/>
          </a:p>
        </p:txBody>
      </p:sp>
      <p:grpSp>
        <p:nvGrpSpPr>
          <p:cNvPr id="48" name="Group 47">
            <a:extLst>
              <a:ext uri="{FF2B5EF4-FFF2-40B4-BE49-F238E27FC236}">
                <a16:creationId xmlns:a16="http://schemas.microsoft.com/office/drawing/2014/main" id="{2C5733CC-31D4-416B-AE0E-39EB0E762280}"/>
              </a:ext>
            </a:extLst>
          </p:cNvPr>
          <p:cNvGrpSpPr/>
          <p:nvPr/>
        </p:nvGrpSpPr>
        <p:grpSpPr>
          <a:xfrm>
            <a:off x="242317" y="2955471"/>
            <a:ext cx="2455882" cy="2038350"/>
            <a:chOff x="386553" y="3168738"/>
            <a:chExt cx="2375396" cy="2038350"/>
          </a:xfrm>
        </p:grpSpPr>
        <p:cxnSp>
          <p:nvCxnSpPr>
            <p:cNvPr id="42" name="Straight Connector 41">
              <a:extLst>
                <a:ext uri="{FF2B5EF4-FFF2-40B4-BE49-F238E27FC236}">
                  <a16:creationId xmlns:a16="http://schemas.microsoft.com/office/drawing/2014/main" id="{F8052E81-DA7C-4437-8D2B-3571298C8D5D}"/>
                </a:ext>
              </a:extLst>
            </p:cNvPr>
            <p:cNvCxnSpPr>
              <a:cxnSpLocks/>
            </p:cNvCxnSpPr>
            <p:nvPr/>
          </p:nvCxnSpPr>
          <p:spPr>
            <a:xfrm flipH="1">
              <a:off x="386553" y="3168738"/>
              <a:ext cx="237539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87F8FB8-BD3A-4E8C-A0FF-6DB91FBB2746}"/>
                </a:ext>
              </a:extLst>
            </p:cNvPr>
            <p:cNvCxnSpPr>
              <a:cxnSpLocks/>
            </p:cNvCxnSpPr>
            <p:nvPr/>
          </p:nvCxnSpPr>
          <p:spPr>
            <a:xfrm flipH="1">
              <a:off x="386553" y="3843108"/>
              <a:ext cx="237539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2AFF122-2B7A-487D-BE2E-5F8CACBEBCD3}"/>
                </a:ext>
              </a:extLst>
            </p:cNvPr>
            <p:cNvCxnSpPr>
              <a:cxnSpLocks/>
            </p:cNvCxnSpPr>
            <p:nvPr/>
          </p:nvCxnSpPr>
          <p:spPr>
            <a:xfrm flipH="1">
              <a:off x="386553" y="4519383"/>
              <a:ext cx="237539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84F79E6A-987E-404C-B668-6ACB2C6AD176}"/>
                </a:ext>
              </a:extLst>
            </p:cNvPr>
            <p:cNvCxnSpPr>
              <a:cxnSpLocks/>
            </p:cNvCxnSpPr>
            <p:nvPr/>
          </p:nvCxnSpPr>
          <p:spPr>
            <a:xfrm flipH="1">
              <a:off x="386553" y="5207088"/>
              <a:ext cx="237539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spTree>
    <p:custDataLst>
      <p:tags r:id="rId1"/>
    </p:custDataLst>
    <p:extLst>
      <p:ext uri="{BB962C8B-B14F-4D97-AF65-F5344CB8AC3E}">
        <p14:creationId xmlns:p14="http://schemas.microsoft.com/office/powerpoint/2010/main" val="3870564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25342E2C-B01E-4820-A794-9AFAB70A04E7}"/>
              </a:ext>
            </a:extLst>
          </p:cNvPr>
          <p:cNvSpPr/>
          <p:nvPr/>
        </p:nvSpPr>
        <p:spPr>
          <a:xfrm>
            <a:off x="5592391" y="2528872"/>
            <a:ext cx="3349682" cy="2322570"/>
          </a:xfrm>
          <a:prstGeom prst="rect">
            <a:avLst/>
          </a:prstGeom>
          <a:solidFill>
            <a:srgbClr val="D0B2B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sz="1000" noProof="0" dirty="0">
              <a:solidFill>
                <a:srgbClr val="2F363B"/>
              </a:solidFill>
            </a:endParaRPr>
          </a:p>
          <a:p>
            <a:pPr marL="171450" indent="-171450" algn="l">
              <a:buFont typeface="Arial" panose="020B0604020202020204" pitchFamily="34" charset="0"/>
              <a:buChar char="•"/>
            </a:pPr>
            <a:endParaRPr lang="en-GB" sz="1600" dirty="0">
              <a:solidFill>
                <a:srgbClr val="2F363B"/>
              </a:solidFill>
            </a:endParaRPr>
          </a:p>
          <a:p>
            <a:pPr marL="171450" indent="-171450" algn="l">
              <a:buFont typeface="Arial" panose="020B0604020202020204" pitchFamily="34" charset="0"/>
              <a:buChar char="•"/>
            </a:pPr>
            <a:r>
              <a:rPr lang="en-GB" sz="1600" dirty="0">
                <a:solidFill>
                  <a:srgbClr val="2F363B"/>
                </a:solidFill>
              </a:rPr>
              <a:t>When the same talent is used too much or in the wrong situation</a:t>
            </a:r>
          </a:p>
          <a:p>
            <a:pPr marL="171450" indent="-171450" algn="l">
              <a:buFont typeface="Arial" panose="020B0604020202020204" pitchFamily="34" charset="0"/>
              <a:buChar char="•"/>
            </a:pPr>
            <a:r>
              <a:rPr lang="en-GB" sz="1600" noProof="0" dirty="0">
                <a:solidFill>
                  <a:srgbClr val="2F363B"/>
                </a:solidFill>
              </a:rPr>
              <a:t>Can cause frustration for others</a:t>
            </a:r>
          </a:p>
          <a:p>
            <a:pPr marL="171450" indent="-171450" algn="l">
              <a:buFont typeface="Arial" panose="020B0604020202020204" pitchFamily="34" charset="0"/>
              <a:buChar char="•"/>
            </a:pPr>
            <a:r>
              <a:rPr lang="en-GB" sz="1600" dirty="0">
                <a:solidFill>
                  <a:srgbClr val="2F363B"/>
                </a:solidFill>
              </a:rPr>
              <a:t>May be a </a:t>
            </a:r>
            <a:r>
              <a:rPr lang="en-GB" sz="1600" dirty="0" err="1">
                <a:solidFill>
                  <a:srgbClr val="2F363B"/>
                </a:solidFill>
              </a:rPr>
              <a:t>blondspot</a:t>
            </a:r>
            <a:r>
              <a:rPr lang="en-GB" sz="1600" dirty="0">
                <a:solidFill>
                  <a:srgbClr val="2F363B"/>
                </a:solidFill>
              </a:rPr>
              <a:t> or something you see yourself</a:t>
            </a:r>
            <a:endParaRPr lang="en-GB" sz="1600" noProof="0" dirty="0">
              <a:solidFill>
                <a:srgbClr val="2F363B"/>
              </a:solidFill>
            </a:endParaRPr>
          </a:p>
        </p:txBody>
      </p:sp>
      <p:sp>
        <p:nvSpPr>
          <p:cNvPr id="7" name="Rectangle 6">
            <a:extLst>
              <a:ext uri="{FF2B5EF4-FFF2-40B4-BE49-F238E27FC236}">
                <a16:creationId xmlns:a16="http://schemas.microsoft.com/office/drawing/2014/main" id="{6A1C954A-1C37-4340-B0F8-E394726A355B}"/>
              </a:ext>
            </a:extLst>
          </p:cNvPr>
          <p:cNvSpPr/>
          <p:nvPr/>
        </p:nvSpPr>
        <p:spPr>
          <a:xfrm>
            <a:off x="963928" y="2528872"/>
            <a:ext cx="3349682" cy="2322570"/>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sz="1000" noProof="0" dirty="0">
              <a:solidFill>
                <a:srgbClr val="2F363B"/>
              </a:solidFill>
            </a:endParaRPr>
          </a:p>
          <a:p>
            <a:pPr marL="171450" indent="-171450" algn="l">
              <a:buFont typeface="Arial" panose="020B0604020202020204" pitchFamily="34" charset="0"/>
              <a:buChar char="•"/>
            </a:pPr>
            <a:endParaRPr lang="en-GB" sz="1600" dirty="0">
              <a:solidFill>
                <a:srgbClr val="2F363B"/>
              </a:solidFill>
            </a:endParaRPr>
          </a:p>
          <a:p>
            <a:pPr marL="171450" indent="-171450" algn="l">
              <a:buFont typeface="Arial" panose="020B0604020202020204" pitchFamily="34" charset="0"/>
              <a:buChar char="•"/>
            </a:pPr>
            <a:r>
              <a:rPr lang="en-GB" sz="1600" dirty="0">
                <a:solidFill>
                  <a:srgbClr val="2F363B"/>
                </a:solidFill>
              </a:rPr>
              <a:t>A behaviour/trait that comes natural to you</a:t>
            </a:r>
          </a:p>
          <a:p>
            <a:pPr marL="171450" indent="-171450" algn="l">
              <a:buFont typeface="Arial" panose="020B0604020202020204" pitchFamily="34" charset="0"/>
              <a:buChar char="•"/>
            </a:pPr>
            <a:r>
              <a:rPr lang="en-GB" sz="1600" dirty="0">
                <a:solidFill>
                  <a:srgbClr val="2F363B"/>
                </a:solidFill>
              </a:rPr>
              <a:t>A main, positive characteristic</a:t>
            </a:r>
          </a:p>
          <a:p>
            <a:pPr marL="171450" indent="-171450" algn="l">
              <a:buFont typeface="Arial" panose="020B0604020202020204" pitchFamily="34" charset="0"/>
              <a:buChar char="•"/>
            </a:pPr>
            <a:r>
              <a:rPr lang="en-GB" sz="1600" noProof="0" dirty="0">
                <a:solidFill>
                  <a:srgbClr val="2F363B"/>
                </a:solidFill>
              </a:rPr>
              <a:t>Is done </a:t>
            </a:r>
            <a:r>
              <a:rPr lang="en-GB" sz="1600" dirty="0">
                <a:solidFill>
                  <a:srgbClr val="2F363B"/>
                </a:solidFill>
              </a:rPr>
              <a:t>with a good </a:t>
            </a:r>
            <a:r>
              <a:rPr lang="en-GB" sz="1600" noProof="0" dirty="0">
                <a:solidFill>
                  <a:srgbClr val="2F363B"/>
                </a:solidFill>
              </a:rPr>
              <a:t>intention</a:t>
            </a:r>
          </a:p>
          <a:p>
            <a:pPr marL="171450" indent="-171450" algn="l">
              <a:buFont typeface="Arial" panose="020B0604020202020204" pitchFamily="34" charset="0"/>
              <a:buChar char="•"/>
            </a:pPr>
            <a:r>
              <a:rPr lang="en-GB" sz="1600" dirty="0">
                <a:solidFill>
                  <a:srgbClr val="2F363B"/>
                </a:solidFill>
              </a:rPr>
              <a:t>The talent works well in many situations</a:t>
            </a:r>
            <a:endParaRPr lang="en-GB" sz="1600" noProof="0" dirty="0">
              <a:solidFill>
                <a:srgbClr val="2F363B"/>
              </a:solidFill>
            </a:endParaRPr>
          </a:p>
        </p:txBody>
      </p:sp>
      <p:sp>
        <p:nvSpPr>
          <p:cNvPr id="11" name="Isosceles Triangle 10">
            <a:extLst>
              <a:ext uri="{FF2B5EF4-FFF2-40B4-BE49-F238E27FC236}">
                <a16:creationId xmlns:a16="http://schemas.microsoft.com/office/drawing/2014/main" id="{9A7473CE-0A9C-4F8E-AACA-BB5D88A3C0AE}"/>
              </a:ext>
            </a:extLst>
          </p:cNvPr>
          <p:cNvSpPr/>
          <p:nvPr/>
        </p:nvSpPr>
        <p:spPr>
          <a:xfrm rot="8433037">
            <a:off x="5768916" y="1893104"/>
            <a:ext cx="218688" cy="188524"/>
          </a:xfrm>
          <a:prstGeom prst="triangle">
            <a:avLst/>
          </a:prstGeom>
          <a:solidFill>
            <a:srgbClr val="E9C56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le 1">
            <a:extLst>
              <a:ext uri="{FF2B5EF4-FFF2-40B4-BE49-F238E27FC236}">
                <a16:creationId xmlns:a16="http://schemas.microsoft.com/office/drawing/2014/main" id="{A312102A-4C46-4EAA-BE7B-1CFE6E1E0636}"/>
              </a:ext>
            </a:extLst>
          </p:cNvPr>
          <p:cNvSpPr>
            <a:spLocks noGrp="1"/>
          </p:cNvSpPr>
          <p:nvPr>
            <p:ph type="title"/>
          </p:nvPr>
        </p:nvSpPr>
        <p:spPr/>
        <p:txBody>
          <a:bodyPr/>
          <a:lstStyle/>
          <a:p>
            <a:r>
              <a:rPr lang="en-GB" dirty="0"/>
              <a:t>Talents and pitfalls – a way of looking for the positive in the negative</a:t>
            </a:r>
          </a:p>
        </p:txBody>
      </p:sp>
      <p:sp>
        <p:nvSpPr>
          <p:cNvPr id="9" name="Text Placeholder 8">
            <a:extLst>
              <a:ext uri="{FF2B5EF4-FFF2-40B4-BE49-F238E27FC236}">
                <a16:creationId xmlns:a16="http://schemas.microsoft.com/office/drawing/2014/main" id="{6272D1EC-9759-463B-80C5-74A63755EA1B}"/>
              </a:ext>
            </a:extLst>
          </p:cNvPr>
          <p:cNvSpPr>
            <a:spLocks noGrp="1"/>
          </p:cNvSpPr>
          <p:nvPr>
            <p:ph type="body" sz="quarter" idx="14"/>
          </p:nvPr>
        </p:nvSpPr>
        <p:spPr/>
        <p:txBody>
          <a:bodyPr/>
          <a:lstStyle/>
          <a:p>
            <a:endParaRPr lang="en-GB" dirty="0"/>
          </a:p>
        </p:txBody>
      </p:sp>
      <p:sp>
        <p:nvSpPr>
          <p:cNvPr id="15" name="TextBox 14">
            <a:extLst>
              <a:ext uri="{FF2B5EF4-FFF2-40B4-BE49-F238E27FC236}">
                <a16:creationId xmlns:a16="http://schemas.microsoft.com/office/drawing/2014/main" id="{B58DCCBE-EA99-434E-99AD-3F5398BFCB6C}"/>
              </a:ext>
            </a:extLst>
          </p:cNvPr>
          <p:cNvSpPr txBox="1"/>
          <p:nvPr/>
        </p:nvSpPr>
        <p:spPr>
          <a:xfrm>
            <a:off x="3949039" y="1149037"/>
            <a:ext cx="2007922" cy="215444"/>
          </a:xfrm>
          <a:prstGeom prst="rect">
            <a:avLst/>
          </a:prstGeom>
          <a:noFill/>
        </p:spPr>
        <p:txBody>
          <a:bodyPr wrap="none" lIns="0" tIns="0" rIns="0" bIns="0" rtlCol="0">
            <a:spAutoFit/>
          </a:bodyPr>
          <a:lstStyle/>
          <a:p>
            <a:pPr algn="ctr">
              <a:spcBef>
                <a:spcPts val="600"/>
              </a:spcBef>
            </a:pPr>
            <a:r>
              <a:rPr lang="en-GB" sz="1400" dirty="0">
                <a:solidFill>
                  <a:srgbClr val="1F2023"/>
                </a:solidFill>
                <a:latin typeface="Arial" pitchFamily="34" charset="0"/>
                <a:cs typeface="Arial" pitchFamily="34" charset="0"/>
              </a:rPr>
              <a:t>Too much of a good thing</a:t>
            </a:r>
          </a:p>
        </p:txBody>
      </p:sp>
      <p:sp>
        <p:nvSpPr>
          <p:cNvPr id="35" name="Arc 34">
            <a:extLst>
              <a:ext uri="{FF2B5EF4-FFF2-40B4-BE49-F238E27FC236}">
                <a16:creationId xmlns:a16="http://schemas.microsoft.com/office/drawing/2014/main" id="{BBAD36F1-BE2B-4F75-9C09-66B018878288}"/>
              </a:ext>
            </a:extLst>
          </p:cNvPr>
          <p:cNvSpPr/>
          <p:nvPr/>
        </p:nvSpPr>
        <p:spPr>
          <a:xfrm flipH="1">
            <a:off x="3832860" y="1497469"/>
            <a:ext cx="2240280" cy="2240280"/>
          </a:xfrm>
          <a:prstGeom prst="arc">
            <a:avLst>
              <a:gd name="adj1" fmla="val 12731663"/>
              <a:gd name="adj2" fmla="val 19584977"/>
            </a:avLst>
          </a:prstGeom>
          <a:ln w="6350">
            <a:solidFill>
              <a:srgbClr val="1F2023"/>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 name="TextBox 4">
            <a:extLst>
              <a:ext uri="{FF2B5EF4-FFF2-40B4-BE49-F238E27FC236}">
                <a16:creationId xmlns:a16="http://schemas.microsoft.com/office/drawing/2014/main" id="{3B7516B7-6DC6-47CA-ADB4-9AEDE301F11D}"/>
              </a:ext>
            </a:extLst>
          </p:cNvPr>
          <p:cNvSpPr txBox="1"/>
          <p:nvPr/>
        </p:nvSpPr>
        <p:spPr>
          <a:xfrm>
            <a:off x="1249798"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Talent (core strength)</a:t>
            </a:r>
          </a:p>
        </p:txBody>
      </p:sp>
      <p:sp>
        <p:nvSpPr>
          <p:cNvPr id="42" name="TextBox 41">
            <a:extLst>
              <a:ext uri="{FF2B5EF4-FFF2-40B4-BE49-F238E27FC236}">
                <a16:creationId xmlns:a16="http://schemas.microsoft.com/office/drawing/2014/main" id="{D204D4FF-63B2-4E6D-99EE-E7F7D7F9F157}"/>
              </a:ext>
            </a:extLst>
          </p:cNvPr>
          <p:cNvSpPr txBox="1"/>
          <p:nvPr/>
        </p:nvSpPr>
        <p:spPr>
          <a:xfrm>
            <a:off x="5878260"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Pitfall</a:t>
            </a:r>
          </a:p>
        </p:txBody>
      </p:sp>
      <p:sp>
        <p:nvSpPr>
          <p:cNvPr id="6" name="Rectangle 5"/>
          <p:cNvSpPr/>
          <p:nvPr/>
        </p:nvSpPr>
        <p:spPr>
          <a:xfrm>
            <a:off x="1620665" y="4999049"/>
            <a:ext cx="1917513" cy="584775"/>
          </a:xfrm>
          <a:prstGeom prst="rect">
            <a:avLst/>
          </a:prstGeom>
        </p:spPr>
        <p:txBody>
          <a:bodyPr wrap="none">
            <a:spAutoFit/>
          </a:bodyPr>
          <a:lstStyle/>
          <a:p>
            <a:pPr algn="ctr"/>
            <a:r>
              <a:rPr lang="en-GB" sz="3200" dirty="0">
                <a:latin typeface="Impact" charset="0"/>
                <a:ea typeface="Impact" charset="0"/>
                <a:cs typeface="Impact" charset="0"/>
              </a:rPr>
              <a:t>“ENGAGED”</a:t>
            </a:r>
          </a:p>
        </p:txBody>
      </p:sp>
      <p:sp>
        <p:nvSpPr>
          <p:cNvPr id="60" name="Rectangle 59"/>
          <p:cNvSpPr/>
          <p:nvPr/>
        </p:nvSpPr>
        <p:spPr>
          <a:xfrm>
            <a:off x="6101687" y="4999049"/>
            <a:ext cx="2497671" cy="584775"/>
          </a:xfrm>
          <a:prstGeom prst="rect">
            <a:avLst/>
          </a:prstGeom>
        </p:spPr>
        <p:txBody>
          <a:bodyPr wrap="none">
            <a:spAutoFit/>
          </a:bodyPr>
          <a:lstStyle/>
          <a:p>
            <a:pPr algn="ctr"/>
            <a:r>
              <a:rPr lang="en-GB" sz="3200" dirty="0">
                <a:latin typeface="Impact" charset="0"/>
                <a:ea typeface="Impact" charset="0"/>
                <a:cs typeface="Impact" charset="0"/>
              </a:rPr>
              <a:t>”DOMINATING”</a:t>
            </a:r>
          </a:p>
        </p:txBody>
      </p:sp>
      <p:cxnSp>
        <p:nvCxnSpPr>
          <p:cNvPr id="10" name="Straight Connector 9"/>
          <p:cNvCxnSpPr/>
          <p:nvPr/>
        </p:nvCxnSpPr>
        <p:spPr>
          <a:xfrm>
            <a:off x="963929" y="5761053"/>
            <a:ext cx="3349681" cy="0"/>
          </a:xfrm>
          <a:prstGeom prst="line">
            <a:avLst/>
          </a:prstGeom>
          <a:ln w="6350">
            <a:solidFill>
              <a:srgbClr val="B9C7C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592391" y="5761053"/>
            <a:ext cx="3349681" cy="0"/>
          </a:xfrm>
          <a:prstGeom prst="line">
            <a:avLst/>
          </a:prstGeom>
          <a:ln w="6350">
            <a:solidFill>
              <a:srgbClr val="B88B8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TextBox 62">
            <a:extLst>
              <a:ext uri="{FF2B5EF4-FFF2-40B4-BE49-F238E27FC236}">
                <a16:creationId xmlns:a16="http://schemas.microsoft.com/office/drawing/2014/main" id="{CFF962D4-B366-4FCC-8A35-497E587D8F3B}"/>
              </a:ext>
            </a:extLst>
          </p:cNvPr>
          <p:cNvSpPr txBox="1"/>
          <p:nvPr/>
        </p:nvSpPr>
        <p:spPr>
          <a:xfrm>
            <a:off x="273050" y="6548670"/>
            <a:ext cx="2013372" cy="123111"/>
          </a:xfrm>
          <a:prstGeom prst="rect">
            <a:avLst/>
          </a:prstGeom>
          <a:noFill/>
        </p:spPr>
        <p:txBody>
          <a:bodyPr wrap="none" lIns="0" tIns="0" rIns="0" bIns="0" rtlCol="0">
            <a:spAutoFit/>
          </a:bodyPr>
          <a:lstStyle>
            <a:defPPr>
              <a:defRPr lang="da-DK"/>
            </a:defPPr>
            <a:lvl1pPr indent="-457200">
              <a:spcBef>
                <a:spcPts val="600"/>
              </a:spcBef>
              <a:buSzPct val="100000"/>
              <a:defRPr>
                <a:solidFill>
                  <a:srgbClr val="342F2B"/>
                </a:solidFill>
                <a:latin typeface="Arial" pitchFamily="34" charset="0"/>
                <a:cs typeface="Arial" pitchFamily="34" charset="0"/>
              </a:defRPr>
            </a:lvl1pPr>
            <a:lvl2pPr marL="180000" lvl="1"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2pPr>
            <a:lvl3pPr marL="358775" lvl="2"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3pPr>
            <a:lvl4pPr marL="541338" lvl="3" indent="-182563">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4pPr>
            <a:lvl5pPr marL="715963" lvl="4" indent="-174625">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5pPr>
          </a:lstStyle>
          <a:p>
            <a:pPr marL="0" lvl="1" indent="0">
              <a:buNone/>
            </a:pPr>
            <a:r>
              <a:rPr lang="en-GB" sz="800" dirty="0">
                <a:solidFill>
                  <a:srgbClr val="1F2023"/>
                </a:solidFill>
                <a:sym typeface="Arial" panose="020B0604020202020204" pitchFamily="34" charset="0"/>
              </a:rPr>
              <a:t>Source: Daniel </a:t>
            </a:r>
            <a:r>
              <a:rPr lang="en-GB" sz="800" dirty="0" err="1">
                <a:solidFill>
                  <a:srgbClr val="1F2023"/>
                </a:solidFill>
                <a:sym typeface="Arial" panose="020B0604020202020204" pitchFamily="34" charset="0"/>
              </a:rPr>
              <a:t>Ofman</a:t>
            </a:r>
            <a:r>
              <a:rPr lang="en-GB" sz="800" dirty="0">
                <a:solidFill>
                  <a:srgbClr val="1F2023"/>
                </a:solidFill>
                <a:sym typeface="Arial" panose="020B0604020202020204" pitchFamily="34" charset="0"/>
              </a:rPr>
              <a:t>, Core Qualities, 1992</a:t>
            </a:r>
          </a:p>
        </p:txBody>
      </p:sp>
    </p:spTree>
    <p:extLst>
      <p:ext uri="{BB962C8B-B14F-4D97-AF65-F5344CB8AC3E}">
        <p14:creationId xmlns:p14="http://schemas.microsoft.com/office/powerpoint/2010/main" val="157007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a:extLst>
              <a:ext uri="{FF2B5EF4-FFF2-40B4-BE49-F238E27FC236}">
                <a16:creationId xmlns:a16="http://schemas.microsoft.com/office/drawing/2014/main" id="{783DC821-637F-4CA0-B983-7F9E983790EE}"/>
              </a:ext>
            </a:extLst>
          </p:cNvPr>
          <p:cNvSpPr/>
          <p:nvPr/>
        </p:nvSpPr>
        <p:spPr>
          <a:xfrm>
            <a:off x="269874" y="1769180"/>
            <a:ext cx="4546602" cy="429574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64" name="Rectangle 63">
            <a:extLst>
              <a:ext uri="{FF2B5EF4-FFF2-40B4-BE49-F238E27FC236}">
                <a16:creationId xmlns:a16="http://schemas.microsoft.com/office/drawing/2014/main" id="{EAE993A5-1B93-4F74-8B3C-E49047DAE70F}"/>
              </a:ext>
            </a:extLst>
          </p:cNvPr>
          <p:cNvSpPr/>
          <p:nvPr/>
        </p:nvSpPr>
        <p:spPr>
          <a:xfrm>
            <a:off x="269874" y="1769180"/>
            <a:ext cx="770377" cy="4295746"/>
          </a:xfrm>
          <a:prstGeom prst="rect">
            <a:avLst/>
          </a:prstGeom>
          <a:solidFill>
            <a:srgbClr val="E8E5E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65" name="Rectangle 64">
            <a:extLst>
              <a:ext uri="{FF2B5EF4-FFF2-40B4-BE49-F238E27FC236}">
                <a16:creationId xmlns:a16="http://schemas.microsoft.com/office/drawing/2014/main" id="{D4E63C97-8305-4053-BDD3-B7DD16EB88C8}"/>
              </a:ext>
            </a:extLst>
          </p:cNvPr>
          <p:cNvSpPr/>
          <p:nvPr/>
        </p:nvSpPr>
        <p:spPr>
          <a:xfrm>
            <a:off x="269874" y="1369973"/>
            <a:ext cx="4546602" cy="409919"/>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66" name="Rectangle 65">
            <a:extLst>
              <a:ext uri="{FF2B5EF4-FFF2-40B4-BE49-F238E27FC236}">
                <a16:creationId xmlns:a16="http://schemas.microsoft.com/office/drawing/2014/main" id="{A64D280F-BDCB-4B8A-9171-3A00A6C9D9DA}"/>
              </a:ext>
            </a:extLst>
          </p:cNvPr>
          <p:cNvSpPr/>
          <p:nvPr/>
        </p:nvSpPr>
        <p:spPr>
          <a:xfrm>
            <a:off x="269874" y="1369973"/>
            <a:ext cx="770377" cy="409919"/>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28" name="Content Placeholder 7">
            <a:extLst>
              <a:ext uri="{FF2B5EF4-FFF2-40B4-BE49-F238E27FC236}">
                <a16:creationId xmlns:a16="http://schemas.microsoft.com/office/drawing/2014/main" id="{01E7F549-7357-447D-A3EC-39DE2B77A26A}"/>
              </a:ext>
            </a:extLst>
          </p:cNvPr>
          <p:cNvSpPr txBox="1">
            <a:spLocks/>
          </p:cNvSpPr>
          <p:nvPr>
            <p:custDataLst>
              <p:tags r:id="rId1"/>
            </p:custDataLst>
          </p:nvPr>
        </p:nvSpPr>
        <p:spPr>
          <a:xfrm>
            <a:off x="441061" y="1467210"/>
            <a:ext cx="428002"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solidFill>
                  <a:schemeClr val="bg1"/>
                </a:solidFill>
              </a:rPr>
              <a:t>TIME</a:t>
            </a:r>
          </a:p>
        </p:txBody>
      </p:sp>
      <p:sp>
        <p:nvSpPr>
          <p:cNvPr id="31" name="Content Placeholder 7">
            <a:extLst>
              <a:ext uri="{FF2B5EF4-FFF2-40B4-BE49-F238E27FC236}">
                <a16:creationId xmlns:a16="http://schemas.microsoft.com/office/drawing/2014/main" id="{C9DE8DE8-FC1D-4A0D-8677-0BECBA83198A}"/>
              </a:ext>
            </a:extLst>
          </p:cNvPr>
          <p:cNvSpPr txBox="1">
            <a:spLocks/>
          </p:cNvSpPr>
          <p:nvPr>
            <p:custDataLst>
              <p:tags r:id="rId2"/>
            </p:custDataLst>
          </p:nvPr>
        </p:nvSpPr>
        <p:spPr>
          <a:xfrm>
            <a:off x="1166477" y="1467210"/>
            <a:ext cx="509242"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b="1" dirty="0">
                <a:solidFill>
                  <a:schemeClr val="bg1"/>
                </a:solidFill>
              </a:rPr>
              <a:t>DAY 1</a:t>
            </a:r>
            <a:endParaRPr lang="en-GB" sz="1400" b="1" baseline="30000" dirty="0">
              <a:solidFill>
                <a:schemeClr val="bg1"/>
              </a:solidFill>
            </a:endParaRPr>
          </a:p>
        </p:txBody>
      </p:sp>
      <p:sp>
        <p:nvSpPr>
          <p:cNvPr id="33" name="Content Placeholder 7">
            <a:extLst>
              <a:ext uri="{FF2B5EF4-FFF2-40B4-BE49-F238E27FC236}">
                <a16:creationId xmlns:a16="http://schemas.microsoft.com/office/drawing/2014/main" id="{DBDD47C3-7CD3-432D-80E4-6A1FB644B6D8}"/>
              </a:ext>
            </a:extLst>
          </p:cNvPr>
          <p:cNvSpPr txBox="1">
            <a:spLocks/>
          </p:cNvSpPr>
          <p:nvPr/>
        </p:nvSpPr>
        <p:spPr>
          <a:xfrm>
            <a:off x="431443" y="1920194"/>
            <a:ext cx="447238"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t>09:00</a:t>
            </a:r>
          </a:p>
        </p:txBody>
      </p:sp>
      <p:sp>
        <p:nvSpPr>
          <p:cNvPr id="34" name="Content Placeholder 7">
            <a:extLst>
              <a:ext uri="{FF2B5EF4-FFF2-40B4-BE49-F238E27FC236}">
                <a16:creationId xmlns:a16="http://schemas.microsoft.com/office/drawing/2014/main" id="{2A38D74E-F175-44C1-A78B-E42C018F955B}"/>
              </a:ext>
            </a:extLst>
          </p:cNvPr>
          <p:cNvSpPr txBox="1">
            <a:spLocks/>
          </p:cNvSpPr>
          <p:nvPr/>
        </p:nvSpPr>
        <p:spPr>
          <a:xfrm>
            <a:off x="1181716" y="1935583"/>
            <a:ext cx="3712462"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lvl="0" indent="-144000">
              <a:buFont typeface="Arial" panose="020B0604020202020204" pitchFamily="34" charset="0"/>
              <a:buChar char="•"/>
              <a:defRPr/>
            </a:pPr>
            <a:r>
              <a:rPr lang="en-GB" sz="1200" dirty="0"/>
              <a:t>Welcome and purpose</a:t>
            </a:r>
          </a:p>
        </p:txBody>
      </p:sp>
      <p:sp>
        <p:nvSpPr>
          <p:cNvPr id="35" name="Content Placeholder 7">
            <a:extLst>
              <a:ext uri="{FF2B5EF4-FFF2-40B4-BE49-F238E27FC236}">
                <a16:creationId xmlns:a16="http://schemas.microsoft.com/office/drawing/2014/main" id="{1511E42A-3F90-4B3B-946C-207762C767FF}"/>
              </a:ext>
            </a:extLst>
          </p:cNvPr>
          <p:cNvSpPr txBox="1">
            <a:spLocks/>
          </p:cNvSpPr>
          <p:nvPr/>
        </p:nvSpPr>
        <p:spPr>
          <a:xfrm>
            <a:off x="1181716" y="3218267"/>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Sharing cases </a:t>
            </a:r>
          </a:p>
        </p:txBody>
      </p:sp>
      <p:sp>
        <p:nvSpPr>
          <p:cNvPr id="37" name="Content Placeholder 7">
            <a:extLst>
              <a:ext uri="{FF2B5EF4-FFF2-40B4-BE49-F238E27FC236}">
                <a16:creationId xmlns:a16="http://schemas.microsoft.com/office/drawing/2014/main" id="{1B940C90-04E8-48B7-98A6-8DC4713A6C38}"/>
              </a:ext>
            </a:extLst>
          </p:cNvPr>
          <p:cNvSpPr txBox="1">
            <a:spLocks/>
          </p:cNvSpPr>
          <p:nvPr/>
        </p:nvSpPr>
        <p:spPr>
          <a:xfrm>
            <a:off x="426634" y="3698928"/>
            <a:ext cx="456856"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b="1" dirty="0"/>
              <a:t>12:00</a:t>
            </a:r>
          </a:p>
        </p:txBody>
      </p:sp>
      <p:sp>
        <p:nvSpPr>
          <p:cNvPr id="38" name="Content Placeholder 7">
            <a:extLst>
              <a:ext uri="{FF2B5EF4-FFF2-40B4-BE49-F238E27FC236}">
                <a16:creationId xmlns:a16="http://schemas.microsoft.com/office/drawing/2014/main" id="{29DD9BDA-82EE-4350-B002-5C78D6AD448A}"/>
              </a:ext>
            </a:extLst>
          </p:cNvPr>
          <p:cNvSpPr txBox="1">
            <a:spLocks/>
          </p:cNvSpPr>
          <p:nvPr/>
        </p:nvSpPr>
        <p:spPr>
          <a:xfrm>
            <a:off x="1181717" y="3714317"/>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00" b="1" dirty="0"/>
              <a:t>Lunch</a:t>
            </a:r>
          </a:p>
        </p:txBody>
      </p:sp>
      <p:sp>
        <p:nvSpPr>
          <p:cNvPr id="39" name="Content Placeholder 7">
            <a:extLst>
              <a:ext uri="{FF2B5EF4-FFF2-40B4-BE49-F238E27FC236}">
                <a16:creationId xmlns:a16="http://schemas.microsoft.com/office/drawing/2014/main" id="{3D856A6F-ABB1-46EB-878F-8F3A851DA10D}"/>
              </a:ext>
            </a:extLst>
          </p:cNvPr>
          <p:cNvSpPr txBox="1">
            <a:spLocks/>
          </p:cNvSpPr>
          <p:nvPr/>
        </p:nvSpPr>
        <p:spPr>
          <a:xfrm>
            <a:off x="1181717" y="4085452"/>
            <a:ext cx="2742584" cy="369332"/>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Personal REAL conversation report – buddy reflection (W&amp;T)</a:t>
            </a:r>
          </a:p>
        </p:txBody>
      </p:sp>
      <p:sp>
        <p:nvSpPr>
          <p:cNvPr id="40" name="Content Placeholder 7">
            <a:extLst>
              <a:ext uri="{FF2B5EF4-FFF2-40B4-BE49-F238E27FC236}">
                <a16:creationId xmlns:a16="http://schemas.microsoft.com/office/drawing/2014/main" id="{027F24F2-C868-480E-A5EE-81C04ABDD2D5}"/>
              </a:ext>
            </a:extLst>
          </p:cNvPr>
          <p:cNvSpPr txBox="1">
            <a:spLocks/>
          </p:cNvSpPr>
          <p:nvPr/>
        </p:nvSpPr>
        <p:spPr>
          <a:xfrm>
            <a:off x="1181716" y="4656642"/>
            <a:ext cx="3314083" cy="369332"/>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Change-talk - How to evoke motivation and engagement in your conversations</a:t>
            </a:r>
          </a:p>
        </p:txBody>
      </p:sp>
      <p:sp>
        <p:nvSpPr>
          <p:cNvPr id="41" name="Content Placeholder 7">
            <a:extLst>
              <a:ext uri="{FF2B5EF4-FFF2-40B4-BE49-F238E27FC236}">
                <a16:creationId xmlns:a16="http://schemas.microsoft.com/office/drawing/2014/main" id="{814FACD0-27A2-4382-A819-4AD4ACA593CC}"/>
              </a:ext>
            </a:extLst>
          </p:cNvPr>
          <p:cNvSpPr txBox="1">
            <a:spLocks/>
          </p:cNvSpPr>
          <p:nvPr/>
        </p:nvSpPr>
        <p:spPr>
          <a:xfrm>
            <a:off x="1181716" y="5212444"/>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Sharing cases </a:t>
            </a:r>
          </a:p>
        </p:txBody>
      </p:sp>
      <p:sp>
        <p:nvSpPr>
          <p:cNvPr id="43" name="Content Placeholder 7">
            <a:extLst>
              <a:ext uri="{FF2B5EF4-FFF2-40B4-BE49-F238E27FC236}">
                <a16:creationId xmlns:a16="http://schemas.microsoft.com/office/drawing/2014/main" id="{23B554A8-2DC4-4720-8923-05FB6F1CDC5B}"/>
              </a:ext>
            </a:extLst>
          </p:cNvPr>
          <p:cNvSpPr txBox="1">
            <a:spLocks/>
          </p:cNvSpPr>
          <p:nvPr/>
        </p:nvSpPr>
        <p:spPr>
          <a:xfrm>
            <a:off x="431443" y="5698398"/>
            <a:ext cx="447238"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t>17:00</a:t>
            </a:r>
          </a:p>
        </p:txBody>
      </p:sp>
      <p:sp>
        <p:nvSpPr>
          <p:cNvPr id="44" name="Content Placeholder 7">
            <a:extLst>
              <a:ext uri="{FF2B5EF4-FFF2-40B4-BE49-F238E27FC236}">
                <a16:creationId xmlns:a16="http://schemas.microsoft.com/office/drawing/2014/main" id="{E1CEC444-CD4F-4041-9D8E-2D7135DCA34D}"/>
              </a:ext>
            </a:extLst>
          </p:cNvPr>
          <p:cNvSpPr txBox="1">
            <a:spLocks/>
          </p:cNvSpPr>
          <p:nvPr/>
        </p:nvSpPr>
        <p:spPr>
          <a:xfrm>
            <a:off x="1181716" y="5708494"/>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Thanks for today</a:t>
            </a:r>
          </a:p>
        </p:txBody>
      </p:sp>
      <p:grpSp>
        <p:nvGrpSpPr>
          <p:cNvPr id="68" name="Group 67">
            <a:extLst>
              <a:ext uri="{FF2B5EF4-FFF2-40B4-BE49-F238E27FC236}">
                <a16:creationId xmlns:a16="http://schemas.microsoft.com/office/drawing/2014/main" id="{9F717514-F1F2-430E-B7D6-35B0F4481C80}"/>
              </a:ext>
            </a:extLst>
          </p:cNvPr>
          <p:cNvGrpSpPr/>
          <p:nvPr>
            <p:custDataLst>
              <p:tags r:id="rId3"/>
            </p:custDataLst>
          </p:nvPr>
        </p:nvGrpSpPr>
        <p:grpSpPr>
          <a:xfrm>
            <a:off x="7951984" y="196853"/>
            <a:ext cx="1254492" cy="930272"/>
            <a:chOff x="7964467" y="1177926"/>
            <a:chExt cx="1668483" cy="1306105"/>
          </a:xfrm>
          <a:solidFill>
            <a:srgbClr val="FFFFFF"/>
          </a:solidFill>
        </p:grpSpPr>
        <p:pic>
          <p:nvPicPr>
            <p:cNvPr id="69" name="Picture 68">
              <a:extLst>
                <a:ext uri="{FF2B5EF4-FFF2-40B4-BE49-F238E27FC236}">
                  <a16:creationId xmlns:a16="http://schemas.microsoft.com/office/drawing/2014/main" id="{E3DDB199-4B9A-4904-A2CC-39879A9C669C}"/>
                </a:ext>
              </a:extLst>
            </p:cNvPr>
            <p:cNvPicPr>
              <a:picLocks noChangeAspect="1"/>
            </p:cNvPicPr>
            <p:nvPr/>
          </p:nvPicPr>
          <p:blipFill>
            <a:blip r:embed="rId8" cstate="print">
              <a:extLst>
                <a:ext uri="{28A0092B-C50C-407E-A947-70E740481C1C}">
                  <a14:useLocalDpi xmlns:a14="http://schemas.microsoft.com/office/drawing/2010/main" val="0"/>
                </a:ext>
              </a:extLst>
            </a:blip>
            <a:srcRect t="12569"/>
            <a:stretch>
              <a:fillRect/>
            </a:stretch>
          </p:blipFill>
          <p:spPr>
            <a:xfrm>
              <a:off x="7964467" y="1177926"/>
              <a:ext cx="416792" cy="364404"/>
            </a:xfrm>
            <a:prstGeom prst="rect">
              <a:avLst/>
            </a:prstGeom>
            <a:grpFill/>
          </p:spPr>
        </p:pic>
        <p:pic>
          <p:nvPicPr>
            <p:cNvPr id="70" name="Picture 69">
              <a:extLst>
                <a:ext uri="{FF2B5EF4-FFF2-40B4-BE49-F238E27FC236}">
                  <a16:creationId xmlns:a16="http://schemas.microsoft.com/office/drawing/2014/main" id="{D0E6DF00-7A96-4629-AADA-0FC0900E748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092688" y="1547927"/>
              <a:ext cx="416792" cy="416792"/>
            </a:xfrm>
            <a:prstGeom prst="rect">
              <a:avLst/>
            </a:prstGeom>
            <a:grpFill/>
          </p:spPr>
        </p:pic>
        <p:pic>
          <p:nvPicPr>
            <p:cNvPr id="71" name="Picture 70">
              <a:extLst>
                <a:ext uri="{FF2B5EF4-FFF2-40B4-BE49-F238E27FC236}">
                  <a16:creationId xmlns:a16="http://schemas.microsoft.com/office/drawing/2014/main" id="{817D7310-E1B4-4A26-ADB6-223F922F91C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797668" y="1950339"/>
              <a:ext cx="533692" cy="533692"/>
            </a:xfrm>
            <a:prstGeom prst="rect">
              <a:avLst/>
            </a:prstGeom>
            <a:grpFill/>
          </p:spPr>
        </p:pic>
        <p:pic>
          <p:nvPicPr>
            <p:cNvPr id="72" name="Picture 71">
              <a:extLst>
                <a:ext uri="{FF2B5EF4-FFF2-40B4-BE49-F238E27FC236}">
                  <a16:creationId xmlns:a16="http://schemas.microsoft.com/office/drawing/2014/main" id="{FC1C1EFC-DCE8-43FE-83F2-D00B307A6F39}"/>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09480" y="1378405"/>
              <a:ext cx="416792" cy="416792"/>
            </a:xfrm>
            <a:prstGeom prst="rect">
              <a:avLst/>
            </a:prstGeom>
            <a:grpFill/>
          </p:spPr>
        </p:pic>
        <p:pic>
          <p:nvPicPr>
            <p:cNvPr id="73" name="Picture 72">
              <a:extLst>
                <a:ext uri="{FF2B5EF4-FFF2-40B4-BE49-F238E27FC236}">
                  <a16:creationId xmlns:a16="http://schemas.microsoft.com/office/drawing/2014/main" id="{DB109D23-E0BB-4863-8E52-BF0C9BAED35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12870" y="1260651"/>
              <a:ext cx="720080" cy="720080"/>
            </a:xfrm>
            <a:prstGeom prst="rect">
              <a:avLst/>
            </a:prstGeom>
            <a:grpFill/>
          </p:spPr>
        </p:pic>
      </p:grpSp>
      <p:sp>
        <p:nvSpPr>
          <p:cNvPr id="10" name="Title 9">
            <a:extLst>
              <a:ext uri="{FF2B5EF4-FFF2-40B4-BE49-F238E27FC236}">
                <a16:creationId xmlns:a16="http://schemas.microsoft.com/office/drawing/2014/main" id="{9DA82357-EAAB-479C-9F8E-5BCA26341BD9}"/>
              </a:ext>
            </a:extLst>
          </p:cNvPr>
          <p:cNvSpPr>
            <a:spLocks noGrp="1"/>
          </p:cNvSpPr>
          <p:nvPr>
            <p:ph type="title"/>
          </p:nvPr>
        </p:nvSpPr>
        <p:spPr/>
        <p:txBody>
          <a:bodyPr/>
          <a:lstStyle/>
          <a:p>
            <a:r>
              <a:rPr lang="en-GB" dirty="0"/>
              <a:t>REAL CONVERSATIONS PROGRAM</a:t>
            </a:r>
          </a:p>
        </p:txBody>
      </p:sp>
      <p:sp>
        <p:nvSpPr>
          <p:cNvPr id="11" name="Text Placeholder 10">
            <a:extLst>
              <a:ext uri="{FF2B5EF4-FFF2-40B4-BE49-F238E27FC236}">
                <a16:creationId xmlns:a16="http://schemas.microsoft.com/office/drawing/2014/main" id="{49B6801A-582A-4FC5-9B2C-D087D292C958}"/>
              </a:ext>
            </a:extLst>
          </p:cNvPr>
          <p:cNvSpPr>
            <a:spLocks noGrp="1"/>
          </p:cNvSpPr>
          <p:nvPr>
            <p:ph type="body" sz="quarter" idx="13"/>
          </p:nvPr>
        </p:nvSpPr>
        <p:spPr/>
        <p:txBody>
          <a:bodyPr/>
          <a:lstStyle/>
          <a:p>
            <a:endParaRPr lang="en-GB" dirty="0"/>
          </a:p>
        </p:txBody>
      </p:sp>
      <p:sp>
        <p:nvSpPr>
          <p:cNvPr id="12" name="Text Placeholder 11">
            <a:extLst>
              <a:ext uri="{FF2B5EF4-FFF2-40B4-BE49-F238E27FC236}">
                <a16:creationId xmlns:a16="http://schemas.microsoft.com/office/drawing/2014/main" id="{510A792D-BC0E-4201-AB09-70B03DE26C72}"/>
              </a:ext>
            </a:extLst>
          </p:cNvPr>
          <p:cNvSpPr>
            <a:spLocks noGrp="1"/>
          </p:cNvSpPr>
          <p:nvPr>
            <p:ph type="body" sz="quarter" idx="14"/>
          </p:nvPr>
        </p:nvSpPr>
        <p:spPr/>
        <p:txBody>
          <a:bodyPr/>
          <a:lstStyle/>
          <a:p>
            <a:endParaRPr lang="en-GB" dirty="0"/>
          </a:p>
        </p:txBody>
      </p:sp>
      <p:sp>
        <p:nvSpPr>
          <p:cNvPr id="19" name="Rectangle 18">
            <a:extLst>
              <a:ext uri="{FF2B5EF4-FFF2-40B4-BE49-F238E27FC236}">
                <a16:creationId xmlns:a16="http://schemas.microsoft.com/office/drawing/2014/main" id="{BD84A0AB-A261-4212-A573-88A518C8F1F5}"/>
              </a:ext>
            </a:extLst>
          </p:cNvPr>
          <p:cNvSpPr/>
          <p:nvPr/>
        </p:nvSpPr>
        <p:spPr>
          <a:xfrm>
            <a:off x="1181716" y="2291330"/>
            <a:ext cx="2222147" cy="184666"/>
          </a:xfrm>
          <a:prstGeom prst="rect">
            <a:avLst/>
          </a:prstGeom>
        </p:spPr>
        <p:txBody>
          <a:bodyPr wrap="none" lIns="0" tIns="0" rIns="0" bIns="0" anchor="ctr">
            <a:spAutoFit/>
          </a:bodyPr>
          <a:lstStyle/>
          <a:p>
            <a:pPr marL="144000" lvl="0" indent="-144000">
              <a:buFont typeface="Arial" panose="020B0604020202020204" pitchFamily="34" charset="0"/>
              <a:buChar char="•"/>
              <a:defRPr/>
            </a:pPr>
            <a:r>
              <a:rPr lang="en-GB" sz="1200" dirty="0">
                <a:solidFill>
                  <a:srgbClr val="000000"/>
                </a:solidFill>
              </a:rPr>
              <a:t>What is a REAL conversation?</a:t>
            </a:r>
          </a:p>
        </p:txBody>
      </p:sp>
      <p:sp>
        <p:nvSpPr>
          <p:cNvPr id="21" name="Rectangle 20">
            <a:extLst>
              <a:ext uri="{FF2B5EF4-FFF2-40B4-BE49-F238E27FC236}">
                <a16:creationId xmlns:a16="http://schemas.microsoft.com/office/drawing/2014/main" id="{B54D9CB3-9DA0-4B34-AFC9-1A567BB8CD3E}"/>
              </a:ext>
            </a:extLst>
          </p:cNvPr>
          <p:cNvSpPr/>
          <p:nvPr/>
        </p:nvSpPr>
        <p:spPr>
          <a:xfrm>
            <a:off x="1181716" y="2662465"/>
            <a:ext cx="2898529" cy="369332"/>
          </a:xfrm>
          <a:prstGeom prst="rect">
            <a:avLst/>
          </a:prstGeom>
        </p:spPr>
        <p:txBody>
          <a:bodyPr wrap="square" lIns="0" tIns="0" rIns="0" bIns="0" anchor="ctr">
            <a:spAutoFit/>
          </a:bodyPr>
          <a:lstStyle/>
          <a:p>
            <a:pPr marL="144000" lvl="0" indent="-144000">
              <a:buFont typeface="Arial" panose="020B0604020202020204" pitchFamily="34" charset="0"/>
              <a:buChar char="•"/>
              <a:defRPr/>
            </a:pPr>
            <a:r>
              <a:rPr lang="en-GB" sz="1200" dirty="0">
                <a:solidFill>
                  <a:srgbClr val="000000"/>
                </a:solidFill>
              </a:rPr>
              <a:t>Inquiry and Advocacy -  the basics of conversations  </a:t>
            </a:r>
          </a:p>
        </p:txBody>
      </p:sp>
      <p:cxnSp>
        <p:nvCxnSpPr>
          <p:cNvPr id="74" name="Straight Connector 73">
            <a:extLst>
              <a:ext uri="{FF2B5EF4-FFF2-40B4-BE49-F238E27FC236}">
                <a16:creationId xmlns:a16="http://schemas.microsoft.com/office/drawing/2014/main" id="{7D26B005-CFEC-4389-B136-91929BB59FC0}"/>
              </a:ext>
            </a:extLst>
          </p:cNvPr>
          <p:cNvCxnSpPr>
            <a:cxnSpLocks/>
          </p:cNvCxnSpPr>
          <p:nvPr/>
        </p:nvCxnSpPr>
        <p:spPr>
          <a:xfrm>
            <a:off x="1166477" y="3558625"/>
            <a:ext cx="3494423" cy="0"/>
          </a:xfrm>
          <a:prstGeom prst="line">
            <a:avLst/>
          </a:prstGeom>
          <a:ln w="19050">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0CE3ABE-A54F-40A3-86D2-2DE7EF8A663C}"/>
              </a:ext>
            </a:extLst>
          </p:cNvPr>
          <p:cNvCxnSpPr>
            <a:cxnSpLocks/>
          </p:cNvCxnSpPr>
          <p:nvPr/>
        </p:nvCxnSpPr>
        <p:spPr>
          <a:xfrm>
            <a:off x="1166477" y="5552802"/>
            <a:ext cx="3494423" cy="0"/>
          </a:xfrm>
          <a:prstGeom prst="line">
            <a:avLst/>
          </a:prstGeom>
          <a:ln w="19050">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4F8227E1-EFA6-47DA-AB36-F61A135A9D46}"/>
              </a:ext>
            </a:extLst>
          </p:cNvPr>
          <p:cNvSpPr/>
          <p:nvPr/>
        </p:nvSpPr>
        <p:spPr>
          <a:xfrm>
            <a:off x="5087938" y="1769180"/>
            <a:ext cx="4546602" cy="4295746"/>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77" name="Rectangle 76">
            <a:extLst>
              <a:ext uri="{FF2B5EF4-FFF2-40B4-BE49-F238E27FC236}">
                <a16:creationId xmlns:a16="http://schemas.microsoft.com/office/drawing/2014/main" id="{2FE4558C-ADA6-4DB5-AF6D-C4E84824EB87}"/>
              </a:ext>
            </a:extLst>
          </p:cNvPr>
          <p:cNvSpPr/>
          <p:nvPr/>
        </p:nvSpPr>
        <p:spPr>
          <a:xfrm>
            <a:off x="5087938" y="1769180"/>
            <a:ext cx="770377" cy="4295746"/>
          </a:xfrm>
          <a:prstGeom prst="rect">
            <a:avLst/>
          </a:prstGeom>
          <a:solidFill>
            <a:srgbClr val="E8E5E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78" name="Rectangle 77">
            <a:extLst>
              <a:ext uri="{FF2B5EF4-FFF2-40B4-BE49-F238E27FC236}">
                <a16:creationId xmlns:a16="http://schemas.microsoft.com/office/drawing/2014/main" id="{4280D61A-6FA7-44FC-ACC8-08E3C1236DC4}"/>
              </a:ext>
            </a:extLst>
          </p:cNvPr>
          <p:cNvSpPr/>
          <p:nvPr/>
        </p:nvSpPr>
        <p:spPr>
          <a:xfrm>
            <a:off x="5087938" y="1369973"/>
            <a:ext cx="4546602" cy="409919"/>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79" name="Rectangle 78">
            <a:extLst>
              <a:ext uri="{FF2B5EF4-FFF2-40B4-BE49-F238E27FC236}">
                <a16:creationId xmlns:a16="http://schemas.microsoft.com/office/drawing/2014/main" id="{6D757111-8E0E-4926-AB76-8F9F0D635BB0}"/>
              </a:ext>
            </a:extLst>
          </p:cNvPr>
          <p:cNvSpPr/>
          <p:nvPr/>
        </p:nvSpPr>
        <p:spPr>
          <a:xfrm>
            <a:off x="5087938" y="1369973"/>
            <a:ext cx="770377" cy="409919"/>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100" b="1" dirty="0">
              <a:solidFill>
                <a:srgbClr val="2F363B"/>
              </a:solidFill>
            </a:endParaRPr>
          </a:p>
        </p:txBody>
      </p:sp>
      <p:sp>
        <p:nvSpPr>
          <p:cNvPr id="80" name="Content Placeholder 7">
            <a:extLst>
              <a:ext uri="{FF2B5EF4-FFF2-40B4-BE49-F238E27FC236}">
                <a16:creationId xmlns:a16="http://schemas.microsoft.com/office/drawing/2014/main" id="{88600A7A-C3C2-4F8D-9F85-173497CE879F}"/>
              </a:ext>
            </a:extLst>
          </p:cNvPr>
          <p:cNvSpPr txBox="1">
            <a:spLocks/>
          </p:cNvSpPr>
          <p:nvPr>
            <p:custDataLst>
              <p:tags r:id="rId4"/>
            </p:custDataLst>
          </p:nvPr>
        </p:nvSpPr>
        <p:spPr>
          <a:xfrm>
            <a:off x="5259125" y="1467210"/>
            <a:ext cx="428002"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solidFill>
                  <a:schemeClr val="bg1"/>
                </a:solidFill>
              </a:rPr>
              <a:t>TIME</a:t>
            </a:r>
          </a:p>
        </p:txBody>
      </p:sp>
      <p:sp>
        <p:nvSpPr>
          <p:cNvPr id="81" name="Content Placeholder 7">
            <a:extLst>
              <a:ext uri="{FF2B5EF4-FFF2-40B4-BE49-F238E27FC236}">
                <a16:creationId xmlns:a16="http://schemas.microsoft.com/office/drawing/2014/main" id="{083FF3D6-2971-4C4D-A665-0A9C51F59EF4}"/>
              </a:ext>
            </a:extLst>
          </p:cNvPr>
          <p:cNvSpPr txBox="1">
            <a:spLocks/>
          </p:cNvSpPr>
          <p:nvPr>
            <p:custDataLst>
              <p:tags r:id="rId5"/>
            </p:custDataLst>
          </p:nvPr>
        </p:nvSpPr>
        <p:spPr>
          <a:xfrm>
            <a:off x="5984541" y="1467210"/>
            <a:ext cx="509242"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b="1" dirty="0">
                <a:solidFill>
                  <a:schemeClr val="bg1"/>
                </a:solidFill>
              </a:rPr>
              <a:t>DAY 2</a:t>
            </a:r>
            <a:endParaRPr lang="en-GB" sz="1400" b="1" baseline="30000" dirty="0">
              <a:solidFill>
                <a:schemeClr val="bg1"/>
              </a:solidFill>
            </a:endParaRPr>
          </a:p>
        </p:txBody>
      </p:sp>
      <p:sp>
        <p:nvSpPr>
          <p:cNvPr id="82" name="Content Placeholder 7">
            <a:extLst>
              <a:ext uri="{FF2B5EF4-FFF2-40B4-BE49-F238E27FC236}">
                <a16:creationId xmlns:a16="http://schemas.microsoft.com/office/drawing/2014/main" id="{51B6A8EC-8946-44BA-844C-849D71B182B3}"/>
              </a:ext>
            </a:extLst>
          </p:cNvPr>
          <p:cNvSpPr txBox="1">
            <a:spLocks/>
          </p:cNvSpPr>
          <p:nvPr/>
        </p:nvSpPr>
        <p:spPr>
          <a:xfrm>
            <a:off x="5249507" y="1920194"/>
            <a:ext cx="447238"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t>09:00</a:t>
            </a:r>
          </a:p>
        </p:txBody>
      </p:sp>
      <p:sp>
        <p:nvSpPr>
          <p:cNvPr id="83" name="Content Placeholder 7">
            <a:extLst>
              <a:ext uri="{FF2B5EF4-FFF2-40B4-BE49-F238E27FC236}">
                <a16:creationId xmlns:a16="http://schemas.microsoft.com/office/drawing/2014/main" id="{7110A637-2998-413B-888B-37848F0CA89E}"/>
              </a:ext>
            </a:extLst>
          </p:cNvPr>
          <p:cNvSpPr txBox="1">
            <a:spLocks/>
          </p:cNvSpPr>
          <p:nvPr/>
        </p:nvSpPr>
        <p:spPr>
          <a:xfrm>
            <a:off x="5999780" y="1935583"/>
            <a:ext cx="3712462"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4000" lvl="0" indent="-144000">
              <a:buFont typeface="Arial" panose="020B0604020202020204" pitchFamily="34" charset="0"/>
              <a:buChar char="•"/>
              <a:defRPr/>
            </a:pPr>
            <a:r>
              <a:rPr lang="en-GB" sz="1200" dirty="0"/>
              <a:t>Good morning and reflection</a:t>
            </a:r>
          </a:p>
        </p:txBody>
      </p:sp>
      <p:sp>
        <p:nvSpPr>
          <p:cNvPr id="85" name="Content Placeholder 7">
            <a:extLst>
              <a:ext uri="{FF2B5EF4-FFF2-40B4-BE49-F238E27FC236}">
                <a16:creationId xmlns:a16="http://schemas.microsoft.com/office/drawing/2014/main" id="{E269DAB0-567A-4EBB-B5D7-13F4B4A64D49}"/>
              </a:ext>
            </a:extLst>
          </p:cNvPr>
          <p:cNvSpPr txBox="1">
            <a:spLocks/>
          </p:cNvSpPr>
          <p:nvPr/>
        </p:nvSpPr>
        <p:spPr>
          <a:xfrm>
            <a:off x="5244698" y="3698928"/>
            <a:ext cx="456856"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b="1" dirty="0"/>
              <a:t>12:00</a:t>
            </a:r>
          </a:p>
        </p:txBody>
      </p:sp>
      <p:sp>
        <p:nvSpPr>
          <p:cNvPr id="86" name="Content Placeholder 7">
            <a:extLst>
              <a:ext uri="{FF2B5EF4-FFF2-40B4-BE49-F238E27FC236}">
                <a16:creationId xmlns:a16="http://schemas.microsoft.com/office/drawing/2014/main" id="{5980AC7A-70FE-487B-B1B7-8A37BB47C11C}"/>
              </a:ext>
            </a:extLst>
          </p:cNvPr>
          <p:cNvSpPr txBox="1">
            <a:spLocks/>
          </p:cNvSpPr>
          <p:nvPr/>
        </p:nvSpPr>
        <p:spPr>
          <a:xfrm>
            <a:off x="5999781" y="3714317"/>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00" b="1" dirty="0"/>
              <a:t>Lunch</a:t>
            </a:r>
          </a:p>
        </p:txBody>
      </p:sp>
      <p:sp>
        <p:nvSpPr>
          <p:cNvPr id="87" name="Content Placeholder 7">
            <a:extLst>
              <a:ext uri="{FF2B5EF4-FFF2-40B4-BE49-F238E27FC236}">
                <a16:creationId xmlns:a16="http://schemas.microsoft.com/office/drawing/2014/main" id="{06E7ED1C-6083-44CC-9FF1-14867049BE68}"/>
              </a:ext>
            </a:extLst>
          </p:cNvPr>
          <p:cNvSpPr txBox="1">
            <a:spLocks/>
          </p:cNvSpPr>
          <p:nvPr/>
        </p:nvSpPr>
        <p:spPr>
          <a:xfrm>
            <a:off x="5999780" y="4045081"/>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The art of listening</a:t>
            </a:r>
          </a:p>
        </p:txBody>
      </p:sp>
      <p:sp>
        <p:nvSpPr>
          <p:cNvPr id="88" name="Content Placeholder 7">
            <a:extLst>
              <a:ext uri="{FF2B5EF4-FFF2-40B4-BE49-F238E27FC236}">
                <a16:creationId xmlns:a16="http://schemas.microsoft.com/office/drawing/2014/main" id="{3A1CB74F-31A9-47A1-9769-04D2E5EC1D13}"/>
              </a:ext>
            </a:extLst>
          </p:cNvPr>
          <p:cNvSpPr txBox="1">
            <a:spLocks/>
          </p:cNvSpPr>
          <p:nvPr/>
        </p:nvSpPr>
        <p:spPr>
          <a:xfrm>
            <a:off x="5999780" y="4375845"/>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Sharing future cases</a:t>
            </a:r>
          </a:p>
        </p:txBody>
      </p:sp>
      <p:sp>
        <p:nvSpPr>
          <p:cNvPr id="89" name="Content Placeholder 7">
            <a:extLst>
              <a:ext uri="{FF2B5EF4-FFF2-40B4-BE49-F238E27FC236}">
                <a16:creationId xmlns:a16="http://schemas.microsoft.com/office/drawing/2014/main" id="{7C747F50-533A-420C-B032-5CEF398AAEF7}"/>
              </a:ext>
            </a:extLst>
          </p:cNvPr>
          <p:cNvSpPr txBox="1">
            <a:spLocks/>
          </p:cNvSpPr>
          <p:nvPr/>
        </p:nvSpPr>
        <p:spPr>
          <a:xfrm>
            <a:off x="5999780" y="4706609"/>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A REAL conversation (W&amp;T)</a:t>
            </a:r>
          </a:p>
        </p:txBody>
      </p:sp>
      <p:sp>
        <p:nvSpPr>
          <p:cNvPr id="90" name="Content Placeholder 7">
            <a:extLst>
              <a:ext uri="{FF2B5EF4-FFF2-40B4-BE49-F238E27FC236}">
                <a16:creationId xmlns:a16="http://schemas.microsoft.com/office/drawing/2014/main" id="{0685D91F-062D-4032-90C1-F9186F57D09F}"/>
              </a:ext>
            </a:extLst>
          </p:cNvPr>
          <p:cNvSpPr txBox="1">
            <a:spLocks/>
          </p:cNvSpPr>
          <p:nvPr/>
        </p:nvSpPr>
        <p:spPr>
          <a:xfrm>
            <a:off x="5249507" y="5698398"/>
            <a:ext cx="447238" cy="215444"/>
          </a:xfrm>
          <a:prstGeom prst="rect">
            <a:avLst/>
          </a:prstGeom>
        </p:spPr>
        <p:txBody>
          <a:bodyPr vert="horz" wrap="non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400" dirty="0"/>
              <a:t>16:00</a:t>
            </a:r>
          </a:p>
        </p:txBody>
      </p:sp>
      <p:sp>
        <p:nvSpPr>
          <p:cNvPr id="91" name="Content Placeholder 7">
            <a:extLst>
              <a:ext uri="{FF2B5EF4-FFF2-40B4-BE49-F238E27FC236}">
                <a16:creationId xmlns:a16="http://schemas.microsoft.com/office/drawing/2014/main" id="{D14BA03C-3F9A-4AE4-9E78-3A7081560941}"/>
              </a:ext>
            </a:extLst>
          </p:cNvPr>
          <p:cNvSpPr txBox="1">
            <a:spLocks/>
          </p:cNvSpPr>
          <p:nvPr/>
        </p:nvSpPr>
        <p:spPr>
          <a:xfrm>
            <a:off x="5999780" y="5708494"/>
            <a:ext cx="3712461" cy="184666"/>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Goodbye for now</a:t>
            </a:r>
          </a:p>
        </p:txBody>
      </p:sp>
      <p:sp>
        <p:nvSpPr>
          <p:cNvPr id="92" name="Rectangle 91">
            <a:extLst>
              <a:ext uri="{FF2B5EF4-FFF2-40B4-BE49-F238E27FC236}">
                <a16:creationId xmlns:a16="http://schemas.microsoft.com/office/drawing/2014/main" id="{FD17C0EB-0E28-43D1-BEAB-0C2CD62AC2A9}"/>
              </a:ext>
            </a:extLst>
          </p:cNvPr>
          <p:cNvSpPr/>
          <p:nvPr/>
        </p:nvSpPr>
        <p:spPr>
          <a:xfrm>
            <a:off x="5999781" y="2361181"/>
            <a:ext cx="3494424" cy="369332"/>
          </a:xfrm>
          <a:prstGeom prst="rect">
            <a:avLst/>
          </a:prstGeom>
        </p:spPr>
        <p:txBody>
          <a:bodyPr wrap="square" lIns="0" tIns="0" rIns="0" bIns="0" anchor="ctr">
            <a:spAutoFit/>
          </a:bodyPr>
          <a:lstStyle/>
          <a:p>
            <a:pPr marL="144000" lvl="0" indent="-144000">
              <a:buFont typeface="Arial" panose="020B0604020202020204" pitchFamily="34" charset="0"/>
              <a:buChar char="•"/>
              <a:defRPr/>
            </a:pPr>
            <a:r>
              <a:rPr lang="en-GB" sz="1200" dirty="0">
                <a:solidFill>
                  <a:srgbClr val="000000"/>
                </a:solidFill>
              </a:rPr>
              <a:t>Giving information in a more motivating way - balancing advocacy and inquiry </a:t>
            </a:r>
          </a:p>
        </p:txBody>
      </p:sp>
      <p:sp>
        <p:nvSpPr>
          <p:cNvPr id="93" name="Rectangle 92">
            <a:extLst>
              <a:ext uri="{FF2B5EF4-FFF2-40B4-BE49-F238E27FC236}">
                <a16:creationId xmlns:a16="http://schemas.microsoft.com/office/drawing/2014/main" id="{42291009-D4E5-45F2-817C-9CFBD52E8731}"/>
              </a:ext>
            </a:extLst>
          </p:cNvPr>
          <p:cNvSpPr/>
          <p:nvPr/>
        </p:nvSpPr>
        <p:spPr>
          <a:xfrm>
            <a:off x="5999780" y="2971444"/>
            <a:ext cx="2898529" cy="369332"/>
          </a:xfrm>
          <a:prstGeom prst="rect">
            <a:avLst/>
          </a:prstGeom>
        </p:spPr>
        <p:txBody>
          <a:bodyPr wrap="square" lIns="0" tIns="0" rIns="0" bIns="0" anchor="ctr">
            <a:spAutoFit/>
          </a:bodyPr>
          <a:lstStyle/>
          <a:p>
            <a:pPr marL="144000" lvl="0" indent="-144000">
              <a:buFont typeface="Arial" panose="020B0604020202020204" pitchFamily="34" charset="0"/>
              <a:buChar char="•"/>
              <a:defRPr/>
            </a:pPr>
            <a:r>
              <a:rPr lang="en-GB" sz="1200" dirty="0">
                <a:solidFill>
                  <a:srgbClr val="000000"/>
                </a:solidFill>
              </a:rPr>
              <a:t>Building confidence through appreciation and strengths</a:t>
            </a:r>
          </a:p>
        </p:txBody>
      </p:sp>
      <p:cxnSp>
        <p:nvCxnSpPr>
          <p:cNvPr id="94" name="Straight Connector 93">
            <a:extLst>
              <a:ext uri="{FF2B5EF4-FFF2-40B4-BE49-F238E27FC236}">
                <a16:creationId xmlns:a16="http://schemas.microsoft.com/office/drawing/2014/main" id="{DF572D0C-C869-4DF0-8E54-5441F3260F66}"/>
              </a:ext>
            </a:extLst>
          </p:cNvPr>
          <p:cNvCxnSpPr>
            <a:cxnSpLocks/>
          </p:cNvCxnSpPr>
          <p:nvPr/>
        </p:nvCxnSpPr>
        <p:spPr>
          <a:xfrm>
            <a:off x="5984541" y="3558625"/>
            <a:ext cx="3494423" cy="0"/>
          </a:xfrm>
          <a:prstGeom prst="line">
            <a:avLst/>
          </a:prstGeom>
          <a:ln w="19050">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4C9E784-5683-42B8-AD63-A1A0603C636E}"/>
              </a:ext>
            </a:extLst>
          </p:cNvPr>
          <p:cNvCxnSpPr>
            <a:cxnSpLocks/>
          </p:cNvCxnSpPr>
          <p:nvPr/>
        </p:nvCxnSpPr>
        <p:spPr>
          <a:xfrm>
            <a:off x="5984541" y="5552802"/>
            <a:ext cx="3494423" cy="0"/>
          </a:xfrm>
          <a:prstGeom prst="line">
            <a:avLst/>
          </a:prstGeom>
          <a:ln w="19050">
            <a:solidFill>
              <a:schemeClr val="bg1">
                <a:lumMod val="5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6" name="Content Placeholder 7">
            <a:extLst>
              <a:ext uri="{FF2B5EF4-FFF2-40B4-BE49-F238E27FC236}">
                <a16:creationId xmlns:a16="http://schemas.microsoft.com/office/drawing/2014/main" id="{55709D54-2CF5-44D4-8275-C3B795D4AB41}"/>
              </a:ext>
            </a:extLst>
          </p:cNvPr>
          <p:cNvSpPr txBox="1">
            <a:spLocks/>
          </p:cNvSpPr>
          <p:nvPr/>
        </p:nvSpPr>
        <p:spPr>
          <a:xfrm>
            <a:off x="5985193" y="5037373"/>
            <a:ext cx="2524824" cy="369332"/>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defRPr/>
            </a:pPr>
            <a:r>
              <a:rPr lang="en-GB" sz="1200" dirty="0"/>
              <a:t>Next steps: 30 day challenge, Home assignments and exam </a:t>
            </a:r>
          </a:p>
        </p:txBody>
      </p:sp>
    </p:spTree>
    <p:extLst>
      <p:ext uri="{BB962C8B-B14F-4D97-AF65-F5344CB8AC3E}">
        <p14:creationId xmlns:p14="http://schemas.microsoft.com/office/powerpoint/2010/main" val="1171991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B14CEC28-36A7-442E-83B5-73788B6FD4FC}"/>
              </a:ext>
            </a:extLst>
          </p:cNvPr>
          <p:cNvGrpSpPr/>
          <p:nvPr/>
        </p:nvGrpSpPr>
        <p:grpSpPr>
          <a:xfrm>
            <a:off x="963928" y="880800"/>
            <a:ext cx="7978145" cy="1422387"/>
            <a:chOff x="963928" y="2038094"/>
            <a:chExt cx="7978145" cy="1422387"/>
          </a:xfrm>
        </p:grpSpPr>
        <p:sp>
          <p:nvSpPr>
            <p:cNvPr id="26" name="Rectangle 25">
              <a:extLst>
                <a:ext uri="{FF2B5EF4-FFF2-40B4-BE49-F238E27FC236}">
                  <a16:creationId xmlns:a16="http://schemas.microsoft.com/office/drawing/2014/main" id="{29AB5ADA-FAB8-44D8-9E72-5B9E8521DF4F}"/>
                </a:ext>
              </a:extLst>
            </p:cNvPr>
            <p:cNvSpPr/>
            <p:nvPr/>
          </p:nvSpPr>
          <p:spPr>
            <a:xfrm>
              <a:off x="5592391" y="2528872"/>
              <a:ext cx="3349682" cy="931609"/>
            </a:xfrm>
            <a:prstGeom prst="rect">
              <a:avLst/>
            </a:prstGeom>
            <a:solidFill>
              <a:srgbClr val="D0B2B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noProof="0" dirty="0">
                <a:solidFill>
                  <a:srgbClr val="2F363B"/>
                </a:solidFill>
              </a:endParaRPr>
            </a:p>
          </p:txBody>
        </p:sp>
        <p:sp>
          <p:nvSpPr>
            <p:cNvPr id="27" name="Rectangle 26">
              <a:extLst>
                <a:ext uri="{FF2B5EF4-FFF2-40B4-BE49-F238E27FC236}">
                  <a16:creationId xmlns:a16="http://schemas.microsoft.com/office/drawing/2014/main" id="{B2358CBE-526A-4271-8BE4-FB37905E1587}"/>
                </a:ext>
              </a:extLst>
            </p:cNvPr>
            <p:cNvSpPr/>
            <p:nvPr/>
          </p:nvSpPr>
          <p:spPr>
            <a:xfrm>
              <a:off x="963928" y="2528872"/>
              <a:ext cx="3349682" cy="931609"/>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noProof="0" dirty="0">
                <a:solidFill>
                  <a:srgbClr val="2F363B"/>
                </a:solidFill>
              </a:endParaRPr>
            </a:p>
          </p:txBody>
        </p:sp>
        <p:sp>
          <p:nvSpPr>
            <p:cNvPr id="30" name="TextBox 29">
              <a:extLst>
                <a:ext uri="{FF2B5EF4-FFF2-40B4-BE49-F238E27FC236}">
                  <a16:creationId xmlns:a16="http://schemas.microsoft.com/office/drawing/2014/main" id="{58585857-3C82-4346-B7B9-FAC5BE541F99}"/>
                </a:ext>
              </a:extLst>
            </p:cNvPr>
            <p:cNvSpPr txBox="1"/>
            <p:nvPr/>
          </p:nvSpPr>
          <p:spPr>
            <a:xfrm>
              <a:off x="1249798"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Talent (core strength)</a:t>
              </a:r>
            </a:p>
          </p:txBody>
        </p:sp>
        <p:sp>
          <p:nvSpPr>
            <p:cNvPr id="31" name="TextBox 30">
              <a:extLst>
                <a:ext uri="{FF2B5EF4-FFF2-40B4-BE49-F238E27FC236}">
                  <a16:creationId xmlns:a16="http://schemas.microsoft.com/office/drawing/2014/main" id="{7AA2BC0E-3F07-4D78-9DDB-57C5190EBE65}"/>
                </a:ext>
              </a:extLst>
            </p:cNvPr>
            <p:cNvSpPr txBox="1"/>
            <p:nvPr/>
          </p:nvSpPr>
          <p:spPr>
            <a:xfrm>
              <a:off x="5878260"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Pitfall</a:t>
              </a:r>
            </a:p>
          </p:txBody>
        </p:sp>
        <p:sp>
          <p:nvSpPr>
            <p:cNvPr id="28" name="TextBox 27">
              <a:extLst>
                <a:ext uri="{FF2B5EF4-FFF2-40B4-BE49-F238E27FC236}">
                  <a16:creationId xmlns:a16="http://schemas.microsoft.com/office/drawing/2014/main" id="{3762796B-03EF-4B2C-8186-1D7E689DA219}"/>
                </a:ext>
              </a:extLst>
            </p:cNvPr>
            <p:cNvSpPr txBox="1"/>
            <p:nvPr/>
          </p:nvSpPr>
          <p:spPr>
            <a:xfrm>
              <a:off x="3966448" y="2038094"/>
              <a:ext cx="2007922" cy="215444"/>
            </a:xfrm>
            <a:prstGeom prst="rect">
              <a:avLst/>
            </a:prstGeom>
            <a:noFill/>
          </p:spPr>
          <p:txBody>
            <a:bodyPr wrap="none" lIns="0" tIns="0" rIns="0" bIns="0" rtlCol="0">
              <a:spAutoFit/>
            </a:bodyPr>
            <a:lstStyle/>
            <a:p>
              <a:pPr algn="ctr">
                <a:spcBef>
                  <a:spcPts val="600"/>
                </a:spcBef>
              </a:pPr>
              <a:r>
                <a:rPr lang="en-GB" sz="1400" dirty="0">
                  <a:solidFill>
                    <a:srgbClr val="1F2023"/>
                  </a:solidFill>
                  <a:latin typeface="Arial" pitchFamily="34" charset="0"/>
                  <a:cs typeface="Arial" pitchFamily="34" charset="0"/>
                </a:rPr>
                <a:t>Too much of a good thing</a:t>
              </a:r>
            </a:p>
          </p:txBody>
        </p:sp>
      </p:grpSp>
      <p:sp>
        <p:nvSpPr>
          <p:cNvPr id="2" name="Title 1">
            <a:extLst>
              <a:ext uri="{FF2B5EF4-FFF2-40B4-BE49-F238E27FC236}">
                <a16:creationId xmlns:a16="http://schemas.microsoft.com/office/drawing/2014/main" id="{A312102A-4C46-4EAA-BE7B-1CFE6E1E0636}"/>
              </a:ext>
            </a:extLst>
          </p:cNvPr>
          <p:cNvSpPr>
            <a:spLocks noGrp="1"/>
          </p:cNvSpPr>
          <p:nvPr>
            <p:ph type="title"/>
          </p:nvPr>
        </p:nvSpPr>
        <p:spPr/>
        <p:txBody>
          <a:bodyPr/>
          <a:lstStyle/>
          <a:p>
            <a:r>
              <a:rPr lang="en-GB" dirty="0"/>
              <a:t>Talents and pitfalls – a way of looking for the positive in the negative</a:t>
            </a:r>
          </a:p>
        </p:txBody>
      </p:sp>
      <p:sp>
        <p:nvSpPr>
          <p:cNvPr id="16" name="TextBox 15">
            <a:extLst>
              <a:ext uri="{FF2B5EF4-FFF2-40B4-BE49-F238E27FC236}">
                <a16:creationId xmlns:a16="http://schemas.microsoft.com/office/drawing/2014/main" id="{75E7F1CA-58CF-46D0-B539-4CEEE2A5F2E4}"/>
              </a:ext>
            </a:extLst>
          </p:cNvPr>
          <p:cNvSpPr txBox="1"/>
          <p:nvPr/>
        </p:nvSpPr>
        <p:spPr>
          <a:xfrm>
            <a:off x="273050" y="6548670"/>
            <a:ext cx="2013372" cy="123111"/>
          </a:xfrm>
          <a:prstGeom prst="rect">
            <a:avLst/>
          </a:prstGeom>
          <a:noFill/>
        </p:spPr>
        <p:txBody>
          <a:bodyPr wrap="none" lIns="0" tIns="0" rIns="0" bIns="0" rtlCol="0">
            <a:spAutoFit/>
          </a:bodyPr>
          <a:lstStyle>
            <a:defPPr>
              <a:defRPr lang="da-DK"/>
            </a:defPPr>
            <a:lvl1pPr indent="-457200">
              <a:spcBef>
                <a:spcPts val="600"/>
              </a:spcBef>
              <a:buSzPct val="100000"/>
              <a:defRPr>
                <a:solidFill>
                  <a:srgbClr val="342F2B"/>
                </a:solidFill>
                <a:latin typeface="Arial" pitchFamily="34" charset="0"/>
                <a:cs typeface="Arial" pitchFamily="34" charset="0"/>
              </a:defRPr>
            </a:lvl1pPr>
            <a:lvl2pPr marL="180000" lvl="1"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2pPr>
            <a:lvl3pPr marL="358775" lvl="2" indent="-180000">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3pPr>
            <a:lvl4pPr marL="541338" lvl="3" indent="-182563">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4pPr>
            <a:lvl5pPr marL="715963" lvl="4" indent="-174625">
              <a:spcBef>
                <a:spcPts val="600"/>
              </a:spcBef>
              <a:buSzPct val="100000"/>
              <a:buFont typeface="Arial" panose="020B0604020202020204" pitchFamily="34" charset="0"/>
              <a:buChar char="·"/>
              <a:defRPr>
                <a:solidFill>
                  <a:srgbClr val="342F2B"/>
                </a:solidFill>
                <a:latin typeface="Arial" panose="020B0604020202020204" pitchFamily="34" charset="0"/>
                <a:cs typeface="Arial" panose="020B0604020202020204" pitchFamily="34" charset="0"/>
              </a:defRPr>
            </a:lvl5pPr>
          </a:lstStyle>
          <a:p>
            <a:pPr marL="0" lvl="1" indent="0">
              <a:buNone/>
            </a:pPr>
            <a:r>
              <a:rPr lang="en-GB" sz="800" dirty="0">
                <a:solidFill>
                  <a:srgbClr val="1F2023"/>
                </a:solidFill>
                <a:sym typeface="Arial" panose="020B0604020202020204" pitchFamily="34" charset="0"/>
              </a:rPr>
              <a:t>Source: Daniel </a:t>
            </a:r>
            <a:r>
              <a:rPr lang="en-GB" sz="800" dirty="0" err="1">
                <a:solidFill>
                  <a:srgbClr val="1F2023"/>
                </a:solidFill>
                <a:sym typeface="Arial" panose="020B0604020202020204" pitchFamily="34" charset="0"/>
              </a:rPr>
              <a:t>Ofman</a:t>
            </a:r>
            <a:r>
              <a:rPr lang="en-GB" sz="800" dirty="0">
                <a:solidFill>
                  <a:srgbClr val="1F2023"/>
                </a:solidFill>
                <a:sym typeface="Arial" panose="020B0604020202020204" pitchFamily="34" charset="0"/>
              </a:rPr>
              <a:t>, Core Qualities, 1992</a:t>
            </a:r>
          </a:p>
        </p:txBody>
      </p:sp>
      <p:grpSp>
        <p:nvGrpSpPr>
          <p:cNvPr id="4" name="Group 3">
            <a:extLst>
              <a:ext uri="{FF2B5EF4-FFF2-40B4-BE49-F238E27FC236}">
                <a16:creationId xmlns:a16="http://schemas.microsoft.com/office/drawing/2014/main" id="{722EF9D8-34D2-4D1F-996C-18CEDFCF4361}"/>
              </a:ext>
            </a:extLst>
          </p:cNvPr>
          <p:cNvGrpSpPr/>
          <p:nvPr/>
        </p:nvGrpSpPr>
        <p:grpSpPr>
          <a:xfrm>
            <a:off x="981336" y="2772087"/>
            <a:ext cx="7978145" cy="2810329"/>
            <a:chOff x="963928" y="1932443"/>
            <a:chExt cx="7978145" cy="2810329"/>
          </a:xfrm>
        </p:grpSpPr>
        <p:sp>
          <p:nvSpPr>
            <p:cNvPr id="62" name="Rectangle 61">
              <a:extLst>
                <a:ext uri="{FF2B5EF4-FFF2-40B4-BE49-F238E27FC236}">
                  <a16:creationId xmlns:a16="http://schemas.microsoft.com/office/drawing/2014/main" id="{25342E2C-B01E-4820-A794-9AFAB70A04E7}"/>
                </a:ext>
              </a:extLst>
            </p:cNvPr>
            <p:cNvSpPr/>
            <p:nvPr/>
          </p:nvSpPr>
          <p:spPr>
            <a:xfrm>
              <a:off x="5592391" y="2528872"/>
              <a:ext cx="3349682" cy="2213900"/>
            </a:xfrm>
            <a:prstGeom prst="rect">
              <a:avLst/>
            </a:prstGeom>
            <a:solidFill>
              <a:srgbClr val="F4F0E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sz="1000" noProof="0" dirty="0">
                <a:solidFill>
                  <a:srgbClr val="2F363B"/>
                </a:solidFill>
              </a:endParaRPr>
            </a:p>
            <a:p>
              <a:pPr marL="171450" indent="-171450" algn="l">
                <a:buFont typeface="Arial" panose="020B0604020202020204" pitchFamily="34" charset="0"/>
                <a:buChar char="•"/>
              </a:pPr>
              <a:endParaRPr lang="en-GB" sz="1600" dirty="0">
                <a:solidFill>
                  <a:srgbClr val="2F363B"/>
                </a:solidFill>
              </a:endParaRPr>
            </a:p>
            <a:p>
              <a:pPr marL="171450" indent="-171450" algn="l">
                <a:buFont typeface="Arial" panose="020B0604020202020204" pitchFamily="34" charset="0"/>
                <a:buChar char="•"/>
              </a:pPr>
              <a:r>
                <a:rPr lang="en-GB" sz="1600" dirty="0">
                  <a:solidFill>
                    <a:srgbClr val="2F363B"/>
                  </a:solidFill>
                </a:rPr>
                <a:t>Opposite of the pitfall, but framed in a </a:t>
              </a:r>
              <a:r>
                <a:rPr lang="en-GB" sz="1600" i="1" dirty="0">
                  <a:solidFill>
                    <a:srgbClr val="2F363B"/>
                  </a:solidFill>
                </a:rPr>
                <a:t>positive </a:t>
              </a:r>
              <a:r>
                <a:rPr lang="en-GB" sz="1600" dirty="0">
                  <a:solidFill>
                    <a:srgbClr val="2F363B"/>
                  </a:solidFill>
                </a:rPr>
                <a:t>way </a:t>
              </a:r>
            </a:p>
            <a:p>
              <a:pPr marL="171450" indent="-171450" algn="l">
                <a:buFont typeface="Arial" panose="020B0604020202020204" pitchFamily="34" charset="0"/>
                <a:buChar char="•"/>
              </a:pPr>
              <a:r>
                <a:rPr lang="en-GB" sz="1600" dirty="0">
                  <a:solidFill>
                    <a:srgbClr val="2F363B"/>
                  </a:solidFill>
                </a:rPr>
                <a:t>Something that creates a better balance between Talent and Pitfall</a:t>
              </a:r>
            </a:p>
            <a:p>
              <a:pPr marL="171450" indent="-171450" algn="l">
                <a:buFont typeface="Arial" panose="020B0604020202020204" pitchFamily="34" charset="0"/>
                <a:buChar char="•"/>
              </a:pPr>
              <a:r>
                <a:rPr lang="en-GB" sz="1600" noProof="0" dirty="0">
                  <a:solidFill>
                    <a:srgbClr val="2F363B"/>
                  </a:solidFill>
                </a:rPr>
                <a:t>Something you might aspire to</a:t>
              </a:r>
            </a:p>
          </p:txBody>
        </p:sp>
        <p:sp>
          <p:nvSpPr>
            <p:cNvPr id="7" name="Rectangle 6">
              <a:extLst>
                <a:ext uri="{FF2B5EF4-FFF2-40B4-BE49-F238E27FC236}">
                  <a16:creationId xmlns:a16="http://schemas.microsoft.com/office/drawing/2014/main" id="{6A1C954A-1C37-4340-B0F8-E394726A355B}"/>
                </a:ext>
              </a:extLst>
            </p:cNvPr>
            <p:cNvSpPr/>
            <p:nvPr/>
          </p:nvSpPr>
          <p:spPr>
            <a:xfrm>
              <a:off x="963928" y="2528872"/>
              <a:ext cx="3349682" cy="2213900"/>
            </a:xfrm>
            <a:prstGeom prst="rect">
              <a:avLst/>
            </a:prstGeom>
            <a:solidFill>
              <a:srgbClr val="A1656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marL="171450" indent="-171450" algn="l">
                <a:buFont typeface="Arial" panose="020B0604020202020204" pitchFamily="34" charset="0"/>
                <a:buChar char="•"/>
              </a:pPr>
              <a:endParaRPr lang="en-GB" sz="1000" noProof="0" dirty="0">
                <a:solidFill>
                  <a:schemeClr val="bg1"/>
                </a:solidFill>
              </a:endParaRPr>
            </a:p>
            <a:p>
              <a:pPr marL="171450" indent="-171450" algn="l">
                <a:buFont typeface="Arial" panose="020B0604020202020204" pitchFamily="34" charset="0"/>
                <a:buChar char="•"/>
              </a:pPr>
              <a:endParaRPr lang="en-GB" sz="1600" dirty="0">
                <a:solidFill>
                  <a:schemeClr val="bg1"/>
                </a:solidFill>
              </a:endParaRPr>
            </a:p>
            <a:p>
              <a:pPr marL="171450" indent="-171450" algn="l">
                <a:buFont typeface="Arial" panose="020B0604020202020204" pitchFamily="34" charset="0"/>
                <a:buChar char="•"/>
              </a:pPr>
              <a:r>
                <a:rPr lang="en-GB" sz="1600" dirty="0">
                  <a:solidFill>
                    <a:schemeClr val="bg1"/>
                  </a:solidFill>
                </a:rPr>
                <a:t>What you “just can’t tolerate!”</a:t>
              </a:r>
            </a:p>
            <a:p>
              <a:pPr marL="171450" indent="-171450" algn="l">
                <a:buFont typeface="Arial" panose="020B0604020202020204" pitchFamily="34" charset="0"/>
                <a:buChar char="•"/>
              </a:pPr>
              <a:r>
                <a:rPr lang="en-GB" sz="1600" dirty="0">
                  <a:solidFill>
                    <a:schemeClr val="bg1"/>
                  </a:solidFill>
                </a:rPr>
                <a:t>Too much of the development area </a:t>
              </a:r>
              <a:r>
                <a:rPr lang="en-GB" sz="1600" dirty="0" err="1">
                  <a:solidFill>
                    <a:schemeClr val="bg1"/>
                  </a:solidFill>
                </a:rPr>
                <a:t>behavior</a:t>
              </a:r>
              <a:endParaRPr lang="en-GB" sz="1600" dirty="0">
                <a:solidFill>
                  <a:schemeClr val="bg1"/>
                </a:solidFill>
              </a:endParaRPr>
            </a:p>
            <a:p>
              <a:pPr marL="171450" indent="-171450" algn="l">
                <a:buFont typeface="Arial" panose="020B0604020202020204" pitchFamily="34" charset="0"/>
                <a:buChar char="•"/>
              </a:pPr>
              <a:r>
                <a:rPr lang="en-GB" sz="1600" dirty="0">
                  <a:solidFill>
                    <a:schemeClr val="bg1"/>
                  </a:solidFill>
                </a:rPr>
                <a:t>When you see an allergy in others, it can drive you into your own pitfall</a:t>
              </a:r>
            </a:p>
            <a:p>
              <a:pPr algn="l"/>
              <a:endParaRPr lang="en-GB" sz="1600" noProof="0" dirty="0">
                <a:solidFill>
                  <a:schemeClr val="bg1"/>
                </a:solidFill>
              </a:endParaRPr>
            </a:p>
          </p:txBody>
        </p:sp>
        <p:sp>
          <p:nvSpPr>
            <p:cNvPr id="15" name="TextBox 14">
              <a:extLst>
                <a:ext uri="{FF2B5EF4-FFF2-40B4-BE49-F238E27FC236}">
                  <a16:creationId xmlns:a16="http://schemas.microsoft.com/office/drawing/2014/main" id="{B58DCCBE-EA99-434E-99AD-3F5398BFCB6C}"/>
                </a:ext>
              </a:extLst>
            </p:cNvPr>
            <p:cNvSpPr txBox="1"/>
            <p:nvPr/>
          </p:nvSpPr>
          <p:spPr>
            <a:xfrm>
              <a:off x="3949039" y="1932443"/>
              <a:ext cx="2007922" cy="215444"/>
            </a:xfrm>
            <a:prstGeom prst="rect">
              <a:avLst/>
            </a:prstGeom>
            <a:noFill/>
          </p:spPr>
          <p:txBody>
            <a:bodyPr wrap="none" lIns="0" tIns="0" rIns="0" bIns="0" rtlCol="0">
              <a:spAutoFit/>
            </a:bodyPr>
            <a:lstStyle/>
            <a:p>
              <a:pPr algn="ctr">
                <a:spcBef>
                  <a:spcPts val="600"/>
                </a:spcBef>
              </a:pPr>
              <a:r>
                <a:rPr lang="en-GB" sz="1400" dirty="0">
                  <a:solidFill>
                    <a:srgbClr val="1F2023"/>
                  </a:solidFill>
                  <a:latin typeface="Arial" pitchFamily="34" charset="0"/>
                  <a:cs typeface="Arial" pitchFamily="34" charset="0"/>
                </a:rPr>
                <a:t>Too much of a good thing</a:t>
              </a:r>
            </a:p>
          </p:txBody>
        </p:sp>
        <p:sp>
          <p:nvSpPr>
            <p:cNvPr id="5" name="TextBox 4">
              <a:extLst>
                <a:ext uri="{FF2B5EF4-FFF2-40B4-BE49-F238E27FC236}">
                  <a16:creationId xmlns:a16="http://schemas.microsoft.com/office/drawing/2014/main" id="{3B7516B7-6DC6-47CA-ADB4-9AEDE301F11D}"/>
                </a:ext>
              </a:extLst>
            </p:cNvPr>
            <p:cNvSpPr txBox="1"/>
            <p:nvPr/>
          </p:nvSpPr>
          <p:spPr>
            <a:xfrm>
              <a:off x="1249798"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Allergy!</a:t>
              </a:r>
            </a:p>
          </p:txBody>
        </p:sp>
        <p:sp>
          <p:nvSpPr>
            <p:cNvPr id="42" name="TextBox 41">
              <a:extLst>
                <a:ext uri="{FF2B5EF4-FFF2-40B4-BE49-F238E27FC236}">
                  <a16:creationId xmlns:a16="http://schemas.microsoft.com/office/drawing/2014/main" id="{D204D4FF-63B2-4E6D-99EE-E7F7D7F9F157}"/>
                </a:ext>
              </a:extLst>
            </p:cNvPr>
            <p:cNvSpPr txBox="1"/>
            <p:nvPr/>
          </p:nvSpPr>
          <p:spPr>
            <a:xfrm>
              <a:off x="5878260" y="2266652"/>
              <a:ext cx="2777942" cy="452488"/>
            </a:xfrm>
            <a:prstGeom prst="rect">
              <a:avLst/>
            </a:prstGeom>
            <a:solidFill>
              <a:srgbClr val="F3F2F0"/>
            </a:solidFill>
          </p:spPr>
          <p:txBody>
            <a:bodyPr wrap="square" lIns="0" tIns="0" rIns="0" bIns="0" rtlCol="0" anchor="ctr">
              <a:noAutofit/>
            </a:bodyPr>
            <a:lstStyle/>
            <a:p>
              <a:pPr algn="ctr">
                <a:spcBef>
                  <a:spcPts val="600"/>
                </a:spcBef>
              </a:pPr>
              <a:r>
                <a:rPr lang="en-GB" sz="1400" b="1" dirty="0">
                  <a:solidFill>
                    <a:srgbClr val="342F2B"/>
                  </a:solidFill>
                  <a:latin typeface="Arial" pitchFamily="34" charset="0"/>
                  <a:cs typeface="Arial" pitchFamily="34" charset="0"/>
                </a:rPr>
                <a:t>Development area</a:t>
              </a:r>
            </a:p>
          </p:txBody>
        </p:sp>
      </p:grpSp>
      <p:cxnSp>
        <p:nvCxnSpPr>
          <p:cNvPr id="10" name="Straight Connector 9"/>
          <p:cNvCxnSpPr/>
          <p:nvPr/>
        </p:nvCxnSpPr>
        <p:spPr>
          <a:xfrm>
            <a:off x="963929" y="6323760"/>
            <a:ext cx="3349681" cy="0"/>
          </a:xfrm>
          <a:prstGeom prst="line">
            <a:avLst/>
          </a:prstGeom>
          <a:ln w="6350">
            <a:solidFill>
              <a:srgbClr val="B9C7C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a:off x="5592391" y="6323760"/>
            <a:ext cx="3349681" cy="0"/>
          </a:xfrm>
          <a:prstGeom prst="line">
            <a:avLst/>
          </a:prstGeom>
          <a:ln w="6350">
            <a:solidFill>
              <a:srgbClr val="B88B8F"/>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1620665" y="1678328"/>
            <a:ext cx="1917513" cy="584775"/>
          </a:xfrm>
          <a:prstGeom prst="rect">
            <a:avLst/>
          </a:prstGeom>
        </p:spPr>
        <p:txBody>
          <a:bodyPr wrap="none">
            <a:spAutoFit/>
          </a:bodyPr>
          <a:lstStyle/>
          <a:p>
            <a:pPr algn="ctr"/>
            <a:r>
              <a:rPr lang="en-GB" sz="3200" dirty="0">
                <a:latin typeface="Impact" charset="0"/>
                <a:ea typeface="Impact" charset="0"/>
                <a:cs typeface="Impact" charset="0"/>
              </a:rPr>
              <a:t>“ENGAGED”</a:t>
            </a:r>
          </a:p>
        </p:txBody>
      </p:sp>
      <p:sp>
        <p:nvSpPr>
          <p:cNvPr id="60" name="Rectangle 59"/>
          <p:cNvSpPr/>
          <p:nvPr/>
        </p:nvSpPr>
        <p:spPr>
          <a:xfrm>
            <a:off x="6101687" y="1678328"/>
            <a:ext cx="2497671" cy="584775"/>
          </a:xfrm>
          <a:prstGeom prst="rect">
            <a:avLst/>
          </a:prstGeom>
        </p:spPr>
        <p:txBody>
          <a:bodyPr wrap="none">
            <a:spAutoFit/>
          </a:bodyPr>
          <a:lstStyle/>
          <a:p>
            <a:pPr algn="ctr"/>
            <a:r>
              <a:rPr lang="en-GB" sz="3200" dirty="0">
                <a:latin typeface="Impact" charset="0"/>
                <a:ea typeface="Impact" charset="0"/>
                <a:cs typeface="Impact" charset="0"/>
              </a:rPr>
              <a:t>”DOMINATING”</a:t>
            </a:r>
          </a:p>
        </p:txBody>
      </p:sp>
      <p:sp>
        <p:nvSpPr>
          <p:cNvPr id="32" name="Rectangle 31">
            <a:extLst>
              <a:ext uri="{FF2B5EF4-FFF2-40B4-BE49-F238E27FC236}">
                <a16:creationId xmlns:a16="http://schemas.microsoft.com/office/drawing/2014/main" id="{220BCAFD-69EE-4800-9293-DD932A691639}"/>
              </a:ext>
            </a:extLst>
          </p:cNvPr>
          <p:cNvSpPr/>
          <p:nvPr/>
        </p:nvSpPr>
        <p:spPr>
          <a:xfrm>
            <a:off x="1680268" y="5720001"/>
            <a:ext cx="1798313" cy="584775"/>
          </a:xfrm>
          <a:prstGeom prst="rect">
            <a:avLst/>
          </a:prstGeom>
        </p:spPr>
        <p:txBody>
          <a:bodyPr wrap="none">
            <a:spAutoFit/>
          </a:bodyPr>
          <a:lstStyle/>
          <a:p>
            <a:pPr algn="ctr"/>
            <a:r>
              <a:rPr lang="en-GB" sz="3200" dirty="0">
                <a:latin typeface="Impact" charset="0"/>
                <a:ea typeface="Impact" charset="0"/>
                <a:cs typeface="Impact" charset="0"/>
              </a:rPr>
              <a:t>“PASSIVE”</a:t>
            </a:r>
          </a:p>
        </p:txBody>
      </p:sp>
      <p:sp>
        <p:nvSpPr>
          <p:cNvPr id="33" name="Rectangle 32">
            <a:extLst>
              <a:ext uri="{FF2B5EF4-FFF2-40B4-BE49-F238E27FC236}">
                <a16:creationId xmlns:a16="http://schemas.microsoft.com/office/drawing/2014/main" id="{6A3A84CC-0594-46EE-A7B7-CB6BB231AD99}"/>
              </a:ext>
            </a:extLst>
          </p:cNvPr>
          <p:cNvSpPr/>
          <p:nvPr/>
        </p:nvSpPr>
        <p:spPr>
          <a:xfrm>
            <a:off x="6185782" y="5720001"/>
            <a:ext cx="2329484" cy="584775"/>
          </a:xfrm>
          <a:prstGeom prst="rect">
            <a:avLst/>
          </a:prstGeom>
        </p:spPr>
        <p:txBody>
          <a:bodyPr wrap="none">
            <a:spAutoFit/>
          </a:bodyPr>
          <a:lstStyle/>
          <a:p>
            <a:pPr algn="ctr"/>
            <a:r>
              <a:rPr lang="en-GB" sz="3200" dirty="0">
                <a:latin typeface="Impact" charset="0"/>
                <a:ea typeface="Impact" charset="0"/>
                <a:cs typeface="Impact" charset="0"/>
              </a:rPr>
              <a:t>”INCLUIDING”</a:t>
            </a:r>
          </a:p>
        </p:txBody>
      </p:sp>
      <p:cxnSp>
        <p:nvCxnSpPr>
          <p:cNvPr id="37" name="Straight Arrow Connector 36">
            <a:extLst>
              <a:ext uri="{FF2B5EF4-FFF2-40B4-BE49-F238E27FC236}">
                <a16:creationId xmlns:a16="http://schemas.microsoft.com/office/drawing/2014/main" id="{63D49253-4484-4AD1-9D14-008791698FED}"/>
              </a:ext>
            </a:extLst>
          </p:cNvPr>
          <p:cNvCxnSpPr/>
          <p:nvPr/>
        </p:nvCxnSpPr>
        <p:spPr>
          <a:xfrm>
            <a:off x="7256584" y="2284863"/>
            <a:ext cx="0" cy="904122"/>
          </a:xfrm>
          <a:prstGeom prst="straightConnector1">
            <a:avLst/>
          </a:prstGeom>
          <a:ln w="6350">
            <a:solidFill>
              <a:srgbClr val="1F2023"/>
            </a:solidFill>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F0C4894-1D87-4A4A-B019-ADF88C9C0EEA}"/>
              </a:ext>
            </a:extLst>
          </p:cNvPr>
          <p:cNvGrpSpPr/>
          <p:nvPr/>
        </p:nvGrpSpPr>
        <p:grpSpPr>
          <a:xfrm>
            <a:off x="3862316" y="1215009"/>
            <a:ext cx="2036618" cy="2240280"/>
            <a:chOff x="-1257611" y="1549212"/>
            <a:chExt cx="2036618" cy="2240280"/>
          </a:xfrm>
        </p:grpSpPr>
        <p:sp>
          <p:nvSpPr>
            <p:cNvPr id="8" name="Isosceles Triangle 7">
              <a:extLst>
                <a:ext uri="{FF2B5EF4-FFF2-40B4-BE49-F238E27FC236}">
                  <a16:creationId xmlns:a16="http://schemas.microsoft.com/office/drawing/2014/main" id="{D19F2073-0F36-4795-A7EB-6F7530F70E05}"/>
                </a:ext>
              </a:extLst>
            </p:cNvPr>
            <p:cNvSpPr/>
            <p:nvPr/>
          </p:nvSpPr>
          <p:spPr>
            <a:xfrm rot="9245780">
              <a:off x="519750" y="1989184"/>
              <a:ext cx="230985" cy="208698"/>
            </a:xfrm>
            <a:prstGeom prst="triangle">
              <a:avLst/>
            </a:prstGeom>
            <a:solidFill>
              <a:srgbClr val="E9C56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6" name="Arc 35">
              <a:extLst>
                <a:ext uri="{FF2B5EF4-FFF2-40B4-BE49-F238E27FC236}">
                  <a16:creationId xmlns:a16="http://schemas.microsoft.com/office/drawing/2014/main" id="{C2B6669F-A97B-42FE-B7D8-BC86228A44E3}"/>
                </a:ext>
              </a:extLst>
            </p:cNvPr>
            <p:cNvSpPr/>
            <p:nvPr/>
          </p:nvSpPr>
          <p:spPr>
            <a:xfrm flipH="1">
              <a:off x="-1257611" y="1549212"/>
              <a:ext cx="2036618" cy="2240280"/>
            </a:xfrm>
            <a:prstGeom prst="arc">
              <a:avLst>
                <a:gd name="adj1" fmla="val 12731663"/>
                <a:gd name="adj2" fmla="val 19584977"/>
              </a:avLst>
            </a:prstGeom>
            <a:ln w="6350">
              <a:solidFill>
                <a:srgbClr val="1F2023"/>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grpSp>
        <p:nvGrpSpPr>
          <p:cNvPr id="38" name="Group 37">
            <a:extLst>
              <a:ext uri="{FF2B5EF4-FFF2-40B4-BE49-F238E27FC236}">
                <a16:creationId xmlns:a16="http://schemas.microsoft.com/office/drawing/2014/main" id="{8A646E1D-EA98-4B9A-8973-23C208883ADC}"/>
              </a:ext>
            </a:extLst>
          </p:cNvPr>
          <p:cNvGrpSpPr/>
          <p:nvPr/>
        </p:nvGrpSpPr>
        <p:grpSpPr>
          <a:xfrm flipH="1">
            <a:off x="3982133" y="3143607"/>
            <a:ext cx="2114796" cy="2240280"/>
            <a:chOff x="-1257611" y="1549212"/>
            <a:chExt cx="2036618" cy="2240280"/>
          </a:xfrm>
        </p:grpSpPr>
        <p:sp>
          <p:nvSpPr>
            <p:cNvPr id="39" name="Isosceles Triangle 38">
              <a:extLst>
                <a:ext uri="{FF2B5EF4-FFF2-40B4-BE49-F238E27FC236}">
                  <a16:creationId xmlns:a16="http://schemas.microsoft.com/office/drawing/2014/main" id="{CC3A3255-8966-4A81-A2E2-96C653BE2211}"/>
                </a:ext>
              </a:extLst>
            </p:cNvPr>
            <p:cNvSpPr/>
            <p:nvPr/>
          </p:nvSpPr>
          <p:spPr>
            <a:xfrm rot="9245780">
              <a:off x="519750" y="1989184"/>
              <a:ext cx="230985" cy="208698"/>
            </a:xfrm>
            <a:prstGeom prst="triangle">
              <a:avLst/>
            </a:prstGeom>
            <a:solidFill>
              <a:srgbClr val="E9C56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40" name="Arc 39">
              <a:extLst>
                <a:ext uri="{FF2B5EF4-FFF2-40B4-BE49-F238E27FC236}">
                  <a16:creationId xmlns:a16="http://schemas.microsoft.com/office/drawing/2014/main" id="{5A329034-58BC-4866-AA5F-EC85A40D797B}"/>
                </a:ext>
              </a:extLst>
            </p:cNvPr>
            <p:cNvSpPr/>
            <p:nvPr/>
          </p:nvSpPr>
          <p:spPr>
            <a:xfrm flipH="1">
              <a:off x="-1257611" y="1549212"/>
              <a:ext cx="2036618" cy="2240280"/>
            </a:xfrm>
            <a:prstGeom prst="arc">
              <a:avLst>
                <a:gd name="adj1" fmla="val 12731663"/>
                <a:gd name="adj2" fmla="val 19584977"/>
              </a:avLst>
            </a:prstGeom>
            <a:ln w="6350">
              <a:solidFill>
                <a:srgbClr val="1F2023"/>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spTree>
    <p:extLst>
      <p:ext uri="{BB962C8B-B14F-4D97-AF65-F5344CB8AC3E}">
        <p14:creationId xmlns:p14="http://schemas.microsoft.com/office/powerpoint/2010/main" val="2178667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17A6707D-CC51-4237-BDCE-9174B5F44807}"/>
              </a:ext>
            </a:extLst>
          </p:cNvPr>
          <p:cNvSpPr/>
          <p:nvPr/>
        </p:nvSpPr>
        <p:spPr>
          <a:xfrm flipH="1">
            <a:off x="1077526" y="2012945"/>
            <a:ext cx="8555424" cy="3453472"/>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dirty="0"/>
              <a:t>Talents and pitfalls exercise</a:t>
            </a:r>
            <a:endParaRPr lang="en-GB" altLang="da-DK" dirty="0"/>
          </a:p>
        </p:txBody>
      </p:sp>
      <p:sp>
        <p:nvSpPr>
          <p:cNvPr id="13" name="Text Placeholder 12">
            <a:extLst>
              <a:ext uri="{FF2B5EF4-FFF2-40B4-BE49-F238E27FC236}">
                <a16:creationId xmlns:a16="http://schemas.microsoft.com/office/drawing/2014/main" id="{ECDF31B0-BDEF-485F-A687-E7EA5D046390}"/>
              </a:ext>
            </a:extLst>
          </p:cNvPr>
          <p:cNvSpPr>
            <a:spLocks noGrp="1"/>
          </p:cNvSpPr>
          <p:nvPr>
            <p:ph type="body" sz="quarter" idx="13"/>
          </p:nvPr>
        </p:nvSpPr>
        <p:spPr/>
        <p:txBody>
          <a:bodyPr/>
          <a:lstStyle/>
          <a:p>
            <a:endParaRPr lang="en-GB" dirty="0"/>
          </a:p>
        </p:txBody>
      </p:sp>
      <p:sp>
        <p:nvSpPr>
          <p:cNvPr id="14" name="Text Placeholder 13">
            <a:extLst>
              <a:ext uri="{FF2B5EF4-FFF2-40B4-BE49-F238E27FC236}">
                <a16:creationId xmlns:a16="http://schemas.microsoft.com/office/drawing/2014/main" id="{2DDC7057-E1E5-4C19-BBBD-99ACE57E1964}"/>
              </a:ext>
            </a:extLst>
          </p:cNvPr>
          <p:cNvSpPr>
            <a:spLocks noGrp="1"/>
          </p:cNvSpPr>
          <p:nvPr>
            <p:ph type="body" sz="quarter" idx="14"/>
          </p:nvPr>
        </p:nvSpPr>
        <p:spPr/>
        <p:txBody>
          <a:bodyPr/>
          <a:lstStyle/>
          <a:p>
            <a:endParaRPr lang="en-GB" dirty="0"/>
          </a:p>
        </p:txBody>
      </p:sp>
      <p:grpSp>
        <p:nvGrpSpPr>
          <p:cNvPr id="18" name="Group 17">
            <a:extLst>
              <a:ext uri="{FF2B5EF4-FFF2-40B4-BE49-F238E27FC236}">
                <a16:creationId xmlns:a16="http://schemas.microsoft.com/office/drawing/2014/main" id="{B728B98A-BD4A-4A14-9AEA-C2E88CF75B98}"/>
              </a:ext>
            </a:extLst>
          </p:cNvPr>
          <p:cNvGrpSpPr/>
          <p:nvPr/>
        </p:nvGrpSpPr>
        <p:grpSpPr>
          <a:xfrm>
            <a:off x="8298832" y="309514"/>
            <a:ext cx="847612" cy="669167"/>
            <a:chOff x="4051300" y="3319463"/>
            <a:chExt cx="512763" cy="404813"/>
          </a:xfrm>
        </p:grpSpPr>
        <p:sp>
          <p:nvSpPr>
            <p:cNvPr id="19" name="Freeform 22">
              <a:extLst>
                <a:ext uri="{FF2B5EF4-FFF2-40B4-BE49-F238E27FC236}">
                  <a16:creationId xmlns:a16="http://schemas.microsoft.com/office/drawing/2014/main" id="{9DEAED4B-CBB7-46EB-8629-B56F16E90EFB}"/>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23">
              <a:extLst>
                <a:ext uri="{FF2B5EF4-FFF2-40B4-BE49-F238E27FC236}">
                  <a16:creationId xmlns:a16="http://schemas.microsoft.com/office/drawing/2014/main" id="{AC780640-D246-4963-A900-010F23568779}"/>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24">
              <a:extLst>
                <a:ext uri="{FF2B5EF4-FFF2-40B4-BE49-F238E27FC236}">
                  <a16:creationId xmlns:a16="http://schemas.microsoft.com/office/drawing/2014/main" id="{F5F8B9AE-6C3D-43EE-A04B-6776C9B6341F}"/>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 name="Group 38">
            <a:extLst>
              <a:ext uri="{FF2B5EF4-FFF2-40B4-BE49-F238E27FC236}">
                <a16:creationId xmlns:a16="http://schemas.microsoft.com/office/drawing/2014/main" id="{F1A4EFF2-AFF3-441B-B7DF-8DA469034804}"/>
              </a:ext>
            </a:extLst>
          </p:cNvPr>
          <p:cNvGrpSpPr/>
          <p:nvPr/>
        </p:nvGrpSpPr>
        <p:grpSpPr>
          <a:xfrm>
            <a:off x="269874" y="2410215"/>
            <a:ext cx="521502" cy="516440"/>
            <a:chOff x="5499100" y="1640011"/>
            <a:chExt cx="490537" cy="485775"/>
          </a:xfrm>
        </p:grpSpPr>
        <p:grpSp>
          <p:nvGrpSpPr>
            <p:cNvPr id="40" name="Group 39">
              <a:extLst>
                <a:ext uri="{FF2B5EF4-FFF2-40B4-BE49-F238E27FC236}">
                  <a16:creationId xmlns:a16="http://schemas.microsoft.com/office/drawing/2014/main" id="{2349AEF0-3C1E-4BE1-B9F6-CAE14B2414DA}"/>
                </a:ext>
              </a:extLst>
            </p:cNvPr>
            <p:cNvGrpSpPr/>
            <p:nvPr/>
          </p:nvGrpSpPr>
          <p:grpSpPr>
            <a:xfrm>
              <a:off x="5499100" y="1640011"/>
              <a:ext cx="490537" cy="485775"/>
              <a:chOff x="269874" y="1788783"/>
              <a:chExt cx="490537" cy="485775"/>
            </a:xfrm>
          </p:grpSpPr>
          <p:sp>
            <p:nvSpPr>
              <p:cNvPr id="42" name="Oval 232">
                <a:extLst>
                  <a:ext uri="{FF2B5EF4-FFF2-40B4-BE49-F238E27FC236}">
                    <a16:creationId xmlns:a16="http://schemas.microsoft.com/office/drawing/2014/main" id="{158C59B5-139E-4E3E-81DF-70F990A35025}"/>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43" name="Freeform 233">
                <a:extLst>
                  <a:ext uri="{FF2B5EF4-FFF2-40B4-BE49-F238E27FC236}">
                    <a16:creationId xmlns:a16="http://schemas.microsoft.com/office/drawing/2014/main" id="{78A4056E-C097-4435-92E5-8B48BEF8487B}"/>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41" name="textruta 4">
              <a:extLst>
                <a:ext uri="{FF2B5EF4-FFF2-40B4-BE49-F238E27FC236}">
                  <a16:creationId xmlns:a16="http://schemas.microsoft.com/office/drawing/2014/main" id="{ACB3ACC1-678C-4E70-9C65-0F365840B8D8}"/>
                </a:ext>
              </a:extLst>
            </p:cNvPr>
            <p:cNvSpPr txBox="1"/>
            <p:nvPr/>
          </p:nvSpPr>
          <p:spPr>
            <a:xfrm>
              <a:off x="5607050" y="167652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1</a:t>
              </a:r>
            </a:p>
          </p:txBody>
        </p:sp>
      </p:grpSp>
      <p:grpSp>
        <p:nvGrpSpPr>
          <p:cNvPr id="44" name="Group 43">
            <a:extLst>
              <a:ext uri="{FF2B5EF4-FFF2-40B4-BE49-F238E27FC236}">
                <a16:creationId xmlns:a16="http://schemas.microsoft.com/office/drawing/2014/main" id="{0F835E84-B522-4058-9767-4480448E2E6B}"/>
              </a:ext>
            </a:extLst>
          </p:cNvPr>
          <p:cNvGrpSpPr/>
          <p:nvPr/>
        </p:nvGrpSpPr>
        <p:grpSpPr>
          <a:xfrm>
            <a:off x="269874" y="3462346"/>
            <a:ext cx="521502" cy="516441"/>
            <a:chOff x="5499100" y="1640011"/>
            <a:chExt cx="490537" cy="485775"/>
          </a:xfrm>
        </p:grpSpPr>
        <p:grpSp>
          <p:nvGrpSpPr>
            <p:cNvPr id="45" name="Group 44">
              <a:extLst>
                <a:ext uri="{FF2B5EF4-FFF2-40B4-BE49-F238E27FC236}">
                  <a16:creationId xmlns:a16="http://schemas.microsoft.com/office/drawing/2014/main" id="{F126AB53-7D5C-49F8-9A86-5227B1809F0D}"/>
                </a:ext>
              </a:extLst>
            </p:cNvPr>
            <p:cNvGrpSpPr/>
            <p:nvPr/>
          </p:nvGrpSpPr>
          <p:grpSpPr>
            <a:xfrm>
              <a:off x="5499100" y="1640011"/>
              <a:ext cx="490537" cy="485775"/>
              <a:chOff x="269874" y="1788783"/>
              <a:chExt cx="490537" cy="485775"/>
            </a:xfrm>
          </p:grpSpPr>
          <p:sp>
            <p:nvSpPr>
              <p:cNvPr id="47" name="Oval 232">
                <a:extLst>
                  <a:ext uri="{FF2B5EF4-FFF2-40B4-BE49-F238E27FC236}">
                    <a16:creationId xmlns:a16="http://schemas.microsoft.com/office/drawing/2014/main" id="{15A85750-287B-4C95-B658-92F421E0B9E2}"/>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48" name="Freeform 233">
                <a:extLst>
                  <a:ext uri="{FF2B5EF4-FFF2-40B4-BE49-F238E27FC236}">
                    <a16:creationId xmlns:a16="http://schemas.microsoft.com/office/drawing/2014/main" id="{E1A3F11A-197D-4B80-9C15-4E2AB21940A4}"/>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46" name="textruta 4">
              <a:extLst>
                <a:ext uri="{FF2B5EF4-FFF2-40B4-BE49-F238E27FC236}">
                  <a16:creationId xmlns:a16="http://schemas.microsoft.com/office/drawing/2014/main" id="{972825F6-646D-4C10-9A2F-95A339BC4E80}"/>
                </a:ext>
              </a:extLst>
            </p:cNvPr>
            <p:cNvSpPr txBox="1"/>
            <p:nvPr/>
          </p:nvSpPr>
          <p:spPr>
            <a:xfrm>
              <a:off x="5607050" y="1777471"/>
              <a:ext cx="228601" cy="236844"/>
            </a:xfrm>
            <a:prstGeom prst="rect">
              <a:avLst/>
            </a:prstGeom>
            <a:noFill/>
          </p:spPr>
          <p:txBody>
            <a:bodyPr wrap="square" lIns="0" tIns="0" rIns="0" bIns="36000" rtlCol="0" anchor="ctr">
              <a:spAutoFit/>
            </a:bodyPr>
            <a:lstStyle/>
            <a:p>
              <a:pPr algn="ctr">
                <a:buNone/>
              </a:pPr>
              <a:r>
                <a:rPr lang="en-GB" sz="1400" b="1" dirty="0">
                  <a:solidFill>
                    <a:schemeClr val="bg1"/>
                  </a:solidFill>
                </a:rPr>
                <a:t>2</a:t>
              </a:r>
            </a:p>
          </p:txBody>
        </p:sp>
      </p:grpSp>
      <p:grpSp>
        <p:nvGrpSpPr>
          <p:cNvPr id="49" name="Group 48">
            <a:extLst>
              <a:ext uri="{FF2B5EF4-FFF2-40B4-BE49-F238E27FC236}">
                <a16:creationId xmlns:a16="http://schemas.microsoft.com/office/drawing/2014/main" id="{EC51C5EA-48C2-47E7-8715-E609E209BDEC}"/>
              </a:ext>
            </a:extLst>
          </p:cNvPr>
          <p:cNvGrpSpPr/>
          <p:nvPr/>
        </p:nvGrpSpPr>
        <p:grpSpPr>
          <a:xfrm>
            <a:off x="269874" y="4533592"/>
            <a:ext cx="521502" cy="516441"/>
            <a:chOff x="5499100" y="1640011"/>
            <a:chExt cx="490537" cy="485775"/>
          </a:xfrm>
        </p:grpSpPr>
        <p:grpSp>
          <p:nvGrpSpPr>
            <p:cNvPr id="50" name="Group 49">
              <a:extLst>
                <a:ext uri="{FF2B5EF4-FFF2-40B4-BE49-F238E27FC236}">
                  <a16:creationId xmlns:a16="http://schemas.microsoft.com/office/drawing/2014/main" id="{7A0A2796-AAC5-401C-A003-B3D38BD2C7FE}"/>
                </a:ext>
              </a:extLst>
            </p:cNvPr>
            <p:cNvGrpSpPr/>
            <p:nvPr/>
          </p:nvGrpSpPr>
          <p:grpSpPr>
            <a:xfrm>
              <a:off x="5499100" y="1640011"/>
              <a:ext cx="490537" cy="485775"/>
              <a:chOff x="269874" y="1788783"/>
              <a:chExt cx="490537" cy="485775"/>
            </a:xfrm>
          </p:grpSpPr>
          <p:sp>
            <p:nvSpPr>
              <p:cNvPr id="52" name="Oval 232">
                <a:extLst>
                  <a:ext uri="{FF2B5EF4-FFF2-40B4-BE49-F238E27FC236}">
                    <a16:creationId xmlns:a16="http://schemas.microsoft.com/office/drawing/2014/main" id="{D19F1F0F-678B-4443-960E-C67DD9C45309}"/>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53" name="Freeform 233">
                <a:extLst>
                  <a:ext uri="{FF2B5EF4-FFF2-40B4-BE49-F238E27FC236}">
                    <a16:creationId xmlns:a16="http://schemas.microsoft.com/office/drawing/2014/main" id="{4C29F700-5C9F-4946-942B-F24ADA81F26F}"/>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51" name="textruta 4">
              <a:extLst>
                <a:ext uri="{FF2B5EF4-FFF2-40B4-BE49-F238E27FC236}">
                  <a16:creationId xmlns:a16="http://schemas.microsoft.com/office/drawing/2014/main" id="{E6336385-941D-41B2-8190-BB1DC17DA987}"/>
                </a:ext>
              </a:extLst>
            </p:cNvPr>
            <p:cNvSpPr txBox="1"/>
            <p:nvPr/>
          </p:nvSpPr>
          <p:spPr>
            <a:xfrm>
              <a:off x="5607050" y="167124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3</a:t>
              </a:r>
            </a:p>
          </p:txBody>
        </p:sp>
      </p:grpSp>
      <p:sp>
        <p:nvSpPr>
          <p:cNvPr id="54" name="Rectangle 53">
            <a:extLst>
              <a:ext uri="{FF2B5EF4-FFF2-40B4-BE49-F238E27FC236}">
                <a16:creationId xmlns:a16="http://schemas.microsoft.com/office/drawing/2014/main" id="{40DA72E2-B115-4D68-A1FF-DC33C5A42799}"/>
              </a:ext>
            </a:extLst>
          </p:cNvPr>
          <p:cNvSpPr/>
          <p:nvPr/>
        </p:nvSpPr>
        <p:spPr>
          <a:xfrm>
            <a:off x="1955051" y="2344435"/>
            <a:ext cx="7670782" cy="648000"/>
          </a:xfrm>
          <a:prstGeom prst="rect">
            <a:avLst/>
          </a:prstGeom>
        </p:spPr>
        <p:txBody>
          <a:bodyPr lIns="0" anchor="ctr">
            <a:noAutofit/>
          </a:bodyPr>
          <a:lstStyle/>
          <a:p>
            <a:pPr lvl="0">
              <a:defRPr/>
            </a:pPr>
            <a:r>
              <a:rPr lang="en-GB" sz="1200" b="1" dirty="0">
                <a:solidFill>
                  <a:srgbClr val="000000"/>
                </a:solidFill>
              </a:rPr>
              <a:t>Individually (2. min): </a:t>
            </a:r>
          </a:p>
          <a:p>
            <a:pPr lvl="0">
              <a:defRPr/>
            </a:pPr>
            <a:r>
              <a:rPr lang="en-GB" sz="1200" dirty="0">
                <a:solidFill>
                  <a:srgbClr val="000000"/>
                </a:solidFill>
              </a:rPr>
              <a:t>Think of a colleague or a client that has a behaviour that triggers you in a negative way. Write down on a red paper card  2-3 pitfalls that you see in the person</a:t>
            </a:r>
          </a:p>
        </p:txBody>
      </p:sp>
      <p:sp>
        <p:nvSpPr>
          <p:cNvPr id="56" name="Rectangle 55">
            <a:extLst>
              <a:ext uri="{FF2B5EF4-FFF2-40B4-BE49-F238E27FC236}">
                <a16:creationId xmlns:a16="http://schemas.microsoft.com/office/drawing/2014/main" id="{08341151-3347-4B6C-96A7-58F0C87183B9}"/>
              </a:ext>
            </a:extLst>
          </p:cNvPr>
          <p:cNvSpPr/>
          <p:nvPr/>
        </p:nvSpPr>
        <p:spPr>
          <a:xfrm>
            <a:off x="1955051" y="3415681"/>
            <a:ext cx="7670782" cy="648000"/>
          </a:xfrm>
          <a:prstGeom prst="rect">
            <a:avLst/>
          </a:prstGeom>
        </p:spPr>
        <p:txBody>
          <a:bodyPr lIns="0" anchor="ctr">
            <a:noAutofit/>
          </a:bodyPr>
          <a:lstStyle/>
          <a:p>
            <a:pPr lvl="0">
              <a:defRPr/>
            </a:pPr>
            <a:r>
              <a:rPr lang="en-GB" sz="1200" b="1" dirty="0">
                <a:solidFill>
                  <a:srgbClr val="000000"/>
                </a:solidFill>
              </a:rPr>
              <a:t>With buddy:</a:t>
            </a:r>
            <a:r>
              <a:rPr lang="en-GB" sz="1200" dirty="0">
                <a:solidFill>
                  <a:srgbClr val="000000"/>
                </a:solidFill>
              </a:rPr>
              <a:t> </a:t>
            </a:r>
          </a:p>
          <a:p>
            <a:pPr lvl="0">
              <a:defRPr/>
            </a:pPr>
            <a:r>
              <a:rPr lang="en-GB" sz="1200" dirty="0">
                <a:solidFill>
                  <a:srgbClr val="000000"/>
                </a:solidFill>
              </a:rPr>
              <a:t>Share the pitfalls (please do not mention the name of the person, if it´s a person both of you know) </a:t>
            </a:r>
          </a:p>
        </p:txBody>
      </p:sp>
      <p:sp>
        <p:nvSpPr>
          <p:cNvPr id="58" name="Rectangle 57">
            <a:extLst>
              <a:ext uri="{FF2B5EF4-FFF2-40B4-BE49-F238E27FC236}">
                <a16:creationId xmlns:a16="http://schemas.microsoft.com/office/drawing/2014/main" id="{E41787B4-CBBC-4E40-BCC3-70D8B4986A35}"/>
              </a:ext>
            </a:extLst>
          </p:cNvPr>
          <p:cNvSpPr/>
          <p:nvPr/>
        </p:nvSpPr>
        <p:spPr>
          <a:xfrm>
            <a:off x="1955051" y="4486927"/>
            <a:ext cx="7670782" cy="648000"/>
          </a:xfrm>
          <a:prstGeom prst="rect">
            <a:avLst/>
          </a:prstGeom>
        </p:spPr>
        <p:txBody>
          <a:bodyPr lIns="0" anchor="ctr">
            <a:noAutofit/>
          </a:bodyPr>
          <a:lstStyle/>
          <a:p>
            <a:pPr lvl="0">
              <a:defRPr/>
            </a:pPr>
            <a:r>
              <a:rPr lang="en-GB" sz="1200" b="1" dirty="0">
                <a:solidFill>
                  <a:srgbClr val="000000"/>
                </a:solidFill>
              </a:rPr>
              <a:t>Individually (2. min): </a:t>
            </a:r>
          </a:p>
          <a:p>
            <a:pPr lvl="0">
              <a:defRPr/>
            </a:pPr>
            <a:r>
              <a:rPr lang="en-GB" sz="1200" dirty="0">
                <a:solidFill>
                  <a:srgbClr val="000000"/>
                </a:solidFill>
              </a:rPr>
              <a:t>Note on green paper cards – what can I do think or do differently in my conversations with this person.  </a:t>
            </a:r>
          </a:p>
        </p:txBody>
      </p:sp>
      <p:grpSp>
        <p:nvGrpSpPr>
          <p:cNvPr id="22" name="Group 21">
            <a:extLst>
              <a:ext uri="{FF2B5EF4-FFF2-40B4-BE49-F238E27FC236}">
                <a16:creationId xmlns:a16="http://schemas.microsoft.com/office/drawing/2014/main" id="{1EE213F2-B593-4EDD-8DDF-B8336AC18D8D}"/>
              </a:ext>
            </a:extLst>
          </p:cNvPr>
          <p:cNvGrpSpPr/>
          <p:nvPr/>
        </p:nvGrpSpPr>
        <p:grpSpPr>
          <a:xfrm>
            <a:off x="1424578" y="2455383"/>
            <a:ext cx="171450" cy="426104"/>
            <a:chOff x="711201" y="1717676"/>
            <a:chExt cx="215900" cy="536575"/>
          </a:xfrm>
        </p:grpSpPr>
        <p:sp>
          <p:nvSpPr>
            <p:cNvPr id="23" name="Freeform 71">
              <a:extLst>
                <a:ext uri="{FF2B5EF4-FFF2-40B4-BE49-F238E27FC236}">
                  <a16:creationId xmlns:a16="http://schemas.microsoft.com/office/drawing/2014/main" id="{FF8C0727-9378-4BC4-A6C5-595E1A05E3CA}"/>
                </a:ext>
              </a:extLst>
            </p:cNvPr>
            <p:cNvSpPr>
              <a:spLocks/>
            </p:cNvSpPr>
            <p:nvPr/>
          </p:nvSpPr>
          <p:spPr bwMode="auto">
            <a:xfrm>
              <a:off x="711201" y="1717676"/>
              <a:ext cx="215900" cy="536575"/>
            </a:xfrm>
            <a:custGeom>
              <a:avLst/>
              <a:gdLst>
                <a:gd name="T0" fmla="*/ 43 w 48"/>
                <a:gd name="T1" fmla="*/ 119 h 119"/>
                <a:gd name="T2" fmla="*/ 4 w 48"/>
                <a:gd name="T3" fmla="*/ 119 h 119"/>
                <a:gd name="T4" fmla="*/ 0 w 48"/>
                <a:gd name="T5" fmla="*/ 70 h 119"/>
                <a:gd name="T6" fmla="*/ 0 w 48"/>
                <a:gd name="T7" fmla="*/ 24 h 119"/>
                <a:gd name="T8" fmla="*/ 24 w 48"/>
                <a:gd name="T9" fmla="*/ 0 h 119"/>
                <a:gd name="T10" fmla="*/ 24 w 48"/>
                <a:gd name="T11" fmla="*/ 0 h 119"/>
                <a:gd name="T12" fmla="*/ 48 w 48"/>
                <a:gd name="T13" fmla="*/ 24 h 119"/>
                <a:gd name="T14" fmla="*/ 48 w 48"/>
                <a:gd name="T15" fmla="*/ 68 h 119"/>
                <a:gd name="T16" fmla="*/ 43 w 48"/>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19">
                  <a:moveTo>
                    <a:pt x="43" y="119"/>
                  </a:moveTo>
                  <a:cubicBezTo>
                    <a:pt x="4" y="119"/>
                    <a:pt x="4" y="119"/>
                    <a:pt x="4" y="119"/>
                  </a:cubicBezTo>
                  <a:cubicBezTo>
                    <a:pt x="0" y="70"/>
                    <a:pt x="0" y="70"/>
                    <a:pt x="0" y="70"/>
                  </a:cubicBezTo>
                  <a:cubicBezTo>
                    <a:pt x="0" y="24"/>
                    <a:pt x="0" y="24"/>
                    <a:pt x="0" y="24"/>
                  </a:cubicBezTo>
                  <a:cubicBezTo>
                    <a:pt x="0" y="11"/>
                    <a:pt x="10" y="0"/>
                    <a:pt x="24" y="0"/>
                  </a:cubicBezTo>
                  <a:cubicBezTo>
                    <a:pt x="24" y="0"/>
                    <a:pt x="24" y="0"/>
                    <a:pt x="24" y="0"/>
                  </a:cubicBezTo>
                  <a:cubicBezTo>
                    <a:pt x="37" y="0"/>
                    <a:pt x="48" y="11"/>
                    <a:pt x="48" y="24"/>
                  </a:cubicBezTo>
                  <a:cubicBezTo>
                    <a:pt x="48" y="68"/>
                    <a:pt x="48" y="68"/>
                    <a:pt x="48" y="68"/>
                  </a:cubicBezTo>
                  <a:lnTo>
                    <a:pt x="43" y="119"/>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72">
              <a:extLst>
                <a:ext uri="{FF2B5EF4-FFF2-40B4-BE49-F238E27FC236}">
                  <a16:creationId xmlns:a16="http://schemas.microsoft.com/office/drawing/2014/main" id="{F880015F-138B-447D-B16B-495DEA64E38F}"/>
                </a:ext>
              </a:extLst>
            </p:cNvPr>
            <p:cNvSpPr>
              <a:spLocks/>
            </p:cNvSpPr>
            <p:nvPr/>
          </p:nvSpPr>
          <p:spPr bwMode="auto">
            <a:xfrm>
              <a:off x="784226" y="1903413"/>
              <a:ext cx="17463" cy="338138"/>
            </a:xfrm>
            <a:custGeom>
              <a:avLst/>
              <a:gdLst>
                <a:gd name="T0" fmla="*/ 11 w 11"/>
                <a:gd name="T1" fmla="*/ 213 h 213"/>
                <a:gd name="T2" fmla="*/ 0 w 11"/>
                <a:gd name="T3" fmla="*/ 45 h 213"/>
                <a:gd name="T4" fmla="*/ 3 w 11"/>
                <a:gd name="T5" fmla="*/ 0 h 213"/>
              </a:gdLst>
              <a:ahLst/>
              <a:cxnLst>
                <a:cxn ang="0">
                  <a:pos x="T0" y="T1"/>
                </a:cxn>
                <a:cxn ang="0">
                  <a:pos x="T2" y="T3"/>
                </a:cxn>
                <a:cxn ang="0">
                  <a:pos x="T4" y="T5"/>
                </a:cxn>
              </a:cxnLst>
              <a:rect l="0" t="0" r="r" b="b"/>
              <a:pathLst>
                <a:path w="11" h="213">
                  <a:moveTo>
                    <a:pt x="11" y="213"/>
                  </a:moveTo>
                  <a:lnTo>
                    <a:pt x="0" y="45"/>
                  </a:lnTo>
                  <a:lnTo>
                    <a:pt x="3"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73">
              <a:extLst>
                <a:ext uri="{FF2B5EF4-FFF2-40B4-BE49-F238E27FC236}">
                  <a16:creationId xmlns:a16="http://schemas.microsoft.com/office/drawing/2014/main" id="{81D5AC92-B51A-4C9E-A2D3-C25E5D4C6CA6}"/>
                </a:ext>
              </a:extLst>
            </p:cNvPr>
            <p:cNvSpPr>
              <a:spLocks/>
            </p:cNvSpPr>
            <p:nvPr/>
          </p:nvSpPr>
          <p:spPr bwMode="auto">
            <a:xfrm>
              <a:off x="873126" y="1903413"/>
              <a:ext cx="19050" cy="338138"/>
            </a:xfrm>
            <a:custGeom>
              <a:avLst/>
              <a:gdLst>
                <a:gd name="T0" fmla="*/ 12 w 12"/>
                <a:gd name="T1" fmla="*/ 0 h 213"/>
                <a:gd name="T2" fmla="*/ 12 w 12"/>
                <a:gd name="T3" fmla="*/ 45 h 213"/>
                <a:gd name="T4" fmla="*/ 0 w 12"/>
                <a:gd name="T5" fmla="*/ 213 h 213"/>
              </a:gdLst>
              <a:ahLst/>
              <a:cxnLst>
                <a:cxn ang="0">
                  <a:pos x="T0" y="T1"/>
                </a:cxn>
                <a:cxn ang="0">
                  <a:pos x="T2" y="T3"/>
                </a:cxn>
                <a:cxn ang="0">
                  <a:pos x="T4" y="T5"/>
                </a:cxn>
              </a:cxnLst>
              <a:rect l="0" t="0" r="r" b="b"/>
              <a:pathLst>
                <a:path w="12" h="213">
                  <a:moveTo>
                    <a:pt x="12" y="0"/>
                  </a:moveTo>
                  <a:lnTo>
                    <a:pt x="12" y="45"/>
                  </a:lnTo>
                  <a:lnTo>
                    <a:pt x="0" y="213"/>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Line 74">
              <a:extLst>
                <a:ext uri="{FF2B5EF4-FFF2-40B4-BE49-F238E27FC236}">
                  <a16:creationId xmlns:a16="http://schemas.microsoft.com/office/drawing/2014/main" id="{9132D7D4-6766-44F8-B8FF-AAACD89B0CF0}"/>
                </a:ext>
              </a:extLst>
            </p:cNvPr>
            <p:cNvSpPr>
              <a:spLocks noChangeShapeType="1"/>
            </p:cNvSpPr>
            <p:nvPr/>
          </p:nvSpPr>
          <p:spPr bwMode="auto">
            <a:xfrm>
              <a:off x="838201" y="2020888"/>
              <a:ext cx="0" cy="220663"/>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75">
              <a:extLst>
                <a:ext uri="{FF2B5EF4-FFF2-40B4-BE49-F238E27FC236}">
                  <a16:creationId xmlns:a16="http://schemas.microsoft.com/office/drawing/2014/main" id="{7F89AEFC-6B50-490D-92B7-9B16DF1C0EAF}"/>
                </a:ext>
              </a:extLst>
            </p:cNvPr>
            <p:cNvSpPr>
              <a:spLocks/>
            </p:cNvSpPr>
            <p:nvPr/>
          </p:nvSpPr>
          <p:spPr bwMode="auto">
            <a:xfrm>
              <a:off x="747713" y="1822451"/>
              <a:ext cx="179388" cy="201613"/>
            </a:xfrm>
            <a:custGeom>
              <a:avLst/>
              <a:gdLst>
                <a:gd name="T0" fmla="*/ 40 w 40"/>
                <a:gd name="T1" fmla="*/ 45 h 45"/>
                <a:gd name="T2" fmla="*/ 40 w 40"/>
                <a:gd name="T3" fmla="*/ 14 h 45"/>
                <a:gd name="T4" fmla="*/ 26 w 40"/>
                <a:gd name="T5" fmla="*/ 0 h 45"/>
                <a:gd name="T6" fmla="*/ 14 w 40"/>
                <a:gd name="T7" fmla="*/ 0 h 45"/>
                <a:gd name="T8" fmla="*/ 0 w 40"/>
                <a:gd name="T9" fmla="*/ 14 h 45"/>
                <a:gd name="T10" fmla="*/ 0 w 40"/>
                <a:gd name="T11" fmla="*/ 45 h 45"/>
              </a:gdLst>
              <a:ahLst/>
              <a:cxnLst>
                <a:cxn ang="0">
                  <a:pos x="T0" y="T1"/>
                </a:cxn>
                <a:cxn ang="0">
                  <a:pos x="T2" y="T3"/>
                </a:cxn>
                <a:cxn ang="0">
                  <a:pos x="T4" y="T5"/>
                </a:cxn>
                <a:cxn ang="0">
                  <a:pos x="T6" y="T7"/>
                </a:cxn>
                <a:cxn ang="0">
                  <a:pos x="T8" y="T9"/>
                </a:cxn>
                <a:cxn ang="0">
                  <a:pos x="T10" y="T11"/>
                </a:cxn>
              </a:cxnLst>
              <a:rect l="0" t="0" r="r" b="b"/>
              <a:pathLst>
                <a:path w="40" h="45">
                  <a:moveTo>
                    <a:pt x="40" y="45"/>
                  </a:moveTo>
                  <a:cubicBezTo>
                    <a:pt x="40" y="14"/>
                    <a:pt x="40" y="14"/>
                    <a:pt x="40" y="14"/>
                  </a:cubicBezTo>
                  <a:cubicBezTo>
                    <a:pt x="40" y="6"/>
                    <a:pt x="34" y="0"/>
                    <a:pt x="26" y="0"/>
                  </a:cubicBezTo>
                  <a:cubicBezTo>
                    <a:pt x="14" y="0"/>
                    <a:pt x="14" y="0"/>
                    <a:pt x="14" y="0"/>
                  </a:cubicBezTo>
                  <a:cubicBezTo>
                    <a:pt x="6" y="0"/>
                    <a:pt x="0" y="6"/>
                    <a:pt x="0" y="14"/>
                  </a:cubicBezTo>
                  <a:cubicBezTo>
                    <a:pt x="0" y="45"/>
                    <a:pt x="0" y="45"/>
                    <a:pt x="0" y="4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Line 76">
              <a:extLst>
                <a:ext uri="{FF2B5EF4-FFF2-40B4-BE49-F238E27FC236}">
                  <a16:creationId xmlns:a16="http://schemas.microsoft.com/office/drawing/2014/main" id="{4490551C-1AB1-49D2-AD53-F62ED4617C11}"/>
                </a:ext>
              </a:extLst>
            </p:cNvPr>
            <p:cNvSpPr>
              <a:spLocks noChangeShapeType="1"/>
            </p:cNvSpPr>
            <p:nvPr/>
          </p:nvSpPr>
          <p:spPr bwMode="auto">
            <a:xfrm>
              <a:off x="869951" y="1800226"/>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77">
              <a:extLst>
                <a:ext uri="{FF2B5EF4-FFF2-40B4-BE49-F238E27FC236}">
                  <a16:creationId xmlns:a16="http://schemas.microsoft.com/office/drawing/2014/main" id="{D436C415-89EE-46F6-94C9-15E4B666580F}"/>
                </a:ext>
              </a:extLst>
            </p:cNvPr>
            <p:cNvSpPr>
              <a:spLocks/>
            </p:cNvSpPr>
            <p:nvPr/>
          </p:nvSpPr>
          <p:spPr bwMode="auto">
            <a:xfrm>
              <a:off x="796926" y="1717676"/>
              <a:ext cx="80963" cy="104775"/>
            </a:xfrm>
            <a:custGeom>
              <a:avLst/>
              <a:gdLst>
                <a:gd name="T0" fmla="*/ 9 w 18"/>
                <a:gd name="T1" fmla="*/ 23 h 23"/>
                <a:gd name="T2" fmla="*/ 1 w 18"/>
                <a:gd name="T3" fmla="*/ 12 h 23"/>
                <a:gd name="T4" fmla="*/ 9 w 18"/>
                <a:gd name="T5" fmla="*/ 0 h 23"/>
                <a:gd name="T6" fmla="*/ 18 w 18"/>
                <a:gd name="T7" fmla="*/ 12 h 23"/>
                <a:gd name="T8" fmla="*/ 16 w 18"/>
                <a:gd name="T9" fmla="*/ 17 h 23"/>
              </a:gdLst>
              <a:ahLst/>
              <a:cxnLst>
                <a:cxn ang="0">
                  <a:pos x="T0" y="T1"/>
                </a:cxn>
                <a:cxn ang="0">
                  <a:pos x="T2" y="T3"/>
                </a:cxn>
                <a:cxn ang="0">
                  <a:pos x="T4" y="T5"/>
                </a:cxn>
                <a:cxn ang="0">
                  <a:pos x="T6" y="T7"/>
                </a:cxn>
                <a:cxn ang="0">
                  <a:pos x="T8" y="T9"/>
                </a:cxn>
              </a:cxnLst>
              <a:rect l="0" t="0" r="r" b="b"/>
              <a:pathLst>
                <a:path w="18" h="23">
                  <a:moveTo>
                    <a:pt x="9" y="23"/>
                  </a:moveTo>
                  <a:cubicBezTo>
                    <a:pt x="6" y="23"/>
                    <a:pt x="1" y="19"/>
                    <a:pt x="1" y="12"/>
                  </a:cubicBezTo>
                  <a:cubicBezTo>
                    <a:pt x="0" y="5"/>
                    <a:pt x="3" y="0"/>
                    <a:pt x="9" y="0"/>
                  </a:cubicBezTo>
                  <a:cubicBezTo>
                    <a:pt x="15" y="0"/>
                    <a:pt x="18" y="5"/>
                    <a:pt x="18" y="12"/>
                  </a:cubicBezTo>
                  <a:cubicBezTo>
                    <a:pt x="18" y="14"/>
                    <a:pt x="17" y="15"/>
                    <a:pt x="16" y="1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0" name="Group 29">
            <a:extLst>
              <a:ext uri="{FF2B5EF4-FFF2-40B4-BE49-F238E27FC236}">
                <a16:creationId xmlns:a16="http://schemas.microsoft.com/office/drawing/2014/main" id="{B62BD646-CE2C-40ED-96FD-7258CCF7686B}"/>
              </a:ext>
            </a:extLst>
          </p:cNvPr>
          <p:cNvGrpSpPr/>
          <p:nvPr/>
        </p:nvGrpSpPr>
        <p:grpSpPr>
          <a:xfrm>
            <a:off x="1316628" y="3588868"/>
            <a:ext cx="387351" cy="301625"/>
            <a:chOff x="2859088" y="1800226"/>
            <a:chExt cx="387351" cy="301625"/>
          </a:xfrm>
        </p:grpSpPr>
        <p:sp>
          <p:nvSpPr>
            <p:cNvPr id="32" name="Freeform 89">
              <a:extLst>
                <a:ext uri="{FF2B5EF4-FFF2-40B4-BE49-F238E27FC236}">
                  <a16:creationId xmlns:a16="http://schemas.microsoft.com/office/drawing/2014/main" id="{93EB73CC-17A5-48CC-B819-C914A6EACBF5}"/>
                </a:ext>
              </a:extLst>
            </p:cNvPr>
            <p:cNvSpPr>
              <a:spLocks/>
            </p:cNvSpPr>
            <p:nvPr/>
          </p:nvSpPr>
          <p:spPr bwMode="auto">
            <a:xfrm>
              <a:off x="2859088" y="1800226"/>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90">
              <a:extLst>
                <a:ext uri="{FF2B5EF4-FFF2-40B4-BE49-F238E27FC236}">
                  <a16:creationId xmlns:a16="http://schemas.microsoft.com/office/drawing/2014/main" id="{86D226B1-B4CF-4070-B160-48AB99AEDF04}"/>
                </a:ext>
              </a:extLst>
            </p:cNvPr>
            <p:cNvSpPr>
              <a:spLocks/>
            </p:cNvSpPr>
            <p:nvPr/>
          </p:nvSpPr>
          <p:spPr bwMode="auto">
            <a:xfrm>
              <a:off x="3025776" y="1827213"/>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91">
              <a:extLst>
                <a:ext uri="{FF2B5EF4-FFF2-40B4-BE49-F238E27FC236}">
                  <a16:creationId xmlns:a16="http://schemas.microsoft.com/office/drawing/2014/main" id="{DBC3A011-9949-4D65-8933-9B40313A5B31}"/>
                </a:ext>
              </a:extLst>
            </p:cNvPr>
            <p:cNvSpPr>
              <a:spLocks/>
            </p:cNvSpPr>
            <p:nvPr/>
          </p:nvSpPr>
          <p:spPr bwMode="auto">
            <a:xfrm>
              <a:off x="2962276" y="1966913"/>
              <a:ext cx="284163" cy="134938"/>
            </a:xfrm>
            <a:custGeom>
              <a:avLst/>
              <a:gdLst>
                <a:gd name="T0" fmla="*/ 0 w 63"/>
                <a:gd name="T1" fmla="*/ 23 h 30"/>
                <a:gd name="T2" fmla="*/ 10 w 63"/>
                <a:gd name="T3" fmla="*/ 23 h 30"/>
                <a:gd name="T4" fmla="*/ 18 w 63"/>
                <a:gd name="T5" fmla="*/ 15 h 30"/>
                <a:gd name="T6" fmla="*/ 18 w 63"/>
                <a:gd name="T7" fmla="*/ 15 h 30"/>
                <a:gd name="T8" fmla="*/ 33 w 63"/>
                <a:gd name="T9" fmla="*/ 0 h 30"/>
                <a:gd name="T10" fmla="*/ 48 w 63"/>
                <a:gd name="T11" fmla="*/ 0 h 30"/>
                <a:gd name="T12" fmla="*/ 63 w 63"/>
                <a:gd name="T13" fmla="*/ 15 h 30"/>
                <a:gd name="T14" fmla="*/ 63 w 63"/>
                <a:gd name="T15" fmla="*/ 20 h 30"/>
                <a:gd name="T16" fmla="*/ 53 w 63"/>
                <a:gd name="T17" fmla="*/ 30 h 30"/>
                <a:gd name="T18" fmla="*/ 46 w 6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30">
                  <a:moveTo>
                    <a:pt x="0" y="23"/>
                  </a:moveTo>
                  <a:cubicBezTo>
                    <a:pt x="10" y="23"/>
                    <a:pt x="10" y="23"/>
                    <a:pt x="10" y="23"/>
                  </a:cubicBezTo>
                  <a:cubicBezTo>
                    <a:pt x="14" y="23"/>
                    <a:pt x="18" y="19"/>
                    <a:pt x="18" y="15"/>
                  </a:cubicBezTo>
                  <a:cubicBezTo>
                    <a:pt x="18" y="15"/>
                    <a:pt x="18" y="15"/>
                    <a:pt x="18" y="15"/>
                  </a:cubicBezTo>
                  <a:cubicBezTo>
                    <a:pt x="18" y="6"/>
                    <a:pt x="25" y="0"/>
                    <a:pt x="33" y="0"/>
                  </a:cubicBezTo>
                  <a:cubicBezTo>
                    <a:pt x="48" y="0"/>
                    <a:pt x="48" y="0"/>
                    <a:pt x="48" y="0"/>
                  </a:cubicBezTo>
                  <a:cubicBezTo>
                    <a:pt x="56" y="0"/>
                    <a:pt x="63" y="6"/>
                    <a:pt x="63" y="15"/>
                  </a:cubicBezTo>
                  <a:cubicBezTo>
                    <a:pt x="63" y="20"/>
                    <a:pt x="63" y="20"/>
                    <a:pt x="63" y="20"/>
                  </a:cubicBezTo>
                  <a:cubicBezTo>
                    <a:pt x="63" y="25"/>
                    <a:pt x="58" y="30"/>
                    <a:pt x="53" y="30"/>
                  </a:cubicBezTo>
                  <a:cubicBezTo>
                    <a:pt x="46" y="30"/>
                    <a:pt x="46" y="30"/>
                    <a:pt x="46" y="3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92">
              <a:extLst>
                <a:ext uri="{FF2B5EF4-FFF2-40B4-BE49-F238E27FC236}">
                  <a16:creationId xmlns:a16="http://schemas.microsoft.com/office/drawing/2014/main" id="{52CD4B3C-204D-489E-8114-2B90C503CCCA}"/>
                </a:ext>
              </a:extLst>
            </p:cNvPr>
            <p:cNvSpPr>
              <a:spLocks/>
            </p:cNvSpPr>
            <p:nvPr/>
          </p:nvSpPr>
          <p:spPr bwMode="auto">
            <a:xfrm>
              <a:off x="2903538" y="1935163"/>
              <a:ext cx="188913" cy="93663"/>
            </a:xfrm>
            <a:custGeom>
              <a:avLst/>
              <a:gdLst>
                <a:gd name="T0" fmla="*/ 0 w 42"/>
                <a:gd name="T1" fmla="*/ 21 h 21"/>
                <a:gd name="T2" fmla="*/ 0 w 42"/>
                <a:gd name="T3" fmla="*/ 15 h 21"/>
                <a:gd name="T4" fmla="*/ 15 w 42"/>
                <a:gd name="T5" fmla="*/ 0 h 21"/>
                <a:gd name="T6" fmla="*/ 29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6" y="0"/>
                    <a:pt x="15" y="0"/>
                  </a:cubicBezTo>
                  <a:cubicBezTo>
                    <a:pt x="29" y="0"/>
                    <a:pt x="29" y="0"/>
                    <a:pt x="29" y="0"/>
                  </a:cubicBezTo>
                  <a:cubicBezTo>
                    <a:pt x="34" y="0"/>
                    <a:pt x="39" y="2"/>
                    <a:pt x="42"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93">
              <a:extLst>
                <a:ext uri="{FF2B5EF4-FFF2-40B4-BE49-F238E27FC236}">
                  <a16:creationId xmlns:a16="http://schemas.microsoft.com/office/drawing/2014/main" id="{E5489B3F-2CA9-473E-BB95-3A82B86D53BC}"/>
                </a:ext>
              </a:extLst>
            </p:cNvPr>
            <p:cNvSpPr>
              <a:spLocks noChangeShapeType="1"/>
            </p:cNvSpPr>
            <p:nvPr/>
          </p:nvSpPr>
          <p:spPr bwMode="auto">
            <a:xfrm>
              <a:off x="3178176"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94">
              <a:extLst>
                <a:ext uri="{FF2B5EF4-FFF2-40B4-BE49-F238E27FC236}">
                  <a16:creationId xmlns:a16="http://schemas.microsoft.com/office/drawing/2014/main" id="{D97EC0BA-BF49-44EC-93CD-E2FC2AC5A743}"/>
                </a:ext>
              </a:extLst>
            </p:cNvPr>
            <p:cNvSpPr>
              <a:spLocks/>
            </p:cNvSpPr>
            <p:nvPr/>
          </p:nvSpPr>
          <p:spPr bwMode="auto">
            <a:xfrm>
              <a:off x="3097213" y="1849438"/>
              <a:ext cx="95250" cy="117475"/>
            </a:xfrm>
            <a:custGeom>
              <a:avLst/>
              <a:gdLst>
                <a:gd name="T0" fmla="*/ 10 w 21"/>
                <a:gd name="T1" fmla="*/ 26 h 26"/>
                <a:gd name="T2" fmla="*/ 1 w 21"/>
                <a:gd name="T3" fmla="*/ 13 h 26"/>
                <a:gd name="T4" fmla="*/ 10 w 21"/>
                <a:gd name="T5" fmla="*/ 0 h 26"/>
                <a:gd name="T6" fmla="*/ 20 w 21"/>
                <a:gd name="T7" fmla="*/ 13 h 26"/>
                <a:gd name="T8" fmla="*/ 18 w 21"/>
                <a:gd name="T9" fmla="*/ 19 h 26"/>
              </a:gdLst>
              <a:ahLst/>
              <a:cxnLst>
                <a:cxn ang="0">
                  <a:pos x="T0" y="T1"/>
                </a:cxn>
                <a:cxn ang="0">
                  <a:pos x="T2" y="T3"/>
                </a:cxn>
                <a:cxn ang="0">
                  <a:pos x="T4" y="T5"/>
                </a:cxn>
                <a:cxn ang="0">
                  <a:pos x="T6" y="T7"/>
                </a:cxn>
                <a:cxn ang="0">
                  <a:pos x="T8" y="T9"/>
                </a:cxn>
              </a:cxnLst>
              <a:rect l="0" t="0" r="r" b="b"/>
              <a:pathLst>
                <a:path w="21" h="26">
                  <a:moveTo>
                    <a:pt x="10" y="26"/>
                  </a:moveTo>
                  <a:cubicBezTo>
                    <a:pt x="6" y="26"/>
                    <a:pt x="1" y="21"/>
                    <a:pt x="1" y="13"/>
                  </a:cubicBezTo>
                  <a:cubicBezTo>
                    <a:pt x="0" y="5"/>
                    <a:pt x="3" y="0"/>
                    <a:pt x="10" y="0"/>
                  </a:cubicBezTo>
                  <a:cubicBezTo>
                    <a:pt x="17" y="0"/>
                    <a:pt x="21" y="5"/>
                    <a:pt x="20" y="13"/>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95">
              <a:extLst>
                <a:ext uri="{FF2B5EF4-FFF2-40B4-BE49-F238E27FC236}">
                  <a16:creationId xmlns:a16="http://schemas.microsoft.com/office/drawing/2014/main" id="{11CC27D8-B399-4666-ACD5-6DD73E942AF6}"/>
                </a:ext>
              </a:extLst>
            </p:cNvPr>
            <p:cNvSpPr>
              <a:spLocks/>
            </p:cNvSpPr>
            <p:nvPr/>
          </p:nvSpPr>
          <p:spPr bwMode="auto">
            <a:xfrm>
              <a:off x="2957513" y="1817688"/>
              <a:ext cx="90488" cy="117475"/>
            </a:xfrm>
            <a:custGeom>
              <a:avLst/>
              <a:gdLst>
                <a:gd name="T0" fmla="*/ 10 w 20"/>
                <a:gd name="T1" fmla="*/ 26 h 26"/>
                <a:gd name="T2" fmla="*/ 0 w 20"/>
                <a:gd name="T3" fmla="*/ 13 h 26"/>
                <a:gd name="T4" fmla="*/ 10 w 20"/>
                <a:gd name="T5" fmla="*/ 0 h 26"/>
                <a:gd name="T6" fmla="*/ 20 w 20"/>
                <a:gd name="T7" fmla="*/ 13 h 26"/>
                <a:gd name="T8" fmla="*/ 18 w 20"/>
                <a:gd name="T9" fmla="*/ 19 h 26"/>
              </a:gdLst>
              <a:ahLst/>
              <a:cxnLst>
                <a:cxn ang="0">
                  <a:pos x="T0" y="T1"/>
                </a:cxn>
                <a:cxn ang="0">
                  <a:pos x="T2" y="T3"/>
                </a:cxn>
                <a:cxn ang="0">
                  <a:pos x="T4" y="T5"/>
                </a:cxn>
                <a:cxn ang="0">
                  <a:pos x="T6" y="T7"/>
                </a:cxn>
                <a:cxn ang="0">
                  <a:pos x="T8" y="T9"/>
                </a:cxn>
              </a:cxnLst>
              <a:rect l="0" t="0" r="r" b="b"/>
              <a:pathLst>
                <a:path w="20" h="26">
                  <a:moveTo>
                    <a:pt x="10" y="26"/>
                  </a:moveTo>
                  <a:cubicBezTo>
                    <a:pt x="6" y="26"/>
                    <a:pt x="1" y="21"/>
                    <a:pt x="0" y="13"/>
                  </a:cubicBezTo>
                  <a:cubicBezTo>
                    <a:pt x="0" y="6"/>
                    <a:pt x="3" y="0"/>
                    <a:pt x="10" y="0"/>
                  </a:cubicBezTo>
                  <a:cubicBezTo>
                    <a:pt x="17" y="0"/>
                    <a:pt x="20" y="6"/>
                    <a:pt x="20" y="13"/>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FA0BB5C5-C70B-4A4D-833E-F665C7BD12D5}"/>
              </a:ext>
            </a:extLst>
          </p:cNvPr>
          <p:cNvGrpSpPr/>
          <p:nvPr/>
        </p:nvGrpSpPr>
        <p:grpSpPr>
          <a:xfrm>
            <a:off x="1955051" y="3204058"/>
            <a:ext cx="7281840" cy="1071246"/>
            <a:chOff x="1935558" y="3103041"/>
            <a:chExt cx="6537240" cy="1071246"/>
          </a:xfrm>
        </p:grpSpPr>
        <p:cxnSp>
          <p:nvCxnSpPr>
            <p:cNvPr id="60" name="Straight Connector 59">
              <a:extLst>
                <a:ext uri="{FF2B5EF4-FFF2-40B4-BE49-F238E27FC236}">
                  <a16:creationId xmlns:a16="http://schemas.microsoft.com/office/drawing/2014/main" id="{0E0C13BF-C581-47CF-861A-87B11EF1B5CF}"/>
                </a:ext>
              </a:extLst>
            </p:cNvPr>
            <p:cNvCxnSpPr>
              <a:cxnSpLocks/>
            </p:cNvCxnSpPr>
            <p:nvPr/>
          </p:nvCxnSpPr>
          <p:spPr>
            <a:xfrm flipH="1">
              <a:off x="1935558" y="4174287"/>
              <a:ext cx="653724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9680300-E2A2-4D97-820B-9B041767D0EC}"/>
                </a:ext>
              </a:extLst>
            </p:cNvPr>
            <p:cNvCxnSpPr>
              <a:cxnSpLocks/>
            </p:cNvCxnSpPr>
            <p:nvPr/>
          </p:nvCxnSpPr>
          <p:spPr>
            <a:xfrm flipH="1">
              <a:off x="1935558" y="3103041"/>
              <a:ext cx="653724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80A4F4F2-4260-41D4-B604-2D6DB4E8714D}"/>
              </a:ext>
            </a:extLst>
          </p:cNvPr>
          <p:cNvGrpSpPr/>
          <p:nvPr/>
        </p:nvGrpSpPr>
        <p:grpSpPr>
          <a:xfrm>
            <a:off x="1424578" y="4597874"/>
            <a:ext cx="171450" cy="426104"/>
            <a:chOff x="711201" y="1717676"/>
            <a:chExt cx="215900" cy="536575"/>
          </a:xfrm>
        </p:grpSpPr>
        <p:sp>
          <p:nvSpPr>
            <p:cNvPr id="65" name="Freeform 71">
              <a:extLst>
                <a:ext uri="{FF2B5EF4-FFF2-40B4-BE49-F238E27FC236}">
                  <a16:creationId xmlns:a16="http://schemas.microsoft.com/office/drawing/2014/main" id="{D9B27EAF-B87C-4883-9885-8C9079A991F3}"/>
                </a:ext>
              </a:extLst>
            </p:cNvPr>
            <p:cNvSpPr>
              <a:spLocks/>
            </p:cNvSpPr>
            <p:nvPr/>
          </p:nvSpPr>
          <p:spPr bwMode="auto">
            <a:xfrm>
              <a:off x="711201" y="1717676"/>
              <a:ext cx="215900" cy="536575"/>
            </a:xfrm>
            <a:custGeom>
              <a:avLst/>
              <a:gdLst>
                <a:gd name="T0" fmla="*/ 43 w 48"/>
                <a:gd name="T1" fmla="*/ 119 h 119"/>
                <a:gd name="T2" fmla="*/ 4 w 48"/>
                <a:gd name="T3" fmla="*/ 119 h 119"/>
                <a:gd name="T4" fmla="*/ 0 w 48"/>
                <a:gd name="T5" fmla="*/ 70 h 119"/>
                <a:gd name="T6" fmla="*/ 0 w 48"/>
                <a:gd name="T7" fmla="*/ 24 h 119"/>
                <a:gd name="T8" fmla="*/ 24 w 48"/>
                <a:gd name="T9" fmla="*/ 0 h 119"/>
                <a:gd name="T10" fmla="*/ 24 w 48"/>
                <a:gd name="T11" fmla="*/ 0 h 119"/>
                <a:gd name="T12" fmla="*/ 48 w 48"/>
                <a:gd name="T13" fmla="*/ 24 h 119"/>
                <a:gd name="T14" fmla="*/ 48 w 48"/>
                <a:gd name="T15" fmla="*/ 68 h 119"/>
                <a:gd name="T16" fmla="*/ 43 w 48"/>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19">
                  <a:moveTo>
                    <a:pt x="43" y="119"/>
                  </a:moveTo>
                  <a:cubicBezTo>
                    <a:pt x="4" y="119"/>
                    <a:pt x="4" y="119"/>
                    <a:pt x="4" y="119"/>
                  </a:cubicBezTo>
                  <a:cubicBezTo>
                    <a:pt x="0" y="70"/>
                    <a:pt x="0" y="70"/>
                    <a:pt x="0" y="70"/>
                  </a:cubicBezTo>
                  <a:cubicBezTo>
                    <a:pt x="0" y="24"/>
                    <a:pt x="0" y="24"/>
                    <a:pt x="0" y="24"/>
                  </a:cubicBezTo>
                  <a:cubicBezTo>
                    <a:pt x="0" y="11"/>
                    <a:pt x="10" y="0"/>
                    <a:pt x="24" y="0"/>
                  </a:cubicBezTo>
                  <a:cubicBezTo>
                    <a:pt x="24" y="0"/>
                    <a:pt x="24" y="0"/>
                    <a:pt x="24" y="0"/>
                  </a:cubicBezTo>
                  <a:cubicBezTo>
                    <a:pt x="37" y="0"/>
                    <a:pt x="48" y="11"/>
                    <a:pt x="48" y="24"/>
                  </a:cubicBezTo>
                  <a:cubicBezTo>
                    <a:pt x="48" y="68"/>
                    <a:pt x="48" y="68"/>
                    <a:pt x="48" y="68"/>
                  </a:cubicBezTo>
                  <a:lnTo>
                    <a:pt x="43" y="119"/>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72">
              <a:extLst>
                <a:ext uri="{FF2B5EF4-FFF2-40B4-BE49-F238E27FC236}">
                  <a16:creationId xmlns:a16="http://schemas.microsoft.com/office/drawing/2014/main" id="{36161392-7A78-4794-B5FC-B44A10276181}"/>
                </a:ext>
              </a:extLst>
            </p:cNvPr>
            <p:cNvSpPr>
              <a:spLocks/>
            </p:cNvSpPr>
            <p:nvPr/>
          </p:nvSpPr>
          <p:spPr bwMode="auto">
            <a:xfrm>
              <a:off x="784226" y="1903413"/>
              <a:ext cx="17463" cy="338138"/>
            </a:xfrm>
            <a:custGeom>
              <a:avLst/>
              <a:gdLst>
                <a:gd name="T0" fmla="*/ 11 w 11"/>
                <a:gd name="T1" fmla="*/ 213 h 213"/>
                <a:gd name="T2" fmla="*/ 0 w 11"/>
                <a:gd name="T3" fmla="*/ 45 h 213"/>
                <a:gd name="T4" fmla="*/ 3 w 11"/>
                <a:gd name="T5" fmla="*/ 0 h 213"/>
              </a:gdLst>
              <a:ahLst/>
              <a:cxnLst>
                <a:cxn ang="0">
                  <a:pos x="T0" y="T1"/>
                </a:cxn>
                <a:cxn ang="0">
                  <a:pos x="T2" y="T3"/>
                </a:cxn>
                <a:cxn ang="0">
                  <a:pos x="T4" y="T5"/>
                </a:cxn>
              </a:cxnLst>
              <a:rect l="0" t="0" r="r" b="b"/>
              <a:pathLst>
                <a:path w="11" h="213">
                  <a:moveTo>
                    <a:pt x="11" y="213"/>
                  </a:moveTo>
                  <a:lnTo>
                    <a:pt x="0" y="45"/>
                  </a:lnTo>
                  <a:lnTo>
                    <a:pt x="3"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73">
              <a:extLst>
                <a:ext uri="{FF2B5EF4-FFF2-40B4-BE49-F238E27FC236}">
                  <a16:creationId xmlns:a16="http://schemas.microsoft.com/office/drawing/2014/main" id="{9D5204A8-9F06-4D74-A43E-1E2A5AC248A1}"/>
                </a:ext>
              </a:extLst>
            </p:cNvPr>
            <p:cNvSpPr>
              <a:spLocks/>
            </p:cNvSpPr>
            <p:nvPr/>
          </p:nvSpPr>
          <p:spPr bwMode="auto">
            <a:xfrm>
              <a:off x="873126" y="1903413"/>
              <a:ext cx="19050" cy="338138"/>
            </a:xfrm>
            <a:custGeom>
              <a:avLst/>
              <a:gdLst>
                <a:gd name="T0" fmla="*/ 12 w 12"/>
                <a:gd name="T1" fmla="*/ 0 h 213"/>
                <a:gd name="T2" fmla="*/ 12 w 12"/>
                <a:gd name="T3" fmla="*/ 45 h 213"/>
                <a:gd name="T4" fmla="*/ 0 w 12"/>
                <a:gd name="T5" fmla="*/ 213 h 213"/>
              </a:gdLst>
              <a:ahLst/>
              <a:cxnLst>
                <a:cxn ang="0">
                  <a:pos x="T0" y="T1"/>
                </a:cxn>
                <a:cxn ang="0">
                  <a:pos x="T2" y="T3"/>
                </a:cxn>
                <a:cxn ang="0">
                  <a:pos x="T4" y="T5"/>
                </a:cxn>
              </a:cxnLst>
              <a:rect l="0" t="0" r="r" b="b"/>
              <a:pathLst>
                <a:path w="12" h="213">
                  <a:moveTo>
                    <a:pt x="12" y="0"/>
                  </a:moveTo>
                  <a:lnTo>
                    <a:pt x="12" y="45"/>
                  </a:lnTo>
                  <a:lnTo>
                    <a:pt x="0" y="213"/>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8" name="Line 74">
              <a:extLst>
                <a:ext uri="{FF2B5EF4-FFF2-40B4-BE49-F238E27FC236}">
                  <a16:creationId xmlns:a16="http://schemas.microsoft.com/office/drawing/2014/main" id="{28820859-22A3-45FF-A8F5-EF38FA0DC7D5}"/>
                </a:ext>
              </a:extLst>
            </p:cNvPr>
            <p:cNvSpPr>
              <a:spLocks noChangeShapeType="1"/>
            </p:cNvSpPr>
            <p:nvPr/>
          </p:nvSpPr>
          <p:spPr bwMode="auto">
            <a:xfrm>
              <a:off x="838201" y="2020888"/>
              <a:ext cx="0" cy="220663"/>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75">
              <a:extLst>
                <a:ext uri="{FF2B5EF4-FFF2-40B4-BE49-F238E27FC236}">
                  <a16:creationId xmlns:a16="http://schemas.microsoft.com/office/drawing/2014/main" id="{1BA25D30-383A-49C0-B2B7-AEC508E2CA92}"/>
                </a:ext>
              </a:extLst>
            </p:cNvPr>
            <p:cNvSpPr>
              <a:spLocks/>
            </p:cNvSpPr>
            <p:nvPr/>
          </p:nvSpPr>
          <p:spPr bwMode="auto">
            <a:xfrm>
              <a:off x="747713" y="1822451"/>
              <a:ext cx="179388" cy="201613"/>
            </a:xfrm>
            <a:custGeom>
              <a:avLst/>
              <a:gdLst>
                <a:gd name="T0" fmla="*/ 40 w 40"/>
                <a:gd name="T1" fmla="*/ 45 h 45"/>
                <a:gd name="T2" fmla="*/ 40 w 40"/>
                <a:gd name="T3" fmla="*/ 14 h 45"/>
                <a:gd name="T4" fmla="*/ 26 w 40"/>
                <a:gd name="T5" fmla="*/ 0 h 45"/>
                <a:gd name="T6" fmla="*/ 14 w 40"/>
                <a:gd name="T7" fmla="*/ 0 h 45"/>
                <a:gd name="T8" fmla="*/ 0 w 40"/>
                <a:gd name="T9" fmla="*/ 14 h 45"/>
                <a:gd name="T10" fmla="*/ 0 w 40"/>
                <a:gd name="T11" fmla="*/ 45 h 45"/>
              </a:gdLst>
              <a:ahLst/>
              <a:cxnLst>
                <a:cxn ang="0">
                  <a:pos x="T0" y="T1"/>
                </a:cxn>
                <a:cxn ang="0">
                  <a:pos x="T2" y="T3"/>
                </a:cxn>
                <a:cxn ang="0">
                  <a:pos x="T4" y="T5"/>
                </a:cxn>
                <a:cxn ang="0">
                  <a:pos x="T6" y="T7"/>
                </a:cxn>
                <a:cxn ang="0">
                  <a:pos x="T8" y="T9"/>
                </a:cxn>
                <a:cxn ang="0">
                  <a:pos x="T10" y="T11"/>
                </a:cxn>
              </a:cxnLst>
              <a:rect l="0" t="0" r="r" b="b"/>
              <a:pathLst>
                <a:path w="40" h="45">
                  <a:moveTo>
                    <a:pt x="40" y="45"/>
                  </a:moveTo>
                  <a:cubicBezTo>
                    <a:pt x="40" y="14"/>
                    <a:pt x="40" y="14"/>
                    <a:pt x="40" y="14"/>
                  </a:cubicBezTo>
                  <a:cubicBezTo>
                    <a:pt x="40" y="6"/>
                    <a:pt x="34" y="0"/>
                    <a:pt x="26" y="0"/>
                  </a:cubicBezTo>
                  <a:cubicBezTo>
                    <a:pt x="14" y="0"/>
                    <a:pt x="14" y="0"/>
                    <a:pt x="14" y="0"/>
                  </a:cubicBezTo>
                  <a:cubicBezTo>
                    <a:pt x="6" y="0"/>
                    <a:pt x="0" y="6"/>
                    <a:pt x="0" y="14"/>
                  </a:cubicBezTo>
                  <a:cubicBezTo>
                    <a:pt x="0" y="45"/>
                    <a:pt x="0" y="45"/>
                    <a:pt x="0" y="4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0" name="Line 76">
              <a:extLst>
                <a:ext uri="{FF2B5EF4-FFF2-40B4-BE49-F238E27FC236}">
                  <a16:creationId xmlns:a16="http://schemas.microsoft.com/office/drawing/2014/main" id="{EE627984-DF5A-4C5C-A6B0-FB12CB8AD721}"/>
                </a:ext>
              </a:extLst>
            </p:cNvPr>
            <p:cNvSpPr>
              <a:spLocks noChangeShapeType="1"/>
            </p:cNvSpPr>
            <p:nvPr/>
          </p:nvSpPr>
          <p:spPr bwMode="auto">
            <a:xfrm>
              <a:off x="869951" y="1800226"/>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77">
              <a:extLst>
                <a:ext uri="{FF2B5EF4-FFF2-40B4-BE49-F238E27FC236}">
                  <a16:creationId xmlns:a16="http://schemas.microsoft.com/office/drawing/2014/main" id="{A668DE97-F0D8-4124-A86E-29BB42E8F472}"/>
                </a:ext>
              </a:extLst>
            </p:cNvPr>
            <p:cNvSpPr>
              <a:spLocks/>
            </p:cNvSpPr>
            <p:nvPr/>
          </p:nvSpPr>
          <p:spPr bwMode="auto">
            <a:xfrm>
              <a:off x="796926" y="1717676"/>
              <a:ext cx="80963" cy="104775"/>
            </a:xfrm>
            <a:custGeom>
              <a:avLst/>
              <a:gdLst>
                <a:gd name="T0" fmla="*/ 9 w 18"/>
                <a:gd name="T1" fmla="*/ 23 h 23"/>
                <a:gd name="T2" fmla="*/ 1 w 18"/>
                <a:gd name="T3" fmla="*/ 12 h 23"/>
                <a:gd name="T4" fmla="*/ 9 w 18"/>
                <a:gd name="T5" fmla="*/ 0 h 23"/>
                <a:gd name="T6" fmla="*/ 18 w 18"/>
                <a:gd name="T7" fmla="*/ 12 h 23"/>
                <a:gd name="T8" fmla="*/ 16 w 18"/>
                <a:gd name="T9" fmla="*/ 17 h 23"/>
              </a:gdLst>
              <a:ahLst/>
              <a:cxnLst>
                <a:cxn ang="0">
                  <a:pos x="T0" y="T1"/>
                </a:cxn>
                <a:cxn ang="0">
                  <a:pos x="T2" y="T3"/>
                </a:cxn>
                <a:cxn ang="0">
                  <a:pos x="T4" y="T5"/>
                </a:cxn>
                <a:cxn ang="0">
                  <a:pos x="T6" y="T7"/>
                </a:cxn>
                <a:cxn ang="0">
                  <a:pos x="T8" y="T9"/>
                </a:cxn>
              </a:cxnLst>
              <a:rect l="0" t="0" r="r" b="b"/>
              <a:pathLst>
                <a:path w="18" h="23">
                  <a:moveTo>
                    <a:pt x="9" y="23"/>
                  </a:moveTo>
                  <a:cubicBezTo>
                    <a:pt x="6" y="23"/>
                    <a:pt x="1" y="19"/>
                    <a:pt x="1" y="12"/>
                  </a:cubicBezTo>
                  <a:cubicBezTo>
                    <a:pt x="0" y="5"/>
                    <a:pt x="3" y="0"/>
                    <a:pt x="9" y="0"/>
                  </a:cubicBezTo>
                  <a:cubicBezTo>
                    <a:pt x="15" y="0"/>
                    <a:pt x="18" y="5"/>
                    <a:pt x="18" y="12"/>
                  </a:cubicBezTo>
                  <a:cubicBezTo>
                    <a:pt x="18" y="14"/>
                    <a:pt x="17" y="15"/>
                    <a:pt x="16" y="1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72" name="Isosceles Triangle 71">
            <a:extLst>
              <a:ext uri="{FF2B5EF4-FFF2-40B4-BE49-F238E27FC236}">
                <a16:creationId xmlns:a16="http://schemas.microsoft.com/office/drawing/2014/main" id="{87B22A60-EE87-4B1E-A919-3E8BF476FE0E}"/>
              </a:ext>
            </a:extLst>
          </p:cNvPr>
          <p:cNvSpPr/>
          <p:nvPr/>
        </p:nvSpPr>
        <p:spPr>
          <a:xfrm rot="5400000">
            <a:off x="1010978" y="2618636"/>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73" name="Isosceles Triangle 72">
            <a:extLst>
              <a:ext uri="{FF2B5EF4-FFF2-40B4-BE49-F238E27FC236}">
                <a16:creationId xmlns:a16="http://schemas.microsoft.com/office/drawing/2014/main" id="{746B3A45-0D03-4703-8E73-D5A6879A3347}"/>
              </a:ext>
            </a:extLst>
          </p:cNvPr>
          <p:cNvSpPr/>
          <p:nvPr/>
        </p:nvSpPr>
        <p:spPr>
          <a:xfrm rot="5400000">
            <a:off x="1010978" y="3689882"/>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74" name="Isosceles Triangle 73">
            <a:extLst>
              <a:ext uri="{FF2B5EF4-FFF2-40B4-BE49-F238E27FC236}">
                <a16:creationId xmlns:a16="http://schemas.microsoft.com/office/drawing/2014/main" id="{65143690-23B4-4491-861B-DA29E9079094}"/>
              </a:ext>
            </a:extLst>
          </p:cNvPr>
          <p:cNvSpPr/>
          <p:nvPr/>
        </p:nvSpPr>
        <p:spPr>
          <a:xfrm rot="5400000">
            <a:off x="1010978" y="4761128"/>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61" name="Freeform: Shape 60">
            <a:extLst>
              <a:ext uri="{FF2B5EF4-FFF2-40B4-BE49-F238E27FC236}">
                <a16:creationId xmlns:a16="http://schemas.microsoft.com/office/drawing/2014/main" id="{25FC4B04-EF74-4984-9DE4-1BC2A8575E9F}"/>
              </a:ext>
            </a:extLst>
          </p:cNvPr>
          <p:cNvSpPr/>
          <p:nvPr/>
        </p:nvSpPr>
        <p:spPr>
          <a:xfrm>
            <a:off x="2759703" y="2963653"/>
            <a:ext cx="677846" cy="80061"/>
          </a:xfrm>
          <a:custGeom>
            <a:avLst/>
            <a:gdLst/>
            <a:ahLst/>
            <a:cxnLst/>
            <a:rect l="0" t="0" r="0" b="0"/>
            <a:pathLst>
              <a:path w="616394" h="72802">
                <a:moveTo>
                  <a:pt x="236609" y="73045"/>
                </a:moveTo>
                <a:cubicBezTo>
                  <a:pt x="232726" y="73045"/>
                  <a:pt x="230299" y="73045"/>
                  <a:pt x="229328" y="73045"/>
                </a:cubicBezTo>
                <a:cubicBezTo>
                  <a:pt x="226902" y="71589"/>
                  <a:pt x="224475" y="70618"/>
                  <a:pt x="222048" y="70618"/>
                </a:cubicBezTo>
                <a:cubicBezTo>
                  <a:pt x="218165" y="70618"/>
                  <a:pt x="215738" y="69162"/>
                  <a:pt x="213312" y="65765"/>
                </a:cubicBezTo>
                <a:cubicBezTo>
                  <a:pt x="213312" y="64309"/>
                  <a:pt x="210885" y="63338"/>
                  <a:pt x="209428" y="61882"/>
                </a:cubicBezTo>
                <a:cubicBezTo>
                  <a:pt x="204575" y="57999"/>
                  <a:pt x="205546" y="49748"/>
                  <a:pt x="211855" y="47322"/>
                </a:cubicBezTo>
                <a:cubicBezTo>
                  <a:pt x="213312" y="47322"/>
                  <a:pt x="214282" y="45866"/>
                  <a:pt x="215738" y="45866"/>
                </a:cubicBezTo>
                <a:cubicBezTo>
                  <a:pt x="222048" y="45866"/>
                  <a:pt x="226902" y="44410"/>
                  <a:pt x="232726" y="43439"/>
                </a:cubicBezTo>
                <a:cubicBezTo>
                  <a:pt x="239035" y="41012"/>
                  <a:pt x="244859" y="41012"/>
                  <a:pt x="251169" y="39556"/>
                </a:cubicBezTo>
                <a:cubicBezTo>
                  <a:pt x="257478" y="39556"/>
                  <a:pt x="263303" y="38100"/>
                  <a:pt x="269612" y="38100"/>
                </a:cubicBezTo>
                <a:cubicBezTo>
                  <a:pt x="276892" y="38100"/>
                  <a:pt x="285629" y="36644"/>
                  <a:pt x="292909" y="38100"/>
                </a:cubicBezTo>
                <a:cubicBezTo>
                  <a:pt x="295336" y="38100"/>
                  <a:pt x="296792" y="38100"/>
                  <a:pt x="299218" y="36644"/>
                </a:cubicBezTo>
                <a:cubicBezTo>
                  <a:pt x="305528" y="35188"/>
                  <a:pt x="312808" y="34217"/>
                  <a:pt x="320089" y="35188"/>
                </a:cubicBezTo>
                <a:cubicBezTo>
                  <a:pt x="324942" y="35188"/>
                  <a:pt x="329796" y="36644"/>
                  <a:pt x="333679" y="36644"/>
                </a:cubicBezTo>
                <a:cubicBezTo>
                  <a:pt x="338532" y="36644"/>
                  <a:pt x="342415" y="35188"/>
                  <a:pt x="347268" y="34217"/>
                </a:cubicBezTo>
                <a:cubicBezTo>
                  <a:pt x="348724" y="34217"/>
                  <a:pt x="351151" y="34217"/>
                  <a:pt x="353578" y="34217"/>
                </a:cubicBezTo>
                <a:cubicBezTo>
                  <a:pt x="367167" y="35673"/>
                  <a:pt x="379301" y="32761"/>
                  <a:pt x="391435" y="31790"/>
                </a:cubicBezTo>
                <a:cubicBezTo>
                  <a:pt x="395318" y="31790"/>
                  <a:pt x="397745" y="31790"/>
                  <a:pt x="400171" y="33246"/>
                </a:cubicBezTo>
                <a:cubicBezTo>
                  <a:pt x="406481" y="33246"/>
                  <a:pt x="413761" y="33246"/>
                  <a:pt x="419585" y="31790"/>
                </a:cubicBezTo>
                <a:cubicBezTo>
                  <a:pt x="434146" y="30334"/>
                  <a:pt x="448706" y="30334"/>
                  <a:pt x="463267" y="30334"/>
                </a:cubicBezTo>
                <a:cubicBezTo>
                  <a:pt x="467150" y="30334"/>
                  <a:pt x="470547" y="31790"/>
                  <a:pt x="475401" y="31790"/>
                </a:cubicBezTo>
                <a:cubicBezTo>
                  <a:pt x="479284" y="31790"/>
                  <a:pt x="482681" y="29364"/>
                  <a:pt x="486564" y="27908"/>
                </a:cubicBezTo>
                <a:cubicBezTo>
                  <a:pt x="496271" y="25481"/>
                  <a:pt x="505978" y="25481"/>
                  <a:pt x="517141" y="25481"/>
                </a:cubicBezTo>
                <a:cubicBezTo>
                  <a:pt x="524421" y="25481"/>
                  <a:pt x="533158" y="24025"/>
                  <a:pt x="540438" y="23054"/>
                </a:cubicBezTo>
                <a:cubicBezTo>
                  <a:pt x="541893" y="21598"/>
                  <a:pt x="544320" y="20627"/>
                  <a:pt x="542865" y="19171"/>
                </a:cubicBezTo>
                <a:cubicBezTo>
                  <a:pt x="541408" y="19171"/>
                  <a:pt x="541408" y="17715"/>
                  <a:pt x="540438" y="17715"/>
                </a:cubicBezTo>
                <a:cubicBezTo>
                  <a:pt x="530731" y="17715"/>
                  <a:pt x="521994" y="17715"/>
                  <a:pt x="512287" y="17715"/>
                </a:cubicBezTo>
                <a:cubicBezTo>
                  <a:pt x="491418" y="17715"/>
                  <a:pt x="471032" y="19171"/>
                  <a:pt x="449192" y="19171"/>
                </a:cubicBezTo>
                <a:cubicBezTo>
                  <a:pt x="446765" y="19171"/>
                  <a:pt x="444338" y="19171"/>
                  <a:pt x="441911" y="19171"/>
                </a:cubicBezTo>
                <a:cubicBezTo>
                  <a:pt x="428322" y="20627"/>
                  <a:pt x="416188" y="21598"/>
                  <a:pt x="404054" y="19171"/>
                </a:cubicBezTo>
                <a:cubicBezTo>
                  <a:pt x="402598" y="19171"/>
                  <a:pt x="401628" y="19171"/>
                  <a:pt x="400171" y="19171"/>
                </a:cubicBezTo>
                <a:cubicBezTo>
                  <a:pt x="393862" y="21598"/>
                  <a:pt x="386581" y="20627"/>
                  <a:pt x="379301" y="20627"/>
                </a:cubicBezTo>
                <a:cubicBezTo>
                  <a:pt x="372992" y="20627"/>
                  <a:pt x="365712" y="22083"/>
                  <a:pt x="358431" y="22083"/>
                </a:cubicBezTo>
                <a:cubicBezTo>
                  <a:pt x="348724" y="23539"/>
                  <a:pt x="339988" y="24510"/>
                  <a:pt x="330281" y="23539"/>
                </a:cubicBezTo>
                <a:cubicBezTo>
                  <a:pt x="328825" y="23539"/>
                  <a:pt x="328825" y="23539"/>
                  <a:pt x="327854" y="23539"/>
                </a:cubicBezTo>
                <a:cubicBezTo>
                  <a:pt x="316691" y="25966"/>
                  <a:pt x="306013" y="24996"/>
                  <a:pt x="296306" y="25966"/>
                </a:cubicBezTo>
                <a:cubicBezTo>
                  <a:pt x="289997" y="27422"/>
                  <a:pt x="284173" y="24510"/>
                  <a:pt x="277863" y="27422"/>
                </a:cubicBezTo>
                <a:cubicBezTo>
                  <a:pt x="261847" y="27422"/>
                  <a:pt x="247286" y="31305"/>
                  <a:pt x="231755" y="29849"/>
                </a:cubicBezTo>
                <a:cubicBezTo>
                  <a:pt x="225445" y="29849"/>
                  <a:pt x="219621" y="33732"/>
                  <a:pt x="213312" y="31305"/>
                </a:cubicBezTo>
                <a:cubicBezTo>
                  <a:pt x="208458" y="32761"/>
                  <a:pt x="202148" y="32761"/>
                  <a:pt x="196324" y="33732"/>
                </a:cubicBezTo>
                <a:cubicBezTo>
                  <a:pt x="194868" y="33732"/>
                  <a:pt x="192441" y="33732"/>
                  <a:pt x="191471" y="33732"/>
                </a:cubicBezTo>
                <a:cubicBezTo>
                  <a:pt x="180307" y="32276"/>
                  <a:pt x="170600" y="35188"/>
                  <a:pt x="160893" y="35188"/>
                </a:cubicBezTo>
                <a:cubicBezTo>
                  <a:pt x="148760" y="36644"/>
                  <a:pt x="137597" y="36644"/>
                  <a:pt x="125463" y="36644"/>
                </a:cubicBezTo>
                <a:cubicBezTo>
                  <a:pt x="123036" y="36644"/>
                  <a:pt x="121580" y="36644"/>
                  <a:pt x="119153" y="36644"/>
                </a:cubicBezTo>
                <a:cubicBezTo>
                  <a:pt x="112844" y="38100"/>
                  <a:pt x="105564" y="39071"/>
                  <a:pt x="98284" y="38100"/>
                </a:cubicBezTo>
                <a:cubicBezTo>
                  <a:pt x="98284" y="38100"/>
                  <a:pt x="96827" y="38100"/>
                  <a:pt x="95857" y="38100"/>
                </a:cubicBezTo>
                <a:cubicBezTo>
                  <a:pt x="79840" y="40527"/>
                  <a:pt x="65280" y="39556"/>
                  <a:pt x="49749" y="39556"/>
                </a:cubicBezTo>
                <a:cubicBezTo>
                  <a:pt x="45866" y="39556"/>
                  <a:pt x="41497" y="39556"/>
                  <a:pt x="37615" y="39556"/>
                </a:cubicBezTo>
                <a:cubicBezTo>
                  <a:pt x="30334" y="39556"/>
                  <a:pt x="24025" y="39556"/>
                  <a:pt x="18201" y="39556"/>
                </a:cubicBezTo>
                <a:cubicBezTo>
                  <a:pt x="15774" y="38100"/>
                  <a:pt x="13347" y="38100"/>
                  <a:pt x="10920" y="37129"/>
                </a:cubicBezTo>
                <a:cubicBezTo>
                  <a:pt x="6067" y="35673"/>
                  <a:pt x="3640" y="32276"/>
                  <a:pt x="3640" y="27422"/>
                </a:cubicBezTo>
                <a:cubicBezTo>
                  <a:pt x="3640" y="24996"/>
                  <a:pt x="5096" y="22569"/>
                  <a:pt x="7523" y="22569"/>
                </a:cubicBezTo>
                <a:cubicBezTo>
                  <a:pt x="9950" y="22569"/>
                  <a:pt x="12376" y="22569"/>
                  <a:pt x="13833" y="22569"/>
                </a:cubicBezTo>
                <a:cubicBezTo>
                  <a:pt x="27422" y="27422"/>
                  <a:pt x="40527" y="27422"/>
                  <a:pt x="52661" y="26452"/>
                </a:cubicBezTo>
                <a:cubicBezTo>
                  <a:pt x="66250" y="26452"/>
                  <a:pt x="80811" y="26452"/>
                  <a:pt x="93915" y="24996"/>
                </a:cubicBezTo>
                <a:cubicBezTo>
                  <a:pt x="96342" y="24996"/>
                  <a:pt x="100225" y="26452"/>
                  <a:pt x="103622" y="24996"/>
                </a:cubicBezTo>
                <a:cubicBezTo>
                  <a:pt x="109932" y="23539"/>
                  <a:pt x="115756" y="23539"/>
                  <a:pt x="123036" y="24996"/>
                </a:cubicBezTo>
                <a:cubicBezTo>
                  <a:pt x="124492" y="24996"/>
                  <a:pt x="125463" y="24996"/>
                  <a:pt x="126919" y="24996"/>
                </a:cubicBezTo>
                <a:cubicBezTo>
                  <a:pt x="135655" y="22569"/>
                  <a:pt x="143906" y="23539"/>
                  <a:pt x="152643" y="22569"/>
                </a:cubicBezTo>
                <a:cubicBezTo>
                  <a:pt x="155069" y="22569"/>
                  <a:pt x="157496" y="22569"/>
                  <a:pt x="161379" y="22569"/>
                </a:cubicBezTo>
                <a:cubicBezTo>
                  <a:pt x="165262" y="22569"/>
                  <a:pt x="170115" y="22569"/>
                  <a:pt x="174969" y="21113"/>
                </a:cubicBezTo>
                <a:cubicBezTo>
                  <a:pt x="179822" y="19657"/>
                  <a:pt x="184676" y="19657"/>
                  <a:pt x="190986" y="19657"/>
                </a:cubicBezTo>
                <a:cubicBezTo>
                  <a:pt x="198266" y="19657"/>
                  <a:pt x="205546" y="19657"/>
                  <a:pt x="212826" y="18201"/>
                </a:cubicBezTo>
                <a:cubicBezTo>
                  <a:pt x="224960" y="16744"/>
                  <a:pt x="237094" y="16744"/>
                  <a:pt x="249228" y="18201"/>
                </a:cubicBezTo>
                <a:cubicBezTo>
                  <a:pt x="250683" y="19657"/>
                  <a:pt x="253110" y="18201"/>
                  <a:pt x="254081" y="18201"/>
                </a:cubicBezTo>
                <a:cubicBezTo>
                  <a:pt x="257964" y="15774"/>
                  <a:pt x="262817" y="14318"/>
                  <a:pt x="266215" y="15774"/>
                </a:cubicBezTo>
                <a:cubicBezTo>
                  <a:pt x="273495" y="15774"/>
                  <a:pt x="280775" y="14318"/>
                  <a:pt x="287085" y="17230"/>
                </a:cubicBezTo>
                <a:cubicBezTo>
                  <a:pt x="288541" y="17230"/>
                  <a:pt x="289511" y="17230"/>
                  <a:pt x="289511" y="17230"/>
                </a:cubicBezTo>
                <a:cubicBezTo>
                  <a:pt x="291938" y="15774"/>
                  <a:pt x="293394" y="14803"/>
                  <a:pt x="295821" y="14803"/>
                </a:cubicBezTo>
                <a:cubicBezTo>
                  <a:pt x="302131" y="14803"/>
                  <a:pt x="307955" y="14803"/>
                  <a:pt x="312808" y="14803"/>
                </a:cubicBezTo>
                <a:cubicBezTo>
                  <a:pt x="315235" y="14803"/>
                  <a:pt x="316691" y="16259"/>
                  <a:pt x="317662" y="14803"/>
                </a:cubicBezTo>
                <a:cubicBezTo>
                  <a:pt x="321545" y="12376"/>
                  <a:pt x="326398" y="12376"/>
                  <a:pt x="331252" y="13347"/>
                </a:cubicBezTo>
                <a:cubicBezTo>
                  <a:pt x="338532" y="9464"/>
                  <a:pt x="345812" y="11891"/>
                  <a:pt x="353093" y="11891"/>
                </a:cubicBezTo>
                <a:cubicBezTo>
                  <a:pt x="360373" y="10435"/>
                  <a:pt x="367653" y="10435"/>
                  <a:pt x="373962" y="10435"/>
                </a:cubicBezTo>
                <a:cubicBezTo>
                  <a:pt x="375419" y="10435"/>
                  <a:pt x="376389" y="10435"/>
                  <a:pt x="377845" y="10435"/>
                </a:cubicBezTo>
                <a:cubicBezTo>
                  <a:pt x="385126" y="11891"/>
                  <a:pt x="392406" y="11891"/>
                  <a:pt x="401142" y="10435"/>
                </a:cubicBezTo>
                <a:cubicBezTo>
                  <a:pt x="405025" y="10435"/>
                  <a:pt x="409878" y="10435"/>
                  <a:pt x="413276" y="8979"/>
                </a:cubicBezTo>
                <a:cubicBezTo>
                  <a:pt x="418129" y="6552"/>
                  <a:pt x="422983" y="6552"/>
                  <a:pt x="427836" y="7523"/>
                </a:cubicBezTo>
                <a:cubicBezTo>
                  <a:pt x="434146" y="7523"/>
                  <a:pt x="438999" y="8979"/>
                  <a:pt x="443853" y="9950"/>
                </a:cubicBezTo>
                <a:cubicBezTo>
                  <a:pt x="450163" y="11406"/>
                  <a:pt x="457443" y="9950"/>
                  <a:pt x="463267" y="7523"/>
                </a:cubicBezTo>
                <a:cubicBezTo>
                  <a:pt x="467150" y="5096"/>
                  <a:pt x="472003" y="5096"/>
                  <a:pt x="476857" y="5096"/>
                </a:cubicBezTo>
                <a:cubicBezTo>
                  <a:pt x="488991" y="5096"/>
                  <a:pt x="501125" y="5096"/>
                  <a:pt x="513258" y="5096"/>
                </a:cubicBezTo>
                <a:cubicBezTo>
                  <a:pt x="515685" y="5096"/>
                  <a:pt x="518112" y="3640"/>
                  <a:pt x="520539" y="3640"/>
                </a:cubicBezTo>
                <a:cubicBezTo>
                  <a:pt x="532672" y="5096"/>
                  <a:pt x="544806" y="5096"/>
                  <a:pt x="556940" y="5096"/>
                </a:cubicBezTo>
                <a:cubicBezTo>
                  <a:pt x="559367" y="5096"/>
                  <a:pt x="560822" y="5096"/>
                  <a:pt x="561793" y="5096"/>
                </a:cubicBezTo>
                <a:cubicBezTo>
                  <a:pt x="569074" y="7523"/>
                  <a:pt x="577810" y="6552"/>
                  <a:pt x="585090" y="6552"/>
                </a:cubicBezTo>
                <a:cubicBezTo>
                  <a:pt x="591400" y="8008"/>
                  <a:pt x="596253" y="8008"/>
                  <a:pt x="601107" y="8979"/>
                </a:cubicBezTo>
                <a:cubicBezTo>
                  <a:pt x="605960" y="8979"/>
                  <a:pt x="610814" y="12862"/>
                  <a:pt x="612269" y="17715"/>
                </a:cubicBezTo>
                <a:cubicBezTo>
                  <a:pt x="612269" y="19171"/>
                  <a:pt x="613726" y="19171"/>
                  <a:pt x="613726" y="20142"/>
                </a:cubicBezTo>
                <a:cubicBezTo>
                  <a:pt x="615182" y="24996"/>
                  <a:pt x="613726" y="27422"/>
                  <a:pt x="608872" y="27422"/>
                </a:cubicBezTo>
                <a:cubicBezTo>
                  <a:pt x="604989" y="27422"/>
                  <a:pt x="600136" y="27422"/>
                  <a:pt x="596738" y="27422"/>
                </a:cubicBezTo>
                <a:cubicBezTo>
                  <a:pt x="593341" y="27422"/>
                  <a:pt x="589458" y="27422"/>
                  <a:pt x="585575" y="29849"/>
                </a:cubicBezTo>
                <a:cubicBezTo>
                  <a:pt x="584119" y="29849"/>
                  <a:pt x="581693" y="31305"/>
                  <a:pt x="579266" y="31305"/>
                </a:cubicBezTo>
                <a:cubicBezTo>
                  <a:pt x="572956" y="29849"/>
                  <a:pt x="567132" y="32761"/>
                  <a:pt x="559852" y="33732"/>
                </a:cubicBezTo>
                <a:cubicBezTo>
                  <a:pt x="548689" y="36159"/>
                  <a:pt x="536555" y="38585"/>
                  <a:pt x="524421" y="38585"/>
                </a:cubicBezTo>
                <a:cubicBezTo>
                  <a:pt x="510832" y="42468"/>
                  <a:pt x="497727" y="41012"/>
                  <a:pt x="484137" y="42468"/>
                </a:cubicBezTo>
                <a:cubicBezTo>
                  <a:pt x="464723" y="44895"/>
                  <a:pt x="445309" y="44895"/>
                  <a:pt x="425895" y="46351"/>
                </a:cubicBezTo>
                <a:cubicBezTo>
                  <a:pt x="406481" y="47807"/>
                  <a:pt x="388038" y="46351"/>
                  <a:pt x="370080" y="48778"/>
                </a:cubicBezTo>
                <a:cubicBezTo>
                  <a:pt x="361343" y="47322"/>
                  <a:pt x="354063" y="50234"/>
                  <a:pt x="345812" y="50234"/>
                </a:cubicBezTo>
                <a:cubicBezTo>
                  <a:pt x="338532" y="50234"/>
                  <a:pt x="329796" y="51690"/>
                  <a:pt x="322515" y="50234"/>
                </a:cubicBezTo>
                <a:cubicBezTo>
                  <a:pt x="313779" y="50234"/>
                  <a:pt x="305528" y="51690"/>
                  <a:pt x="296792" y="51690"/>
                </a:cubicBezTo>
                <a:cubicBezTo>
                  <a:pt x="289511" y="51690"/>
                  <a:pt x="280775" y="54117"/>
                  <a:pt x="273495" y="54117"/>
                </a:cubicBezTo>
                <a:cubicBezTo>
                  <a:pt x="264759" y="54117"/>
                  <a:pt x="256508" y="55573"/>
                  <a:pt x="247771" y="56543"/>
                </a:cubicBezTo>
                <a:cubicBezTo>
                  <a:pt x="242918" y="56543"/>
                  <a:pt x="238064" y="56543"/>
                  <a:pt x="231755" y="57999"/>
                </a:cubicBezTo>
                <a:cubicBezTo>
                  <a:pt x="230299" y="57999"/>
                  <a:pt x="229328" y="59455"/>
                  <a:pt x="226902" y="59455"/>
                </a:cubicBezTo>
                <a:cubicBezTo>
                  <a:pt x="225445" y="59455"/>
                  <a:pt x="225445" y="61882"/>
                  <a:pt x="225445" y="63338"/>
                </a:cubicBezTo>
                <a:cubicBezTo>
                  <a:pt x="226902" y="64794"/>
                  <a:pt x="227872" y="67221"/>
                  <a:pt x="229328" y="68192"/>
                </a:cubicBezTo>
                <a:cubicBezTo>
                  <a:pt x="229328" y="68192"/>
                  <a:pt x="232726" y="69648"/>
                  <a:pt x="236609" y="73045"/>
                </a:cubicBezTo>
                <a:lnTo>
                  <a:pt x="236609" y="73045"/>
                </a:lnTo>
                <a:close/>
              </a:path>
            </a:pathLst>
          </a:custGeom>
          <a:solidFill>
            <a:srgbClr val="1F2023"/>
          </a:solidFill>
          <a:ln w="9525" cap="flat">
            <a:noFill/>
            <a:prstDash val="solid"/>
            <a:miter/>
          </a:ln>
        </p:spPr>
        <p:txBody>
          <a:bodyPr/>
          <a:lstStyle/>
          <a:p>
            <a:endParaRPr lang="en-GB" dirty="0"/>
          </a:p>
        </p:txBody>
      </p:sp>
    </p:spTree>
    <p:extLst>
      <p:ext uri="{BB962C8B-B14F-4D97-AF65-F5344CB8AC3E}">
        <p14:creationId xmlns:p14="http://schemas.microsoft.com/office/powerpoint/2010/main" val="995864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28CDEB2-FB0D-4110-81C9-713260A2D1FB}"/>
              </a:ext>
            </a:extLst>
          </p:cNvPr>
          <p:cNvSpPr/>
          <p:nvPr/>
        </p:nvSpPr>
        <p:spPr>
          <a:xfrm flipH="1">
            <a:off x="273050" y="1752681"/>
            <a:ext cx="9359900" cy="347644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dirty="0"/>
              <a:t>Examples of </a:t>
            </a:r>
            <a:r>
              <a:rPr lang="en-GB" dirty="0" err="1"/>
              <a:t>strengthbased</a:t>
            </a:r>
            <a:r>
              <a:rPr lang="en-GB" dirty="0"/>
              <a:t>-questions</a:t>
            </a:r>
            <a:endParaRPr lang="en-GB" altLang="da-DK" dirty="0"/>
          </a:p>
        </p:txBody>
      </p:sp>
      <p:sp>
        <p:nvSpPr>
          <p:cNvPr id="12" name="Text Placeholder 11">
            <a:extLst>
              <a:ext uri="{FF2B5EF4-FFF2-40B4-BE49-F238E27FC236}">
                <a16:creationId xmlns:a16="http://schemas.microsoft.com/office/drawing/2014/main" id="{0C27D552-92FE-4D36-A5E0-EC0E061FC024}"/>
              </a:ext>
            </a:extLst>
          </p:cNvPr>
          <p:cNvSpPr>
            <a:spLocks noGrp="1"/>
          </p:cNvSpPr>
          <p:nvPr>
            <p:ph type="body" sz="quarter" idx="13"/>
          </p:nvPr>
        </p:nvSpPr>
        <p:spPr/>
        <p:txBody>
          <a:bodyPr/>
          <a:lstStyle/>
          <a:p>
            <a:endParaRPr lang="en-GB" dirty="0"/>
          </a:p>
        </p:txBody>
      </p:sp>
      <p:sp>
        <p:nvSpPr>
          <p:cNvPr id="13" name="Text Placeholder 12">
            <a:extLst>
              <a:ext uri="{FF2B5EF4-FFF2-40B4-BE49-F238E27FC236}">
                <a16:creationId xmlns:a16="http://schemas.microsoft.com/office/drawing/2014/main" id="{799822BF-8EF1-40EE-8C23-CD3DEB9054D5}"/>
              </a:ext>
            </a:extLst>
          </p:cNvPr>
          <p:cNvSpPr>
            <a:spLocks noGrp="1"/>
          </p:cNvSpPr>
          <p:nvPr>
            <p:ph type="body" sz="quarter" idx="14"/>
          </p:nvPr>
        </p:nvSpPr>
        <p:spPr/>
        <p:txBody>
          <a:bodyPr/>
          <a:lstStyle/>
          <a:p>
            <a:endParaRPr lang="en-GB" dirty="0"/>
          </a:p>
        </p:txBody>
      </p:sp>
      <p:grpSp>
        <p:nvGrpSpPr>
          <p:cNvPr id="16" name="Group 15">
            <a:extLst>
              <a:ext uri="{FF2B5EF4-FFF2-40B4-BE49-F238E27FC236}">
                <a16:creationId xmlns:a16="http://schemas.microsoft.com/office/drawing/2014/main" id="{7D77A5E1-182A-4204-928E-D864257EF6C8}"/>
              </a:ext>
            </a:extLst>
          </p:cNvPr>
          <p:cNvGrpSpPr/>
          <p:nvPr/>
        </p:nvGrpSpPr>
        <p:grpSpPr>
          <a:xfrm>
            <a:off x="8298832" y="309514"/>
            <a:ext cx="847612" cy="669167"/>
            <a:chOff x="4051300" y="3319463"/>
            <a:chExt cx="512763" cy="404813"/>
          </a:xfrm>
        </p:grpSpPr>
        <p:sp>
          <p:nvSpPr>
            <p:cNvPr id="17" name="Freeform 22">
              <a:extLst>
                <a:ext uri="{FF2B5EF4-FFF2-40B4-BE49-F238E27FC236}">
                  <a16:creationId xmlns:a16="http://schemas.microsoft.com/office/drawing/2014/main" id="{175F7CFD-EC42-4E69-9653-EE4237B07D12}"/>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23">
              <a:extLst>
                <a:ext uri="{FF2B5EF4-FFF2-40B4-BE49-F238E27FC236}">
                  <a16:creationId xmlns:a16="http://schemas.microsoft.com/office/drawing/2014/main" id="{F8E0A063-C9A4-4DF0-A583-3062EF94D377}"/>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24">
              <a:extLst>
                <a:ext uri="{FF2B5EF4-FFF2-40B4-BE49-F238E27FC236}">
                  <a16:creationId xmlns:a16="http://schemas.microsoft.com/office/drawing/2014/main" id="{DF652F2D-E8CA-4306-9844-30A312F0E817}"/>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1" name="Rectangle 20">
            <a:extLst>
              <a:ext uri="{FF2B5EF4-FFF2-40B4-BE49-F238E27FC236}">
                <a16:creationId xmlns:a16="http://schemas.microsoft.com/office/drawing/2014/main" id="{9758E1A1-7800-4743-B300-DBF74FD1C8EA}"/>
              </a:ext>
            </a:extLst>
          </p:cNvPr>
          <p:cNvSpPr/>
          <p:nvPr/>
        </p:nvSpPr>
        <p:spPr>
          <a:xfrm>
            <a:off x="942649" y="1928037"/>
            <a:ext cx="8690299" cy="518400"/>
          </a:xfrm>
          <a:prstGeom prst="rect">
            <a:avLst/>
          </a:prstGeom>
        </p:spPr>
        <p:txBody>
          <a:bodyPr wrap="square" lIns="144000" rIns="144000" anchor="ctr">
            <a:spAutoFit/>
          </a:bodyPr>
          <a:lstStyle/>
          <a:p>
            <a:pPr lvl="0">
              <a:lnSpc>
                <a:spcPct val="115000"/>
              </a:lnSpc>
            </a:pPr>
            <a:r>
              <a:rPr lang="en-GB" sz="1200" dirty="0">
                <a:solidFill>
                  <a:srgbClr val="1F2023"/>
                </a:solidFill>
                <a:latin typeface="Arial" panose="020B0604020202020204" pitchFamily="34" charset="0"/>
                <a:ea typeface="Arial" panose="020B0604020202020204" pitchFamily="34" charset="0"/>
                <a:cs typeface="Times New Roman" panose="02020603050405020304" pitchFamily="18" charset="0"/>
              </a:rPr>
              <a:t>Think about a strength/ quality you are happy or proud about in terms of you or your organizations. What would that be? </a:t>
            </a:r>
          </a:p>
        </p:txBody>
      </p:sp>
      <p:sp>
        <p:nvSpPr>
          <p:cNvPr id="23" name="Rectangle 22">
            <a:extLst>
              <a:ext uri="{FF2B5EF4-FFF2-40B4-BE49-F238E27FC236}">
                <a16:creationId xmlns:a16="http://schemas.microsoft.com/office/drawing/2014/main" id="{EE34CA08-2A81-4E50-A58C-E38CA07CA643}"/>
              </a:ext>
            </a:extLst>
          </p:cNvPr>
          <p:cNvSpPr/>
          <p:nvPr/>
        </p:nvSpPr>
        <p:spPr>
          <a:xfrm>
            <a:off x="942649" y="2797149"/>
            <a:ext cx="8690299" cy="518400"/>
          </a:xfrm>
          <a:prstGeom prst="rect">
            <a:avLst/>
          </a:prstGeom>
        </p:spPr>
        <p:txBody>
          <a:bodyPr wrap="square" lIns="144000" rIns="144000" anchor="ctr">
            <a:spAutoFit/>
          </a:bodyPr>
          <a:lstStyle/>
          <a:p>
            <a:pPr lvl="0">
              <a:lnSpc>
                <a:spcPct val="115000"/>
              </a:lnSpc>
            </a:pPr>
            <a:r>
              <a:rPr lang="en-GB" sz="1200" dirty="0">
                <a:solidFill>
                  <a:srgbClr val="000000"/>
                </a:solidFill>
                <a:latin typeface="Arial" panose="020B0604020202020204" pitchFamily="34" charset="0"/>
                <a:ea typeface="Arial" panose="020B0604020202020204" pitchFamily="34" charset="0"/>
                <a:cs typeface="Times New Roman" panose="02020603050405020304" pitchFamily="18" charset="0"/>
              </a:rPr>
              <a:t>If you were to put a metaphor on this strength/ quality, what would that be? (sport, nature, an animal, a </a:t>
            </a:r>
            <a:r>
              <a:rPr lang="en-GB" sz="1200" dirty="0" err="1">
                <a:solidFill>
                  <a:srgbClr val="000000"/>
                </a:solidFill>
                <a:latin typeface="Arial" panose="020B0604020202020204" pitchFamily="34" charset="0"/>
                <a:ea typeface="Arial" panose="020B0604020202020204" pitchFamily="34" charset="0"/>
                <a:cs typeface="Times New Roman" panose="02020603050405020304" pitchFamily="18" charset="0"/>
              </a:rPr>
              <a:t>color</a:t>
            </a:r>
            <a:r>
              <a:rPr lang="en-GB" sz="1200" dirty="0">
                <a:solidFill>
                  <a:srgbClr val="000000"/>
                </a:solidFill>
                <a:latin typeface="Arial" panose="020B0604020202020204" pitchFamily="34" charset="0"/>
                <a:ea typeface="Arial" panose="020B0604020202020204" pitchFamily="34" charset="0"/>
                <a:cs typeface="Times New Roman" panose="02020603050405020304" pitchFamily="18" charset="0"/>
              </a:rPr>
              <a:t>, a song, a cartoon or movie character, or something else – use the first image that comes to you)</a:t>
            </a:r>
            <a:endParaRPr lang="en-GB" sz="1200" dirty="0">
              <a:solidFill>
                <a:srgbClr val="000000"/>
              </a:solidFill>
              <a:latin typeface="Arial" panose="020B0604020202020204" pitchFamily="34" charset="0"/>
              <a:ea typeface="Arial" panose="020B0604020202020204" pitchFamily="34" charset="0"/>
              <a:cs typeface="Arial"/>
            </a:endParaRPr>
          </a:p>
        </p:txBody>
      </p:sp>
      <p:sp>
        <p:nvSpPr>
          <p:cNvPr id="25" name="Rectangle 24">
            <a:extLst>
              <a:ext uri="{FF2B5EF4-FFF2-40B4-BE49-F238E27FC236}">
                <a16:creationId xmlns:a16="http://schemas.microsoft.com/office/drawing/2014/main" id="{DB89EDA9-175F-4CC6-BE06-E5DC49381FC3}"/>
              </a:ext>
            </a:extLst>
          </p:cNvPr>
          <p:cNvSpPr/>
          <p:nvPr/>
        </p:nvSpPr>
        <p:spPr>
          <a:xfrm>
            <a:off x="942649" y="3666261"/>
            <a:ext cx="8690299" cy="518400"/>
          </a:xfrm>
          <a:prstGeom prst="rect">
            <a:avLst/>
          </a:prstGeom>
        </p:spPr>
        <p:txBody>
          <a:bodyPr wrap="square" lIns="144000" rIns="144000" anchor="ctr">
            <a:spAutoFit/>
          </a:bodyPr>
          <a:lstStyle/>
          <a:p>
            <a:pPr lvl="0">
              <a:lnSpc>
                <a:spcPct val="115000"/>
              </a:lnSpc>
            </a:pPr>
            <a:r>
              <a:rPr lang="en-GB" sz="1200" dirty="0">
                <a:solidFill>
                  <a:srgbClr val="000000"/>
                </a:solidFill>
                <a:latin typeface="Arial" panose="020B0604020202020204" pitchFamily="34" charset="0"/>
                <a:ea typeface="Arial" panose="020B0604020202020204" pitchFamily="34" charset="0"/>
                <a:cs typeface="Times New Roman" panose="02020603050405020304" pitchFamily="18" charset="0"/>
              </a:rPr>
              <a:t>When was the last time you saw or used that ability? Describe the situation. Also describe what effect it had on the other(s) involved in the situation, and the effect it had on yourself?</a:t>
            </a:r>
          </a:p>
        </p:txBody>
      </p:sp>
      <p:sp>
        <p:nvSpPr>
          <p:cNvPr id="28" name="Rectangle 27">
            <a:extLst>
              <a:ext uri="{FF2B5EF4-FFF2-40B4-BE49-F238E27FC236}">
                <a16:creationId xmlns:a16="http://schemas.microsoft.com/office/drawing/2014/main" id="{668A0033-C624-4EDB-B9C0-F20C7BA91EC4}"/>
              </a:ext>
            </a:extLst>
          </p:cNvPr>
          <p:cNvSpPr/>
          <p:nvPr/>
        </p:nvSpPr>
        <p:spPr>
          <a:xfrm>
            <a:off x="942649" y="5229135"/>
            <a:ext cx="8690299" cy="670100"/>
          </a:xfrm>
          <a:prstGeom prst="rect">
            <a:avLst/>
          </a:prstGeom>
          <a:solidFill>
            <a:srgbClr val="E2DED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108000" rtlCol="0" anchor="ctr" anchorCtr="0">
            <a:noAutofit/>
          </a:bodyPr>
          <a:lstStyle/>
          <a:p>
            <a:pPr>
              <a:lnSpc>
                <a:spcPct val="115000"/>
              </a:lnSpc>
              <a:spcAft>
                <a:spcPts val="0"/>
              </a:spcAft>
            </a:pPr>
            <a:r>
              <a:rPr lang="en-GB" sz="1200" b="1" dirty="0">
                <a:solidFill>
                  <a:srgbClr val="1F2023"/>
                </a:solidFill>
                <a:latin typeface="Arial" panose="020B0604020202020204" pitchFamily="34" charset="0"/>
                <a:ea typeface="Arial" panose="020B0604020202020204" pitchFamily="34" charset="0"/>
                <a:cs typeface="Times New Roman" panose="02020603050405020304" pitchFamily="18" charset="0"/>
              </a:rPr>
              <a:t>At the tables </a:t>
            </a:r>
            <a:r>
              <a:rPr lang="en-GB" sz="1200" dirty="0">
                <a:solidFill>
                  <a:srgbClr val="1F2023"/>
                </a:solidFill>
                <a:latin typeface="Arial" panose="020B0604020202020204" pitchFamily="34" charset="0"/>
                <a:ea typeface="Arial" panose="020B0604020202020204" pitchFamily="34" charset="0"/>
                <a:cs typeface="Times New Roman" panose="02020603050405020304" pitchFamily="18" charset="0"/>
              </a:rPr>
              <a:t>– come up with other strength based questions that you might use in your conversations.</a:t>
            </a:r>
          </a:p>
        </p:txBody>
      </p:sp>
      <p:sp>
        <p:nvSpPr>
          <p:cNvPr id="30" name="Rectangle 29">
            <a:extLst>
              <a:ext uri="{FF2B5EF4-FFF2-40B4-BE49-F238E27FC236}">
                <a16:creationId xmlns:a16="http://schemas.microsoft.com/office/drawing/2014/main" id="{0C80F6FD-9232-459C-B20B-4370A840D6DD}"/>
              </a:ext>
            </a:extLst>
          </p:cNvPr>
          <p:cNvSpPr/>
          <p:nvPr/>
        </p:nvSpPr>
        <p:spPr>
          <a:xfrm>
            <a:off x="273050" y="5229135"/>
            <a:ext cx="669600" cy="670100"/>
          </a:xfrm>
          <a:prstGeom prst="rect">
            <a:avLst/>
          </a:prstGeom>
          <a:solidFill>
            <a:srgbClr val="9A6E3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noAutofit/>
          </a:bodyPr>
          <a:lstStyle/>
          <a:p>
            <a:pPr>
              <a:lnSpc>
                <a:spcPct val="115000"/>
              </a:lnSpc>
              <a:spcAft>
                <a:spcPts val="0"/>
              </a:spcAft>
            </a:pPr>
            <a:endParaRPr lang="en-GB" sz="1100" dirty="0">
              <a:solidFill>
                <a:srgbClr val="8AA299"/>
              </a:solidFill>
              <a:latin typeface="Arial" panose="020B0604020202020204" pitchFamily="34" charset="0"/>
              <a:ea typeface="Arial" panose="020B0604020202020204" pitchFamily="34" charset="0"/>
              <a:cs typeface="Times New Roman" panose="02020603050405020304" pitchFamily="18" charset="0"/>
            </a:endParaRPr>
          </a:p>
        </p:txBody>
      </p:sp>
      <p:sp>
        <p:nvSpPr>
          <p:cNvPr id="34" name="Freeform 94">
            <a:extLst>
              <a:ext uri="{FF2B5EF4-FFF2-40B4-BE49-F238E27FC236}">
                <a16:creationId xmlns:a16="http://schemas.microsoft.com/office/drawing/2014/main" id="{B8C96049-522A-40FC-BF8A-8CC78E0D0CC1}"/>
              </a:ext>
            </a:extLst>
          </p:cNvPr>
          <p:cNvSpPr>
            <a:spLocks/>
          </p:cNvSpPr>
          <p:nvPr/>
        </p:nvSpPr>
        <p:spPr bwMode="auto">
          <a:xfrm>
            <a:off x="442607" y="5406936"/>
            <a:ext cx="305627" cy="314500"/>
          </a:xfrm>
          <a:custGeom>
            <a:avLst/>
            <a:gdLst>
              <a:gd name="T0" fmla="*/ 33 w 110"/>
              <a:gd name="T1" fmla="*/ 78 h 113"/>
              <a:gd name="T2" fmla="*/ 33 w 110"/>
              <a:gd name="T3" fmla="*/ 105 h 113"/>
              <a:gd name="T4" fmla="*/ 40 w 110"/>
              <a:gd name="T5" fmla="*/ 113 h 113"/>
              <a:gd name="T6" fmla="*/ 40 w 110"/>
              <a:gd name="T7" fmla="*/ 113 h 113"/>
              <a:gd name="T8" fmla="*/ 48 w 110"/>
              <a:gd name="T9" fmla="*/ 105 h 113"/>
              <a:gd name="T10" fmla="*/ 48 w 110"/>
              <a:gd name="T11" fmla="*/ 78 h 113"/>
              <a:gd name="T12" fmla="*/ 41 w 110"/>
              <a:gd name="T13" fmla="*/ 70 h 113"/>
              <a:gd name="T14" fmla="*/ 22 w 110"/>
              <a:gd name="T15" fmla="*/ 70 h 113"/>
              <a:gd name="T16" fmla="*/ 0 w 110"/>
              <a:gd name="T17" fmla="*/ 49 h 113"/>
              <a:gd name="T18" fmla="*/ 0 w 110"/>
              <a:gd name="T19" fmla="*/ 49 h 113"/>
              <a:gd name="T20" fmla="*/ 22 w 110"/>
              <a:gd name="T21" fmla="*/ 27 h 113"/>
              <a:gd name="T22" fmla="*/ 54 w 110"/>
              <a:gd name="T23" fmla="*/ 27 h 113"/>
              <a:gd name="T24" fmla="*/ 54 w 110"/>
              <a:gd name="T25" fmla="*/ 27 h 113"/>
              <a:gd name="T26" fmla="*/ 99 w 110"/>
              <a:gd name="T27" fmla="*/ 7 h 113"/>
              <a:gd name="T28" fmla="*/ 99 w 110"/>
              <a:gd name="T29" fmla="*/ 5 h 113"/>
              <a:gd name="T30" fmla="*/ 104 w 110"/>
              <a:gd name="T31" fmla="*/ 0 h 113"/>
              <a:gd name="T32" fmla="*/ 104 w 110"/>
              <a:gd name="T33" fmla="*/ 0 h 113"/>
              <a:gd name="T34" fmla="*/ 110 w 110"/>
              <a:gd name="T35" fmla="*/ 5 h 113"/>
              <a:gd name="T36" fmla="*/ 110 w 110"/>
              <a:gd name="T37" fmla="*/ 95 h 113"/>
              <a:gd name="T38" fmla="*/ 104 w 110"/>
              <a:gd name="T39" fmla="*/ 100 h 113"/>
              <a:gd name="T40" fmla="*/ 104 w 110"/>
              <a:gd name="T41" fmla="*/ 100 h 113"/>
              <a:gd name="T42" fmla="*/ 99 w 110"/>
              <a:gd name="T43" fmla="*/ 95 h 113"/>
              <a:gd name="T44" fmla="*/ 99 w 110"/>
              <a:gd name="T45" fmla="*/ 89 h 113"/>
              <a:gd name="T46" fmla="*/ 54 w 110"/>
              <a:gd name="T47" fmla="*/ 7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13">
                <a:moveTo>
                  <a:pt x="33" y="78"/>
                </a:moveTo>
                <a:cubicBezTo>
                  <a:pt x="33" y="105"/>
                  <a:pt x="33" y="105"/>
                  <a:pt x="33" y="105"/>
                </a:cubicBezTo>
                <a:cubicBezTo>
                  <a:pt x="33" y="110"/>
                  <a:pt x="36" y="113"/>
                  <a:pt x="40" y="113"/>
                </a:cubicBezTo>
                <a:cubicBezTo>
                  <a:pt x="40" y="113"/>
                  <a:pt x="40" y="113"/>
                  <a:pt x="40" y="113"/>
                </a:cubicBezTo>
                <a:cubicBezTo>
                  <a:pt x="45" y="113"/>
                  <a:pt x="48" y="110"/>
                  <a:pt x="48" y="105"/>
                </a:cubicBezTo>
                <a:cubicBezTo>
                  <a:pt x="48" y="78"/>
                  <a:pt x="48" y="78"/>
                  <a:pt x="48" y="78"/>
                </a:cubicBezTo>
                <a:cubicBezTo>
                  <a:pt x="48" y="74"/>
                  <a:pt x="45" y="70"/>
                  <a:pt x="41" y="70"/>
                </a:cubicBezTo>
                <a:cubicBezTo>
                  <a:pt x="22" y="70"/>
                  <a:pt x="22" y="70"/>
                  <a:pt x="22" y="70"/>
                </a:cubicBezTo>
                <a:cubicBezTo>
                  <a:pt x="10" y="70"/>
                  <a:pt x="0" y="61"/>
                  <a:pt x="0" y="49"/>
                </a:cubicBezTo>
                <a:cubicBezTo>
                  <a:pt x="0" y="49"/>
                  <a:pt x="0" y="49"/>
                  <a:pt x="0" y="49"/>
                </a:cubicBezTo>
                <a:cubicBezTo>
                  <a:pt x="0" y="37"/>
                  <a:pt x="10" y="27"/>
                  <a:pt x="22" y="27"/>
                </a:cubicBezTo>
                <a:cubicBezTo>
                  <a:pt x="54" y="27"/>
                  <a:pt x="54" y="27"/>
                  <a:pt x="54" y="27"/>
                </a:cubicBezTo>
                <a:cubicBezTo>
                  <a:pt x="54" y="27"/>
                  <a:pt x="54" y="27"/>
                  <a:pt x="54" y="27"/>
                </a:cubicBezTo>
                <a:cubicBezTo>
                  <a:pt x="99" y="7"/>
                  <a:pt x="99" y="7"/>
                  <a:pt x="99" y="7"/>
                </a:cubicBezTo>
                <a:cubicBezTo>
                  <a:pt x="99" y="5"/>
                  <a:pt x="99" y="5"/>
                  <a:pt x="99" y="5"/>
                </a:cubicBezTo>
                <a:cubicBezTo>
                  <a:pt x="99" y="2"/>
                  <a:pt x="101" y="0"/>
                  <a:pt x="104" y="0"/>
                </a:cubicBezTo>
                <a:cubicBezTo>
                  <a:pt x="104" y="0"/>
                  <a:pt x="104" y="0"/>
                  <a:pt x="104" y="0"/>
                </a:cubicBezTo>
                <a:cubicBezTo>
                  <a:pt x="107" y="0"/>
                  <a:pt x="110" y="2"/>
                  <a:pt x="110" y="5"/>
                </a:cubicBezTo>
                <a:cubicBezTo>
                  <a:pt x="110" y="95"/>
                  <a:pt x="110" y="95"/>
                  <a:pt x="110" y="95"/>
                </a:cubicBezTo>
                <a:cubicBezTo>
                  <a:pt x="110" y="98"/>
                  <a:pt x="107" y="100"/>
                  <a:pt x="104" y="100"/>
                </a:cubicBezTo>
                <a:cubicBezTo>
                  <a:pt x="104" y="100"/>
                  <a:pt x="104" y="100"/>
                  <a:pt x="104" y="100"/>
                </a:cubicBezTo>
                <a:cubicBezTo>
                  <a:pt x="101" y="100"/>
                  <a:pt x="99" y="98"/>
                  <a:pt x="99" y="95"/>
                </a:cubicBezTo>
                <a:cubicBezTo>
                  <a:pt x="99" y="89"/>
                  <a:pt x="99" y="89"/>
                  <a:pt x="99" y="89"/>
                </a:cubicBezTo>
                <a:cubicBezTo>
                  <a:pt x="54" y="71"/>
                  <a:pt x="54" y="71"/>
                  <a:pt x="54" y="71"/>
                </a:cubicBez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35" name="Group 34">
            <a:extLst>
              <a:ext uri="{FF2B5EF4-FFF2-40B4-BE49-F238E27FC236}">
                <a16:creationId xmlns:a16="http://schemas.microsoft.com/office/drawing/2014/main" id="{47AC9C77-E71F-42B1-B338-CD0620ABF635}"/>
              </a:ext>
            </a:extLst>
          </p:cNvPr>
          <p:cNvGrpSpPr/>
          <p:nvPr/>
        </p:nvGrpSpPr>
        <p:grpSpPr>
          <a:xfrm>
            <a:off x="470479" y="4636148"/>
            <a:ext cx="274742" cy="316848"/>
            <a:chOff x="6396038" y="3662363"/>
            <a:chExt cx="414338" cy="477837"/>
          </a:xfrm>
        </p:grpSpPr>
        <p:sp>
          <p:nvSpPr>
            <p:cNvPr id="36" name="Freeform 71">
              <a:extLst>
                <a:ext uri="{FF2B5EF4-FFF2-40B4-BE49-F238E27FC236}">
                  <a16:creationId xmlns:a16="http://schemas.microsoft.com/office/drawing/2014/main" id="{1E9B998B-F354-4173-8FC0-0F1A2C695DB9}"/>
                </a:ext>
              </a:extLst>
            </p:cNvPr>
            <p:cNvSpPr>
              <a:spLocks/>
            </p:cNvSpPr>
            <p:nvPr/>
          </p:nvSpPr>
          <p:spPr bwMode="auto">
            <a:xfrm>
              <a:off x="6419850" y="3662363"/>
              <a:ext cx="269875" cy="328613"/>
            </a:xfrm>
            <a:custGeom>
              <a:avLst/>
              <a:gdLst>
                <a:gd name="T0" fmla="*/ 30 w 60"/>
                <a:gd name="T1" fmla="*/ 73 h 73"/>
                <a:gd name="T2" fmla="*/ 30 w 60"/>
                <a:gd name="T3" fmla="*/ 73 h 73"/>
                <a:gd name="T4" fmla="*/ 0 w 60"/>
                <a:gd name="T5" fmla="*/ 43 h 73"/>
                <a:gd name="T6" fmla="*/ 0 w 60"/>
                <a:gd name="T7" fmla="*/ 0 h 73"/>
                <a:gd name="T8" fmla="*/ 60 w 60"/>
                <a:gd name="T9" fmla="*/ 0 h 73"/>
                <a:gd name="T10" fmla="*/ 60 w 60"/>
                <a:gd name="T11" fmla="*/ 43 h 73"/>
                <a:gd name="T12" fmla="*/ 30 w 60"/>
                <a:gd name="T13" fmla="*/ 73 h 73"/>
              </a:gdLst>
              <a:ahLst/>
              <a:cxnLst>
                <a:cxn ang="0">
                  <a:pos x="T0" y="T1"/>
                </a:cxn>
                <a:cxn ang="0">
                  <a:pos x="T2" y="T3"/>
                </a:cxn>
                <a:cxn ang="0">
                  <a:pos x="T4" y="T5"/>
                </a:cxn>
                <a:cxn ang="0">
                  <a:pos x="T6" y="T7"/>
                </a:cxn>
                <a:cxn ang="0">
                  <a:pos x="T8" y="T9"/>
                </a:cxn>
                <a:cxn ang="0">
                  <a:pos x="T10" y="T11"/>
                </a:cxn>
                <a:cxn ang="0">
                  <a:pos x="T12" y="T13"/>
                </a:cxn>
              </a:cxnLst>
              <a:rect l="0" t="0" r="r" b="b"/>
              <a:pathLst>
                <a:path w="60" h="73">
                  <a:moveTo>
                    <a:pt x="30" y="73"/>
                  </a:moveTo>
                  <a:cubicBezTo>
                    <a:pt x="30" y="73"/>
                    <a:pt x="30" y="73"/>
                    <a:pt x="30" y="73"/>
                  </a:cubicBezTo>
                  <a:cubicBezTo>
                    <a:pt x="14" y="73"/>
                    <a:pt x="0" y="60"/>
                    <a:pt x="0" y="43"/>
                  </a:cubicBezTo>
                  <a:cubicBezTo>
                    <a:pt x="0" y="0"/>
                    <a:pt x="0" y="0"/>
                    <a:pt x="0" y="0"/>
                  </a:cubicBezTo>
                  <a:cubicBezTo>
                    <a:pt x="60" y="0"/>
                    <a:pt x="60" y="0"/>
                    <a:pt x="60" y="0"/>
                  </a:cubicBezTo>
                  <a:cubicBezTo>
                    <a:pt x="60" y="43"/>
                    <a:pt x="60" y="43"/>
                    <a:pt x="60" y="43"/>
                  </a:cubicBezTo>
                  <a:cubicBezTo>
                    <a:pt x="60" y="60"/>
                    <a:pt x="46" y="73"/>
                    <a:pt x="30" y="73"/>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Line 72">
              <a:extLst>
                <a:ext uri="{FF2B5EF4-FFF2-40B4-BE49-F238E27FC236}">
                  <a16:creationId xmlns:a16="http://schemas.microsoft.com/office/drawing/2014/main" id="{7EB9FBCD-DCAA-4E48-B3BA-C99AF88246CF}"/>
                </a:ext>
              </a:extLst>
            </p:cNvPr>
            <p:cNvSpPr>
              <a:spLocks noChangeShapeType="1"/>
            </p:cNvSpPr>
            <p:nvPr/>
          </p:nvSpPr>
          <p:spPr bwMode="auto">
            <a:xfrm>
              <a:off x="6734175" y="3738563"/>
              <a:ext cx="0" cy="9048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Line 73">
              <a:extLst>
                <a:ext uri="{FF2B5EF4-FFF2-40B4-BE49-F238E27FC236}">
                  <a16:creationId xmlns:a16="http://schemas.microsoft.com/office/drawing/2014/main" id="{4CB20B89-2DB1-42DA-A66C-83CC0C412663}"/>
                </a:ext>
              </a:extLst>
            </p:cNvPr>
            <p:cNvSpPr>
              <a:spLocks noChangeShapeType="1"/>
            </p:cNvSpPr>
            <p:nvPr/>
          </p:nvSpPr>
          <p:spPr bwMode="auto">
            <a:xfrm>
              <a:off x="6599238" y="3990975"/>
              <a:ext cx="0" cy="14922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74">
              <a:extLst>
                <a:ext uri="{FF2B5EF4-FFF2-40B4-BE49-F238E27FC236}">
                  <a16:creationId xmlns:a16="http://schemas.microsoft.com/office/drawing/2014/main" id="{170DD350-CB0B-4509-909E-012A6F286BCD}"/>
                </a:ext>
              </a:extLst>
            </p:cNvPr>
            <p:cNvSpPr>
              <a:spLocks noChangeShapeType="1"/>
            </p:cNvSpPr>
            <p:nvPr/>
          </p:nvSpPr>
          <p:spPr bwMode="auto">
            <a:xfrm>
              <a:off x="6491288" y="4140200"/>
              <a:ext cx="21590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5">
              <a:extLst>
                <a:ext uri="{FF2B5EF4-FFF2-40B4-BE49-F238E27FC236}">
                  <a16:creationId xmlns:a16="http://schemas.microsoft.com/office/drawing/2014/main" id="{D3B26F78-E43B-4774-BB77-F343EB68A6CD}"/>
                </a:ext>
              </a:extLst>
            </p:cNvPr>
            <p:cNvSpPr>
              <a:spLocks/>
            </p:cNvSpPr>
            <p:nvPr/>
          </p:nvSpPr>
          <p:spPr bwMode="auto">
            <a:xfrm>
              <a:off x="6469063" y="3738563"/>
              <a:ext cx="341313" cy="252413"/>
            </a:xfrm>
            <a:custGeom>
              <a:avLst/>
              <a:gdLst>
                <a:gd name="T0" fmla="*/ 64 w 76"/>
                <a:gd name="T1" fmla="*/ 0 h 56"/>
                <a:gd name="T2" fmla="*/ 76 w 76"/>
                <a:gd name="T3" fmla="*/ 0 h 56"/>
                <a:gd name="T4" fmla="*/ 76 w 76"/>
                <a:gd name="T5" fmla="*/ 13 h 56"/>
                <a:gd name="T6" fmla="*/ 61 w 76"/>
                <a:gd name="T7" fmla="*/ 28 h 56"/>
                <a:gd name="T8" fmla="*/ 59 w 76"/>
                <a:gd name="T9" fmla="*/ 31 h 56"/>
                <a:gd name="T10" fmla="*/ 30 w 76"/>
                <a:gd name="T11" fmla="*/ 56 h 56"/>
                <a:gd name="T12" fmla="*/ 30 w 76"/>
                <a:gd name="T13" fmla="*/ 56 h 56"/>
                <a:gd name="T14" fmla="*/ 0 w 76"/>
                <a:gd name="T15" fmla="*/ 26 h 56"/>
                <a:gd name="T16" fmla="*/ 0 w 76"/>
                <a:gd name="T17" fmla="*/ 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6">
                  <a:moveTo>
                    <a:pt x="64" y="0"/>
                  </a:moveTo>
                  <a:cubicBezTo>
                    <a:pt x="76" y="0"/>
                    <a:pt x="76" y="0"/>
                    <a:pt x="76" y="0"/>
                  </a:cubicBezTo>
                  <a:cubicBezTo>
                    <a:pt x="76" y="13"/>
                    <a:pt x="76" y="13"/>
                    <a:pt x="76" y="13"/>
                  </a:cubicBezTo>
                  <a:cubicBezTo>
                    <a:pt x="75" y="24"/>
                    <a:pt x="66" y="27"/>
                    <a:pt x="61" y="28"/>
                  </a:cubicBezTo>
                  <a:cubicBezTo>
                    <a:pt x="60" y="28"/>
                    <a:pt x="59" y="30"/>
                    <a:pt x="59" y="31"/>
                  </a:cubicBezTo>
                  <a:cubicBezTo>
                    <a:pt x="57" y="45"/>
                    <a:pt x="44" y="56"/>
                    <a:pt x="30" y="56"/>
                  </a:cubicBezTo>
                  <a:cubicBezTo>
                    <a:pt x="30" y="56"/>
                    <a:pt x="30" y="56"/>
                    <a:pt x="30" y="56"/>
                  </a:cubicBezTo>
                  <a:cubicBezTo>
                    <a:pt x="13" y="56"/>
                    <a:pt x="0" y="42"/>
                    <a:pt x="0" y="26"/>
                  </a:cubicBezTo>
                  <a:cubicBezTo>
                    <a:pt x="0" y="7"/>
                    <a:pt x="0" y="7"/>
                    <a:pt x="0" y="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76">
              <a:extLst>
                <a:ext uri="{FF2B5EF4-FFF2-40B4-BE49-F238E27FC236}">
                  <a16:creationId xmlns:a16="http://schemas.microsoft.com/office/drawing/2014/main" id="{D4093CF2-010D-4A6E-954D-425D8F75AD2C}"/>
                </a:ext>
              </a:extLst>
            </p:cNvPr>
            <p:cNvSpPr>
              <a:spLocks/>
            </p:cNvSpPr>
            <p:nvPr/>
          </p:nvSpPr>
          <p:spPr bwMode="auto">
            <a:xfrm>
              <a:off x="6396038" y="3662363"/>
              <a:ext cx="338138" cy="198438"/>
            </a:xfrm>
            <a:custGeom>
              <a:avLst/>
              <a:gdLst>
                <a:gd name="T0" fmla="*/ 9 w 75"/>
                <a:gd name="T1" fmla="*/ 44 h 44"/>
                <a:gd name="T2" fmla="*/ 0 w 75"/>
                <a:gd name="T3" fmla="*/ 30 h 44"/>
                <a:gd name="T4" fmla="*/ 0 w 75"/>
                <a:gd name="T5" fmla="*/ 17 h 44"/>
                <a:gd name="T6" fmla="*/ 14 w 75"/>
                <a:gd name="T7" fmla="*/ 17 h 44"/>
                <a:gd name="T8" fmla="*/ 16 w 75"/>
                <a:gd name="T9" fmla="*/ 16 h 44"/>
                <a:gd name="T10" fmla="*/ 16 w 75"/>
                <a:gd name="T11" fmla="*/ 0 h 44"/>
                <a:gd name="T12" fmla="*/ 75 w 75"/>
                <a:gd name="T13" fmla="*/ 0 h 44"/>
                <a:gd name="T14" fmla="*/ 75 w 75"/>
                <a:gd name="T15" fmla="*/ 17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5" h="44">
                  <a:moveTo>
                    <a:pt x="9" y="44"/>
                  </a:moveTo>
                  <a:cubicBezTo>
                    <a:pt x="4" y="42"/>
                    <a:pt x="0" y="36"/>
                    <a:pt x="0" y="30"/>
                  </a:cubicBezTo>
                  <a:cubicBezTo>
                    <a:pt x="0" y="17"/>
                    <a:pt x="0" y="17"/>
                    <a:pt x="0" y="17"/>
                  </a:cubicBezTo>
                  <a:cubicBezTo>
                    <a:pt x="14" y="17"/>
                    <a:pt x="14" y="17"/>
                    <a:pt x="14" y="17"/>
                  </a:cubicBezTo>
                  <a:cubicBezTo>
                    <a:pt x="15" y="17"/>
                    <a:pt x="16" y="17"/>
                    <a:pt x="16" y="16"/>
                  </a:cubicBezTo>
                  <a:cubicBezTo>
                    <a:pt x="16" y="0"/>
                    <a:pt x="16" y="0"/>
                    <a:pt x="16" y="0"/>
                  </a:cubicBezTo>
                  <a:cubicBezTo>
                    <a:pt x="75" y="0"/>
                    <a:pt x="75" y="0"/>
                    <a:pt x="75" y="0"/>
                  </a:cubicBezTo>
                  <a:cubicBezTo>
                    <a:pt x="75" y="17"/>
                    <a:pt x="75" y="17"/>
                    <a:pt x="75" y="1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2" name="Group 41">
            <a:extLst>
              <a:ext uri="{FF2B5EF4-FFF2-40B4-BE49-F238E27FC236}">
                <a16:creationId xmlns:a16="http://schemas.microsoft.com/office/drawing/2014/main" id="{88074748-A21B-4757-AC73-6BAF0BDFF295}"/>
              </a:ext>
            </a:extLst>
          </p:cNvPr>
          <p:cNvGrpSpPr/>
          <p:nvPr/>
        </p:nvGrpSpPr>
        <p:grpSpPr>
          <a:xfrm>
            <a:off x="444161" y="3761772"/>
            <a:ext cx="327378" cy="327378"/>
            <a:chOff x="6138863" y="1490663"/>
            <a:chExt cx="493713" cy="493713"/>
          </a:xfrm>
        </p:grpSpPr>
        <p:sp>
          <p:nvSpPr>
            <p:cNvPr id="43" name="Freeform 51">
              <a:extLst>
                <a:ext uri="{FF2B5EF4-FFF2-40B4-BE49-F238E27FC236}">
                  <a16:creationId xmlns:a16="http://schemas.microsoft.com/office/drawing/2014/main" id="{C5C7EE47-7856-4A09-BCD0-726EBAAD7F76}"/>
                </a:ext>
              </a:extLst>
            </p:cNvPr>
            <p:cNvSpPr>
              <a:spLocks/>
            </p:cNvSpPr>
            <p:nvPr/>
          </p:nvSpPr>
          <p:spPr bwMode="auto">
            <a:xfrm>
              <a:off x="6238876" y="1509713"/>
              <a:ext cx="393700" cy="474663"/>
            </a:xfrm>
            <a:custGeom>
              <a:avLst/>
              <a:gdLst>
                <a:gd name="T0" fmla="*/ 5 w 87"/>
                <a:gd name="T1" fmla="*/ 92 h 105"/>
                <a:gd name="T2" fmla="*/ 2 w 87"/>
                <a:gd name="T3" fmla="*/ 81 h 105"/>
                <a:gd name="T4" fmla="*/ 13 w 87"/>
                <a:gd name="T5" fmla="*/ 77 h 105"/>
                <a:gd name="T6" fmla="*/ 60 w 87"/>
                <a:gd name="T7" fmla="*/ 63 h 105"/>
                <a:gd name="T8" fmla="*/ 46 w 87"/>
                <a:gd name="T9" fmla="*/ 16 h 105"/>
                <a:gd name="T10" fmla="*/ 43 w 87"/>
                <a:gd name="T11" fmla="*/ 5 h 105"/>
                <a:gd name="T12" fmla="*/ 53 w 87"/>
                <a:gd name="T13" fmla="*/ 2 h 105"/>
                <a:gd name="T14" fmla="*/ 74 w 87"/>
                <a:gd name="T15" fmla="*/ 71 h 105"/>
                <a:gd name="T16" fmla="*/ 5 w 87"/>
                <a:gd name="T17" fmla="*/ 92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7" h="105">
                  <a:moveTo>
                    <a:pt x="5" y="92"/>
                  </a:moveTo>
                  <a:cubicBezTo>
                    <a:pt x="1" y="89"/>
                    <a:pt x="0" y="85"/>
                    <a:pt x="2" y="81"/>
                  </a:cubicBezTo>
                  <a:cubicBezTo>
                    <a:pt x="4" y="77"/>
                    <a:pt x="9" y="75"/>
                    <a:pt x="13" y="77"/>
                  </a:cubicBezTo>
                  <a:cubicBezTo>
                    <a:pt x="30" y="87"/>
                    <a:pt x="51" y="80"/>
                    <a:pt x="60" y="63"/>
                  </a:cubicBezTo>
                  <a:cubicBezTo>
                    <a:pt x="69" y="46"/>
                    <a:pt x="63" y="25"/>
                    <a:pt x="46" y="16"/>
                  </a:cubicBezTo>
                  <a:cubicBezTo>
                    <a:pt x="42" y="14"/>
                    <a:pt x="41" y="9"/>
                    <a:pt x="43" y="5"/>
                  </a:cubicBezTo>
                  <a:cubicBezTo>
                    <a:pt x="45" y="1"/>
                    <a:pt x="50" y="0"/>
                    <a:pt x="53" y="2"/>
                  </a:cubicBezTo>
                  <a:cubicBezTo>
                    <a:pt x="78" y="15"/>
                    <a:pt x="87" y="46"/>
                    <a:pt x="74" y="71"/>
                  </a:cubicBezTo>
                  <a:cubicBezTo>
                    <a:pt x="61" y="96"/>
                    <a:pt x="30" y="105"/>
                    <a:pt x="5" y="92"/>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52">
              <a:extLst>
                <a:ext uri="{FF2B5EF4-FFF2-40B4-BE49-F238E27FC236}">
                  <a16:creationId xmlns:a16="http://schemas.microsoft.com/office/drawing/2014/main" id="{A028F836-484D-4D6F-B8D7-849D720336C6}"/>
                </a:ext>
              </a:extLst>
            </p:cNvPr>
            <p:cNvSpPr>
              <a:spLocks/>
            </p:cNvSpPr>
            <p:nvPr/>
          </p:nvSpPr>
          <p:spPr bwMode="auto">
            <a:xfrm>
              <a:off x="6138863" y="1490663"/>
              <a:ext cx="457200" cy="457200"/>
            </a:xfrm>
            <a:custGeom>
              <a:avLst/>
              <a:gdLst>
                <a:gd name="T0" fmla="*/ 50 w 101"/>
                <a:gd name="T1" fmla="*/ 101 h 101"/>
                <a:gd name="T2" fmla="*/ 0 w 101"/>
                <a:gd name="T3" fmla="*/ 51 h 101"/>
                <a:gd name="T4" fmla="*/ 50 w 101"/>
                <a:gd name="T5" fmla="*/ 0 h 101"/>
                <a:gd name="T6" fmla="*/ 101 w 101"/>
                <a:gd name="T7" fmla="*/ 51 h 101"/>
                <a:gd name="T8" fmla="*/ 86 w 101"/>
                <a:gd name="T9" fmla="*/ 87 h 101"/>
              </a:gdLst>
              <a:ahLst/>
              <a:cxnLst>
                <a:cxn ang="0">
                  <a:pos x="T0" y="T1"/>
                </a:cxn>
                <a:cxn ang="0">
                  <a:pos x="T2" y="T3"/>
                </a:cxn>
                <a:cxn ang="0">
                  <a:pos x="T4" y="T5"/>
                </a:cxn>
                <a:cxn ang="0">
                  <a:pos x="T6" y="T7"/>
                </a:cxn>
                <a:cxn ang="0">
                  <a:pos x="T8" y="T9"/>
                </a:cxn>
              </a:cxnLst>
              <a:rect l="0" t="0" r="r" b="b"/>
              <a:pathLst>
                <a:path w="101" h="101">
                  <a:moveTo>
                    <a:pt x="50" y="101"/>
                  </a:moveTo>
                  <a:cubicBezTo>
                    <a:pt x="22" y="101"/>
                    <a:pt x="0" y="79"/>
                    <a:pt x="0" y="51"/>
                  </a:cubicBezTo>
                  <a:cubicBezTo>
                    <a:pt x="0" y="23"/>
                    <a:pt x="22" y="0"/>
                    <a:pt x="50" y="0"/>
                  </a:cubicBezTo>
                  <a:cubicBezTo>
                    <a:pt x="78" y="0"/>
                    <a:pt x="101" y="23"/>
                    <a:pt x="101" y="51"/>
                  </a:cubicBezTo>
                  <a:cubicBezTo>
                    <a:pt x="101" y="65"/>
                    <a:pt x="96" y="77"/>
                    <a:pt x="86" y="8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53">
              <a:extLst>
                <a:ext uri="{FF2B5EF4-FFF2-40B4-BE49-F238E27FC236}">
                  <a16:creationId xmlns:a16="http://schemas.microsoft.com/office/drawing/2014/main" id="{7E0EAFCF-16DA-4A60-BBDD-696BC341CC30}"/>
                </a:ext>
              </a:extLst>
            </p:cNvPr>
            <p:cNvSpPr>
              <a:spLocks/>
            </p:cNvSpPr>
            <p:nvPr/>
          </p:nvSpPr>
          <p:spPr bwMode="auto">
            <a:xfrm>
              <a:off x="6369051" y="1581151"/>
              <a:ext cx="68263" cy="212725"/>
            </a:xfrm>
            <a:custGeom>
              <a:avLst/>
              <a:gdLst>
                <a:gd name="T0" fmla="*/ 0 w 43"/>
                <a:gd name="T1" fmla="*/ 0 h 134"/>
                <a:gd name="T2" fmla="*/ 0 w 43"/>
                <a:gd name="T3" fmla="*/ 89 h 134"/>
                <a:gd name="T4" fmla="*/ 43 w 43"/>
                <a:gd name="T5" fmla="*/ 134 h 134"/>
              </a:gdLst>
              <a:ahLst/>
              <a:cxnLst>
                <a:cxn ang="0">
                  <a:pos x="T0" y="T1"/>
                </a:cxn>
                <a:cxn ang="0">
                  <a:pos x="T2" y="T3"/>
                </a:cxn>
                <a:cxn ang="0">
                  <a:pos x="T4" y="T5"/>
                </a:cxn>
              </a:cxnLst>
              <a:rect l="0" t="0" r="r" b="b"/>
              <a:pathLst>
                <a:path w="43" h="134">
                  <a:moveTo>
                    <a:pt x="0" y="0"/>
                  </a:moveTo>
                  <a:lnTo>
                    <a:pt x="0" y="89"/>
                  </a:lnTo>
                  <a:lnTo>
                    <a:pt x="43" y="134"/>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4">
              <a:extLst>
                <a:ext uri="{FF2B5EF4-FFF2-40B4-BE49-F238E27FC236}">
                  <a16:creationId xmlns:a16="http://schemas.microsoft.com/office/drawing/2014/main" id="{71B062A1-9716-4058-A270-FB5C4FFE1B32}"/>
                </a:ext>
              </a:extLst>
            </p:cNvPr>
            <p:cNvSpPr>
              <a:spLocks/>
            </p:cNvSpPr>
            <p:nvPr/>
          </p:nvSpPr>
          <p:spPr bwMode="auto">
            <a:xfrm>
              <a:off x="6369051" y="1527176"/>
              <a:ext cx="195263" cy="388938"/>
            </a:xfrm>
            <a:custGeom>
              <a:avLst/>
              <a:gdLst>
                <a:gd name="T0" fmla="*/ 0 w 43"/>
                <a:gd name="T1" fmla="*/ 0 h 86"/>
                <a:gd name="T2" fmla="*/ 43 w 43"/>
                <a:gd name="T3" fmla="*/ 43 h 86"/>
                <a:gd name="T4" fmla="*/ 0 w 43"/>
                <a:gd name="T5" fmla="*/ 86 h 86"/>
              </a:gdLst>
              <a:ahLst/>
              <a:cxnLst>
                <a:cxn ang="0">
                  <a:pos x="T0" y="T1"/>
                </a:cxn>
                <a:cxn ang="0">
                  <a:pos x="T2" y="T3"/>
                </a:cxn>
                <a:cxn ang="0">
                  <a:pos x="T4" y="T5"/>
                </a:cxn>
              </a:cxnLst>
              <a:rect l="0" t="0" r="r" b="b"/>
              <a:pathLst>
                <a:path w="43" h="86">
                  <a:moveTo>
                    <a:pt x="0" y="0"/>
                  </a:moveTo>
                  <a:cubicBezTo>
                    <a:pt x="24" y="0"/>
                    <a:pt x="43" y="19"/>
                    <a:pt x="43" y="43"/>
                  </a:cubicBezTo>
                  <a:cubicBezTo>
                    <a:pt x="43" y="66"/>
                    <a:pt x="24" y="86"/>
                    <a:pt x="0" y="8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7" name="Group 46">
            <a:extLst>
              <a:ext uri="{FF2B5EF4-FFF2-40B4-BE49-F238E27FC236}">
                <a16:creationId xmlns:a16="http://schemas.microsoft.com/office/drawing/2014/main" id="{07F9D406-BCC0-4EBA-9C37-17C1703EE549}"/>
              </a:ext>
            </a:extLst>
          </p:cNvPr>
          <p:cNvGrpSpPr/>
          <p:nvPr/>
        </p:nvGrpSpPr>
        <p:grpSpPr>
          <a:xfrm>
            <a:off x="425740" y="2046707"/>
            <a:ext cx="364220" cy="281060"/>
            <a:chOff x="2716213" y="1476375"/>
            <a:chExt cx="549275" cy="423862"/>
          </a:xfrm>
        </p:grpSpPr>
        <p:sp>
          <p:nvSpPr>
            <p:cNvPr id="48" name="Freeform 191">
              <a:extLst>
                <a:ext uri="{FF2B5EF4-FFF2-40B4-BE49-F238E27FC236}">
                  <a16:creationId xmlns:a16="http://schemas.microsoft.com/office/drawing/2014/main" id="{346311CD-00D3-4C73-953D-7340D98831C4}"/>
                </a:ext>
              </a:extLst>
            </p:cNvPr>
            <p:cNvSpPr>
              <a:spLocks/>
            </p:cNvSpPr>
            <p:nvPr/>
          </p:nvSpPr>
          <p:spPr bwMode="auto">
            <a:xfrm>
              <a:off x="2716213" y="1498600"/>
              <a:ext cx="485775" cy="401637"/>
            </a:xfrm>
            <a:custGeom>
              <a:avLst/>
              <a:gdLst>
                <a:gd name="T0" fmla="*/ 76 w 108"/>
                <a:gd name="T1" fmla="*/ 89 h 89"/>
                <a:gd name="T2" fmla="*/ 69 w 108"/>
                <a:gd name="T3" fmla="*/ 65 h 89"/>
                <a:gd name="T4" fmla="*/ 89 w 108"/>
                <a:gd name="T5" fmla="*/ 67 h 89"/>
                <a:gd name="T6" fmla="*/ 105 w 108"/>
                <a:gd name="T7" fmla="*/ 61 h 89"/>
                <a:gd name="T8" fmla="*/ 107 w 108"/>
                <a:gd name="T9" fmla="*/ 45 h 89"/>
                <a:gd name="T10" fmla="*/ 82 w 108"/>
                <a:gd name="T11" fmla="*/ 8 h 89"/>
                <a:gd name="T12" fmla="*/ 53 w 108"/>
                <a:gd name="T13" fmla="*/ 0 h 89"/>
                <a:gd name="T14" fmla="*/ 46 w 108"/>
                <a:gd name="T15" fmla="*/ 3 h 89"/>
                <a:gd name="T16" fmla="*/ 24 w 108"/>
                <a:gd name="T17" fmla="*/ 6 h 89"/>
                <a:gd name="T18" fmla="*/ 3 w 108"/>
                <a:gd name="T19" fmla="*/ 38 h 89"/>
                <a:gd name="T20" fmla="*/ 20 w 108"/>
                <a:gd name="T21" fmla="*/ 52 h 89"/>
                <a:gd name="T22" fmla="*/ 21 w 108"/>
                <a:gd name="T23" fmla="*/ 52 h 89"/>
                <a:gd name="T24" fmla="*/ 22 w 108"/>
                <a:gd name="T25" fmla="*/ 56 h 89"/>
                <a:gd name="T26" fmla="*/ 49 w 108"/>
                <a:gd name="T27" fmla="*/ 66 h 89"/>
                <a:gd name="T28" fmla="*/ 50 w 108"/>
                <a:gd name="T29" fmla="*/ 67 h 89"/>
                <a:gd name="T30" fmla="*/ 56 w 108"/>
                <a:gd name="T31" fmla="*/ 73 h 89"/>
                <a:gd name="T32" fmla="*/ 62 w 108"/>
                <a:gd name="T33"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89">
                  <a:moveTo>
                    <a:pt x="76" y="89"/>
                  </a:moveTo>
                  <a:cubicBezTo>
                    <a:pt x="75" y="72"/>
                    <a:pt x="69" y="65"/>
                    <a:pt x="69" y="65"/>
                  </a:cubicBezTo>
                  <a:cubicBezTo>
                    <a:pt x="77" y="65"/>
                    <a:pt x="81" y="67"/>
                    <a:pt x="89" y="67"/>
                  </a:cubicBezTo>
                  <a:cubicBezTo>
                    <a:pt x="95" y="68"/>
                    <a:pt x="102" y="65"/>
                    <a:pt x="105" y="61"/>
                  </a:cubicBezTo>
                  <a:cubicBezTo>
                    <a:pt x="108" y="56"/>
                    <a:pt x="107" y="50"/>
                    <a:pt x="107" y="45"/>
                  </a:cubicBezTo>
                  <a:cubicBezTo>
                    <a:pt x="106" y="42"/>
                    <a:pt x="101" y="18"/>
                    <a:pt x="82" y="8"/>
                  </a:cubicBezTo>
                  <a:cubicBezTo>
                    <a:pt x="74" y="3"/>
                    <a:pt x="63" y="1"/>
                    <a:pt x="53" y="0"/>
                  </a:cubicBezTo>
                  <a:cubicBezTo>
                    <a:pt x="51" y="0"/>
                    <a:pt x="48" y="1"/>
                    <a:pt x="46" y="3"/>
                  </a:cubicBezTo>
                  <a:cubicBezTo>
                    <a:pt x="38" y="1"/>
                    <a:pt x="27" y="4"/>
                    <a:pt x="24" y="6"/>
                  </a:cubicBezTo>
                  <a:cubicBezTo>
                    <a:pt x="6" y="15"/>
                    <a:pt x="0" y="29"/>
                    <a:pt x="3" y="38"/>
                  </a:cubicBezTo>
                  <a:cubicBezTo>
                    <a:pt x="6" y="46"/>
                    <a:pt x="13" y="52"/>
                    <a:pt x="20" y="52"/>
                  </a:cubicBezTo>
                  <a:cubicBezTo>
                    <a:pt x="21" y="52"/>
                    <a:pt x="21" y="52"/>
                    <a:pt x="21" y="52"/>
                  </a:cubicBezTo>
                  <a:cubicBezTo>
                    <a:pt x="21" y="53"/>
                    <a:pt x="21" y="54"/>
                    <a:pt x="22" y="56"/>
                  </a:cubicBezTo>
                  <a:cubicBezTo>
                    <a:pt x="27" y="71"/>
                    <a:pt x="45" y="67"/>
                    <a:pt x="49" y="66"/>
                  </a:cubicBezTo>
                  <a:cubicBezTo>
                    <a:pt x="50" y="67"/>
                    <a:pt x="50" y="67"/>
                    <a:pt x="50" y="67"/>
                  </a:cubicBezTo>
                  <a:cubicBezTo>
                    <a:pt x="50" y="67"/>
                    <a:pt x="53" y="70"/>
                    <a:pt x="56" y="73"/>
                  </a:cubicBezTo>
                  <a:cubicBezTo>
                    <a:pt x="58" y="76"/>
                    <a:pt x="59" y="77"/>
                    <a:pt x="62" y="84"/>
                  </a:cubicBezTo>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192">
              <a:extLst>
                <a:ext uri="{FF2B5EF4-FFF2-40B4-BE49-F238E27FC236}">
                  <a16:creationId xmlns:a16="http://schemas.microsoft.com/office/drawing/2014/main" id="{9F4B9B57-FD7C-45EE-90A8-8968F33A6F90}"/>
                </a:ext>
              </a:extLst>
            </p:cNvPr>
            <p:cNvSpPr>
              <a:spLocks/>
            </p:cNvSpPr>
            <p:nvPr/>
          </p:nvSpPr>
          <p:spPr bwMode="auto">
            <a:xfrm>
              <a:off x="2716213" y="1498600"/>
              <a:ext cx="485775" cy="401637"/>
            </a:xfrm>
            <a:custGeom>
              <a:avLst/>
              <a:gdLst>
                <a:gd name="T0" fmla="*/ 76 w 108"/>
                <a:gd name="T1" fmla="*/ 89 h 89"/>
                <a:gd name="T2" fmla="*/ 69 w 108"/>
                <a:gd name="T3" fmla="*/ 65 h 89"/>
                <a:gd name="T4" fmla="*/ 89 w 108"/>
                <a:gd name="T5" fmla="*/ 67 h 89"/>
                <a:gd name="T6" fmla="*/ 105 w 108"/>
                <a:gd name="T7" fmla="*/ 61 h 89"/>
                <a:gd name="T8" fmla="*/ 107 w 108"/>
                <a:gd name="T9" fmla="*/ 45 h 89"/>
                <a:gd name="T10" fmla="*/ 82 w 108"/>
                <a:gd name="T11" fmla="*/ 8 h 89"/>
                <a:gd name="T12" fmla="*/ 53 w 108"/>
                <a:gd name="T13" fmla="*/ 0 h 89"/>
                <a:gd name="T14" fmla="*/ 46 w 108"/>
                <a:gd name="T15" fmla="*/ 3 h 89"/>
                <a:gd name="T16" fmla="*/ 24 w 108"/>
                <a:gd name="T17" fmla="*/ 6 h 89"/>
                <a:gd name="T18" fmla="*/ 3 w 108"/>
                <a:gd name="T19" fmla="*/ 38 h 89"/>
                <a:gd name="T20" fmla="*/ 20 w 108"/>
                <a:gd name="T21" fmla="*/ 52 h 89"/>
                <a:gd name="T22" fmla="*/ 21 w 108"/>
                <a:gd name="T23" fmla="*/ 52 h 89"/>
                <a:gd name="T24" fmla="*/ 22 w 108"/>
                <a:gd name="T25" fmla="*/ 56 h 89"/>
                <a:gd name="T26" fmla="*/ 49 w 108"/>
                <a:gd name="T27" fmla="*/ 66 h 89"/>
                <a:gd name="T28" fmla="*/ 50 w 108"/>
                <a:gd name="T29" fmla="*/ 67 h 89"/>
                <a:gd name="T30" fmla="*/ 56 w 108"/>
                <a:gd name="T31" fmla="*/ 73 h 89"/>
                <a:gd name="T32" fmla="*/ 62 w 108"/>
                <a:gd name="T33" fmla="*/ 84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 h="89">
                  <a:moveTo>
                    <a:pt x="76" y="89"/>
                  </a:moveTo>
                  <a:cubicBezTo>
                    <a:pt x="75" y="72"/>
                    <a:pt x="69" y="65"/>
                    <a:pt x="69" y="65"/>
                  </a:cubicBezTo>
                  <a:cubicBezTo>
                    <a:pt x="77" y="65"/>
                    <a:pt x="81" y="67"/>
                    <a:pt x="89" y="67"/>
                  </a:cubicBezTo>
                  <a:cubicBezTo>
                    <a:pt x="95" y="68"/>
                    <a:pt x="102" y="65"/>
                    <a:pt x="105" y="61"/>
                  </a:cubicBezTo>
                  <a:cubicBezTo>
                    <a:pt x="108" y="56"/>
                    <a:pt x="107" y="50"/>
                    <a:pt x="107" y="45"/>
                  </a:cubicBezTo>
                  <a:cubicBezTo>
                    <a:pt x="106" y="42"/>
                    <a:pt x="101" y="18"/>
                    <a:pt x="82" y="8"/>
                  </a:cubicBezTo>
                  <a:cubicBezTo>
                    <a:pt x="74" y="3"/>
                    <a:pt x="63" y="1"/>
                    <a:pt x="53" y="0"/>
                  </a:cubicBezTo>
                  <a:cubicBezTo>
                    <a:pt x="51" y="0"/>
                    <a:pt x="48" y="1"/>
                    <a:pt x="46" y="3"/>
                  </a:cubicBezTo>
                  <a:cubicBezTo>
                    <a:pt x="38" y="1"/>
                    <a:pt x="27" y="4"/>
                    <a:pt x="24" y="6"/>
                  </a:cubicBezTo>
                  <a:cubicBezTo>
                    <a:pt x="6" y="15"/>
                    <a:pt x="0" y="29"/>
                    <a:pt x="3" y="38"/>
                  </a:cubicBezTo>
                  <a:cubicBezTo>
                    <a:pt x="6" y="46"/>
                    <a:pt x="13" y="52"/>
                    <a:pt x="20" y="52"/>
                  </a:cubicBezTo>
                  <a:cubicBezTo>
                    <a:pt x="21" y="52"/>
                    <a:pt x="21" y="52"/>
                    <a:pt x="21" y="52"/>
                  </a:cubicBezTo>
                  <a:cubicBezTo>
                    <a:pt x="21" y="53"/>
                    <a:pt x="21" y="54"/>
                    <a:pt x="22" y="56"/>
                  </a:cubicBezTo>
                  <a:cubicBezTo>
                    <a:pt x="27" y="71"/>
                    <a:pt x="45" y="67"/>
                    <a:pt x="49" y="66"/>
                  </a:cubicBezTo>
                  <a:cubicBezTo>
                    <a:pt x="50" y="67"/>
                    <a:pt x="50" y="67"/>
                    <a:pt x="50" y="67"/>
                  </a:cubicBezTo>
                  <a:cubicBezTo>
                    <a:pt x="50" y="67"/>
                    <a:pt x="53" y="70"/>
                    <a:pt x="56" y="73"/>
                  </a:cubicBezTo>
                  <a:cubicBezTo>
                    <a:pt x="58" y="76"/>
                    <a:pt x="59" y="77"/>
                    <a:pt x="62" y="84"/>
                  </a:cubicBezTo>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93">
              <a:extLst>
                <a:ext uri="{FF2B5EF4-FFF2-40B4-BE49-F238E27FC236}">
                  <a16:creationId xmlns:a16="http://schemas.microsoft.com/office/drawing/2014/main" id="{0B681A0F-73B0-4FAC-8E40-301970F1FCCD}"/>
                </a:ext>
              </a:extLst>
            </p:cNvPr>
            <p:cNvSpPr>
              <a:spLocks/>
            </p:cNvSpPr>
            <p:nvPr/>
          </p:nvSpPr>
          <p:spPr bwMode="auto">
            <a:xfrm>
              <a:off x="2900363" y="1638300"/>
              <a:ext cx="284163" cy="112712"/>
            </a:xfrm>
            <a:custGeom>
              <a:avLst/>
              <a:gdLst>
                <a:gd name="T0" fmla="*/ 5 w 63"/>
                <a:gd name="T1" fmla="*/ 24 h 25"/>
                <a:gd name="T2" fmla="*/ 1 w 63"/>
                <a:gd name="T3" fmla="*/ 17 h 25"/>
                <a:gd name="T4" fmla="*/ 20 w 63"/>
                <a:gd name="T5" fmla="*/ 9 h 25"/>
                <a:gd name="T6" fmla="*/ 36 w 63"/>
                <a:gd name="T7" fmla="*/ 16 h 25"/>
                <a:gd name="T8" fmla="*/ 63 w 63"/>
                <a:gd name="T9" fmla="*/ 0 h 25"/>
              </a:gdLst>
              <a:ahLst/>
              <a:cxnLst>
                <a:cxn ang="0">
                  <a:pos x="T0" y="T1"/>
                </a:cxn>
                <a:cxn ang="0">
                  <a:pos x="T2" y="T3"/>
                </a:cxn>
                <a:cxn ang="0">
                  <a:pos x="T4" y="T5"/>
                </a:cxn>
                <a:cxn ang="0">
                  <a:pos x="T6" y="T7"/>
                </a:cxn>
                <a:cxn ang="0">
                  <a:pos x="T8" y="T9"/>
                </a:cxn>
              </a:cxnLst>
              <a:rect l="0" t="0" r="r" b="b"/>
              <a:pathLst>
                <a:path w="63" h="25">
                  <a:moveTo>
                    <a:pt x="5" y="24"/>
                  </a:moveTo>
                  <a:cubicBezTo>
                    <a:pt x="0" y="24"/>
                    <a:pt x="0" y="19"/>
                    <a:pt x="1" y="17"/>
                  </a:cubicBezTo>
                  <a:cubicBezTo>
                    <a:pt x="3" y="11"/>
                    <a:pt x="13" y="7"/>
                    <a:pt x="20" y="9"/>
                  </a:cubicBezTo>
                  <a:cubicBezTo>
                    <a:pt x="28" y="10"/>
                    <a:pt x="33" y="15"/>
                    <a:pt x="36" y="16"/>
                  </a:cubicBezTo>
                  <a:cubicBezTo>
                    <a:pt x="51" y="25"/>
                    <a:pt x="61" y="7"/>
                    <a:pt x="63"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194">
              <a:extLst>
                <a:ext uri="{FF2B5EF4-FFF2-40B4-BE49-F238E27FC236}">
                  <a16:creationId xmlns:a16="http://schemas.microsoft.com/office/drawing/2014/main" id="{FDF5470D-4C79-40BE-9BBB-097BEEC5D3A4}"/>
                </a:ext>
              </a:extLst>
            </p:cNvPr>
            <p:cNvSpPr>
              <a:spLocks/>
            </p:cNvSpPr>
            <p:nvPr/>
          </p:nvSpPr>
          <p:spPr bwMode="auto">
            <a:xfrm>
              <a:off x="2801938" y="1611313"/>
              <a:ext cx="228600" cy="265112"/>
            </a:xfrm>
            <a:custGeom>
              <a:avLst/>
              <a:gdLst>
                <a:gd name="T0" fmla="*/ 51 w 51"/>
                <a:gd name="T1" fmla="*/ 59 h 59"/>
                <a:gd name="T2" fmla="*/ 45 w 51"/>
                <a:gd name="T3" fmla="*/ 47 h 59"/>
                <a:gd name="T4" fmla="*/ 38 w 51"/>
                <a:gd name="T5" fmla="*/ 40 h 59"/>
                <a:gd name="T6" fmla="*/ 8 w 51"/>
                <a:gd name="T7" fmla="*/ 29 h 59"/>
                <a:gd name="T8" fmla="*/ 48 w 51"/>
                <a:gd name="T9" fmla="*/ 4 h 59"/>
              </a:gdLst>
              <a:ahLst/>
              <a:cxnLst>
                <a:cxn ang="0">
                  <a:pos x="T0" y="T1"/>
                </a:cxn>
                <a:cxn ang="0">
                  <a:pos x="T2" y="T3"/>
                </a:cxn>
                <a:cxn ang="0">
                  <a:pos x="T4" y="T5"/>
                </a:cxn>
                <a:cxn ang="0">
                  <a:pos x="T6" y="T7"/>
                </a:cxn>
                <a:cxn ang="0">
                  <a:pos x="T8" y="T9"/>
                </a:cxn>
              </a:cxnLst>
              <a:rect l="0" t="0" r="r" b="b"/>
              <a:pathLst>
                <a:path w="51" h="59">
                  <a:moveTo>
                    <a:pt x="51" y="59"/>
                  </a:moveTo>
                  <a:cubicBezTo>
                    <a:pt x="48" y="52"/>
                    <a:pt x="47" y="51"/>
                    <a:pt x="45" y="47"/>
                  </a:cubicBezTo>
                  <a:cubicBezTo>
                    <a:pt x="42" y="44"/>
                    <a:pt x="38" y="40"/>
                    <a:pt x="38" y="40"/>
                  </a:cubicBezTo>
                  <a:cubicBezTo>
                    <a:pt x="34" y="40"/>
                    <a:pt x="15" y="46"/>
                    <a:pt x="8" y="29"/>
                  </a:cubicBezTo>
                  <a:cubicBezTo>
                    <a:pt x="0" y="6"/>
                    <a:pt x="36" y="0"/>
                    <a:pt x="48" y="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195">
              <a:extLst>
                <a:ext uri="{FF2B5EF4-FFF2-40B4-BE49-F238E27FC236}">
                  <a16:creationId xmlns:a16="http://schemas.microsoft.com/office/drawing/2014/main" id="{5FE4F627-D32D-4339-9249-09696AABBAF5}"/>
                </a:ext>
              </a:extLst>
            </p:cNvPr>
            <p:cNvSpPr>
              <a:spLocks/>
            </p:cNvSpPr>
            <p:nvPr/>
          </p:nvSpPr>
          <p:spPr bwMode="auto">
            <a:xfrm>
              <a:off x="2738438" y="1503363"/>
              <a:ext cx="112713" cy="220662"/>
            </a:xfrm>
            <a:custGeom>
              <a:avLst/>
              <a:gdLst>
                <a:gd name="T0" fmla="*/ 25 w 25"/>
                <a:gd name="T1" fmla="*/ 0 h 49"/>
                <a:gd name="T2" fmla="*/ 3 w 25"/>
                <a:gd name="T3" fmla="*/ 34 h 49"/>
                <a:gd name="T4" fmla="*/ 20 w 25"/>
                <a:gd name="T5" fmla="*/ 49 h 49"/>
              </a:gdLst>
              <a:ahLst/>
              <a:cxnLst>
                <a:cxn ang="0">
                  <a:pos x="T0" y="T1"/>
                </a:cxn>
                <a:cxn ang="0">
                  <a:pos x="T2" y="T3"/>
                </a:cxn>
                <a:cxn ang="0">
                  <a:pos x="T4" y="T5"/>
                </a:cxn>
              </a:cxnLst>
              <a:rect l="0" t="0" r="r" b="b"/>
              <a:pathLst>
                <a:path w="25" h="49">
                  <a:moveTo>
                    <a:pt x="25" y="0"/>
                  </a:moveTo>
                  <a:cubicBezTo>
                    <a:pt x="6" y="9"/>
                    <a:pt x="0" y="24"/>
                    <a:pt x="3" y="34"/>
                  </a:cubicBezTo>
                  <a:cubicBezTo>
                    <a:pt x="6" y="43"/>
                    <a:pt x="14" y="48"/>
                    <a:pt x="20" y="4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96">
              <a:extLst>
                <a:ext uri="{FF2B5EF4-FFF2-40B4-BE49-F238E27FC236}">
                  <a16:creationId xmlns:a16="http://schemas.microsoft.com/office/drawing/2014/main" id="{C28F161B-CFD6-4CB2-9E06-0D9CBF900497}"/>
                </a:ext>
              </a:extLst>
            </p:cNvPr>
            <p:cNvSpPr>
              <a:spLocks/>
            </p:cNvSpPr>
            <p:nvPr/>
          </p:nvSpPr>
          <p:spPr bwMode="auto">
            <a:xfrm>
              <a:off x="2922588" y="1476375"/>
              <a:ext cx="342900" cy="423862"/>
            </a:xfrm>
            <a:custGeom>
              <a:avLst/>
              <a:gdLst>
                <a:gd name="T0" fmla="*/ 40 w 76"/>
                <a:gd name="T1" fmla="*/ 94 h 94"/>
                <a:gd name="T2" fmla="*/ 33 w 76"/>
                <a:gd name="T3" fmla="*/ 68 h 94"/>
                <a:gd name="T4" fmla="*/ 53 w 76"/>
                <a:gd name="T5" fmla="*/ 74 h 94"/>
                <a:gd name="T6" fmla="*/ 72 w 76"/>
                <a:gd name="T7" fmla="*/ 47 h 94"/>
                <a:gd name="T8" fmla="*/ 46 w 76"/>
                <a:gd name="T9" fmla="*/ 8 h 94"/>
                <a:gd name="T10" fmla="*/ 18 w 76"/>
                <a:gd name="T11" fmla="*/ 0 h 94"/>
                <a:gd name="T12" fmla="*/ 3 w 76"/>
                <a:gd name="T13" fmla="*/ 8 h 94"/>
                <a:gd name="T14" fmla="*/ 1 w 76"/>
                <a:gd name="T15" fmla="*/ 22 h 94"/>
                <a:gd name="T16" fmla="*/ 10 w 76"/>
                <a:gd name="T17" fmla="*/ 17 h 94"/>
                <a:gd name="T18" fmla="*/ 22 w 76"/>
                <a:gd name="T19" fmla="*/ 9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94">
                  <a:moveTo>
                    <a:pt x="40" y="94"/>
                  </a:moveTo>
                  <a:cubicBezTo>
                    <a:pt x="39" y="77"/>
                    <a:pt x="33" y="68"/>
                    <a:pt x="33" y="68"/>
                  </a:cubicBezTo>
                  <a:cubicBezTo>
                    <a:pt x="33" y="68"/>
                    <a:pt x="44" y="74"/>
                    <a:pt x="53" y="74"/>
                  </a:cubicBezTo>
                  <a:cubicBezTo>
                    <a:pt x="68" y="75"/>
                    <a:pt x="76" y="66"/>
                    <a:pt x="72" y="47"/>
                  </a:cubicBezTo>
                  <a:cubicBezTo>
                    <a:pt x="72" y="45"/>
                    <a:pt x="66" y="19"/>
                    <a:pt x="46" y="8"/>
                  </a:cubicBezTo>
                  <a:cubicBezTo>
                    <a:pt x="37" y="3"/>
                    <a:pt x="29" y="0"/>
                    <a:pt x="18" y="0"/>
                  </a:cubicBezTo>
                  <a:cubicBezTo>
                    <a:pt x="14" y="0"/>
                    <a:pt x="6" y="1"/>
                    <a:pt x="3" y="8"/>
                  </a:cubicBezTo>
                  <a:cubicBezTo>
                    <a:pt x="1" y="13"/>
                    <a:pt x="0" y="19"/>
                    <a:pt x="1" y="22"/>
                  </a:cubicBezTo>
                  <a:cubicBezTo>
                    <a:pt x="3" y="29"/>
                    <a:pt x="8" y="27"/>
                    <a:pt x="10" y="17"/>
                  </a:cubicBezTo>
                  <a:cubicBezTo>
                    <a:pt x="12" y="10"/>
                    <a:pt x="16" y="7"/>
                    <a:pt x="22" y="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197">
              <a:extLst>
                <a:ext uri="{FF2B5EF4-FFF2-40B4-BE49-F238E27FC236}">
                  <a16:creationId xmlns:a16="http://schemas.microsoft.com/office/drawing/2014/main" id="{01BD408B-4D99-47ED-BDB6-A6C329AA9BAF}"/>
                </a:ext>
              </a:extLst>
            </p:cNvPr>
            <p:cNvSpPr>
              <a:spLocks/>
            </p:cNvSpPr>
            <p:nvPr/>
          </p:nvSpPr>
          <p:spPr bwMode="auto">
            <a:xfrm>
              <a:off x="2792413" y="1517650"/>
              <a:ext cx="130175" cy="98425"/>
            </a:xfrm>
            <a:custGeom>
              <a:avLst/>
              <a:gdLst>
                <a:gd name="T0" fmla="*/ 29 w 29"/>
                <a:gd name="T1" fmla="*/ 10 h 22"/>
                <a:gd name="T2" fmla="*/ 19 w 29"/>
                <a:gd name="T3" fmla="*/ 2 h 22"/>
                <a:gd name="T4" fmla="*/ 12 w 29"/>
                <a:gd name="T5" fmla="*/ 15 h 22"/>
                <a:gd name="T6" fmla="*/ 0 w 29"/>
                <a:gd name="T7" fmla="*/ 17 h 22"/>
              </a:gdLst>
              <a:ahLst/>
              <a:cxnLst>
                <a:cxn ang="0">
                  <a:pos x="T0" y="T1"/>
                </a:cxn>
                <a:cxn ang="0">
                  <a:pos x="T2" y="T3"/>
                </a:cxn>
                <a:cxn ang="0">
                  <a:pos x="T4" y="T5"/>
                </a:cxn>
                <a:cxn ang="0">
                  <a:pos x="T6" y="T7"/>
                </a:cxn>
              </a:cxnLst>
              <a:rect l="0" t="0" r="r" b="b"/>
              <a:pathLst>
                <a:path w="29" h="22">
                  <a:moveTo>
                    <a:pt x="29" y="10"/>
                  </a:moveTo>
                  <a:cubicBezTo>
                    <a:pt x="29" y="10"/>
                    <a:pt x="27" y="0"/>
                    <a:pt x="19" y="2"/>
                  </a:cubicBezTo>
                  <a:cubicBezTo>
                    <a:pt x="12" y="4"/>
                    <a:pt x="13" y="9"/>
                    <a:pt x="12" y="15"/>
                  </a:cubicBezTo>
                  <a:cubicBezTo>
                    <a:pt x="11" y="21"/>
                    <a:pt x="3" y="22"/>
                    <a:pt x="0" y="17"/>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198">
              <a:extLst>
                <a:ext uri="{FF2B5EF4-FFF2-40B4-BE49-F238E27FC236}">
                  <a16:creationId xmlns:a16="http://schemas.microsoft.com/office/drawing/2014/main" id="{FD11D5B1-D8A5-438B-AE44-7B2349350179}"/>
                </a:ext>
              </a:extLst>
            </p:cNvPr>
            <p:cNvSpPr>
              <a:spLocks/>
            </p:cNvSpPr>
            <p:nvPr/>
          </p:nvSpPr>
          <p:spPr bwMode="auto">
            <a:xfrm>
              <a:off x="2868613" y="1571625"/>
              <a:ext cx="26988" cy="61912"/>
            </a:xfrm>
            <a:custGeom>
              <a:avLst/>
              <a:gdLst>
                <a:gd name="T0" fmla="*/ 4 w 6"/>
                <a:gd name="T1" fmla="*/ 0 h 14"/>
                <a:gd name="T2" fmla="*/ 6 w 6"/>
                <a:gd name="T3" fmla="*/ 14 h 14"/>
              </a:gdLst>
              <a:ahLst/>
              <a:cxnLst>
                <a:cxn ang="0">
                  <a:pos x="T0" y="T1"/>
                </a:cxn>
                <a:cxn ang="0">
                  <a:pos x="T2" y="T3"/>
                </a:cxn>
              </a:cxnLst>
              <a:rect l="0" t="0" r="r" b="b"/>
              <a:pathLst>
                <a:path w="6" h="14">
                  <a:moveTo>
                    <a:pt x="4" y="0"/>
                  </a:moveTo>
                  <a:cubicBezTo>
                    <a:pt x="4" y="0"/>
                    <a:pt x="0" y="7"/>
                    <a:pt x="6" y="1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199">
              <a:extLst>
                <a:ext uri="{FF2B5EF4-FFF2-40B4-BE49-F238E27FC236}">
                  <a16:creationId xmlns:a16="http://schemas.microsoft.com/office/drawing/2014/main" id="{F70F1385-92C8-4B4C-A5CA-C505CE807DC4}"/>
                </a:ext>
              </a:extLst>
            </p:cNvPr>
            <p:cNvSpPr>
              <a:spLocks/>
            </p:cNvSpPr>
            <p:nvPr/>
          </p:nvSpPr>
          <p:spPr bwMode="auto">
            <a:xfrm>
              <a:off x="2774951" y="1625600"/>
              <a:ext cx="66675" cy="66675"/>
            </a:xfrm>
            <a:custGeom>
              <a:avLst/>
              <a:gdLst>
                <a:gd name="T0" fmla="*/ 1 w 15"/>
                <a:gd name="T1" fmla="*/ 0 h 15"/>
                <a:gd name="T2" fmla="*/ 3 w 15"/>
                <a:gd name="T3" fmla="*/ 7 h 15"/>
                <a:gd name="T4" fmla="*/ 7 w 15"/>
                <a:gd name="T5" fmla="*/ 8 h 15"/>
                <a:gd name="T6" fmla="*/ 11 w 15"/>
                <a:gd name="T7" fmla="*/ 9 h 15"/>
                <a:gd name="T8" fmla="*/ 14 w 15"/>
                <a:gd name="T9" fmla="*/ 15 h 15"/>
              </a:gdLst>
              <a:ahLst/>
              <a:cxnLst>
                <a:cxn ang="0">
                  <a:pos x="T0" y="T1"/>
                </a:cxn>
                <a:cxn ang="0">
                  <a:pos x="T2" y="T3"/>
                </a:cxn>
                <a:cxn ang="0">
                  <a:pos x="T4" y="T5"/>
                </a:cxn>
                <a:cxn ang="0">
                  <a:pos x="T6" y="T7"/>
                </a:cxn>
                <a:cxn ang="0">
                  <a:pos x="T8" y="T9"/>
                </a:cxn>
              </a:cxnLst>
              <a:rect l="0" t="0" r="r" b="b"/>
              <a:pathLst>
                <a:path w="15" h="15">
                  <a:moveTo>
                    <a:pt x="1" y="0"/>
                  </a:moveTo>
                  <a:cubicBezTo>
                    <a:pt x="0" y="3"/>
                    <a:pt x="1" y="5"/>
                    <a:pt x="3" y="7"/>
                  </a:cubicBezTo>
                  <a:cubicBezTo>
                    <a:pt x="4" y="7"/>
                    <a:pt x="6" y="8"/>
                    <a:pt x="7" y="8"/>
                  </a:cubicBezTo>
                  <a:cubicBezTo>
                    <a:pt x="9" y="8"/>
                    <a:pt x="10" y="9"/>
                    <a:pt x="11" y="9"/>
                  </a:cubicBezTo>
                  <a:cubicBezTo>
                    <a:pt x="13" y="10"/>
                    <a:pt x="15" y="13"/>
                    <a:pt x="14" y="1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200">
              <a:extLst>
                <a:ext uri="{FF2B5EF4-FFF2-40B4-BE49-F238E27FC236}">
                  <a16:creationId xmlns:a16="http://schemas.microsoft.com/office/drawing/2014/main" id="{531263CF-E7D3-4ED5-9AAC-10D6EC609573}"/>
                </a:ext>
              </a:extLst>
            </p:cNvPr>
            <p:cNvSpPr>
              <a:spLocks/>
            </p:cNvSpPr>
            <p:nvPr/>
          </p:nvSpPr>
          <p:spPr bwMode="auto">
            <a:xfrm>
              <a:off x="2860676" y="1701800"/>
              <a:ext cx="44450" cy="31750"/>
            </a:xfrm>
            <a:custGeom>
              <a:avLst/>
              <a:gdLst>
                <a:gd name="T0" fmla="*/ 10 w 10"/>
                <a:gd name="T1" fmla="*/ 3 h 7"/>
                <a:gd name="T2" fmla="*/ 0 w 10"/>
                <a:gd name="T3" fmla="*/ 0 h 7"/>
              </a:gdLst>
              <a:ahLst/>
              <a:cxnLst>
                <a:cxn ang="0">
                  <a:pos x="T0" y="T1"/>
                </a:cxn>
                <a:cxn ang="0">
                  <a:pos x="T2" y="T3"/>
                </a:cxn>
              </a:cxnLst>
              <a:rect l="0" t="0" r="r" b="b"/>
              <a:pathLst>
                <a:path w="10" h="7">
                  <a:moveTo>
                    <a:pt x="10" y="3"/>
                  </a:moveTo>
                  <a:cubicBezTo>
                    <a:pt x="10" y="3"/>
                    <a:pt x="2" y="7"/>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201">
              <a:extLst>
                <a:ext uri="{FF2B5EF4-FFF2-40B4-BE49-F238E27FC236}">
                  <a16:creationId xmlns:a16="http://schemas.microsoft.com/office/drawing/2014/main" id="{A563B66A-F7F6-49FB-8D5C-2D60918BCA6C}"/>
                </a:ext>
              </a:extLst>
            </p:cNvPr>
            <p:cNvSpPr>
              <a:spLocks/>
            </p:cNvSpPr>
            <p:nvPr/>
          </p:nvSpPr>
          <p:spPr bwMode="auto">
            <a:xfrm>
              <a:off x="3143251" y="1687513"/>
              <a:ext cx="46038" cy="77787"/>
            </a:xfrm>
            <a:custGeom>
              <a:avLst/>
              <a:gdLst>
                <a:gd name="T0" fmla="*/ 4 w 10"/>
                <a:gd name="T1" fmla="*/ 0 h 17"/>
                <a:gd name="T2" fmla="*/ 9 w 10"/>
                <a:gd name="T3" fmla="*/ 9 h 17"/>
                <a:gd name="T4" fmla="*/ 0 w 10"/>
                <a:gd name="T5" fmla="*/ 15 h 17"/>
              </a:gdLst>
              <a:ahLst/>
              <a:cxnLst>
                <a:cxn ang="0">
                  <a:pos x="T0" y="T1"/>
                </a:cxn>
                <a:cxn ang="0">
                  <a:pos x="T2" y="T3"/>
                </a:cxn>
                <a:cxn ang="0">
                  <a:pos x="T4" y="T5"/>
                </a:cxn>
              </a:cxnLst>
              <a:rect l="0" t="0" r="r" b="b"/>
              <a:pathLst>
                <a:path w="10" h="17">
                  <a:moveTo>
                    <a:pt x="4" y="0"/>
                  </a:moveTo>
                  <a:cubicBezTo>
                    <a:pt x="5" y="0"/>
                    <a:pt x="10" y="3"/>
                    <a:pt x="9" y="9"/>
                  </a:cubicBezTo>
                  <a:cubicBezTo>
                    <a:pt x="9" y="15"/>
                    <a:pt x="4" y="17"/>
                    <a:pt x="0" y="1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202">
              <a:extLst>
                <a:ext uri="{FF2B5EF4-FFF2-40B4-BE49-F238E27FC236}">
                  <a16:creationId xmlns:a16="http://schemas.microsoft.com/office/drawing/2014/main" id="{E38BE6E7-1DE9-47A5-A044-C9BD5EA05104}"/>
                </a:ext>
              </a:extLst>
            </p:cNvPr>
            <p:cNvSpPr>
              <a:spLocks/>
            </p:cNvSpPr>
            <p:nvPr/>
          </p:nvSpPr>
          <p:spPr bwMode="auto">
            <a:xfrm>
              <a:off x="3189288" y="1709738"/>
              <a:ext cx="34925" cy="28575"/>
            </a:xfrm>
            <a:custGeom>
              <a:avLst/>
              <a:gdLst>
                <a:gd name="T0" fmla="*/ 0 w 8"/>
                <a:gd name="T1" fmla="*/ 3 h 6"/>
                <a:gd name="T2" fmla="*/ 8 w 8"/>
                <a:gd name="T3" fmla="*/ 0 h 6"/>
              </a:gdLst>
              <a:ahLst/>
              <a:cxnLst>
                <a:cxn ang="0">
                  <a:pos x="T0" y="T1"/>
                </a:cxn>
                <a:cxn ang="0">
                  <a:pos x="T2" y="T3"/>
                </a:cxn>
              </a:cxnLst>
              <a:rect l="0" t="0" r="r" b="b"/>
              <a:pathLst>
                <a:path w="8" h="6">
                  <a:moveTo>
                    <a:pt x="0" y="3"/>
                  </a:moveTo>
                  <a:cubicBezTo>
                    <a:pt x="0" y="3"/>
                    <a:pt x="7" y="6"/>
                    <a:pt x="8"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203">
              <a:extLst>
                <a:ext uri="{FF2B5EF4-FFF2-40B4-BE49-F238E27FC236}">
                  <a16:creationId xmlns:a16="http://schemas.microsoft.com/office/drawing/2014/main" id="{C15A4A08-C26E-41A5-B27F-69DAE6C2DCA9}"/>
                </a:ext>
              </a:extLst>
            </p:cNvPr>
            <p:cNvSpPr>
              <a:spLocks/>
            </p:cNvSpPr>
            <p:nvPr/>
          </p:nvSpPr>
          <p:spPr bwMode="auto">
            <a:xfrm>
              <a:off x="3030538" y="1520825"/>
              <a:ext cx="130175" cy="95250"/>
            </a:xfrm>
            <a:custGeom>
              <a:avLst/>
              <a:gdLst>
                <a:gd name="T0" fmla="*/ 29 w 29"/>
                <a:gd name="T1" fmla="*/ 17 h 21"/>
                <a:gd name="T2" fmla="*/ 18 w 29"/>
                <a:gd name="T3" fmla="*/ 17 h 21"/>
                <a:gd name="T4" fmla="*/ 15 w 29"/>
                <a:gd name="T5" fmla="*/ 5 h 21"/>
                <a:gd name="T6" fmla="*/ 6 w 29"/>
                <a:gd name="T7" fmla="*/ 9 h 21"/>
                <a:gd name="T8" fmla="*/ 0 w 29"/>
                <a:gd name="T9" fmla="*/ 15 h 21"/>
              </a:gdLst>
              <a:ahLst/>
              <a:cxnLst>
                <a:cxn ang="0">
                  <a:pos x="T0" y="T1"/>
                </a:cxn>
                <a:cxn ang="0">
                  <a:pos x="T2" y="T3"/>
                </a:cxn>
                <a:cxn ang="0">
                  <a:pos x="T4" y="T5"/>
                </a:cxn>
                <a:cxn ang="0">
                  <a:pos x="T6" y="T7"/>
                </a:cxn>
                <a:cxn ang="0">
                  <a:pos x="T8" y="T9"/>
                </a:cxn>
              </a:cxnLst>
              <a:rect l="0" t="0" r="r" b="b"/>
              <a:pathLst>
                <a:path w="29" h="21">
                  <a:moveTo>
                    <a:pt x="29" y="17"/>
                  </a:moveTo>
                  <a:cubicBezTo>
                    <a:pt x="24" y="13"/>
                    <a:pt x="22" y="21"/>
                    <a:pt x="18" y="17"/>
                  </a:cubicBezTo>
                  <a:cubicBezTo>
                    <a:pt x="13" y="14"/>
                    <a:pt x="17" y="8"/>
                    <a:pt x="15" y="5"/>
                  </a:cubicBezTo>
                  <a:cubicBezTo>
                    <a:pt x="13" y="3"/>
                    <a:pt x="8" y="0"/>
                    <a:pt x="6" y="9"/>
                  </a:cubicBezTo>
                  <a:cubicBezTo>
                    <a:pt x="5" y="12"/>
                    <a:pt x="3" y="14"/>
                    <a:pt x="0" y="1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1" name="Freeform 204">
              <a:extLst>
                <a:ext uri="{FF2B5EF4-FFF2-40B4-BE49-F238E27FC236}">
                  <a16:creationId xmlns:a16="http://schemas.microsoft.com/office/drawing/2014/main" id="{111D52C3-71E4-455B-80D7-3E6FC595DC51}"/>
                </a:ext>
              </a:extLst>
            </p:cNvPr>
            <p:cNvSpPr>
              <a:spLocks/>
            </p:cNvSpPr>
            <p:nvPr/>
          </p:nvSpPr>
          <p:spPr bwMode="auto">
            <a:xfrm>
              <a:off x="3049588" y="1598613"/>
              <a:ext cx="80963" cy="61912"/>
            </a:xfrm>
            <a:custGeom>
              <a:avLst/>
              <a:gdLst>
                <a:gd name="T0" fmla="*/ 14 w 18"/>
                <a:gd name="T1" fmla="*/ 0 h 14"/>
                <a:gd name="T2" fmla="*/ 17 w 18"/>
                <a:gd name="T3" fmla="*/ 9 h 14"/>
                <a:gd name="T4" fmla="*/ 12 w 18"/>
                <a:gd name="T5" fmla="*/ 13 h 14"/>
                <a:gd name="T6" fmla="*/ 6 w 18"/>
                <a:gd name="T7" fmla="*/ 12 h 14"/>
                <a:gd name="T8" fmla="*/ 0 w 18"/>
                <a:gd name="T9" fmla="*/ 9 h 14"/>
              </a:gdLst>
              <a:ahLst/>
              <a:cxnLst>
                <a:cxn ang="0">
                  <a:pos x="T0" y="T1"/>
                </a:cxn>
                <a:cxn ang="0">
                  <a:pos x="T2" y="T3"/>
                </a:cxn>
                <a:cxn ang="0">
                  <a:pos x="T4" y="T5"/>
                </a:cxn>
                <a:cxn ang="0">
                  <a:pos x="T6" y="T7"/>
                </a:cxn>
                <a:cxn ang="0">
                  <a:pos x="T8" y="T9"/>
                </a:cxn>
              </a:cxnLst>
              <a:rect l="0" t="0" r="r" b="b"/>
              <a:pathLst>
                <a:path w="18" h="14">
                  <a:moveTo>
                    <a:pt x="14" y="0"/>
                  </a:moveTo>
                  <a:cubicBezTo>
                    <a:pt x="14" y="0"/>
                    <a:pt x="18" y="3"/>
                    <a:pt x="17" y="9"/>
                  </a:cubicBezTo>
                  <a:cubicBezTo>
                    <a:pt x="16" y="12"/>
                    <a:pt x="14" y="13"/>
                    <a:pt x="12" y="13"/>
                  </a:cubicBezTo>
                  <a:cubicBezTo>
                    <a:pt x="10" y="14"/>
                    <a:pt x="8" y="13"/>
                    <a:pt x="6" y="12"/>
                  </a:cubicBezTo>
                  <a:cubicBezTo>
                    <a:pt x="5" y="11"/>
                    <a:pt x="2" y="9"/>
                    <a:pt x="0" y="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206">
              <a:extLst>
                <a:ext uri="{FF2B5EF4-FFF2-40B4-BE49-F238E27FC236}">
                  <a16:creationId xmlns:a16="http://schemas.microsoft.com/office/drawing/2014/main" id="{76275485-5FF4-480E-998C-F91B199652D6}"/>
                </a:ext>
              </a:extLst>
            </p:cNvPr>
            <p:cNvSpPr>
              <a:spLocks/>
            </p:cNvSpPr>
            <p:nvPr/>
          </p:nvSpPr>
          <p:spPr bwMode="auto">
            <a:xfrm>
              <a:off x="2959101" y="1679575"/>
              <a:ext cx="49213" cy="66675"/>
            </a:xfrm>
            <a:custGeom>
              <a:avLst/>
              <a:gdLst>
                <a:gd name="T0" fmla="*/ 3 w 11"/>
                <a:gd name="T1" fmla="*/ 0 h 15"/>
                <a:gd name="T2" fmla="*/ 0 w 11"/>
                <a:gd name="T3" fmla="*/ 3 h 15"/>
                <a:gd name="T4" fmla="*/ 3 w 11"/>
                <a:gd name="T5" fmla="*/ 6 h 15"/>
                <a:gd name="T6" fmla="*/ 6 w 11"/>
                <a:gd name="T7" fmla="*/ 7 h 15"/>
                <a:gd name="T8" fmla="*/ 10 w 11"/>
                <a:gd name="T9" fmla="*/ 9 h 15"/>
                <a:gd name="T10" fmla="*/ 11 w 11"/>
                <a:gd name="T11" fmla="*/ 12 h 15"/>
                <a:gd name="T12" fmla="*/ 8 w 11"/>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1" h="15">
                  <a:moveTo>
                    <a:pt x="3" y="0"/>
                  </a:moveTo>
                  <a:cubicBezTo>
                    <a:pt x="2" y="0"/>
                    <a:pt x="1" y="1"/>
                    <a:pt x="0" y="3"/>
                  </a:cubicBezTo>
                  <a:cubicBezTo>
                    <a:pt x="0" y="4"/>
                    <a:pt x="1" y="5"/>
                    <a:pt x="3" y="6"/>
                  </a:cubicBezTo>
                  <a:cubicBezTo>
                    <a:pt x="4" y="6"/>
                    <a:pt x="5" y="7"/>
                    <a:pt x="6" y="7"/>
                  </a:cubicBezTo>
                  <a:cubicBezTo>
                    <a:pt x="8" y="7"/>
                    <a:pt x="9" y="8"/>
                    <a:pt x="10" y="9"/>
                  </a:cubicBezTo>
                  <a:cubicBezTo>
                    <a:pt x="11" y="10"/>
                    <a:pt x="11" y="11"/>
                    <a:pt x="11" y="12"/>
                  </a:cubicBezTo>
                  <a:cubicBezTo>
                    <a:pt x="11" y="14"/>
                    <a:pt x="10" y="15"/>
                    <a:pt x="8" y="1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3" name="Group 62">
            <a:extLst>
              <a:ext uri="{FF2B5EF4-FFF2-40B4-BE49-F238E27FC236}">
                <a16:creationId xmlns:a16="http://schemas.microsoft.com/office/drawing/2014/main" id="{52A57819-039F-4F2F-B12E-7C1BF8CF18CD}"/>
              </a:ext>
            </a:extLst>
          </p:cNvPr>
          <p:cNvGrpSpPr/>
          <p:nvPr/>
        </p:nvGrpSpPr>
        <p:grpSpPr>
          <a:xfrm>
            <a:off x="428371" y="2896344"/>
            <a:ext cx="358958" cy="320010"/>
            <a:chOff x="10747375" y="3321050"/>
            <a:chExt cx="541338" cy="482600"/>
          </a:xfrm>
        </p:grpSpPr>
        <p:sp>
          <p:nvSpPr>
            <p:cNvPr id="64" name="Freeform 86">
              <a:extLst>
                <a:ext uri="{FF2B5EF4-FFF2-40B4-BE49-F238E27FC236}">
                  <a16:creationId xmlns:a16="http://schemas.microsoft.com/office/drawing/2014/main" id="{8BE6E117-73DC-4F90-8CBB-8F5ABF3A251D}"/>
                </a:ext>
              </a:extLst>
            </p:cNvPr>
            <p:cNvSpPr>
              <a:spLocks/>
            </p:cNvSpPr>
            <p:nvPr/>
          </p:nvSpPr>
          <p:spPr bwMode="auto">
            <a:xfrm>
              <a:off x="10747375" y="3630613"/>
              <a:ext cx="469900" cy="173037"/>
            </a:xfrm>
            <a:custGeom>
              <a:avLst/>
              <a:gdLst>
                <a:gd name="T0" fmla="*/ 0 w 105"/>
                <a:gd name="T1" fmla="*/ 0 h 39"/>
                <a:gd name="T2" fmla="*/ 7 w 105"/>
                <a:gd name="T3" fmla="*/ 28 h 39"/>
                <a:gd name="T4" fmla="*/ 21 w 105"/>
                <a:gd name="T5" fmla="*/ 39 h 39"/>
                <a:gd name="T6" fmla="*/ 84 w 105"/>
                <a:gd name="T7" fmla="*/ 39 h 39"/>
                <a:gd name="T8" fmla="*/ 98 w 105"/>
                <a:gd name="T9" fmla="*/ 28 h 39"/>
                <a:gd name="T10" fmla="*/ 105 w 105"/>
                <a:gd name="T11" fmla="*/ 0 h 39"/>
                <a:gd name="T12" fmla="*/ 0 w 105"/>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05" h="39">
                  <a:moveTo>
                    <a:pt x="0" y="0"/>
                  </a:moveTo>
                  <a:cubicBezTo>
                    <a:pt x="7" y="28"/>
                    <a:pt x="7" y="28"/>
                    <a:pt x="7" y="28"/>
                  </a:cubicBezTo>
                  <a:cubicBezTo>
                    <a:pt x="8" y="35"/>
                    <a:pt x="14" y="39"/>
                    <a:pt x="21" y="39"/>
                  </a:cubicBezTo>
                  <a:cubicBezTo>
                    <a:pt x="84" y="39"/>
                    <a:pt x="84" y="39"/>
                    <a:pt x="84" y="39"/>
                  </a:cubicBezTo>
                  <a:cubicBezTo>
                    <a:pt x="90" y="39"/>
                    <a:pt x="96" y="35"/>
                    <a:pt x="98" y="28"/>
                  </a:cubicBezTo>
                  <a:cubicBezTo>
                    <a:pt x="105" y="0"/>
                    <a:pt x="105" y="0"/>
                    <a:pt x="105" y="0"/>
                  </a:cubicBezTo>
                  <a:lnTo>
                    <a:pt x="0" y="0"/>
                  </a:ln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87">
              <a:extLst>
                <a:ext uri="{FF2B5EF4-FFF2-40B4-BE49-F238E27FC236}">
                  <a16:creationId xmlns:a16="http://schemas.microsoft.com/office/drawing/2014/main" id="{D9F637C9-EDD3-480B-8863-CDD144900DDD}"/>
                </a:ext>
              </a:extLst>
            </p:cNvPr>
            <p:cNvSpPr>
              <a:spLocks/>
            </p:cNvSpPr>
            <p:nvPr/>
          </p:nvSpPr>
          <p:spPr bwMode="auto">
            <a:xfrm>
              <a:off x="10788650" y="3321050"/>
              <a:ext cx="500063" cy="482600"/>
            </a:xfrm>
            <a:custGeom>
              <a:avLst/>
              <a:gdLst>
                <a:gd name="T0" fmla="*/ 63 w 112"/>
                <a:gd name="T1" fmla="*/ 55 h 108"/>
                <a:gd name="T2" fmla="*/ 112 w 112"/>
                <a:gd name="T3" fmla="*/ 55 h 108"/>
                <a:gd name="T4" fmla="*/ 101 w 112"/>
                <a:gd name="T5" fmla="*/ 97 h 108"/>
                <a:gd name="T6" fmla="*/ 87 w 112"/>
                <a:gd name="T7" fmla="*/ 108 h 108"/>
                <a:gd name="T8" fmla="*/ 24 w 112"/>
                <a:gd name="T9" fmla="*/ 108 h 108"/>
                <a:gd name="T10" fmla="*/ 10 w 112"/>
                <a:gd name="T11" fmla="*/ 97 h 108"/>
                <a:gd name="T12" fmla="*/ 0 w 112"/>
                <a:gd name="T13" fmla="*/ 55 h 108"/>
                <a:gd name="T14" fmla="*/ 51 w 112"/>
                <a:gd name="T15" fmla="*/ 55 h 108"/>
                <a:gd name="T16" fmla="*/ 51 w 112"/>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08">
                  <a:moveTo>
                    <a:pt x="63" y="55"/>
                  </a:moveTo>
                  <a:cubicBezTo>
                    <a:pt x="112" y="55"/>
                    <a:pt x="112" y="55"/>
                    <a:pt x="112" y="55"/>
                  </a:cubicBezTo>
                  <a:cubicBezTo>
                    <a:pt x="101" y="97"/>
                    <a:pt x="101" y="97"/>
                    <a:pt x="101" y="97"/>
                  </a:cubicBezTo>
                  <a:cubicBezTo>
                    <a:pt x="99" y="104"/>
                    <a:pt x="94" y="108"/>
                    <a:pt x="87" y="108"/>
                  </a:cubicBezTo>
                  <a:cubicBezTo>
                    <a:pt x="24" y="108"/>
                    <a:pt x="24" y="108"/>
                    <a:pt x="24" y="108"/>
                  </a:cubicBezTo>
                  <a:cubicBezTo>
                    <a:pt x="17" y="108"/>
                    <a:pt x="12" y="104"/>
                    <a:pt x="10" y="97"/>
                  </a:cubicBezTo>
                  <a:cubicBezTo>
                    <a:pt x="0" y="55"/>
                    <a:pt x="0" y="55"/>
                    <a:pt x="0" y="55"/>
                  </a:cubicBezTo>
                  <a:cubicBezTo>
                    <a:pt x="51" y="55"/>
                    <a:pt x="51" y="55"/>
                    <a:pt x="51" y="55"/>
                  </a:cubicBezTo>
                  <a:cubicBezTo>
                    <a:pt x="51" y="0"/>
                    <a:pt x="51" y="0"/>
                    <a:pt x="51"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71" name="Group 70">
            <a:extLst>
              <a:ext uri="{FF2B5EF4-FFF2-40B4-BE49-F238E27FC236}">
                <a16:creationId xmlns:a16="http://schemas.microsoft.com/office/drawing/2014/main" id="{61BDDDB5-3D4B-4FFF-AA56-CF1723A52E63}"/>
              </a:ext>
            </a:extLst>
          </p:cNvPr>
          <p:cNvGrpSpPr/>
          <p:nvPr/>
        </p:nvGrpSpPr>
        <p:grpSpPr>
          <a:xfrm>
            <a:off x="1080655" y="2621793"/>
            <a:ext cx="8264411" cy="1738224"/>
            <a:chOff x="269875" y="2621793"/>
            <a:chExt cx="5731981" cy="1738224"/>
          </a:xfrm>
        </p:grpSpPr>
        <p:cxnSp>
          <p:nvCxnSpPr>
            <p:cNvPr id="66" name="Straight Connector 65">
              <a:extLst>
                <a:ext uri="{FF2B5EF4-FFF2-40B4-BE49-F238E27FC236}">
                  <a16:creationId xmlns:a16="http://schemas.microsoft.com/office/drawing/2014/main" id="{B5218961-8797-4ABA-8589-2D3DDE247A7F}"/>
                </a:ext>
              </a:extLst>
            </p:cNvPr>
            <p:cNvCxnSpPr>
              <a:cxnSpLocks/>
            </p:cNvCxnSpPr>
            <p:nvPr/>
          </p:nvCxnSpPr>
          <p:spPr>
            <a:xfrm flipH="1">
              <a:off x="269875" y="4360017"/>
              <a:ext cx="5731981"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0E3A19D8-DDFF-42D5-88AF-805E69B03420}"/>
                </a:ext>
              </a:extLst>
            </p:cNvPr>
            <p:cNvCxnSpPr>
              <a:cxnSpLocks/>
            </p:cNvCxnSpPr>
            <p:nvPr/>
          </p:nvCxnSpPr>
          <p:spPr>
            <a:xfrm flipH="1">
              <a:off x="269875" y="3490905"/>
              <a:ext cx="5731981"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C1EC5D64-4389-4867-B8E5-D7B6F4236925}"/>
                </a:ext>
              </a:extLst>
            </p:cNvPr>
            <p:cNvCxnSpPr>
              <a:cxnSpLocks/>
            </p:cNvCxnSpPr>
            <p:nvPr/>
          </p:nvCxnSpPr>
          <p:spPr>
            <a:xfrm flipH="1">
              <a:off x="269875" y="2621793"/>
              <a:ext cx="5731981"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id="{6365F010-7249-40DC-8DC5-7F28E3031FE6}"/>
              </a:ext>
            </a:extLst>
          </p:cNvPr>
          <p:cNvSpPr/>
          <p:nvPr/>
        </p:nvSpPr>
        <p:spPr>
          <a:xfrm>
            <a:off x="942649" y="4535373"/>
            <a:ext cx="8690299" cy="518400"/>
          </a:xfrm>
          <a:prstGeom prst="rect">
            <a:avLst/>
          </a:prstGeom>
        </p:spPr>
        <p:txBody>
          <a:bodyPr wrap="square" lIns="144000" rIns="144000" anchor="ctr">
            <a:spAutoFit/>
          </a:bodyPr>
          <a:lstStyle/>
          <a:p>
            <a:pPr lvl="0">
              <a:lnSpc>
                <a:spcPct val="115000"/>
              </a:lnSpc>
            </a:pPr>
            <a:r>
              <a:rPr lang="en-GB" sz="1200" dirty="0">
                <a:solidFill>
                  <a:srgbClr val="000000"/>
                </a:solidFill>
                <a:latin typeface="Arial" panose="020B0604020202020204" pitchFamily="34" charset="0"/>
                <a:ea typeface="Arial" panose="020B0604020202020204" pitchFamily="34" charset="0"/>
                <a:cs typeface="Times New Roman" panose="02020603050405020304" pitchFamily="18" charset="0"/>
              </a:rPr>
              <a:t>What are you hoping to achieve in general when you or your organization use that strength/ quality? For your colleagues? For you clients? For the world? For yourself?</a:t>
            </a:r>
          </a:p>
        </p:txBody>
      </p:sp>
    </p:spTree>
    <p:extLst>
      <p:ext uri="{BB962C8B-B14F-4D97-AF65-F5344CB8AC3E}">
        <p14:creationId xmlns:p14="http://schemas.microsoft.com/office/powerpoint/2010/main" val="175028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195" name="think-cell Slide" r:id="rId7" imgW="270" imgH="270" progId="TCLayout.ActiveDocument.1">
                  <p:embed/>
                </p:oleObj>
              </mc:Choice>
              <mc:Fallback>
                <p:oleObj name="think-cell Slide" r:id="rId7" imgW="270" imgH="270" progId="TCLayout.ActiveDocument.1">
                  <p:embed/>
                  <p:pic>
                    <p:nvPicPr>
                      <p:cNvPr id="5" name="Objekt 4" hidden="1"/>
                      <p:cNvPicPr/>
                      <p:nvPr/>
                    </p:nvPicPr>
                    <p:blipFill>
                      <a:blip r:embed="rId8"/>
                      <a:stretch>
                        <a:fillRect/>
                      </a:stretch>
                    </p:blipFill>
                    <p:spPr>
                      <a:xfrm>
                        <a:off x="0" y="0"/>
                        <a:ext cx="158750" cy="158750"/>
                      </a:xfrm>
                      <a:prstGeom prst="rect">
                        <a:avLst/>
                      </a:prstGeom>
                    </p:spPr>
                  </p:pic>
                </p:oleObj>
              </mc:Fallback>
            </mc:AlternateContent>
          </a:graphicData>
        </a:graphic>
      </p:graphicFrame>
      <p:sp>
        <p:nvSpPr>
          <p:cNvPr id="9" name="Title 1"/>
          <p:cNvSpPr>
            <a:spLocks noGrp="1"/>
          </p:cNvSpPr>
          <p:nvPr>
            <p:ph type="title"/>
          </p:nvPr>
        </p:nvSpPr>
        <p:spPr/>
        <p:txBody>
          <a:bodyPr>
            <a:normAutofit/>
          </a:bodyPr>
          <a:lstStyle/>
          <a:p>
            <a:r>
              <a:rPr lang="en-GB" dirty="0"/>
              <a:t>The art of listening</a:t>
            </a:r>
          </a:p>
        </p:txBody>
      </p:sp>
      <p:sp>
        <p:nvSpPr>
          <p:cNvPr id="2" name="Text Placeholder 1">
            <a:extLst>
              <a:ext uri="{FF2B5EF4-FFF2-40B4-BE49-F238E27FC236}">
                <a16:creationId xmlns:a16="http://schemas.microsoft.com/office/drawing/2014/main" id="{5D20545F-2377-4169-AE63-9380828A3F41}"/>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custDataLst>
              <p:tags r:id="rId3"/>
            </p:custDataLst>
          </p:nvPr>
        </p:nvSpPr>
        <p:spPr>
          <a:xfrm>
            <a:off x="5818326" y="6502394"/>
            <a:ext cx="1195659" cy="106116"/>
          </a:xfrm>
        </p:spPr>
        <p:txBody>
          <a:bodyPr>
            <a:spAutoFit/>
          </a:bodyPr>
          <a:lstStyle/>
          <a:p>
            <a:endParaRPr lang="en-GB" noProof="0" dirty="0"/>
          </a:p>
        </p:txBody>
      </p:sp>
      <p:sp>
        <p:nvSpPr>
          <p:cNvPr id="4" name="Text Placeholder 3">
            <a:extLst>
              <a:ext uri="{FF2B5EF4-FFF2-40B4-BE49-F238E27FC236}">
                <a16:creationId xmlns:a16="http://schemas.microsoft.com/office/drawing/2014/main" id="{E0F1F3B6-700B-463E-99EE-2501F0B57FEC}"/>
              </a:ext>
            </a:extLst>
          </p:cNvPr>
          <p:cNvSpPr>
            <a:spLocks noGrp="1"/>
          </p:cNvSpPr>
          <p:nvPr>
            <p:ph type="body" sz="quarter" idx="14"/>
          </p:nvPr>
        </p:nvSpPr>
        <p:spPr/>
        <p:txBody>
          <a:bodyPr/>
          <a:lstStyle/>
          <a:p>
            <a:endParaRPr lang="en-GB" dirty="0"/>
          </a:p>
        </p:txBody>
      </p:sp>
      <p:sp>
        <p:nvSpPr>
          <p:cNvPr id="8" name="Title 1"/>
          <p:cNvSpPr txBox="1">
            <a:spLocks/>
          </p:cNvSpPr>
          <p:nvPr>
            <p:custDataLst>
              <p:tags r:id="rId4"/>
            </p:custDataLst>
          </p:nvPr>
        </p:nvSpPr>
        <p:spPr>
          <a:xfrm>
            <a:off x="6945538" y="769935"/>
            <a:ext cx="2992664" cy="714380"/>
          </a:xfrm>
          <a:prstGeom prst="rect">
            <a:avLst/>
          </a:prstGeom>
        </p:spPr>
        <p:txBody>
          <a:bodyPr vert="horz" lIns="0" tIns="0" rIns="0" bIns="0" rtlCol="0" anchor="b" anchorCtr="0">
            <a:noAutofit/>
          </a:bodyPr>
          <a:lstStyle>
            <a:lvl1pPr algn="l" defTabSz="914400" rtl="0" eaLnBrk="1" latinLnBrk="0" hangingPunct="1">
              <a:spcBef>
                <a:spcPct val="0"/>
              </a:spcBef>
              <a:buNone/>
              <a:defRPr sz="2200" b="1" kern="1200">
                <a:solidFill>
                  <a:schemeClr val="tx1"/>
                </a:solidFill>
                <a:latin typeface="+mj-lt"/>
                <a:ea typeface="+mj-ea"/>
                <a:cs typeface="Arial" pitchFamily="34" charset="0"/>
              </a:defRPr>
            </a:lvl1pPr>
          </a:lstStyle>
          <a:p>
            <a:pPr algn="ctr"/>
            <a:endParaRPr lang="en-GB" sz="2400" dirty="0"/>
          </a:p>
        </p:txBody>
      </p:sp>
      <p:pic>
        <p:nvPicPr>
          <p:cNvPr id="52231" name="Picture 7"/>
          <p:cNvPicPr>
            <a:picLocks noChangeAspect="1" noChangeArrowheads="1"/>
          </p:cNvPicPr>
          <p:nvPr/>
        </p:nvPicPr>
        <p:blipFill rotWithShape="1">
          <a:blip r:embed="rId9">
            <a:extLst>
              <a:ext uri="{28A0092B-C50C-407E-A947-70E740481C1C}">
                <a14:useLocalDpi xmlns:a14="http://schemas.microsoft.com/office/drawing/2010/main" val="0"/>
              </a:ext>
            </a:extLst>
          </a:blip>
          <a:srcRect l="3750" t="11226" r="28227" b="28528"/>
          <a:stretch/>
        </p:blipFill>
        <p:spPr bwMode="auto">
          <a:xfrm>
            <a:off x="584790" y="1352879"/>
            <a:ext cx="8741585" cy="4546344"/>
          </a:xfrm>
          <a:prstGeom prst="rect">
            <a:avLst/>
          </a:prstGeom>
          <a:noFill/>
          <a:ln w="114300">
            <a:solidFill>
              <a:srgbClr val="EEEBE8"/>
            </a:solidFill>
            <a:miter lim="800000"/>
            <a:headEnd/>
            <a:tailEnd/>
          </a:ln>
          <a:extLst>
            <a:ext uri="{909E8E84-426E-40DD-AFC4-6F175D3DCCD1}">
              <a14:hiddenFill xmlns:a14="http://schemas.microsoft.com/office/drawing/2010/main">
                <a:solidFill>
                  <a:schemeClr val="accent1"/>
                </a:solidFill>
              </a14:hiddenFill>
            </a:ext>
          </a:extLst>
        </p:spPr>
      </p:pic>
      <p:sp>
        <p:nvSpPr>
          <p:cNvPr id="11" name="Rectangle 10"/>
          <p:cNvSpPr/>
          <p:nvPr/>
        </p:nvSpPr>
        <p:spPr>
          <a:xfrm>
            <a:off x="3159881" y="6125771"/>
            <a:ext cx="3586238" cy="215444"/>
          </a:xfrm>
          <a:prstGeom prst="rect">
            <a:avLst/>
          </a:prstGeom>
        </p:spPr>
        <p:txBody>
          <a:bodyPr wrap="none">
            <a:spAutoFit/>
          </a:bodyPr>
          <a:lstStyle/>
          <a:p>
            <a:pPr algn="ctr">
              <a:spcBef>
                <a:spcPts val="600"/>
              </a:spcBef>
            </a:pPr>
            <a:r>
              <a:rPr lang="en-GB" sz="800" dirty="0">
                <a:solidFill>
                  <a:schemeClr val="accent2"/>
                </a:solidFill>
                <a:latin typeface="Arial" pitchFamily="34" charset="0"/>
                <a:cs typeface="Arial" pitchFamily="34" charset="0"/>
                <a:hlinkClick r:id="rId10"/>
              </a:rPr>
              <a:t>http://www.npr.org/programs/ted-radio-hour/411697251/the-act-of-listening</a:t>
            </a:r>
            <a:endParaRPr lang="en-GB" sz="800" dirty="0">
              <a:solidFill>
                <a:schemeClr val="accent2"/>
              </a:solidFill>
              <a:latin typeface="Arial" pitchFamily="34" charset="0"/>
              <a:cs typeface="Arial" pitchFamily="34" charset="0"/>
            </a:endParaRPr>
          </a:p>
        </p:txBody>
      </p:sp>
    </p:spTree>
    <p:extLst>
      <p:ext uri="{BB962C8B-B14F-4D97-AF65-F5344CB8AC3E}">
        <p14:creationId xmlns:p14="http://schemas.microsoft.com/office/powerpoint/2010/main" val="3641179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CA905B84-2777-4DE6-93BA-0BB0265D79D3}"/>
              </a:ext>
            </a:extLst>
          </p:cNvPr>
          <p:cNvGrpSpPr/>
          <p:nvPr/>
        </p:nvGrpSpPr>
        <p:grpSpPr>
          <a:xfrm>
            <a:off x="970549" y="1469986"/>
            <a:ext cx="1454234" cy="2282594"/>
            <a:chOff x="970549" y="1469986"/>
            <a:chExt cx="1454234" cy="2282594"/>
          </a:xfrm>
        </p:grpSpPr>
        <p:sp>
          <p:nvSpPr>
            <p:cNvPr id="6" name="Content Placeholder 7">
              <a:extLst>
                <a:ext uri="{FF2B5EF4-FFF2-40B4-BE49-F238E27FC236}">
                  <a16:creationId xmlns:a16="http://schemas.microsoft.com/office/drawing/2014/main" id="{D0BF1361-48ED-470D-9170-701187BFBC33}"/>
                </a:ext>
              </a:extLst>
            </p:cNvPr>
            <p:cNvSpPr txBox="1">
              <a:spLocks/>
            </p:cNvSpPr>
            <p:nvPr/>
          </p:nvSpPr>
          <p:spPr>
            <a:xfrm>
              <a:off x="970549" y="1469986"/>
              <a:ext cx="1454234" cy="2282594"/>
            </a:xfrm>
            <a:prstGeom prst="rect">
              <a:avLst/>
            </a:prstGeom>
            <a:solidFill>
              <a:srgbClr val="D0DAD6"/>
            </a:solidFill>
            <a:ln>
              <a:noFill/>
            </a:ln>
          </p:spPr>
          <p:txBody>
            <a:bodyPr vert="horz" wrap="square" lIns="108000" tIns="108000" rIns="108000" bIns="108000" rtlCol="0" anchor="b"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000" dirty="0">
                <a:solidFill>
                  <a:schemeClr val="bg1"/>
                </a:solidFill>
              </a:endParaRPr>
            </a:p>
          </p:txBody>
        </p:sp>
        <p:sp>
          <p:nvSpPr>
            <p:cNvPr id="25" name="Isosceles Triangle 24">
              <a:extLst>
                <a:ext uri="{FF2B5EF4-FFF2-40B4-BE49-F238E27FC236}">
                  <a16:creationId xmlns:a16="http://schemas.microsoft.com/office/drawing/2014/main" id="{86318D15-C1C0-458F-B480-3F82DD499607}"/>
                </a:ext>
              </a:extLst>
            </p:cNvPr>
            <p:cNvSpPr/>
            <p:nvPr/>
          </p:nvSpPr>
          <p:spPr>
            <a:xfrm rot="5400000">
              <a:off x="883255" y="2550498"/>
              <a:ext cx="296160" cy="121571"/>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grpSp>
        <p:nvGrpSpPr>
          <p:cNvPr id="27" name="Group 26">
            <a:extLst>
              <a:ext uri="{FF2B5EF4-FFF2-40B4-BE49-F238E27FC236}">
                <a16:creationId xmlns:a16="http://schemas.microsoft.com/office/drawing/2014/main" id="{B9F290DF-D9C2-4F8C-9C5E-CCE558502005}"/>
              </a:ext>
            </a:extLst>
          </p:cNvPr>
          <p:cNvGrpSpPr/>
          <p:nvPr/>
        </p:nvGrpSpPr>
        <p:grpSpPr>
          <a:xfrm>
            <a:off x="970549" y="4029647"/>
            <a:ext cx="1454234" cy="2282594"/>
            <a:chOff x="970549" y="1469986"/>
            <a:chExt cx="1454234" cy="2282594"/>
          </a:xfrm>
        </p:grpSpPr>
        <p:sp>
          <p:nvSpPr>
            <p:cNvPr id="28" name="Content Placeholder 7">
              <a:extLst>
                <a:ext uri="{FF2B5EF4-FFF2-40B4-BE49-F238E27FC236}">
                  <a16:creationId xmlns:a16="http://schemas.microsoft.com/office/drawing/2014/main" id="{C89F41C8-5269-47BF-9E7A-6F2DD78571C8}"/>
                </a:ext>
              </a:extLst>
            </p:cNvPr>
            <p:cNvSpPr txBox="1">
              <a:spLocks/>
            </p:cNvSpPr>
            <p:nvPr/>
          </p:nvSpPr>
          <p:spPr>
            <a:xfrm>
              <a:off x="970549" y="1469986"/>
              <a:ext cx="1454234" cy="2282594"/>
            </a:xfrm>
            <a:prstGeom prst="rect">
              <a:avLst/>
            </a:prstGeom>
            <a:solidFill>
              <a:srgbClr val="8AA299"/>
            </a:solidFill>
            <a:ln>
              <a:noFill/>
            </a:ln>
          </p:spPr>
          <p:txBody>
            <a:bodyPr vert="horz" wrap="square" lIns="108000" tIns="108000" rIns="108000" bIns="108000" rtlCol="0" anchor="b"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000" dirty="0">
                <a:solidFill>
                  <a:schemeClr val="bg1"/>
                </a:solidFill>
              </a:endParaRPr>
            </a:p>
          </p:txBody>
        </p:sp>
        <p:sp>
          <p:nvSpPr>
            <p:cNvPr id="29" name="Isosceles Triangle 28">
              <a:extLst>
                <a:ext uri="{FF2B5EF4-FFF2-40B4-BE49-F238E27FC236}">
                  <a16:creationId xmlns:a16="http://schemas.microsoft.com/office/drawing/2014/main" id="{5174AA27-C91A-40F4-8BD3-E97268B65685}"/>
                </a:ext>
              </a:extLst>
            </p:cNvPr>
            <p:cNvSpPr/>
            <p:nvPr/>
          </p:nvSpPr>
          <p:spPr>
            <a:xfrm rot="5400000">
              <a:off x="883255" y="2550498"/>
              <a:ext cx="296160" cy="121571"/>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sp>
        <p:nvSpPr>
          <p:cNvPr id="2" name="Title 1">
            <a:extLst>
              <a:ext uri="{FF2B5EF4-FFF2-40B4-BE49-F238E27FC236}">
                <a16:creationId xmlns:a16="http://schemas.microsoft.com/office/drawing/2014/main" id="{2407556F-33BC-48B7-98BF-DA0DD8EB540A}"/>
              </a:ext>
            </a:extLst>
          </p:cNvPr>
          <p:cNvSpPr>
            <a:spLocks noGrp="1"/>
          </p:cNvSpPr>
          <p:nvPr>
            <p:ph type="title"/>
          </p:nvPr>
        </p:nvSpPr>
        <p:spPr/>
        <p:txBody>
          <a:bodyPr/>
          <a:lstStyle/>
          <a:p>
            <a:r>
              <a:rPr lang="en-GB" dirty="0"/>
              <a:t>2 Levels of listening</a:t>
            </a:r>
          </a:p>
        </p:txBody>
      </p:sp>
      <p:sp>
        <p:nvSpPr>
          <p:cNvPr id="45" name="Text Placeholder 44">
            <a:extLst>
              <a:ext uri="{FF2B5EF4-FFF2-40B4-BE49-F238E27FC236}">
                <a16:creationId xmlns:a16="http://schemas.microsoft.com/office/drawing/2014/main" id="{57474DCD-5EA7-4E52-8E9E-BB04227E6681}"/>
              </a:ext>
            </a:extLst>
          </p:cNvPr>
          <p:cNvSpPr>
            <a:spLocks noGrp="1"/>
          </p:cNvSpPr>
          <p:nvPr>
            <p:ph type="body" sz="quarter" idx="13"/>
          </p:nvPr>
        </p:nvSpPr>
        <p:spPr/>
        <p:txBody>
          <a:bodyPr/>
          <a:lstStyle/>
          <a:p>
            <a:endParaRPr lang="en-GB" dirty="0"/>
          </a:p>
        </p:txBody>
      </p:sp>
      <p:sp>
        <p:nvSpPr>
          <p:cNvPr id="46" name="Text Placeholder 45">
            <a:extLst>
              <a:ext uri="{FF2B5EF4-FFF2-40B4-BE49-F238E27FC236}">
                <a16:creationId xmlns:a16="http://schemas.microsoft.com/office/drawing/2014/main" id="{1C31E80D-3353-4C51-8937-EC64EA1842D0}"/>
              </a:ext>
            </a:extLst>
          </p:cNvPr>
          <p:cNvSpPr>
            <a:spLocks noGrp="1"/>
          </p:cNvSpPr>
          <p:nvPr>
            <p:ph type="body" sz="quarter" idx="14"/>
          </p:nvPr>
        </p:nvSpPr>
        <p:spPr/>
        <p:txBody>
          <a:bodyPr/>
          <a:lstStyle/>
          <a:p>
            <a:endParaRPr lang="en-GB" dirty="0"/>
          </a:p>
        </p:txBody>
      </p:sp>
      <p:sp>
        <p:nvSpPr>
          <p:cNvPr id="3" name="Content Placeholder 7">
            <a:extLst>
              <a:ext uri="{FF2B5EF4-FFF2-40B4-BE49-F238E27FC236}">
                <a16:creationId xmlns:a16="http://schemas.microsoft.com/office/drawing/2014/main" id="{ECDC7685-FA7B-45A4-8A03-7C6E39E473AB}"/>
              </a:ext>
            </a:extLst>
          </p:cNvPr>
          <p:cNvSpPr txBox="1">
            <a:spLocks/>
          </p:cNvSpPr>
          <p:nvPr/>
        </p:nvSpPr>
        <p:spPr>
          <a:xfrm>
            <a:off x="2420227" y="4029647"/>
            <a:ext cx="7206661" cy="2282594"/>
          </a:xfrm>
          <a:prstGeom prst="rect">
            <a:avLst/>
          </a:prstGeom>
          <a:solidFill>
            <a:srgbClr val="F3F2F0"/>
          </a:solidFill>
          <a:ln>
            <a:noFill/>
          </a:ln>
        </p:spPr>
        <p:txBody>
          <a:bodyPr vert="horz" wrap="square" lIns="72000" tIns="72000" rIns="72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400" dirty="0">
              <a:latin typeface="+mn-lt"/>
            </a:endParaRPr>
          </a:p>
        </p:txBody>
      </p:sp>
      <p:sp>
        <p:nvSpPr>
          <p:cNvPr id="5" name="Content Placeholder 7">
            <a:extLst>
              <a:ext uri="{FF2B5EF4-FFF2-40B4-BE49-F238E27FC236}">
                <a16:creationId xmlns:a16="http://schemas.microsoft.com/office/drawing/2014/main" id="{2669C748-8294-4408-9E9F-FA543FBD306F}"/>
              </a:ext>
            </a:extLst>
          </p:cNvPr>
          <p:cNvSpPr txBox="1">
            <a:spLocks/>
          </p:cNvSpPr>
          <p:nvPr/>
        </p:nvSpPr>
        <p:spPr>
          <a:xfrm>
            <a:off x="2420228" y="1469986"/>
            <a:ext cx="7206660" cy="2282594"/>
          </a:xfrm>
          <a:prstGeom prst="rect">
            <a:avLst/>
          </a:prstGeom>
          <a:solidFill>
            <a:srgbClr val="F3F2F0"/>
          </a:solidFill>
          <a:ln>
            <a:noFill/>
          </a:ln>
        </p:spPr>
        <p:txBody>
          <a:bodyPr vert="horz" wrap="square" lIns="72000" tIns="72000" rIns="72000" bIns="72000" rtlCol="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400" dirty="0">
              <a:latin typeface="+mn-lt"/>
            </a:endParaRPr>
          </a:p>
        </p:txBody>
      </p:sp>
      <p:sp>
        <p:nvSpPr>
          <p:cNvPr id="7" name="Rectangle 6">
            <a:extLst>
              <a:ext uri="{FF2B5EF4-FFF2-40B4-BE49-F238E27FC236}">
                <a16:creationId xmlns:a16="http://schemas.microsoft.com/office/drawing/2014/main" id="{D4FCD558-7DF8-45F8-93F9-C7AAAB49888E}"/>
              </a:ext>
            </a:extLst>
          </p:cNvPr>
          <p:cNvSpPr/>
          <p:nvPr/>
        </p:nvSpPr>
        <p:spPr>
          <a:xfrm>
            <a:off x="1230589" y="2349673"/>
            <a:ext cx="1376601" cy="523220"/>
          </a:xfrm>
          <a:prstGeom prst="rect">
            <a:avLst/>
          </a:prstGeom>
        </p:spPr>
        <p:txBody>
          <a:bodyPr wrap="square" anchor="ctr">
            <a:spAutoFit/>
          </a:bodyPr>
          <a:lstStyle/>
          <a:p>
            <a:r>
              <a:rPr lang="en-GB" sz="1400" b="1" dirty="0">
                <a:solidFill>
                  <a:srgbClr val="1F2023"/>
                </a:solidFill>
              </a:rPr>
              <a:t>Inner </a:t>
            </a:r>
            <a:br>
              <a:rPr lang="en-GB" sz="1400" b="1" dirty="0">
                <a:solidFill>
                  <a:srgbClr val="1F2023"/>
                </a:solidFill>
              </a:rPr>
            </a:br>
            <a:r>
              <a:rPr lang="en-GB" sz="1400" b="1" dirty="0">
                <a:solidFill>
                  <a:srgbClr val="1F2023"/>
                </a:solidFill>
              </a:rPr>
              <a:t>listening</a:t>
            </a:r>
          </a:p>
        </p:txBody>
      </p:sp>
      <p:sp>
        <p:nvSpPr>
          <p:cNvPr id="10" name="Rectangle 9">
            <a:extLst>
              <a:ext uri="{FF2B5EF4-FFF2-40B4-BE49-F238E27FC236}">
                <a16:creationId xmlns:a16="http://schemas.microsoft.com/office/drawing/2014/main" id="{AD799135-4B5C-4154-9AA2-C824E8B972BB}"/>
              </a:ext>
            </a:extLst>
          </p:cNvPr>
          <p:cNvSpPr/>
          <p:nvPr/>
        </p:nvSpPr>
        <p:spPr>
          <a:xfrm>
            <a:off x="1258122" y="4909334"/>
            <a:ext cx="918841" cy="523220"/>
          </a:xfrm>
          <a:prstGeom prst="rect">
            <a:avLst/>
          </a:prstGeom>
        </p:spPr>
        <p:txBody>
          <a:bodyPr wrap="none" anchor="ctr">
            <a:spAutoFit/>
          </a:bodyPr>
          <a:lstStyle/>
          <a:p>
            <a:r>
              <a:rPr lang="en-GB" sz="1400" b="1" dirty="0">
                <a:solidFill>
                  <a:schemeClr val="bg1"/>
                </a:solidFill>
              </a:rPr>
              <a:t>Active  </a:t>
            </a:r>
            <a:br>
              <a:rPr lang="en-GB" sz="1400" b="1" dirty="0">
                <a:solidFill>
                  <a:schemeClr val="bg1"/>
                </a:solidFill>
              </a:rPr>
            </a:br>
            <a:r>
              <a:rPr lang="en-GB" sz="1400" b="1" dirty="0">
                <a:solidFill>
                  <a:schemeClr val="bg1"/>
                </a:solidFill>
              </a:rPr>
              <a:t>listening</a:t>
            </a:r>
          </a:p>
        </p:txBody>
      </p:sp>
      <p:sp>
        <p:nvSpPr>
          <p:cNvPr id="12" name="Rectangle 11">
            <a:extLst>
              <a:ext uri="{FF2B5EF4-FFF2-40B4-BE49-F238E27FC236}">
                <a16:creationId xmlns:a16="http://schemas.microsoft.com/office/drawing/2014/main" id="{F50C5BB9-5300-4CBD-A32F-F8BF194ABD0B}"/>
              </a:ext>
            </a:extLst>
          </p:cNvPr>
          <p:cNvSpPr/>
          <p:nvPr/>
        </p:nvSpPr>
        <p:spPr>
          <a:xfrm>
            <a:off x="6205966" y="4386114"/>
            <a:ext cx="3307446" cy="1569660"/>
          </a:xfrm>
          <a:prstGeom prst="rect">
            <a:avLst/>
          </a:prstGeom>
        </p:spPr>
        <p:txBody>
          <a:bodyPr wrap="square" anchor="ctr">
            <a:spAutoFit/>
          </a:bodyPr>
          <a:lstStyle/>
          <a:p>
            <a:pPr marL="0" lvl="1" indent="0">
              <a:buClr>
                <a:schemeClr val="accent6"/>
              </a:buClr>
              <a:buNone/>
              <a:defRPr/>
            </a:pPr>
            <a:r>
              <a:rPr lang="en-GB" sz="1200" dirty="0"/>
              <a:t>You are listening to understand the </a:t>
            </a:r>
          </a:p>
          <a:p>
            <a:pPr marL="0" lvl="1" indent="0">
              <a:buClr>
                <a:schemeClr val="accent6"/>
              </a:buClr>
              <a:buNone/>
              <a:defRPr/>
            </a:pPr>
            <a:r>
              <a:rPr lang="en-GB" sz="1200" dirty="0"/>
              <a:t>other person</a:t>
            </a:r>
          </a:p>
          <a:p>
            <a:pPr marL="0" lvl="1" indent="0">
              <a:buClr>
                <a:schemeClr val="accent6"/>
              </a:buClr>
              <a:buNone/>
              <a:defRPr/>
            </a:pPr>
            <a:endParaRPr lang="en-GB" sz="1200" dirty="0"/>
          </a:p>
          <a:p>
            <a:pPr>
              <a:defRPr/>
            </a:pPr>
            <a:r>
              <a:rPr lang="en-GB" sz="1200" b="1" dirty="0"/>
              <a:t>Result</a:t>
            </a:r>
            <a:r>
              <a:rPr lang="en-GB" sz="1200" dirty="0"/>
              <a:t>:</a:t>
            </a:r>
          </a:p>
          <a:p>
            <a:pPr>
              <a:defRPr/>
            </a:pPr>
            <a:r>
              <a:rPr lang="en-GB" sz="1200" dirty="0"/>
              <a:t>The other person is mirrored, understood, contained, challenged, supported. Sometimes the other person´s viewpoints, thoughts, feelings will be put into new perspectives.</a:t>
            </a:r>
          </a:p>
        </p:txBody>
      </p:sp>
      <p:grpSp>
        <p:nvGrpSpPr>
          <p:cNvPr id="13" name="Group 12">
            <a:extLst>
              <a:ext uri="{FF2B5EF4-FFF2-40B4-BE49-F238E27FC236}">
                <a16:creationId xmlns:a16="http://schemas.microsoft.com/office/drawing/2014/main" id="{A037F373-5758-40BD-BB01-DC7A7DDF42A0}"/>
              </a:ext>
            </a:extLst>
          </p:cNvPr>
          <p:cNvGrpSpPr/>
          <p:nvPr/>
        </p:nvGrpSpPr>
        <p:grpSpPr>
          <a:xfrm>
            <a:off x="317035" y="2403008"/>
            <a:ext cx="433197" cy="416550"/>
            <a:chOff x="7442604" y="3311526"/>
            <a:chExt cx="526650" cy="506412"/>
          </a:xfrm>
        </p:grpSpPr>
        <p:sp>
          <p:nvSpPr>
            <p:cNvPr id="14" name="Freeform 93">
              <a:extLst>
                <a:ext uri="{FF2B5EF4-FFF2-40B4-BE49-F238E27FC236}">
                  <a16:creationId xmlns:a16="http://schemas.microsoft.com/office/drawing/2014/main" id="{2CE3E386-8CA2-4DD3-AB2F-EA669AA35146}"/>
                </a:ext>
              </a:extLst>
            </p:cNvPr>
            <p:cNvSpPr>
              <a:spLocks/>
            </p:cNvSpPr>
            <p:nvPr/>
          </p:nvSpPr>
          <p:spPr bwMode="auto">
            <a:xfrm>
              <a:off x="7442604" y="3392486"/>
              <a:ext cx="415925" cy="344488"/>
            </a:xfrm>
            <a:custGeom>
              <a:avLst/>
              <a:gdLst>
                <a:gd name="T0" fmla="*/ 93 w 93"/>
                <a:gd name="T1" fmla="*/ 77 h 77"/>
                <a:gd name="T2" fmla="*/ 51 w 93"/>
                <a:gd name="T3" fmla="*/ 59 h 77"/>
                <a:gd name="T4" fmla="*/ 47 w 93"/>
                <a:gd name="T5" fmla="*/ 59 h 77"/>
                <a:gd name="T6" fmla="*/ 20 w 93"/>
                <a:gd name="T7" fmla="*/ 59 h 77"/>
                <a:gd name="T8" fmla="*/ 0 w 93"/>
                <a:gd name="T9" fmla="*/ 39 h 77"/>
                <a:gd name="T10" fmla="*/ 0 w 93"/>
                <a:gd name="T11" fmla="*/ 39 h 77"/>
                <a:gd name="T12" fmla="*/ 20 w 93"/>
                <a:gd name="T13" fmla="*/ 19 h 77"/>
                <a:gd name="T14" fmla="*/ 51 w 93"/>
                <a:gd name="T15" fmla="*/ 19 h 77"/>
                <a:gd name="T16" fmla="*/ 51 w 93"/>
                <a:gd name="T17" fmla="*/ 19 h 77"/>
                <a:gd name="T18" fmla="*/ 93 w 93"/>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7">
                  <a:moveTo>
                    <a:pt x="93" y="77"/>
                  </a:moveTo>
                  <a:cubicBezTo>
                    <a:pt x="51" y="59"/>
                    <a:pt x="51" y="59"/>
                    <a:pt x="51" y="59"/>
                  </a:cubicBezTo>
                  <a:cubicBezTo>
                    <a:pt x="47" y="59"/>
                    <a:pt x="47" y="59"/>
                    <a:pt x="47" y="59"/>
                  </a:cubicBezTo>
                  <a:cubicBezTo>
                    <a:pt x="20" y="59"/>
                    <a:pt x="20" y="59"/>
                    <a:pt x="20" y="59"/>
                  </a:cubicBezTo>
                  <a:cubicBezTo>
                    <a:pt x="9" y="59"/>
                    <a:pt x="0" y="50"/>
                    <a:pt x="0" y="39"/>
                  </a:cubicBezTo>
                  <a:cubicBezTo>
                    <a:pt x="0" y="39"/>
                    <a:pt x="0" y="39"/>
                    <a:pt x="0" y="39"/>
                  </a:cubicBezTo>
                  <a:cubicBezTo>
                    <a:pt x="0" y="28"/>
                    <a:pt x="9" y="19"/>
                    <a:pt x="20" y="19"/>
                  </a:cubicBezTo>
                  <a:cubicBezTo>
                    <a:pt x="51" y="19"/>
                    <a:pt x="51" y="19"/>
                    <a:pt x="51" y="19"/>
                  </a:cubicBezTo>
                  <a:cubicBezTo>
                    <a:pt x="51" y="19"/>
                    <a:pt x="51" y="19"/>
                    <a:pt x="51" y="19"/>
                  </a:cubicBezTo>
                  <a:cubicBezTo>
                    <a:pt x="93" y="0"/>
                    <a:pt x="93" y="0"/>
                    <a:pt x="93" y="0"/>
                  </a:cubicBezTo>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94">
              <a:extLst>
                <a:ext uri="{FF2B5EF4-FFF2-40B4-BE49-F238E27FC236}">
                  <a16:creationId xmlns:a16="http://schemas.microsoft.com/office/drawing/2014/main" id="{EA0DD1DA-9372-4F44-A784-982F87A04469}"/>
                </a:ext>
              </a:extLst>
            </p:cNvPr>
            <p:cNvSpPr>
              <a:spLocks/>
            </p:cNvSpPr>
            <p:nvPr/>
          </p:nvSpPr>
          <p:spPr bwMode="auto">
            <a:xfrm>
              <a:off x="7477129" y="3311526"/>
              <a:ext cx="492125" cy="506412"/>
            </a:xfrm>
            <a:custGeom>
              <a:avLst/>
              <a:gdLst>
                <a:gd name="T0" fmla="*/ 33 w 110"/>
                <a:gd name="T1" fmla="*/ 78 h 113"/>
                <a:gd name="T2" fmla="*/ 33 w 110"/>
                <a:gd name="T3" fmla="*/ 105 h 113"/>
                <a:gd name="T4" fmla="*/ 40 w 110"/>
                <a:gd name="T5" fmla="*/ 113 h 113"/>
                <a:gd name="T6" fmla="*/ 40 w 110"/>
                <a:gd name="T7" fmla="*/ 113 h 113"/>
                <a:gd name="T8" fmla="*/ 48 w 110"/>
                <a:gd name="T9" fmla="*/ 105 h 113"/>
                <a:gd name="T10" fmla="*/ 48 w 110"/>
                <a:gd name="T11" fmla="*/ 78 h 113"/>
                <a:gd name="T12" fmla="*/ 41 w 110"/>
                <a:gd name="T13" fmla="*/ 70 h 113"/>
                <a:gd name="T14" fmla="*/ 22 w 110"/>
                <a:gd name="T15" fmla="*/ 70 h 113"/>
                <a:gd name="T16" fmla="*/ 0 w 110"/>
                <a:gd name="T17" fmla="*/ 49 h 113"/>
                <a:gd name="T18" fmla="*/ 0 w 110"/>
                <a:gd name="T19" fmla="*/ 49 h 113"/>
                <a:gd name="T20" fmla="*/ 22 w 110"/>
                <a:gd name="T21" fmla="*/ 27 h 113"/>
                <a:gd name="T22" fmla="*/ 54 w 110"/>
                <a:gd name="T23" fmla="*/ 27 h 113"/>
                <a:gd name="T24" fmla="*/ 54 w 110"/>
                <a:gd name="T25" fmla="*/ 27 h 113"/>
                <a:gd name="T26" fmla="*/ 99 w 110"/>
                <a:gd name="T27" fmla="*/ 7 h 113"/>
                <a:gd name="T28" fmla="*/ 99 w 110"/>
                <a:gd name="T29" fmla="*/ 5 h 113"/>
                <a:gd name="T30" fmla="*/ 104 w 110"/>
                <a:gd name="T31" fmla="*/ 0 h 113"/>
                <a:gd name="T32" fmla="*/ 104 w 110"/>
                <a:gd name="T33" fmla="*/ 0 h 113"/>
                <a:gd name="T34" fmla="*/ 110 w 110"/>
                <a:gd name="T35" fmla="*/ 5 h 113"/>
                <a:gd name="T36" fmla="*/ 110 w 110"/>
                <a:gd name="T37" fmla="*/ 95 h 113"/>
                <a:gd name="T38" fmla="*/ 104 w 110"/>
                <a:gd name="T39" fmla="*/ 100 h 113"/>
                <a:gd name="T40" fmla="*/ 104 w 110"/>
                <a:gd name="T41" fmla="*/ 100 h 113"/>
                <a:gd name="T42" fmla="*/ 99 w 110"/>
                <a:gd name="T43" fmla="*/ 95 h 113"/>
                <a:gd name="T44" fmla="*/ 99 w 110"/>
                <a:gd name="T45" fmla="*/ 89 h 113"/>
                <a:gd name="T46" fmla="*/ 54 w 110"/>
                <a:gd name="T47" fmla="*/ 7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13">
                  <a:moveTo>
                    <a:pt x="33" y="78"/>
                  </a:moveTo>
                  <a:cubicBezTo>
                    <a:pt x="33" y="105"/>
                    <a:pt x="33" y="105"/>
                    <a:pt x="33" y="105"/>
                  </a:cubicBezTo>
                  <a:cubicBezTo>
                    <a:pt x="33" y="110"/>
                    <a:pt x="36" y="113"/>
                    <a:pt x="40" y="113"/>
                  </a:cubicBezTo>
                  <a:cubicBezTo>
                    <a:pt x="40" y="113"/>
                    <a:pt x="40" y="113"/>
                    <a:pt x="40" y="113"/>
                  </a:cubicBezTo>
                  <a:cubicBezTo>
                    <a:pt x="45" y="113"/>
                    <a:pt x="48" y="110"/>
                    <a:pt x="48" y="105"/>
                  </a:cubicBezTo>
                  <a:cubicBezTo>
                    <a:pt x="48" y="78"/>
                    <a:pt x="48" y="78"/>
                    <a:pt x="48" y="78"/>
                  </a:cubicBezTo>
                  <a:cubicBezTo>
                    <a:pt x="48" y="74"/>
                    <a:pt x="45" y="70"/>
                    <a:pt x="41" y="70"/>
                  </a:cubicBezTo>
                  <a:cubicBezTo>
                    <a:pt x="22" y="70"/>
                    <a:pt x="22" y="70"/>
                    <a:pt x="22" y="70"/>
                  </a:cubicBezTo>
                  <a:cubicBezTo>
                    <a:pt x="10" y="70"/>
                    <a:pt x="0" y="61"/>
                    <a:pt x="0" y="49"/>
                  </a:cubicBezTo>
                  <a:cubicBezTo>
                    <a:pt x="0" y="49"/>
                    <a:pt x="0" y="49"/>
                    <a:pt x="0" y="49"/>
                  </a:cubicBezTo>
                  <a:cubicBezTo>
                    <a:pt x="0" y="37"/>
                    <a:pt x="10" y="27"/>
                    <a:pt x="22" y="27"/>
                  </a:cubicBezTo>
                  <a:cubicBezTo>
                    <a:pt x="54" y="27"/>
                    <a:pt x="54" y="27"/>
                    <a:pt x="54" y="27"/>
                  </a:cubicBezTo>
                  <a:cubicBezTo>
                    <a:pt x="54" y="27"/>
                    <a:pt x="54" y="27"/>
                    <a:pt x="54" y="27"/>
                  </a:cubicBezTo>
                  <a:cubicBezTo>
                    <a:pt x="99" y="7"/>
                    <a:pt x="99" y="7"/>
                    <a:pt x="99" y="7"/>
                  </a:cubicBezTo>
                  <a:cubicBezTo>
                    <a:pt x="99" y="5"/>
                    <a:pt x="99" y="5"/>
                    <a:pt x="99" y="5"/>
                  </a:cubicBezTo>
                  <a:cubicBezTo>
                    <a:pt x="99" y="2"/>
                    <a:pt x="101" y="0"/>
                    <a:pt x="104" y="0"/>
                  </a:cubicBezTo>
                  <a:cubicBezTo>
                    <a:pt x="104" y="0"/>
                    <a:pt x="104" y="0"/>
                    <a:pt x="104" y="0"/>
                  </a:cubicBezTo>
                  <a:cubicBezTo>
                    <a:pt x="107" y="0"/>
                    <a:pt x="110" y="2"/>
                    <a:pt x="110" y="5"/>
                  </a:cubicBezTo>
                  <a:cubicBezTo>
                    <a:pt x="110" y="95"/>
                    <a:pt x="110" y="95"/>
                    <a:pt x="110" y="95"/>
                  </a:cubicBezTo>
                  <a:cubicBezTo>
                    <a:pt x="110" y="98"/>
                    <a:pt x="107" y="100"/>
                    <a:pt x="104" y="100"/>
                  </a:cubicBezTo>
                  <a:cubicBezTo>
                    <a:pt x="104" y="100"/>
                    <a:pt x="104" y="100"/>
                    <a:pt x="104" y="100"/>
                  </a:cubicBezTo>
                  <a:cubicBezTo>
                    <a:pt x="101" y="100"/>
                    <a:pt x="99" y="98"/>
                    <a:pt x="99" y="95"/>
                  </a:cubicBezTo>
                  <a:cubicBezTo>
                    <a:pt x="99" y="89"/>
                    <a:pt x="99" y="89"/>
                    <a:pt x="99" y="89"/>
                  </a:cubicBezTo>
                  <a:cubicBezTo>
                    <a:pt x="54" y="71"/>
                    <a:pt x="54" y="71"/>
                    <a:pt x="54" y="71"/>
                  </a:cubicBez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6" name="Group 15">
            <a:extLst>
              <a:ext uri="{FF2B5EF4-FFF2-40B4-BE49-F238E27FC236}">
                <a16:creationId xmlns:a16="http://schemas.microsoft.com/office/drawing/2014/main" id="{E3913E29-FF7C-4F31-AB25-026BD394C56F}"/>
              </a:ext>
            </a:extLst>
          </p:cNvPr>
          <p:cNvGrpSpPr/>
          <p:nvPr/>
        </p:nvGrpSpPr>
        <p:grpSpPr>
          <a:xfrm>
            <a:off x="257647" y="4901429"/>
            <a:ext cx="539751" cy="465138"/>
            <a:chOff x="3781425" y="3370263"/>
            <a:chExt cx="539751" cy="465138"/>
          </a:xfrm>
        </p:grpSpPr>
        <p:sp>
          <p:nvSpPr>
            <p:cNvPr id="17" name="Freeform 144">
              <a:extLst>
                <a:ext uri="{FF2B5EF4-FFF2-40B4-BE49-F238E27FC236}">
                  <a16:creationId xmlns:a16="http://schemas.microsoft.com/office/drawing/2014/main" id="{047202E3-DDAB-44A5-B71D-E647B7AAB2E2}"/>
                </a:ext>
              </a:extLst>
            </p:cNvPr>
            <p:cNvSpPr>
              <a:spLocks/>
            </p:cNvSpPr>
            <p:nvPr/>
          </p:nvSpPr>
          <p:spPr bwMode="auto">
            <a:xfrm>
              <a:off x="4191000" y="3541713"/>
              <a:ext cx="107950" cy="207963"/>
            </a:xfrm>
            <a:custGeom>
              <a:avLst/>
              <a:gdLst>
                <a:gd name="T0" fmla="*/ 0 w 24"/>
                <a:gd name="T1" fmla="*/ 0 h 46"/>
                <a:gd name="T2" fmla="*/ 1 w 24"/>
                <a:gd name="T3" fmla="*/ 0 h 46"/>
                <a:gd name="T4" fmla="*/ 24 w 24"/>
                <a:gd name="T5" fmla="*/ 23 h 46"/>
                <a:gd name="T6" fmla="*/ 24 w 24"/>
                <a:gd name="T7" fmla="*/ 23 h 46"/>
                <a:gd name="T8" fmla="*/ 1 w 24"/>
                <a:gd name="T9" fmla="*/ 46 h 46"/>
                <a:gd name="T10" fmla="*/ 0 w 24"/>
                <a:gd name="T11" fmla="*/ 46 h 46"/>
              </a:gdLst>
              <a:ahLst/>
              <a:cxnLst>
                <a:cxn ang="0">
                  <a:pos x="T0" y="T1"/>
                </a:cxn>
                <a:cxn ang="0">
                  <a:pos x="T2" y="T3"/>
                </a:cxn>
                <a:cxn ang="0">
                  <a:pos x="T4" y="T5"/>
                </a:cxn>
                <a:cxn ang="0">
                  <a:pos x="T6" y="T7"/>
                </a:cxn>
                <a:cxn ang="0">
                  <a:pos x="T8" y="T9"/>
                </a:cxn>
                <a:cxn ang="0">
                  <a:pos x="T10" y="T11"/>
                </a:cxn>
              </a:cxnLst>
              <a:rect l="0" t="0" r="r" b="b"/>
              <a:pathLst>
                <a:path w="24" h="46">
                  <a:moveTo>
                    <a:pt x="0" y="0"/>
                  </a:moveTo>
                  <a:cubicBezTo>
                    <a:pt x="1" y="0"/>
                    <a:pt x="1" y="0"/>
                    <a:pt x="1" y="0"/>
                  </a:cubicBezTo>
                  <a:cubicBezTo>
                    <a:pt x="14" y="0"/>
                    <a:pt x="24" y="10"/>
                    <a:pt x="24" y="23"/>
                  </a:cubicBezTo>
                  <a:cubicBezTo>
                    <a:pt x="24" y="23"/>
                    <a:pt x="24" y="23"/>
                    <a:pt x="24" y="23"/>
                  </a:cubicBezTo>
                  <a:cubicBezTo>
                    <a:pt x="24" y="36"/>
                    <a:pt x="14" y="46"/>
                    <a:pt x="1" y="46"/>
                  </a:cubicBezTo>
                  <a:cubicBezTo>
                    <a:pt x="0" y="46"/>
                    <a:pt x="0" y="46"/>
                    <a:pt x="0" y="46"/>
                  </a:cubicBezTo>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45">
              <a:extLst>
                <a:ext uri="{FF2B5EF4-FFF2-40B4-BE49-F238E27FC236}">
                  <a16:creationId xmlns:a16="http://schemas.microsoft.com/office/drawing/2014/main" id="{92039A3A-CEC1-478A-8DAD-5777C462F787}"/>
                </a:ext>
              </a:extLst>
            </p:cNvPr>
            <p:cNvSpPr>
              <a:spLocks/>
            </p:cNvSpPr>
            <p:nvPr/>
          </p:nvSpPr>
          <p:spPr bwMode="auto">
            <a:xfrm>
              <a:off x="3781425" y="3541713"/>
              <a:ext cx="112713" cy="207963"/>
            </a:xfrm>
            <a:custGeom>
              <a:avLst/>
              <a:gdLst>
                <a:gd name="T0" fmla="*/ 25 w 25"/>
                <a:gd name="T1" fmla="*/ 46 h 46"/>
                <a:gd name="T2" fmla="*/ 23 w 25"/>
                <a:gd name="T3" fmla="*/ 46 h 46"/>
                <a:gd name="T4" fmla="*/ 0 w 25"/>
                <a:gd name="T5" fmla="*/ 23 h 46"/>
                <a:gd name="T6" fmla="*/ 0 w 25"/>
                <a:gd name="T7" fmla="*/ 23 h 46"/>
                <a:gd name="T8" fmla="*/ 23 w 25"/>
                <a:gd name="T9" fmla="*/ 0 h 46"/>
                <a:gd name="T10" fmla="*/ 25 w 25"/>
                <a:gd name="T11" fmla="*/ 0 h 46"/>
              </a:gdLst>
              <a:ahLst/>
              <a:cxnLst>
                <a:cxn ang="0">
                  <a:pos x="T0" y="T1"/>
                </a:cxn>
                <a:cxn ang="0">
                  <a:pos x="T2" y="T3"/>
                </a:cxn>
                <a:cxn ang="0">
                  <a:pos x="T4" y="T5"/>
                </a:cxn>
                <a:cxn ang="0">
                  <a:pos x="T6" y="T7"/>
                </a:cxn>
                <a:cxn ang="0">
                  <a:pos x="T8" y="T9"/>
                </a:cxn>
                <a:cxn ang="0">
                  <a:pos x="T10" y="T11"/>
                </a:cxn>
              </a:cxnLst>
              <a:rect l="0" t="0" r="r" b="b"/>
              <a:pathLst>
                <a:path w="25" h="46">
                  <a:moveTo>
                    <a:pt x="25" y="46"/>
                  </a:moveTo>
                  <a:cubicBezTo>
                    <a:pt x="23" y="46"/>
                    <a:pt x="23" y="46"/>
                    <a:pt x="23" y="46"/>
                  </a:cubicBezTo>
                  <a:cubicBezTo>
                    <a:pt x="10" y="46"/>
                    <a:pt x="0" y="36"/>
                    <a:pt x="0" y="23"/>
                  </a:cubicBezTo>
                  <a:cubicBezTo>
                    <a:pt x="0" y="23"/>
                    <a:pt x="0" y="23"/>
                    <a:pt x="0" y="23"/>
                  </a:cubicBezTo>
                  <a:cubicBezTo>
                    <a:pt x="0" y="10"/>
                    <a:pt x="10" y="0"/>
                    <a:pt x="23" y="0"/>
                  </a:cubicBezTo>
                  <a:cubicBezTo>
                    <a:pt x="25" y="0"/>
                    <a:pt x="25" y="0"/>
                    <a:pt x="25" y="0"/>
                  </a:cubicBezTo>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46">
              <a:extLst>
                <a:ext uri="{FF2B5EF4-FFF2-40B4-BE49-F238E27FC236}">
                  <a16:creationId xmlns:a16="http://schemas.microsoft.com/office/drawing/2014/main" id="{EAF65A32-BB4C-44EA-8C91-0E6474037D9E}"/>
                </a:ext>
              </a:extLst>
            </p:cNvPr>
            <p:cNvSpPr>
              <a:spLocks/>
            </p:cNvSpPr>
            <p:nvPr/>
          </p:nvSpPr>
          <p:spPr bwMode="auto">
            <a:xfrm>
              <a:off x="3916363" y="3370263"/>
              <a:ext cx="323850" cy="352425"/>
            </a:xfrm>
            <a:custGeom>
              <a:avLst/>
              <a:gdLst>
                <a:gd name="T0" fmla="*/ 72 w 72"/>
                <a:gd name="T1" fmla="*/ 78 h 78"/>
                <a:gd name="T2" fmla="*/ 72 w 72"/>
                <a:gd name="T3" fmla="*/ 36 h 78"/>
                <a:gd name="T4" fmla="*/ 36 w 72"/>
                <a:gd name="T5" fmla="*/ 0 h 78"/>
                <a:gd name="T6" fmla="*/ 36 w 72"/>
                <a:gd name="T7" fmla="*/ 0 h 78"/>
                <a:gd name="T8" fmla="*/ 0 w 72"/>
                <a:gd name="T9" fmla="*/ 36 h 78"/>
                <a:gd name="T10" fmla="*/ 0 w 72"/>
                <a:gd name="T11" fmla="*/ 77 h 78"/>
              </a:gdLst>
              <a:ahLst/>
              <a:cxnLst>
                <a:cxn ang="0">
                  <a:pos x="T0" y="T1"/>
                </a:cxn>
                <a:cxn ang="0">
                  <a:pos x="T2" y="T3"/>
                </a:cxn>
                <a:cxn ang="0">
                  <a:pos x="T4" y="T5"/>
                </a:cxn>
                <a:cxn ang="0">
                  <a:pos x="T6" y="T7"/>
                </a:cxn>
                <a:cxn ang="0">
                  <a:pos x="T8" y="T9"/>
                </a:cxn>
                <a:cxn ang="0">
                  <a:pos x="T10" y="T11"/>
                </a:cxn>
              </a:cxnLst>
              <a:rect l="0" t="0" r="r" b="b"/>
              <a:pathLst>
                <a:path w="72" h="78">
                  <a:moveTo>
                    <a:pt x="72" y="78"/>
                  </a:moveTo>
                  <a:cubicBezTo>
                    <a:pt x="72" y="36"/>
                    <a:pt x="72" y="36"/>
                    <a:pt x="72" y="36"/>
                  </a:cubicBezTo>
                  <a:cubicBezTo>
                    <a:pt x="72" y="17"/>
                    <a:pt x="56" y="0"/>
                    <a:pt x="36" y="0"/>
                  </a:cubicBezTo>
                  <a:cubicBezTo>
                    <a:pt x="36" y="0"/>
                    <a:pt x="36" y="0"/>
                    <a:pt x="36" y="0"/>
                  </a:cubicBezTo>
                  <a:cubicBezTo>
                    <a:pt x="16" y="0"/>
                    <a:pt x="0" y="17"/>
                    <a:pt x="0" y="36"/>
                  </a:cubicBezTo>
                  <a:cubicBezTo>
                    <a:pt x="0" y="77"/>
                    <a:pt x="0" y="77"/>
                    <a:pt x="0" y="7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147">
              <a:extLst>
                <a:ext uri="{FF2B5EF4-FFF2-40B4-BE49-F238E27FC236}">
                  <a16:creationId xmlns:a16="http://schemas.microsoft.com/office/drawing/2014/main" id="{9325D588-4E39-4179-B8E5-A38CE1A50295}"/>
                </a:ext>
              </a:extLst>
            </p:cNvPr>
            <p:cNvSpPr>
              <a:spLocks/>
            </p:cNvSpPr>
            <p:nvPr/>
          </p:nvSpPr>
          <p:spPr bwMode="auto">
            <a:xfrm>
              <a:off x="4240213" y="3563938"/>
              <a:ext cx="80963" cy="158750"/>
            </a:xfrm>
            <a:custGeom>
              <a:avLst/>
              <a:gdLst>
                <a:gd name="T0" fmla="*/ 0 w 18"/>
                <a:gd name="T1" fmla="*/ 0 h 35"/>
                <a:gd name="T2" fmla="*/ 1 w 18"/>
                <a:gd name="T3" fmla="*/ 0 h 35"/>
                <a:gd name="T4" fmla="*/ 18 w 18"/>
                <a:gd name="T5" fmla="*/ 18 h 35"/>
                <a:gd name="T6" fmla="*/ 18 w 18"/>
                <a:gd name="T7" fmla="*/ 18 h 35"/>
                <a:gd name="T8" fmla="*/ 1 w 18"/>
                <a:gd name="T9" fmla="*/ 35 h 35"/>
                <a:gd name="T10" fmla="*/ 0 w 18"/>
                <a:gd name="T11" fmla="*/ 35 h 35"/>
              </a:gdLst>
              <a:ahLst/>
              <a:cxnLst>
                <a:cxn ang="0">
                  <a:pos x="T0" y="T1"/>
                </a:cxn>
                <a:cxn ang="0">
                  <a:pos x="T2" y="T3"/>
                </a:cxn>
                <a:cxn ang="0">
                  <a:pos x="T4" y="T5"/>
                </a:cxn>
                <a:cxn ang="0">
                  <a:pos x="T6" y="T7"/>
                </a:cxn>
                <a:cxn ang="0">
                  <a:pos x="T8" y="T9"/>
                </a:cxn>
                <a:cxn ang="0">
                  <a:pos x="T10" y="T11"/>
                </a:cxn>
              </a:cxnLst>
              <a:rect l="0" t="0" r="r" b="b"/>
              <a:pathLst>
                <a:path w="18" h="35">
                  <a:moveTo>
                    <a:pt x="0" y="0"/>
                  </a:moveTo>
                  <a:cubicBezTo>
                    <a:pt x="1" y="0"/>
                    <a:pt x="1" y="0"/>
                    <a:pt x="1" y="0"/>
                  </a:cubicBezTo>
                  <a:cubicBezTo>
                    <a:pt x="10" y="0"/>
                    <a:pt x="18" y="8"/>
                    <a:pt x="18" y="18"/>
                  </a:cubicBezTo>
                  <a:cubicBezTo>
                    <a:pt x="18" y="18"/>
                    <a:pt x="18" y="18"/>
                    <a:pt x="18" y="18"/>
                  </a:cubicBezTo>
                  <a:cubicBezTo>
                    <a:pt x="18" y="28"/>
                    <a:pt x="10" y="35"/>
                    <a:pt x="1" y="35"/>
                  </a:cubicBezTo>
                  <a:cubicBezTo>
                    <a:pt x="0" y="35"/>
                    <a:pt x="0" y="35"/>
                    <a:pt x="0" y="3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48">
              <a:extLst>
                <a:ext uri="{FF2B5EF4-FFF2-40B4-BE49-F238E27FC236}">
                  <a16:creationId xmlns:a16="http://schemas.microsoft.com/office/drawing/2014/main" id="{D2E41419-DF0C-4243-A025-80A97D752014}"/>
                </a:ext>
              </a:extLst>
            </p:cNvPr>
            <p:cNvSpPr>
              <a:spLocks/>
            </p:cNvSpPr>
            <p:nvPr/>
          </p:nvSpPr>
          <p:spPr bwMode="auto">
            <a:xfrm>
              <a:off x="3830638" y="3563938"/>
              <a:ext cx="85725" cy="158750"/>
            </a:xfrm>
            <a:custGeom>
              <a:avLst/>
              <a:gdLst>
                <a:gd name="T0" fmla="*/ 19 w 19"/>
                <a:gd name="T1" fmla="*/ 35 h 35"/>
                <a:gd name="T2" fmla="*/ 18 w 19"/>
                <a:gd name="T3" fmla="*/ 35 h 35"/>
                <a:gd name="T4" fmla="*/ 0 w 19"/>
                <a:gd name="T5" fmla="*/ 18 h 35"/>
                <a:gd name="T6" fmla="*/ 0 w 19"/>
                <a:gd name="T7" fmla="*/ 18 h 35"/>
                <a:gd name="T8" fmla="*/ 18 w 19"/>
                <a:gd name="T9" fmla="*/ 0 h 35"/>
                <a:gd name="T10" fmla="*/ 19 w 19"/>
                <a:gd name="T11" fmla="*/ 0 h 35"/>
              </a:gdLst>
              <a:ahLst/>
              <a:cxnLst>
                <a:cxn ang="0">
                  <a:pos x="T0" y="T1"/>
                </a:cxn>
                <a:cxn ang="0">
                  <a:pos x="T2" y="T3"/>
                </a:cxn>
                <a:cxn ang="0">
                  <a:pos x="T4" y="T5"/>
                </a:cxn>
                <a:cxn ang="0">
                  <a:pos x="T6" y="T7"/>
                </a:cxn>
                <a:cxn ang="0">
                  <a:pos x="T8" y="T9"/>
                </a:cxn>
                <a:cxn ang="0">
                  <a:pos x="T10" y="T11"/>
                </a:cxn>
              </a:cxnLst>
              <a:rect l="0" t="0" r="r" b="b"/>
              <a:pathLst>
                <a:path w="19" h="35">
                  <a:moveTo>
                    <a:pt x="19" y="35"/>
                  </a:moveTo>
                  <a:cubicBezTo>
                    <a:pt x="18" y="35"/>
                    <a:pt x="18" y="35"/>
                    <a:pt x="18" y="35"/>
                  </a:cubicBezTo>
                  <a:cubicBezTo>
                    <a:pt x="8" y="35"/>
                    <a:pt x="0" y="28"/>
                    <a:pt x="0" y="18"/>
                  </a:cubicBezTo>
                  <a:cubicBezTo>
                    <a:pt x="0" y="18"/>
                    <a:pt x="0" y="18"/>
                    <a:pt x="0" y="18"/>
                  </a:cubicBezTo>
                  <a:cubicBezTo>
                    <a:pt x="0" y="8"/>
                    <a:pt x="8" y="0"/>
                    <a:pt x="18" y="0"/>
                  </a:cubicBezTo>
                  <a:cubicBezTo>
                    <a:pt x="19" y="0"/>
                    <a:pt x="19" y="0"/>
                    <a:pt x="19"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49">
              <a:extLst>
                <a:ext uri="{FF2B5EF4-FFF2-40B4-BE49-F238E27FC236}">
                  <a16:creationId xmlns:a16="http://schemas.microsoft.com/office/drawing/2014/main" id="{72FF4AB5-4918-4B32-866A-F405006BECD4}"/>
                </a:ext>
              </a:extLst>
            </p:cNvPr>
            <p:cNvSpPr>
              <a:spLocks/>
            </p:cNvSpPr>
            <p:nvPr/>
          </p:nvSpPr>
          <p:spPr bwMode="auto">
            <a:xfrm>
              <a:off x="4119563" y="3671888"/>
              <a:ext cx="120650" cy="153988"/>
            </a:xfrm>
            <a:custGeom>
              <a:avLst/>
              <a:gdLst>
                <a:gd name="T0" fmla="*/ 27 w 27"/>
                <a:gd name="T1" fmla="*/ 0 h 34"/>
                <a:gd name="T2" fmla="*/ 27 w 27"/>
                <a:gd name="T3" fmla="*/ 17 h 34"/>
                <a:gd name="T4" fmla="*/ 10 w 27"/>
                <a:gd name="T5" fmla="*/ 34 h 34"/>
                <a:gd name="T6" fmla="*/ 0 w 27"/>
                <a:gd name="T7" fmla="*/ 34 h 34"/>
              </a:gdLst>
              <a:ahLst/>
              <a:cxnLst>
                <a:cxn ang="0">
                  <a:pos x="T0" y="T1"/>
                </a:cxn>
                <a:cxn ang="0">
                  <a:pos x="T2" y="T3"/>
                </a:cxn>
                <a:cxn ang="0">
                  <a:pos x="T4" y="T5"/>
                </a:cxn>
                <a:cxn ang="0">
                  <a:pos x="T6" y="T7"/>
                </a:cxn>
              </a:cxnLst>
              <a:rect l="0" t="0" r="r" b="b"/>
              <a:pathLst>
                <a:path w="27" h="34">
                  <a:moveTo>
                    <a:pt x="27" y="0"/>
                  </a:moveTo>
                  <a:cubicBezTo>
                    <a:pt x="27" y="17"/>
                    <a:pt x="27" y="17"/>
                    <a:pt x="27" y="17"/>
                  </a:cubicBezTo>
                  <a:cubicBezTo>
                    <a:pt x="27" y="26"/>
                    <a:pt x="19" y="34"/>
                    <a:pt x="10" y="34"/>
                  </a:cubicBezTo>
                  <a:cubicBezTo>
                    <a:pt x="0" y="34"/>
                    <a:pt x="0" y="34"/>
                    <a:pt x="0"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50">
              <a:extLst>
                <a:ext uri="{FF2B5EF4-FFF2-40B4-BE49-F238E27FC236}">
                  <a16:creationId xmlns:a16="http://schemas.microsoft.com/office/drawing/2014/main" id="{2B7940CA-DD46-4654-9BED-8C39688CB290}"/>
                </a:ext>
              </a:extLst>
            </p:cNvPr>
            <p:cNvSpPr>
              <a:spLocks/>
            </p:cNvSpPr>
            <p:nvPr/>
          </p:nvSpPr>
          <p:spPr bwMode="auto">
            <a:xfrm>
              <a:off x="4043363" y="3808413"/>
              <a:ext cx="66675" cy="26988"/>
            </a:xfrm>
            <a:custGeom>
              <a:avLst/>
              <a:gdLst>
                <a:gd name="T0" fmla="*/ 12 w 15"/>
                <a:gd name="T1" fmla="*/ 6 h 6"/>
                <a:gd name="T2" fmla="*/ 3 w 15"/>
                <a:gd name="T3" fmla="*/ 6 h 6"/>
                <a:gd name="T4" fmla="*/ 0 w 15"/>
                <a:gd name="T5" fmla="*/ 3 h 6"/>
                <a:gd name="T6" fmla="*/ 0 w 15"/>
                <a:gd name="T7" fmla="*/ 3 h 6"/>
                <a:gd name="T8" fmla="*/ 3 w 15"/>
                <a:gd name="T9" fmla="*/ 0 h 6"/>
                <a:gd name="T10" fmla="*/ 12 w 15"/>
                <a:gd name="T11" fmla="*/ 0 h 6"/>
                <a:gd name="T12" fmla="*/ 15 w 15"/>
                <a:gd name="T13" fmla="*/ 3 h 6"/>
                <a:gd name="T14" fmla="*/ 15 w 15"/>
                <a:gd name="T15" fmla="*/ 3 h 6"/>
                <a:gd name="T16" fmla="*/ 12 w 15"/>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2" y="6"/>
                  </a:moveTo>
                  <a:cubicBezTo>
                    <a:pt x="3" y="6"/>
                    <a:pt x="3" y="6"/>
                    <a:pt x="3" y="6"/>
                  </a:cubicBezTo>
                  <a:cubicBezTo>
                    <a:pt x="1" y="6"/>
                    <a:pt x="0" y="5"/>
                    <a:pt x="0" y="3"/>
                  </a:cubicBezTo>
                  <a:cubicBezTo>
                    <a:pt x="0" y="3"/>
                    <a:pt x="0" y="3"/>
                    <a:pt x="0" y="3"/>
                  </a:cubicBezTo>
                  <a:cubicBezTo>
                    <a:pt x="0" y="2"/>
                    <a:pt x="1" y="0"/>
                    <a:pt x="3" y="0"/>
                  </a:cubicBezTo>
                  <a:cubicBezTo>
                    <a:pt x="12" y="0"/>
                    <a:pt x="12" y="0"/>
                    <a:pt x="12" y="0"/>
                  </a:cubicBezTo>
                  <a:cubicBezTo>
                    <a:pt x="14" y="0"/>
                    <a:pt x="15" y="2"/>
                    <a:pt x="15" y="3"/>
                  </a:cubicBezTo>
                  <a:cubicBezTo>
                    <a:pt x="15" y="3"/>
                    <a:pt x="15" y="3"/>
                    <a:pt x="15" y="3"/>
                  </a:cubicBezTo>
                  <a:cubicBezTo>
                    <a:pt x="15" y="5"/>
                    <a:pt x="14" y="6"/>
                    <a:pt x="12" y="6"/>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1" name="Rectangle 10">
            <a:extLst>
              <a:ext uri="{FF2B5EF4-FFF2-40B4-BE49-F238E27FC236}">
                <a16:creationId xmlns:a16="http://schemas.microsoft.com/office/drawing/2014/main" id="{1877A9C6-CF9D-46F7-95CF-2BD0FBC813A0}"/>
              </a:ext>
            </a:extLst>
          </p:cNvPr>
          <p:cNvSpPr/>
          <p:nvPr/>
        </p:nvSpPr>
        <p:spPr>
          <a:xfrm>
            <a:off x="2664980" y="2380451"/>
            <a:ext cx="3068159" cy="461665"/>
          </a:xfrm>
          <a:prstGeom prst="rect">
            <a:avLst/>
          </a:prstGeom>
        </p:spPr>
        <p:txBody>
          <a:bodyPr wrap="square" anchor="ctr">
            <a:spAutoFit/>
          </a:bodyPr>
          <a:lstStyle/>
          <a:p>
            <a:pPr marL="180000" lvl="1" indent="-180000">
              <a:buClr>
                <a:srgbClr val="1F2023"/>
              </a:buClr>
              <a:buFont typeface="Arial" panose="020B0604020202020204" pitchFamily="34" charset="0"/>
              <a:buChar char="•"/>
              <a:defRPr/>
            </a:pPr>
            <a:r>
              <a:rPr lang="en-GB" sz="1200" dirty="0"/>
              <a:t>”I know that feeling, because once when I was a meeting </a:t>
            </a:r>
            <a:r>
              <a:rPr lang="en-GB" sz="1200" dirty="0" err="1"/>
              <a:t>Iike</a:t>
            </a:r>
            <a:r>
              <a:rPr lang="en-GB" sz="1200" dirty="0"/>
              <a:t> that ...!</a:t>
            </a:r>
          </a:p>
        </p:txBody>
      </p:sp>
      <p:cxnSp>
        <p:nvCxnSpPr>
          <p:cNvPr id="30" name="Straight Connector 29">
            <a:extLst>
              <a:ext uri="{FF2B5EF4-FFF2-40B4-BE49-F238E27FC236}">
                <a16:creationId xmlns:a16="http://schemas.microsoft.com/office/drawing/2014/main" id="{EEB5A431-ABC4-4E25-81C2-E1E56548498E}"/>
              </a:ext>
            </a:extLst>
          </p:cNvPr>
          <p:cNvCxnSpPr>
            <a:cxnSpLocks/>
          </p:cNvCxnSpPr>
          <p:nvPr/>
        </p:nvCxnSpPr>
        <p:spPr>
          <a:xfrm flipV="1">
            <a:off x="6023558" y="1699601"/>
            <a:ext cx="0" cy="1823364"/>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A71580DF-B60D-415F-BCF7-5AD29B831DCA}"/>
              </a:ext>
            </a:extLst>
          </p:cNvPr>
          <p:cNvSpPr/>
          <p:nvPr/>
        </p:nvSpPr>
        <p:spPr>
          <a:xfrm>
            <a:off x="6205966" y="1918786"/>
            <a:ext cx="3233962" cy="1384995"/>
          </a:xfrm>
          <a:prstGeom prst="rect">
            <a:avLst/>
          </a:prstGeom>
        </p:spPr>
        <p:txBody>
          <a:bodyPr wrap="square" anchor="ctr">
            <a:spAutoFit/>
          </a:bodyPr>
          <a:lstStyle/>
          <a:p>
            <a:pPr>
              <a:defRPr/>
            </a:pPr>
            <a:r>
              <a:rPr lang="en-GB" sz="1200" dirty="0">
                <a:solidFill>
                  <a:srgbClr val="000000"/>
                </a:solidFill>
              </a:rPr>
              <a:t>You talk about yourself and you become wiser on yourself</a:t>
            </a:r>
          </a:p>
          <a:p>
            <a:pPr lvl="0">
              <a:defRPr/>
            </a:pPr>
            <a:endParaRPr lang="en-GB" sz="1200" dirty="0">
              <a:solidFill>
                <a:srgbClr val="000000"/>
              </a:solidFill>
            </a:endParaRPr>
          </a:p>
          <a:p>
            <a:pPr lvl="0">
              <a:defRPr/>
            </a:pPr>
            <a:r>
              <a:rPr lang="en-GB" sz="1200" b="1" dirty="0">
                <a:solidFill>
                  <a:srgbClr val="000000"/>
                </a:solidFill>
              </a:rPr>
              <a:t>Result</a:t>
            </a:r>
            <a:r>
              <a:rPr lang="en-GB" sz="1200" dirty="0">
                <a:solidFill>
                  <a:srgbClr val="000000"/>
                </a:solidFill>
              </a:rPr>
              <a:t>:</a:t>
            </a:r>
          </a:p>
          <a:p>
            <a:pPr lvl="0">
              <a:defRPr/>
            </a:pPr>
            <a:r>
              <a:rPr lang="en-GB" sz="1200" dirty="0">
                <a:solidFill>
                  <a:srgbClr val="000000"/>
                </a:solidFill>
              </a:rPr>
              <a:t>Your own viewpoint will be put into perspective (not the other person’s viewpoint)</a:t>
            </a:r>
          </a:p>
        </p:txBody>
      </p:sp>
      <p:sp>
        <p:nvSpPr>
          <p:cNvPr id="39" name="Rectangle 38">
            <a:extLst>
              <a:ext uri="{FF2B5EF4-FFF2-40B4-BE49-F238E27FC236}">
                <a16:creationId xmlns:a16="http://schemas.microsoft.com/office/drawing/2014/main" id="{7F1B1A39-261F-453A-8522-F3EFF271AF37}"/>
              </a:ext>
            </a:extLst>
          </p:cNvPr>
          <p:cNvSpPr/>
          <p:nvPr/>
        </p:nvSpPr>
        <p:spPr>
          <a:xfrm>
            <a:off x="2720335" y="4716974"/>
            <a:ext cx="3078485" cy="907941"/>
          </a:xfrm>
          <a:prstGeom prst="rect">
            <a:avLst/>
          </a:prstGeom>
        </p:spPr>
        <p:txBody>
          <a:bodyPr wrap="square" anchor="ctr">
            <a:spAutoFit/>
          </a:bodyPr>
          <a:lstStyle/>
          <a:p>
            <a:pPr marL="180000" lvl="1" indent="-180000">
              <a:spcBef>
                <a:spcPts val="600"/>
              </a:spcBef>
              <a:buClr>
                <a:srgbClr val="1F2023"/>
              </a:buClr>
              <a:buFont typeface="Arial" panose="020B0604020202020204" pitchFamily="34" charset="0"/>
              <a:buChar char="•"/>
              <a:defRPr/>
            </a:pPr>
            <a:r>
              <a:rPr lang="en-GB" sz="1200" dirty="0">
                <a:solidFill>
                  <a:srgbClr val="000000"/>
                </a:solidFill>
              </a:rPr>
              <a:t>”How did you feel in that situation? </a:t>
            </a:r>
          </a:p>
          <a:p>
            <a:pPr marL="180000" lvl="1" indent="-180000">
              <a:spcBef>
                <a:spcPts val="600"/>
              </a:spcBef>
              <a:buClr>
                <a:srgbClr val="1F2023"/>
              </a:buClr>
              <a:buFont typeface="Arial" panose="020B0604020202020204" pitchFamily="34" charset="0"/>
              <a:buChar char="•"/>
              <a:defRPr/>
            </a:pPr>
            <a:r>
              <a:rPr lang="en-GB" sz="1200" dirty="0">
                <a:solidFill>
                  <a:srgbClr val="000000"/>
                </a:solidFill>
              </a:rPr>
              <a:t>“It seems like you are having second thoughts about how you dealt with the situation…... Is that how you see it? </a:t>
            </a:r>
          </a:p>
        </p:txBody>
      </p:sp>
      <p:cxnSp>
        <p:nvCxnSpPr>
          <p:cNvPr id="44" name="Straight Connector 43">
            <a:extLst>
              <a:ext uri="{FF2B5EF4-FFF2-40B4-BE49-F238E27FC236}">
                <a16:creationId xmlns:a16="http://schemas.microsoft.com/office/drawing/2014/main" id="{EFB29098-B1A9-45D4-B14F-9CAD0EBE6D1E}"/>
              </a:ext>
            </a:extLst>
          </p:cNvPr>
          <p:cNvCxnSpPr>
            <a:cxnSpLocks/>
          </p:cNvCxnSpPr>
          <p:nvPr/>
        </p:nvCxnSpPr>
        <p:spPr>
          <a:xfrm flipV="1">
            <a:off x="6023558" y="4259262"/>
            <a:ext cx="0" cy="1823364"/>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9207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8219F64-8CED-48B1-9A63-E0D8DACD0079}"/>
              </a:ext>
            </a:extLst>
          </p:cNvPr>
          <p:cNvSpPr/>
          <p:nvPr/>
        </p:nvSpPr>
        <p:spPr>
          <a:xfrm>
            <a:off x="273050" y="3249954"/>
            <a:ext cx="9393237" cy="2422398"/>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5" name="Text Placeholder 4">
            <a:extLst>
              <a:ext uri="{FF2B5EF4-FFF2-40B4-BE49-F238E27FC236}">
                <a16:creationId xmlns:a16="http://schemas.microsoft.com/office/drawing/2014/main" id="{B0346420-571E-4FA9-8CE8-114E58CBD2E1}"/>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dirty="0"/>
          </a:p>
        </p:txBody>
      </p:sp>
      <p:sp>
        <p:nvSpPr>
          <p:cNvPr id="6" name="Text Placeholder 5">
            <a:extLst>
              <a:ext uri="{FF2B5EF4-FFF2-40B4-BE49-F238E27FC236}">
                <a16:creationId xmlns:a16="http://schemas.microsoft.com/office/drawing/2014/main" id="{324FD127-DF83-49C1-B6DA-B42321B7AFF9}"/>
              </a:ext>
            </a:extLst>
          </p:cNvPr>
          <p:cNvSpPr>
            <a:spLocks noGrp="1"/>
          </p:cNvSpPr>
          <p:nvPr>
            <p:ph type="body" sz="quarter" idx="14"/>
          </p:nvPr>
        </p:nvSpPr>
        <p:spPr/>
        <p:txBody>
          <a:bodyPr/>
          <a:lstStyle/>
          <a:p>
            <a:endParaRPr lang="en-GB" dirty="0"/>
          </a:p>
        </p:txBody>
      </p:sp>
      <p:sp>
        <p:nvSpPr>
          <p:cNvPr id="15" name="Rectangle 14">
            <a:extLst>
              <a:ext uri="{FF2B5EF4-FFF2-40B4-BE49-F238E27FC236}">
                <a16:creationId xmlns:a16="http://schemas.microsoft.com/office/drawing/2014/main" id="{4D6F0C6A-2734-4D19-92A7-674C24F93A2D}"/>
              </a:ext>
            </a:extLst>
          </p:cNvPr>
          <p:cNvSpPr/>
          <p:nvPr/>
        </p:nvSpPr>
        <p:spPr>
          <a:xfrm>
            <a:off x="269874" y="2319183"/>
            <a:ext cx="9396413" cy="930771"/>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251999" rIns="108000" bIns="108000" rtlCol="0" anchor="ctr" anchorCtr="0">
            <a:noAutofit/>
          </a:bodyPr>
          <a:lstStyle/>
          <a:p>
            <a:pPr algn="ctr"/>
            <a:r>
              <a:rPr lang="en-GB" sz="1600" b="1" dirty="0">
                <a:solidFill>
                  <a:schemeClr val="bg1"/>
                </a:solidFill>
              </a:rPr>
              <a:t>Examples of inner listening:</a:t>
            </a:r>
          </a:p>
        </p:txBody>
      </p:sp>
      <p:grpSp>
        <p:nvGrpSpPr>
          <p:cNvPr id="2" name="Group 1"/>
          <p:cNvGrpSpPr/>
          <p:nvPr/>
        </p:nvGrpSpPr>
        <p:grpSpPr>
          <a:xfrm>
            <a:off x="565046" y="3537565"/>
            <a:ext cx="3940631" cy="1821042"/>
            <a:chOff x="3036707" y="2604866"/>
            <a:chExt cx="3940631" cy="1821042"/>
          </a:xfrm>
        </p:grpSpPr>
        <p:sp>
          <p:nvSpPr>
            <p:cNvPr id="26" name="Rectangle 25">
              <a:extLst>
                <a:ext uri="{FF2B5EF4-FFF2-40B4-BE49-F238E27FC236}">
                  <a16:creationId xmlns:a16="http://schemas.microsoft.com/office/drawing/2014/main" id="{ED3B5F65-676C-44BB-B316-2CDA58B1B136}"/>
                </a:ext>
              </a:extLst>
            </p:cNvPr>
            <p:cNvSpPr/>
            <p:nvPr/>
          </p:nvSpPr>
          <p:spPr>
            <a:xfrm>
              <a:off x="3036707" y="2604866"/>
              <a:ext cx="2940549"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err="1">
                  <a:solidFill>
                    <a:srgbClr val="000000"/>
                  </a:solidFill>
                </a:rPr>
                <a:t>Ahh</a:t>
              </a:r>
              <a:r>
                <a:rPr lang="en-GB" sz="1200" dirty="0">
                  <a:solidFill>
                    <a:srgbClr val="000000"/>
                  </a:solidFill>
                </a:rPr>
                <a:t> yes, I know this from my sister …</a:t>
              </a:r>
            </a:p>
          </p:txBody>
        </p:sp>
        <p:sp>
          <p:nvSpPr>
            <p:cNvPr id="27" name="Rectangle 26">
              <a:extLst>
                <a:ext uri="{FF2B5EF4-FFF2-40B4-BE49-F238E27FC236}">
                  <a16:creationId xmlns:a16="http://schemas.microsoft.com/office/drawing/2014/main" id="{B6A36B07-739A-4FED-99EC-477A1D74F2AA}"/>
                </a:ext>
              </a:extLst>
            </p:cNvPr>
            <p:cNvSpPr/>
            <p:nvPr/>
          </p:nvSpPr>
          <p:spPr>
            <a:xfrm>
              <a:off x="3036707" y="3119547"/>
              <a:ext cx="3940631"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a:t>That was just like I experienced yesterday, when I …</a:t>
              </a:r>
            </a:p>
          </p:txBody>
        </p:sp>
        <p:sp>
          <p:nvSpPr>
            <p:cNvPr id="37" name="Rectangle 36">
              <a:extLst>
                <a:ext uri="{FF2B5EF4-FFF2-40B4-BE49-F238E27FC236}">
                  <a16:creationId xmlns:a16="http://schemas.microsoft.com/office/drawing/2014/main" id="{CF6CFEF1-3014-4CC1-9482-32D2F35AE0F6}"/>
                </a:ext>
              </a:extLst>
            </p:cNvPr>
            <p:cNvSpPr/>
            <p:nvPr/>
          </p:nvSpPr>
          <p:spPr>
            <a:xfrm>
              <a:off x="3036707" y="3634228"/>
              <a:ext cx="1672574"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a:t>I do not agree in …</a:t>
              </a:r>
            </a:p>
          </p:txBody>
        </p:sp>
        <p:sp>
          <p:nvSpPr>
            <p:cNvPr id="38" name="Rectangle 37">
              <a:extLst>
                <a:ext uri="{FF2B5EF4-FFF2-40B4-BE49-F238E27FC236}">
                  <a16:creationId xmlns:a16="http://schemas.microsoft.com/office/drawing/2014/main" id="{886ABE47-D1AA-4123-BF90-2A3FE24C2762}"/>
                </a:ext>
              </a:extLst>
            </p:cNvPr>
            <p:cNvSpPr/>
            <p:nvPr/>
          </p:nvSpPr>
          <p:spPr>
            <a:xfrm>
              <a:off x="3036707" y="4148909"/>
              <a:ext cx="2201565"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a:t>What you really mean is …</a:t>
              </a:r>
            </a:p>
          </p:txBody>
        </p:sp>
        <p:cxnSp>
          <p:nvCxnSpPr>
            <p:cNvPr id="42" name="Straight Connector 41">
              <a:extLst>
                <a:ext uri="{FF2B5EF4-FFF2-40B4-BE49-F238E27FC236}">
                  <a16:creationId xmlns:a16="http://schemas.microsoft.com/office/drawing/2014/main" id="{28C75605-8CD8-44EE-A936-8461390D1BDD}"/>
                </a:ext>
              </a:extLst>
            </p:cNvPr>
            <p:cNvCxnSpPr>
              <a:cxnSpLocks/>
            </p:cNvCxnSpPr>
            <p:nvPr/>
          </p:nvCxnSpPr>
          <p:spPr>
            <a:xfrm flipH="1">
              <a:off x="3054872" y="3000706"/>
              <a:ext cx="379625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5484EEA-7CCD-484F-80B3-158125005A8E}"/>
                </a:ext>
              </a:extLst>
            </p:cNvPr>
            <p:cNvCxnSpPr>
              <a:cxnSpLocks/>
            </p:cNvCxnSpPr>
            <p:nvPr/>
          </p:nvCxnSpPr>
          <p:spPr>
            <a:xfrm flipH="1">
              <a:off x="3054872" y="3515387"/>
              <a:ext cx="379625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BF08969-C9C9-4085-9868-E294C275BFE0}"/>
                </a:ext>
              </a:extLst>
            </p:cNvPr>
            <p:cNvCxnSpPr>
              <a:cxnSpLocks/>
            </p:cNvCxnSpPr>
            <p:nvPr/>
          </p:nvCxnSpPr>
          <p:spPr>
            <a:xfrm flipH="1">
              <a:off x="3054872" y="4030068"/>
              <a:ext cx="379625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5425033" y="3537565"/>
            <a:ext cx="3940631" cy="1306361"/>
            <a:chOff x="3036707" y="4663590"/>
            <a:chExt cx="3940631" cy="1306361"/>
          </a:xfrm>
        </p:grpSpPr>
        <p:sp>
          <p:nvSpPr>
            <p:cNvPr id="4" name="Rectangle 3"/>
            <p:cNvSpPr/>
            <p:nvPr/>
          </p:nvSpPr>
          <p:spPr>
            <a:xfrm>
              <a:off x="3036707" y="5692952"/>
              <a:ext cx="3940631" cy="276999"/>
            </a:xfrm>
            <a:prstGeom prst="rect">
              <a:avLst/>
            </a:prstGeom>
          </p:spPr>
          <p:txBody>
            <a:bodyPr wrap="square" anchor="ctr">
              <a:spAutoFit/>
            </a:bodyPr>
            <a:lstStyle/>
            <a:p>
              <a:pPr marL="180000" lvl="1" indent="-180000">
                <a:spcBef>
                  <a:spcPts val="600"/>
                </a:spcBef>
                <a:buClr>
                  <a:srgbClr val="1F2023"/>
                </a:buClr>
                <a:buFont typeface="Arial" panose="020B0604020202020204" pitchFamily="34" charset="0"/>
                <a:buChar char="•"/>
                <a:defRPr/>
              </a:pPr>
              <a:r>
                <a:rPr lang="en-GB" sz="1200" dirty="0"/>
                <a:t>Maybe you should rather do …	</a:t>
              </a:r>
            </a:p>
          </p:txBody>
        </p:sp>
        <p:sp>
          <p:nvSpPr>
            <p:cNvPr id="39" name="Rectangle 38">
              <a:extLst>
                <a:ext uri="{FF2B5EF4-FFF2-40B4-BE49-F238E27FC236}">
                  <a16:creationId xmlns:a16="http://schemas.microsoft.com/office/drawing/2014/main" id="{749EA1F7-2980-4C4D-A9C6-6F4106123B0C}"/>
                </a:ext>
              </a:extLst>
            </p:cNvPr>
            <p:cNvSpPr/>
            <p:nvPr/>
          </p:nvSpPr>
          <p:spPr>
            <a:xfrm>
              <a:off x="3036707" y="4663590"/>
              <a:ext cx="2554225"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a:t>It reminds me about that time …</a:t>
              </a:r>
            </a:p>
          </p:txBody>
        </p:sp>
        <p:sp>
          <p:nvSpPr>
            <p:cNvPr id="41" name="Rectangle 40">
              <a:extLst>
                <a:ext uri="{FF2B5EF4-FFF2-40B4-BE49-F238E27FC236}">
                  <a16:creationId xmlns:a16="http://schemas.microsoft.com/office/drawing/2014/main" id="{723950C1-10EC-4033-9F3E-C684EC5C7278}"/>
                </a:ext>
              </a:extLst>
            </p:cNvPr>
            <p:cNvSpPr/>
            <p:nvPr/>
          </p:nvSpPr>
          <p:spPr>
            <a:xfrm>
              <a:off x="3036707" y="5178271"/>
              <a:ext cx="2442335" cy="276999"/>
            </a:xfrm>
            <a:prstGeom prst="rect">
              <a:avLst/>
            </a:prstGeom>
          </p:spPr>
          <p:txBody>
            <a:bodyPr wrap="none">
              <a:spAutoFit/>
            </a:bodyPr>
            <a:lstStyle/>
            <a:p>
              <a:pPr marL="180000" lvl="1" indent="-180000">
                <a:spcBef>
                  <a:spcPts val="600"/>
                </a:spcBef>
                <a:buClr>
                  <a:srgbClr val="1F2023"/>
                </a:buClr>
                <a:buFont typeface="Arial" panose="020B0604020202020204" pitchFamily="34" charset="0"/>
                <a:buChar char="•"/>
                <a:defRPr/>
              </a:pPr>
              <a:r>
                <a:rPr lang="en-GB" sz="1200" dirty="0">
                  <a:solidFill>
                    <a:srgbClr val="000000"/>
                  </a:solidFill>
                </a:rPr>
                <a:t>Your problem is more about …</a:t>
              </a:r>
            </a:p>
          </p:txBody>
        </p:sp>
        <p:cxnSp>
          <p:nvCxnSpPr>
            <p:cNvPr id="46" name="Straight Connector 45">
              <a:extLst>
                <a:ext uri="{FF2B5EF4-FFF2-40B4-BE49-F238E27FC236}">
                  <a16:creationId xmlns:a16="http://schemas.microsoft.com/office/drawing/2014/main" id="{B8C23B60-9186-49B8-AF47-E08B42801BA1}"/>
                </a:ext>
              </a:extLst>
            </p:cNvPr>
            <p:cNvCxnSpPr>
              <a:cxnSpLocks/>
            </p:cNvCxnSpPr>
            <p:nvPr/>
          </p:nvCxnSpPr>
          <p:spPr>
            <a:xfrm flipH="1">
              <a:off x="3054872" y="5059430"/>
              <a:ext cx="379625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614A7051-3F24-4181-B559-7D8B3B107361}"/>
                </a:ext>
              </a:extLst>
            </p:cNvPr>
            <p:cNvCxnSpPr>
              <a:cxnSpLocks/>
            </p:cNvCxnSpPr>
            <p:nvPr/>
          </p:nvCxnSpPr>
          <p:spPr>
            <a:xfrm flipH="1">
              <a:off x="3054872" y="5574111"/>
              <a:ext cx="3796256"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sp>
        <p:nvSpPr>
          <p:cNvPr id="25" name="Freeform: Shape 24">
            <a:extLst>
              <a:ext uri="{FF2B5EF4-FFF2-40B4-BE49-F238E27FC236}">
                <a16:creationId xmlns:a16="http://schemas.microsoft.com/office/drawing/2014/main" id="{077716D3-DA16-4F67-BC2B-E708BEC37169}"/>
              </a:ext>
            </a:extLst>
          </p:cNvPr>
          <p:cNvSpPr/>
          <p:nvPr/>
        </p:nvSpPr>
        <p:spPr>
          <a:xfrm>
            <a:off x="4846639" y="3006751"/>
            <a:ext cx="509580" cy="72803"/>
          </a:xfrm>
          <a:custGeom>
            <a:avLst/>
            <a:gdLst/>
            <a:ahLst/>
            <a:cxnLst/>
            <a:rect l="0" t="0" r="0" b="0"/>
            <a:pathLst>
              <a:path w="616394" h="72802">
                <a:moveTo>
                  <a:pt x="236609" y="73045"/>
                </a:moveTo>
                <a:cubicBezTo>
                  <a:pt x="232726" y="73045"/>
                  <a:pt x="230299" y="73045"/>
                  <a:pt x="229328" y="73045"/>
                </a:cubicBezTo>
                <a:cubicBezTo>
                  <a:pt x="226902" y="71589"/>
                  <a:pt x="224475" y="70618"/>
                  <a:pt x="222048" y="70618"/>
                </a:cubicBezTo>
                <a:cubicBezTo>
                  <a:pt x="218165" y="70618"/>
                  <a:pt x="215738" y="69162"/>
                  <a:pt x="213312" y="65765"/>
                </a:cubicBezTo>
                <a:cubicBezTo>
                  <a:pt x="213312" y="64309"/>
                  <a:pt x="210885" y="63338"/>
                  <a:pt x="209428" y="61882"/>
                </a:cubicBezTo>
                <a:cubicBezTo>
                  <a:pt x="204575" y="57999"/>
                  <a:pt x="205546" y="49748"/>
                  <a:pt x="211855" y="47322"/>
                </a:cubicBezTo>
                <a:cubicBezTo>
                  <a:pt x="213312" y="47322"/>
                  <a:pt x="214282" y="45866"/>
                  <a:pt x="215738" y="45866"/>
                </a:cubicBezTo>
                <a:cubicBezTo>
                  <a:pt x="222048" y="45866"/>
                  <a:pt x="226902" y="44410"/>
                  <a:pt x="232726" y="43439"/>
                </a:cubicBezTo>
                <a:cubicBezTo>
                  <a:pt x="239035" y="41012"/>
                  <a:pt x="244859" y="41012"/>
                  <a:pt x="251169" y="39556"/>
                </a:cubicBezTo>
                <a:cubicBezTo>
                  <a:pt x="257478" y="39556"/>
                  <a:pt x="263303" y="38100"/>
                  <a:pt x="269612" y="38100"/>
                </a:cubicBezTo>
                <a:cubicBezTo>
                  <a:pt x="276892" y="38100"/>
                  <a:pt x="285629" y="36644"/>
                  <a:pt x="292909" y="38100"/>
                </a:cubicBezTo>
                <a:cubicBezTo>
                  <a:pt x="295336" y="38100"/>
                  <a:pt x="296792" y="38100"/>
                  <a:pt x="299218" y="36644"/>
                </a:cubicBezTo>
                <a:cubicBezTo>
                  <a:pt x="305528" y="35188"/>
                  <a:pt x="312808" y="34217"/>
                  <a:pt x="320089" y="35188"/>
                </a:cubicBezTo>
                <a:cubicBezTo>
                  <a:pt x="324942" y="35188"/>
                  <a:pt x="329796" y="36644"/>
                  <a:pt x="333679" y="36644"/>
                </a:cubicBezTo>
                <a:cubicBezTo>
                  <a:pt x="338532" y="36644"/>
                  <a:pt x="342415" y="35188"/>
                  <a:pt x="347268" y="34217"/>
                </a:cubicBezTo>
                <a:cubicBezTo>
                  <a:pt x="348724" y="34217"/>
                  <a:pt x="351151" y="34217"/>
                  <a:pt x="353578" y="34217"/>
                </a:cubicBezTo>
                <a:cubicBezTo>
                  <a:pt x="367167" y="35673"/>
                  <a:pt x="379301" y="32761"/>
                  <a:pt x="391435" y="31790"/>
                </a:cubicBezTo>
                <a:cubicBezTo>
                  <a:pt x="395318" y="31790"/>
                  <a:pt x="397745" y="31790"/>
                  <a:pt x="400171" y="33246"/>
                </a:cubicBezTo>
                <a:cubicBezTo>
                  <a:pt x="406481" y="33246"/>
                  <a:pt x="413761" y="33246"/>
                  <a:pt x="419585" y="31790"/>
                </a:cubicBezTo>
                <a:cubicBezTo>
                  <a:pt x="434146" y="30334"/>
                  <a:pt x="448706" y="30334"/>
                  <a:pt x="463267" y="30334"/>
                </a:cubicBezTo>
                <a:cubicBezTo>
                  <a:pt x="467150" y="30334"/>
                  <a:pt x="470547" y="31790"/>
                  <a:pt x="475401" y="31790"/>
                </a:cubicBezTo>
                <a:cubicBezTo>
                  <a:pt x="479284" y="31790"/>
                  <a:pt x="482681" y="29364"/>
                  <a:pt x="486564" y="27908"/>
                </a:cubicBezTo>
                <a:cubicBezTo>
                  <a:pt x="496271" y="25481"/>
                  <a:pt x="505978" y="25481"/>
                  <a:pt x="517141" y="25481"/>
                </a:cubicBezTo>
                <a:cubicBezTo>
                  <a:pt x="524421" y="25481"/>
                  <a:pt x="533158" y="24025"/>
                  <a:pt x="540438" y="23054"/>
                </a:cubicBezTo>
                <a:cubicBezTo>
                  <a:pt x="541893" y="21598"/>
                  <a:pt x="544320" y="20627"/>
                  <a:pt x="542865" y="19171"/>
                </a:cubicBezTo>
                <a:cubicBezTo>
                  <a:pt x="541408" y="19171"/>
                  <a:pt x="541408" y="17715"/>
                  <a:pt x="540438" y="17715"/>
                </a:cubicBezTo>
                <a:cubicBezTo>
                  <a:pt x="530731" y="17715"/>
                  <a:pt x="521994" y="17715"/>
                  <a:pt x="512287" y="17715"/>
                </a:cubicBezTo>
                <a:cubicBezTo>
                  <a:pt x="491418" y="17715"/>
                  <a:pt x="471032" y="19171"/>
                  <a:pt x="449192" y="19171"/>
                </a:cubicBezTo>
                <a:cubicBezTo>
                  <a:pt x="446765" y="19171"/>
                  <a:pt x="444338" y="19171"/>
                  <a:pt x="441911" y="19171"/>
                </a:cubicBezTo>
                <a:cubicBezTo>
                  <a:pt x="428322" y="20627"/>
                  <a:pt x="416188" y="21598"/>
                  <a:pt x="404054" y="19171"/>
                </a:cubicBezTo>
                <a:cubicBezTo>
                  <a:pt x="402598" y="19171"/>
                  <a:pt x="401628" y="19171"/>
                  <a:pt x="400171" y="19171"/>
                </a:cubicBezTo>
                <a:cubicBezTo>
                  <a:pt x="393862" y="21598"/>
                  <a:pt x="386581" y="20627"/>
                  <a:pt x="379301" y="20627"/>
                </a:cubicBezTo>
                <a:cubicBezTo>
                  <a:pt x="372992" y="20627"/>
                  <a:pt x="365712" y="22083"/>
                  <a:pt x="358431" y="22083"/>
                </a:cubicBezTo>
                <a:cubicBezTo>
                  <a:pt x="348724" y="23539"/>
                  <a:pt x="339988" y="24510"/>
                  <a:pt x="330281" y="23539"/>
                </a:cubicBezTo>
                <a:cubicBezTo>
                  <a:pt x="328825" y="23539"/>
                  <a:pt x="328825" y="23539"/>
                  <a:pt x="327854" y="23539"/>
                </a:cubicBezTo>
                <a:cubicBezTo>
                  <a:pt x="316691" y="25966"/>
                  <a:pt x="306013" y="24996"/>
                  <a:pt x="296306" y="25966"/>
                </a:cubicBezTo>
                <a:cubicBezTo>
                  <a:pt x="289997" y="27422"/>
                  <a:pt x="284173" y="24510"/>
                  <a:pt x="277863" y="27422"/>
                </a:cubicBezTo>
                <a:cubicBezTo>
                  <a:pt x="261847" y="27422"/>
                  <a:pt x="247286" y="31305"/>
                  <a:pt x="231755" y="29849"/>
                </a:cubicBezTo>
                <a:cubicBezTo>
                  <a:pt x="225445" y="29849"/>
                  <a:pt x="219621" y="33732"/>
                  <a:pt x="213312" y="31305"/>
                </a:cubicBezTo>
                <a:cubicBezTo>
                  <a:pt x="208458" y="32761"/>
                  <a:pt x="202148" y="32761"/>
                  <a:pt x="196324" y="33732"/>
                </a:cubicBezTo>
                <a:cubicBezTo>
                  <a:pt x="194868" y="33732"/>
                  <a:pt x="192441" y="33732"/>
                  <a:pt x="191471" y="33732"/>
                </a:cubicBezTo>
                <a:cubicBezTo>
                  <a:pt x="180307" y="32276"/>
                  <a:pt x="170600" y="35188"/>
                  <a:pt x="160893" y="35188"/>
                </a:cubicBezTo>
                <a:cubicBezTo>
                  <a:pt x="148760" y="36644"/>
                  <a:pt x="137597" y="36644"/>
                  <a:pt x="125463" y="36644"/>
                </a:cubicBezTo>
                <a:cubicBezTo>
                  <a:pt x="123036" y="36644"/>
                  <a:pt x="121580" y="36644"/>
                  <a:pt x="119153" y="36644"/>
                </a:cubicBezTo>
                <a:cubicBezTo>
                  <a:pt x="112844" y="38100"/>
                  <a:pt x="105564" y="39071"/>
                  <a:pt x="98284" y="38100"/>
                </a:cubicBezTo>
                <a:cubicBezTo>
                  <a:pt x="98284" y="38100"/>
                  <a:pt x="96827" y="38100"/>
                  <a:pt x="95857" y="38100"/>
                </a:cubicBezTo>
                <a:cubicBezTo>
                  <a:pt x="79840" y="40527"/>
                  <a:pt x="65280" y="39556"/>
                  <a:pt x="49749" y="39556"/>
                </a:cubicBezTo>
                <a:cubicBezTo>
                  <a:pt x="45866" y="39556"/>
                  <a:pt x="41497" y="39556"/>
                  <a:pt x="37615" y="39556"/>
                </a:cubicBezTo>
                <a:cubicBezTo>
                  <a:pt x="30334" y="39556"/>
                  <a:pt x="24025" y="39556"/>
                  <a:pt x="18201" y="39556"/>
                </a:cubicBezTo>
                <a:cubicBezTo>
                  <a:pt x="15774" y="38100"/>
                  <a:pt x="13347" y="38100"/>
                  <a:pt x="10920" y="37129"/>
                </a:cubicBezTo>
                <a:cubicBezTo>
                  <a:pt x="6067" y="35673"/>
                  <a:pt x="3640" y="32276"/>
                  <a:pt x="3640" y="27422"/>
                </a:cubicBezTo>
                <a:cubicBezTo>
                  <a:pt x="3640" y="24996"/>
                  <a:pt x="5096" y="22569"/>
                  <a:pt x="7523" y="22569"/>
                </a:cubicBezTo>
                <a:cubicBezTo>
                  <a:pt x="9950" y="22569"/>
                  <a:pt x="12376" y="22569"/>
                  <a:pt x="13833" y="22569"/>
                </a:cubicBezTo>
                <a:cubicBezTo>
                  <a:pt x="27422" y="27422"/>
                  <a:pt x="40527" y="27422"/>
                  <a:pt x="52661" y="26452"/>
                </a:cubicBezTo>
                <a:cubicBezTo>
                  <a:pt x="66250" y="26452"/>
                  <a:pt x="80811" y="26452"/>
                  <a:pt x="93915" y="24996"/>
                </a:cubicBezTo>
                <a:cubicBezTo>
                  <a:pt x="96342" y="24996"/>
                  <a:pt x="100225" y="26452"/>
                  <a:pt x="103622" y="24996"/>
                </a:cubicBezTo>
                <a:cubicBezTo>
                  <a:pt x="109932" y="23539"/>
                  <a:pt x="115756" y="23539"/>
                  <a:pt x="123036" y="24996"/>
                </a:cubicBezTo>
                <a:cubicBezTo>
                  <a:pt x="124492" y="24996"/>
                  <a:pt x="125463" y="24996"/>
                  <a:pt x="126919" y="24996"/>
                </a:cubicBezTo>
                <a:cubicBezTo>
                  <a:pt x="135655" y="22569"/>
                  <a:pt x="143906" y="23539"/>
                  <a:pt x="152643" y="22569"/>
                </a:cubicBezTo>
                <a:cubicBezTo>
                  <a:pt x="155069" y="22569"/>
                  <a:pt x="157496" y="22569"/>
                  <a:pt x="161379" y="22569"/>
                </a:cubicBezTo>
                <a:cubicBezTo>
                  <a:pt x="165262" y="22569"/>
                  <a:pt x="170115" y="22569"/>
                  <a:pt x="174969" y="21113"/>
                </a:cubicBezTo>
                <a:cubicBezTo>
                  <a:pt x="179822" y="19657"/>
                  <a:pt x="184676" y="19657"/>
                  <a:pt x="190986" y="19657"/>
                </a:cubicBezTo>
                <a:cubicBezTo>
                  <a:pt x="198266" y="19657"/>
                  <a:pt x="205546" y="19657"/>
                  <a:pt x="212826" y="18201"/>
                </a:cubicBezTo>
                <a:cubicBezTo>
                  <a:pt x="224960" y="16744"/>
                  <a:pt x="237094" y="16744"/>
                  <a:pt x="249228" y="18201"/>
                </a:cubicBezTo>
                <a:cubicBezTo>
                  <a:pt x="250683" y="19657"/>
                  <a:pt x="253110" y="18201"/>
                  <a:pt x="254081" y="18201"/>
                </a:cubicBezTo>
                <a:cubicBezTo>
                  <a:pt x="257964" y="15774"/>
                  <a:pt x="262817" y="14318"/>
                  <a:pt x="266215" y="15774"/>
                </a:cubicBezTo>
                <a:cubicBezTo>
                  <a:pt x="273495" y="15774"/>
                  <a:pt x="280775" y="14318"/>
                  <a:pt x="287085" y="17230"/>
                </a:cubicBezTo>
                <a:cubicBezTo>
                  <a:pt x="288541" y="17230"/>
                  <a:pt x="289511" y="17230"/>
                  <a:pt x="289511" y="17230"/>
                </a:cubicBezTo>
                <a:cubicBezTo>
                  <a:pt x="291938" y="15774"/>
                  <a:pt x="293394" y="14803"/>
                  <a:pt x="295821" y="14803"/>
                </a:cubicBezTo>
                <a:cubicBezTo>
                  <a:pt x="302131" y="14803"/>
                  <a:pt x="307955" y="14803"/>
                  <a:pt x="312808" y="14803"/>
                </a:cubicBezTo>
                <a:cubicBezTo>
                  <a:pt x="315235" y="14803"/>
                  <a:pt x="316691" y="16259"/>
                  <a:pt x="317662" y="14803"/>
                </a:cubicBezTo>
                <a:cubicBezTo>
                  <a:pt x="321545" y="12376"/>
                  <a:pt x="326398" y="12376"/>
                  <a:pt x="331252" y="13347"/>
                </a:cubicBezTo>
                <a:cubicBezTo>
                  <a:pt x="338532" y="9464"/>
                  <a:pt x="345812" y="11891"/>
                  <a:pt x="353093" y="11891"/>
                </a:cubicBezTo>
                <a:cubicBezTo>
                  <a:pt x="360373" y="10435"/>
                  <a:pt x="367653" y="10435"/>
                  <a:pt x="373962" y="10435"/>
                </a:cubicBezTo>
                <a:cubicBezTo>
                  <a:pt x="375419" y="10435"/>
                  <a:pt x="376389" y="10435"/>
                  <a:pt x="377845" y="10435"/>
                </a:cubicBezTo>
                <a:cubicBezTo>
                  <a:pt x="385126" y="11891"/>
                  <a:pt x="392406" y="11891"/>
                  <a:pt x="401142" y="10435"/>
                </a:cubicBezTo>
                <a:cubicBezTo>
                  <a:pt x="405025" y="10435"/>
                  <a:pt x="409878" y="10435"/>
                  <a:pt x="413276" y="8979"/>
                </a:cubicBezTo>
                <a:cubicBezTo>
                  <a:pt x="418129" y="6552"/>
                  <a:pt x="422983" y="6552"/>
                  <a:pt x="427836" y="7523"/>
                </a:cubicBezTo>
                <a:cubicBezTo>
                  <a:pt x="434146" y="7523"/>
                  <a:pt x="438999" y="8979"/>
                  <a:pt x="443853" y="9950"/>
                </a:cubicBezTo>
                <a:cubicBezTo>
                  <a:pt x="450163" y="11406"/>
                  <a:pt x="457443" y="9950"/>
                  <a:pt x="463267" y="7523"/>
                </a:cubicBezTo>
                <a:cubicBezTo>
                  <a:pt x="467150" y="5096"/>
                  <a:pt x="472003" y="5096"/>
                  <a:pt x="476857" y="5096"/>
                </a:cubicBezTo>
                <a:cubicBezTo>
                  <a:pt x="488991" y="5096"/>
                  <a:pt x="501125" y="5096"/>
                  <a:pt x="513258" y="5096"/>
                </a:cubicBezTo>
                <a:cubicBezTo>
                  <a:pt x="515685" y="5096"/>
                  <a:pt x="518112" y="3640"/>
                  <a:pt x="520539" y="3640"/>
                </a:cubicBezTo>
                <a:cubicBezTo>
                  <a:pt x="532672" y="5096"/>
                  <a:pt x="544806" y="5096"/>
                  <a:pt x="556940" y="5096"/>
                </a:cubicBezTo>
                <a:cubicBezTo>
                  <a:pt x="559367" y="5096"/>
                  <a:pt x="560822" y="5096"/>
                  <a:pt x="561793" y="5096"/>
                </a:cubicBezTo>
                <a:cubicBezTo>
                  <a:pt x="569074" y="7523"/>
                  <a:pt x="577810" y="6552"/>
                  <a:pt x="585090" y="6552"/>
                </a:cubicBezTo>
                <a:cubicBezTo>
                  <a:pt x="591400" y="8008"/>
                  <a:pt x="596253" y="8008"/>
                  <a:pt x="601107" y="8979"/>
                </a:cubicBezTo>
                <a:cubicBezTo>
                  <a:pt x="605960" y="8979"/>
                  <a:pt x="610814" y="12862"/>
                  <a:pt x="612269" y="17715"/>
                </a:cubicBezTo>
                <a:cubicBezTo>
                  <a:pt x="612269" y="19171"/>
                  <a:pt x="613726" y="19171"/>
                  <a:pt x="613726" y="20142"/>
                </a:cubicBezTo>
                <a:cubicBezTo>
                  <a:pt x="615182" y="24996"/>
                  <a:pt x="613726" y="27422"/>
                  <a:pt x="608872" y="27422"/>
                </a:cubicBezTo>
                <a:cubicBezTo>
                  <a:pt x="604989" y="27422"/>
                  <a:pt x="600136" y="27422"/>
                  <a:pt x="596738" y="27422"/>
                </a:cubicBezTo>
                <a:cubicBezTo>
                  <a:pt x="593341" y="27422"/>
                  <a:pt x="589458" y="27422"/>
                  <a:pt x="585575" y="29849"/>
                </a:cubicBezTo>
                <a:cubicBezTo>
                  <a:pt x="584119" y="29849"/>
                  <a:pt x="581693" y="31305"/>
                  <a:pt x="579266" y="31305"/>
                </a:cubicBezTo>
                <a:cubicBezTo>
                  <a:pt x="572956" y="29849"/>
                  <a:pt x="567132" y="32761"/>
                  <a:pt x="559852" y="33732"/>
                </a:cubicBezTo>
                <a:cubicBezTo>
                  <a:pt x="548689" y="36159"/>
                  <a:pt x="536555" y="38585"/>
                  <a:pt x="524421" y="38585"/>
                </a:cubicBezTo>
                <a:cubicBezTo>
                  <a:pt x="510832" y="42468"/>
                  <a:pt x="497727" y="41012"/>
                  <a:pt x="484137" y="42468"/>
                </a:cubicBezTo>
                <a:cubicBezTo>
                  <a:pt x="464723" y="44895"/>
                  <a:pt x="445309" y="44895"/>
                  <a:pt x="425895" y="46351"/>
                </a:cubicBezTo>
                <a:cubicBezTo>
                  <a:pt x="406481" y="47807"/>
                  <a:pt x="388038" y="46351"/>
                  <a:pt x="370080" y="48778"/>
                </a:cubicBezTo>
                <a:cubicBezTo>
                  <a:pt x="361343" y="47322"/>
                  <a:pt x="354063" y="50234"/>
                  <a:pt x="345812" y="50234"/>
                </a:cubicBezTo>
                <a:cubicBezTo>
                  <a:pt x="338532" y="50234"/>
                  <a:pt x="329796" y="51690"/>
                  <a:pt x="322515" y="50234"/>
                </a:cubicBezTo>
                <a:cubicBezTo>
                  <a:pt x="313779" y="50234"/>
                  <a:pt x="305528" y="51690"/>
                  <a:pt x="296792" y="51690"/>
                </a:cubicBezTo>
                <a:cubicBezTo>
                  <a:pt x="289511" y="51690"/>
                  <a:pt x="280775" y="54117"/>
                  <a:pt x="273495" y="54117"/>
                </a:cubicBezTo>
                <a:cubicBezTo>
                  <a:pt x="264759" y="54117"/>
                  <a:pt x="256508" y="55573"/>
                  <a:pt x="247771" y="56543"/>
                </a:cubicBezTo>
                <a:cubicBezTo>
                  <a:pt x="242918" y="56543"/>
                  <a:pt x="238064" y="56543"/>
                  <a:pt x="231755" y="57999"/>
                </a:cubicBezTo>
                <a:cubicBezTo>
                  <a:pt x="230299" y="57999"/>
                  <a:pt x="229328" y="59455"/>
                  <a:pt x="226902" y="59455"/>
                </a:cubicBezTo>
                <a:cubicBezTo>
                  <a:pt x="225445" y="59455"/>
                  <a:pt x="225445" y="61882"/>
                  <a:pt x="225445" y="63338"/>
                </a:cubicBezTo>
                <a:cubicBezTo>
                  <a:pt x="226902" y="64794"/>
                  <a:pt x="227872" y="67221"/>
                  <a:pt x="229328" y="68192"/>
                </a:cubicBezTo>
                <a:cubicBezTo>
                  <a:pt x="229328" y="68192"/>
                  <a:pt x="232726" y="69648"/>
                  <a:pt x="236609" y="73045"/>
                </a:cubicBezTo>
                <a:lnTo>
                  <a:pt x="236609" y="73045"/>
                </a:lnTo>
                <a:close/>
              </a:path>
            </a:pathLst>
          </a:custGeom>
          <a:solidFill>
            <a:schemeClr val="bg1"/>
          </a:solidFill>
          <a:ln w="9525" cap="flat">
            <a:noFill/>
            <a:prstDash val="solid"/>
            <a:miter/>
          </a:ln>
        </p:spPr>
        <p:txBody>
          <a:bodyPr/>
          <a:lstStyle/>
          <a:p>
            <a:endParaRPr lang="en-GB" dirty="0"/>
          </a:p>
        </p:txBody>
      </p:sp>
      <p:sp>
        <p:nvSpPr>
          <p:cNvPr id="8" name="Oval 7"/>
          <p:cNvSpPr/>
          <p:nvPr/>
        </p:nvSpPr>
        <p:spPr>
          <a:xfrm>
            <a:off x="4493102" y="1635732"/>
            <a:ext cx="995972" cy="995970"/>
          </a:xfrm>
          <a:prstGeom prst="ellipse">
            <a:avLst/>
          </a:prstGeom>
          <a:solidFill>
            <a:srgbClr val="FCFBF5"/>
          </a:solidFill>
          <a:ln w="19050">
            <a:solidFill>
              <a:srgbClr val="E8E5E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nvGrpSpPr>
          <p:cNvPr id="34" name="Group 33">
            <a:extLst>
              <a:ext uri="{FF2B5EF4-FFF2-40B4-BE49-F238E27FC236}">
                <a16:creationId xmlns:a16="http://schemas.microsoft.com/office/drawing/2014/main" id="{A6CD59A5-F0FF-4147-8FE4-0C12380B81DE}"/>
              </a:ext>
            </a:extLst>
          </p:cNvPr>
          <p:cNvGrpSpPr/>
          <p:nvPr/>
        </p:nvGrpSpPr>
        <p:grpSpPr>
          <a:xfrm>
            <a:off x="4703687" y="1872260"/>
            <a:ext cx="528785" cy="508465"/>
            <a:chOff x="7442604" y="3311526"/>
            <a:chExt cx="526650" cy="506412"/>
          </a:xfrm>
        </p:grpSpPr>
        <p:sp>
          <p:nvSpPr>
            <p:cNvPr id="35" name="Freeform 93">
              <a:extLst>
                <a:ext uri="{FF2B5EF4-FFF2-40B4-BE49-F238E27FC236}">
                  <a16:creationId xmlns:a16="http://schemas.microsoft.com/office/drawing/2014/main" id="{300CEC93-ABFA-4384-BE35-E0A69D6B9E45}"/>
                </a:ext>
              </a:extLst>
            </p:cNvPr>
            <p:cNvSpPr>
              <a:spLocks/>
            </p:cNvSpPr>
            <p:nvPr/>
          </p:nvSpPr>
          <p:spPr bwMode="auto">
            <a:xfrm>
              <a:off x="7442604" y="3392486"/>
              <a:ext cx="415925" cy="344488"/>
            </a:xfrm>
            <a:custGeom>
              <a:avLst/>
              <a:gdLst>
                <a:gd name="T0" fmla="*/ 93 w 93"/>
                <a:gd name="T1" fmla="*/ 77 h 77"/>
                <a:gd name="T2" fmla="*/ 51 w 93"/>
                <a:gd name="T3" fmla="*/ 59 h 77"/>
                <a:gd name="T4" fmla="*/ 47 w 93"/>
                <a:gd name="T5" fmla="*/ 59 h 77"/>
                <a:gd name="T6" fmla="*/ 20 w 93"/>
                <a:gd name="T7" fmla="*/ 59 h 77"/>
                <a:gd name="T8" fmla="*/ 0 w 93"/>
                <a:gd name="T9" fmla="*/ 39 h 77"/>
                <a:gd name="T10" fmla="*/ 0 w 93"/>
                <a:gd name="T11" fmla="*/ 39 h 77"/>
                <a:gd name="T12" fmla="*/ 20 w 93"/>
                <a:gd name="T13" fmla="*/ 19 h 77"/>
                <a:gd name="T14" fmla="*/ 51 w 93"/>
                <a:gd name="T15" fmla="*/ 19 h 77"/>
                <a:gd name="T16" fmla="*/ 51 w 93"/>
                <a:gd name="T17" fmla="*/ 19 h 77"/>
                <a:gd name="T18" fmla="*/ 93 w 93"/>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7">
                  <a:moveTo>
                    <a:pt x="93" y="77"/>
                  </a:moveTo>
                  <a:cubicBezTo>
                    <a:pt x="51" y="59"/>
                    <a:pt x="51" y="59"/>
                    <a:pt x="51" y="59"/>
                  </a:cubicBezTo>
                  <a:cubicBezTo>
                    <a:pt x="47" y="59"/>
                    <a:pt x="47" y="59"/>
                    <a:pt x="47" y="59"/>
                  </a:cubicBezTo>
                  <a:cubicBezTo>
                    <a:pt x="20" y="59"/>
                    <a:pt x="20" y="59"/>
                    <a:pt x="20" y="59"/>
                  </a:cubicBezTo>
                  <a:cubicBezTo>
                    <a:pt x="9" y="59"/>
                    <a:pt x="0" y="50"/>
                    <a:pt x="0" y="39"/>
                  </a:cubicBezTo>
                  <a:cubicBezTo>
                    <a:pt x="0" y="39"/>
                    <a:pt x="0" y="39"/>
                    <a:pt x="0" y="39"/>
                  </a:cubicBezTo>
                  <a:cubicBezTo>
                    <a:pt x="0" y="28"/>
                    <a:pt x="9" y="19"/>
                    <a:pt x="20" y="19"/>
                  </a:cubicBezTo>
                  <a:cubicBezTo>
                    <a:pt x="51" y="19"/>
                    <a:pt x="51" y="19"/>
                    <a:pt x="51" y="19"/>
                  </a:cubicBezTo>
                  <a:cubicBezTo>
                    <a:pt x="51" y="19"/>
                    <a:pt x="51" y="19"/>
                    <a:pt x="51" y="19"/>
                  </a:cubicBezTo>
                  <a:cubicBezTo>
                    <a:pt x="93" y="0"/>
                    <a:pt x="93" y="0"/>
                    <a:pt x="93" y="0"/>
                  </a:cubicBezTo>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94">
              <a:extLst>
                <a:ext uri="{FF2B5EF4-FFF2-40B4-BE49-F238E27FC236}">
                  <a16:creationId xmlns:a16="http://schemas.microsoft.com/office/drawing/2014/main" id="{F3EEC2C7-2DEB-449D-B86A-3C7DF9ABD4A6}"/>
                </a:ext>
              </a:extLst>
            </p:cNvPr>
            <p:cNvSpPr>
              <a:spLocks/>
            </p:cNvSpPr>
            <p:nvPr/>
          </p:nvSpPr>
          <p:spPr bwMode="auto">
            <a:xfrm>
              <a:off x="7477129" y="3311526"/>
              <a:ext cx="492125" cy="506412"/>
            </a:xfrm>
            <a:custGeom>
              <a:avLst/>
              <a:gdLst>
                <a:gd name="T0" fmla="*/ 33 w 110"/>
                <a:gd name="T1" fmla="*/ 78 h 113"/>
                <a:gd name="T2" fmla="*/ 33 w 110"/>
                <a:gd name="T3" fmla="*/ 105 h 113"/>
                <a:gd name="T4" fmla="*/ 40 w 110"/>
                <a:gd name="T5" fmla="*/ 113 h 113"/>
                <a:gd name="T6" fmla="*/ 40 w 110"/>
                <a:gd name="T7" fmla="*/ 113 h 113"/>
                <a:gd name="T8" fmla="*/ 48 w 110"/>
                <a:gd name="T9" fmla="*/ 105 h 113"/>
                <a:gd name="T10" fmla="*/ 48 w 110"/>
                <a:gd name="T11" fmla="*/ 78 h 113"/>
                <a:gd name="T12" fmla="*/ 41 w 110"/>
                <a:gd name="T13" fmla="*/ 70 h 113"/>
                <a:gd name="T14" fmla="*/ 22 w 110"/>
                <a:gd name="T15" fmla="*/ 70 h 113"/>
                <a:gd name="T16" fmla="*/ 0 w 110"/>
                <a:gd name="T17" fmla="*/ 49 h 113"/>
                <a:gd name="T18" fmla="*/ 0 w 110"/>
                <a:gd name="T19" fmla="*/ 49 h 113"/>
                <a:gd name="T20" fmla="*/ 22 w 110"/>
                <a:gd name="T21" fmla="*/ 27 h 113"/>
                <a:gd name="T22" fmla="*/ 54 w 110"/>
                <a:gd name="T23" fmla="*/ 27 h 113"/>
                <a:gd name="T24" fmla="*/ 54 w 110"/>
                <a:gd name="T25" fmla="*/ 27 h 113"/>
                <a:gd name="T26" fmla="*/ 99 w 110"/>
                <a:gd name="T27" fmla="*/ 7 h 113"/>
                <a:gd name="T28" fmla="*/ 99 w 110"/>
                <a:gd name="T29" fmla="*/ 5 h 113"/>
                <a:gd name="T30" fmla="*/ 104 w 110"/>
                <a:gd name="T31" fmla="*/ 0 h 113"/>
                <a:gd name="T32" fmla="*/ 104 w 110"/>
                <a:gd name="T33" fmla="*/ 0 h 113"/>
                <a:gd name="T34" fmla="*/ 110 w 110"/>
                <a:gd name="T35" fmla="*/ 5 h 113"/>
                <a:gd name="T36" fmla="*/ 110 w 110"/>
                <a:gd name="T37" fmla="*/ 95 h 113"/>
                <a:gd name="T38" fmla="*/ 104 w 110"/>
                <a:gd name="T39" fmla="*/ 100 h 113"/>
                <a:gd name="T40" fmla="*/ 104 w 110"/>
                <a:gd name="T41" fmla="*/ 100 h 113"/>
                <a:gd name="T42" fmla="*/ 99 w 110"/>
                <a:gd name="T43" fmla="*/ 95 h 113"/>
                <a:gd name="T44" fmla="*/ 99 w 110"/>
                <a:gd name="T45" fmla="*/ 89 h 113"/>
                <a:gd name="T46" fmla="*/ 54 w 110"/>
                <a:gd name="T47" fmla="*/ 7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13">
                  <a:moveTo>
                    <a:pt x="33" y="78"/>
                  </a:moveTo>
                  <a:cubicBezTo>
                    <a:pt x="33" y="105"/>
                    <a:pt x="33" y="105"/>
                    <a:pt x="33" y="105"/>
                  </a:cubicBezTo>
                  <a:cubicBezTo>
                    <a:pt x="33" y="110"/>
                    <a:pt x="36" y="113"/>
                    <a:pt x="40" y="113"/>
                  </a:cubicBezTo>
                  <a:cubicBezTo>
                    <a:pt x="40" y="113"/>
                    <a:pt x="40" y="113"/>
                    <a:pt x="40" y="113"/>
                  </a:cubicBezTo>
                  <a:cubicBezTo>
                    <a:pt x="45" y="113"/>
                    <a:pt x="48" y="110"/>
                    <a:pt x="48" y="105"/>
                  </a:cubicBezTo>
                  <a:cubicBezTo>
                    <a:pt x="48" y="78"/>
                    <a:pt x="48" y="78"/>
                    <a:pt x="48" y="78"/>
                  </a:cubicBezTo>
                  <a:cubicBezTo>
                    <a:pt x="48" y="74"/>
                    <a:pt x="45" y="70"/>
                    <a:pt x="41" y="70"/>
                  </a:cubicBezTo>
                  <a:cubicBezTo>
                    <a:pt x="22" y="70"/>
                    <a:pt x="22" y="70"/>
                    <a:pt x="22" y="70"/>
                  </a:cubicBezTo>
                  <a:cubicBezTo>
                    <a:pt x="10" y="70"/>
                    <a:pt x="0" y="61"/>
                    <a:pt x="0" y="49"/>
                  </a:cubicBezTo>
                  <a:cubicBezTo>
                    <a:pt x="0" y="49"/>
                    <a:pt x="0" y="49"/>
                    <a:pt x="0" y="49"/>
                  </a:cubicBezTo>
                  <a:cubicBezTo>
                    <a:pt x="0" y="37"/>
                    <a:pt x="10" y="27"/>
                    <a:pt x="22" y="27"/>
                  </a:cubicBezTo>
                  <a:cubicBezTo>
                    <a:pt x="54" y="27"/>
                    <a:pt x="54" y="27"/>
                    <a:pt x="54" y="27"/>
                  </a:cubicBezTo>
                  <a:cubicBezTo>
                    <a:pt x="54" y="27"/>
                    <a:pt x="54" y="27"/>
                    <a:pt x="54" y="27"/>
                  </a:cubicBezTo>
                  <a:cubicBezTo>
                    <a:pt x="99" y="7"/>
                    <a:pt x="99" y="7"/>
                    <a:pt x="99" y="7"/>
                  </a:cubicBezTo>
                  <a:cubicBezTo>
                    <a:pt x="99" y="5"/>
                    <a:pt x="99" y="5"/>
                    <a:pt x="99" y="5"/>
                  </a:cubicBezTo>
                  <a:cubicBezTo>
                    <a:pt x="99" y="2"/>
                    <a:pt x="101" y="0"/>
                    <a:pt x="104" y="0"/>
                  </a:cubicBezTo>
                  <a:cubicBezTo>
                    <a:pt x="104" y="0"/>
                    <a:pt x="104" y="0"/>
                    <a:pt x="104" y="0"/>
                  </a:cubicBezTo>
                  <a:cubicBezTo>
                    <a:pt x="107" y="0"/>
                    <a:pt x="110" y="2"/>
                    <a:pt x="110" y="5"/>
                  </a:cubicBezTo>
                  <a:cubicBezTo>
                    <a:pt x="110" y="95"/>
                    <a:pt x="110" y="95"/>
                    <a:pt x="110" y="95"/>
                  </a:cubicBezTo>
                  <a:cubicBezTo>
                    <a:pt x="110" y="98"/>
                    <a:pt x="107" y="100"/>
                    <a:pt x="104" y="100"/>
                  </a:cubicBezTo>
                  <a:cubicBezTo>
                    <a:pt x="104" y="100"/>
                    <a:pt x="104" y="100"/>
                    <a:pt x="104" y="100"/>
                  </a:cubicBezTo>
                  <a:cubicBezTo>
                    <a:pt x="101" y="100"/>
                    <a:pt x="99" y="98"/>
                    <a:pt x="99" y="95"/>
                  </a:cubicBezTo>
                  <a:cubicBezTo>
                    <a:pt x="99" y="89"/>
                    <a:pt x="99" y="89"/>
                    <a:pt x="99" y="89"/>
                  </a:cubicBezTo>
                  <a:cubicBezTo>
                    <a:pt x="54" y="71"/>
                    <a:pt x="54" y="71"/>
                    <a:pt x="54" y="71"/>
                  </a:cubicBez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0" name="Straight Connector 9"/>
          <p:cNvCxnSpPr/>
          <p:nvPr/>
        </p:nvCxnSpPr>
        <p:spPr>
          <a:xfrm>
            <a:off x="4968080" y="3537565"/>
            <a:ext cx="0" cy="1821042"/>
          </a:xfrm>
          <a:prstGeom prst="line">
            <a:avLst/>
          </a:prstGeom>
          <a:ln w="6350">
            <a:solidFill>
              <a:srgbClr val="E2DED9"/>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025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876" y="269876"/>
            <a:ext cx="8559232" cy="692336"/>
          </a:xfrm>
        </p:spPr>
        <p:txBody>
          <a:bodyPr/>
          <a:lstStyle/>
          <a:p>
            <a:r>
              <a:rPr lang="en-GB" dirty="0"/>
              <a:t>Active listening (reflections)</a:t>
            </a:r>
          </a:p>
        </p:txBody>
      </p:sp>
      <p:sp>
        <p:nvSpPr>
          <p:cNvPr id="6" name="TextBox 5"/>
          <p:cNvSpPr txBox="1"/>
          <p:nvPr/>
        </p:nvSpPr>
        <p:spPr>
          <a:xfrm>
            <a:off x="1445707" y="1627187"/>
            <a:ext cx="4729306" cy="1236923"/>
          </a:xfrm>
          <a:prstGeom prst="rect">
            <a:avLst/>
          </a:prstGeom>
          <a:solidFill>
            <a:srgbClr val="F3F2F0"/>
          </a:solidFill>
        </p:spPr>
        <p:txBody>
          <a:bodyPr wrap="square" lIns="216000" tIns="0" rIns="0" bIns="0" rtlCol="0" anchor="ctr">
            <a:noAutofit/>
          </a:bodyPr>
          <a:lstStyle/>
          <a:p>
            <a:pPr>
              <a:spcBef>
                <a:spcPts val="600"/>
              </a:spcBef>
            </a:pPr>
            <a:r>
              <a:rPr lang="en-GB" sz="1400" b="1" dirty="0">
                <a:solidFill>
                  <a:srgbClr val="1F2023"/>
                </a:solidFill>
              </a:rPr>
              <a:t>Active listening:</a:t>
            </a:r>
          </a:p>
          <a:p>
            <a:pPr>
              <a:spcBef>
                <a:spcPts val="600"/>
              </a:spcBef>
            </a:pPr>
            <a:r>
              <a:rPr lang="en-GB" sz="1400" dirty="0">
                <a:solidFill>
                  <a:srgbClr val="1F2023"/>
                </a:solidFill>
              </a:rPr>
              <a:t>Reflecting what the person says – sometimes from the same angle and sometimes from new angles. </a:t>
            </a:r>
          </a:p>
        </p:txBody>
      </p:sp>
      <p:pic>
        <p:nvPicPr>
          <p:cNvPr id="5" name="Picture 4">
            <a:extLst>
              <a:ext uri="{FF2B5EF4-FFF2-40B4-BE49-F238E27FC236}">
                <a16:creationId xmlns:a16="http://schemas.microsoft.com/office/drawing/2014/main" id="{B1302374-6892-4BA0-B0E2-744D1E611CE2}"/>
              </a:ext>
            </a:extLst>
          </p:cNvPr>
          <p:cNvPicPr>
            <a:picLocks noChangeAspect="1"/>
          </p:cNvPicPr>
          <p:nvPr/>
        </p:nvPicPr>
        <p:blipFill rotWithShape="1">
          <a:blip r:embed="rId3"/>
          <a:srcRect l="7686" r="37224" b="4869"/>
          <a:stretch/>
        </p:blipFill>
        <p:spPr>
          <a:xfrm>
            <a:off x="6448063" y="1627188"/>
            <a:ext cx="3184888" cy="4124902"/>
          </a:xfrm>
          <a:prstGeom prst="rect">
            <a:avLst/>
          </a:prstGeom>
        </p:spPr>
      </p:pic>
      <p:sp>
        <p:nvSpPr>
          <p:cNvPr id="8" name="TextBox 7">
            <a:extLst>
              <a:ext uri="{FF2B5EF4-FFF2-40B4-BE49-F238E27FC236}">
                <a16:creationId xmlns:a16="http://schemas.microsoft.com/office/drawing/2014/main" id="{B6543873-3F83-4E86-99EB-57608DA01531}"/>
              </a:ext>
            </a:extLst>
          </p:cNvPr>
          <p:cNvSpPr txBox="1"/>
          <p:nvPr/>
        </p:nvSpPr>
        <p:spPr>
          <a:xfrm>
            <a:off x="269876" y="1627187"/>
            <a:ext cx="1175831" cy="1236923"/>
          </a:xfrm>
          <a:prstGeom prst="rect">
            <a:avLst/>
          </a:prstGeom>
          <a:solidFill>
            <a:srgbClr val="E2DED9"/>
          </a:solidFill>
        </p:spPr>
        <p:txBody>
          <a:bodyPr wrap="square" lIns="144000" tIns="0" rIns="0" bIns="0" rtlCol="0" anchor="ctr">
            <a:noAutofit/>
          </a:bodyPr>
          <a:lstStyle/>
          <a:p>
            <a:pPr>
              <a:spcBef>
                <a:spcPts val="600"/>
              </a:spcBef>
            </a:pPr>
            <a:endParaRPr lang="en-GB" sz="1400" dirty="0">
              <a:solidFill>
                <a:schemeClr val="bg1"/>
              </a:solidFill>
            </a:endParaRPr>
          </a:p>
        </p:txBody>
      </p:sp>
      <p:grpSp>
        <p:nvGrpSpPr>
          <p:cNvPr id="9" name="Group 8">
            <a:extLst>
              <a:ext uri="{FF2B5EF4-FFF2-40B4-BE49-F238E27FC236}">
                <a16:creationId xmlns:a16="http://schemas.microsoft.com/office/drawing/2014/main" id="{47409F4C-EB07-47F5-921F-8DCA60800892}"/>
              </a:ext>
            </a:extLst>
          </p:cNvPr>
          <p:cNvGrpSpPr/>
          <p:nvPr/>
        </p:nvGrpSpPr>
        <p:grpSpPr>
          <a:xfrm>
            <a:off x="587916" y="2013079"/>
            <a:ext cx="539751" cy="465138"/>
            <a:chOff x="3781425" y="3370263"/>
            <a:chExt cx="539751" cy="465138"/>
          </a:xfrm>
        </p:grpSpPr>
        <p:sp>
          <p:nvSpPr>
            <p:cNvPr id="10" name="Freeform 144">
              <a:extLst>
                <a:ext uri="{FF2B5EF4-FFF2-40B4-BE49-F238E27FC236}">
                  <a16:creationId xmlns:a16="http://schemas.microsoft.com/office/drawing/2014/main" id="{4A7EC318-16EF-44D3-B7AD-0EC7BB7EDACF}"/>
                </a:ext>
              </a:extLst>
            </p:cNvPr>
            <p:cNvSpPr>
              <a:spLocks/>
            </p:cNvSpPr>
            <p:nvPr/>
          </p:nvSpPr>
          <p:spPr bwMode="auto">
            <a:xfrm>
              <a:off x="4191000" y="3541713"/>
              <a:ext cx="107950" cy="207963"/>
            </a:xfrm>
            <a:custGeom>
              <a:avLst/>
              <a:gdLst>
                <a:gd name="T0" fmla="*/ 0 w 24"/>
                <a:gd name="T1" fmla="*/ 0 h 46"/>
                <a:gd name="T2" fmla="*/ 1 w 24"/>
                <a:gd name="T3" fmla="*/ 0 h 46"/>
                <a:gd name="T4" fmla="*/ 24 w 24"/>
                <a:gd name="T5" fmla="*/ 23 h 46"/>
                <a:gd name="T6" fmla="*/ 24 w 24"/>
                <a:gd name="T7" fmla="*/ 23 h 46"/>
                <a:gd name="T8" fmla="*/ 1 w 24"/>
                <a:gd name="T9" fmla="*/ 46 h 46"/>
                <a:gd name="T10" fmla="*/ 0 w 24"/>
                <a:gd name="T11" fmla="*/ 46 h 46"/>
              </a:gdLst>
              <a:ahLst/>
              <a:cxnLst>
                <a:cxn ang="0">
                  <a:pos x="T0" y="T1"/>
                </a:cxn>
                <a:cxn ang="0">
                  <a:pos x="T2" y="T3"/>
                </a:cxn>
                <a:cxn ang="0">
                  <a:pos x="T4" y="T5"/>
                </a:cxn>
                <a:cxn ang="0">
                  <a:pos x="T6" y="T7"/>
                </a:cxn>
                <a:cxn ang="0">
                  <a:pos x="T8" y="T9"/>
                </a:cxn>
                <a:cxn ang="0">
                  <a:pos x="T10" y="T11"/>
                </a:cxn>
              </a:cxnLst>
              <a:rect l="0" t="0" r="r" b="b"/>
              <a:pathLst>
                <a:path w="24" h="46">
                  <a:moveTo>
                    <a:pt x="0" y="0"/>
                  </a:moveTo>
                  <a:cubicBezTo>
                    <a:pt x="1" y="0"/>
                    <a:pt x="1" y="0"/>
                    <a:pt x="1" y="0"/>
                  </a:cubicBezTo>
                  <a:cubicBezTo>
                    <a:pt x="14" y="0"/>
                    <a:pt x="24" y="10"/>
                    <a:pt x="24" y="23"/>
                  </a:cubicBezTo>
                  <a:cubicBezTo>
                    <a:pt x="24" y="23"/>
                    <a:pt x="24" y="23"/>
                    <a:pt x="24" y="23"/>
                  </a:cubicBezTo>
                  <a:cubicBezTo>
                    <a:pt x="24" y="36"/>
                    <a:pt x="14" y="46"/>
                    <a:pt x="1" y="46"/>
                  </a:cubicBezTo>
                  <a:cubicBezTo>
                    <a:pt x="0" y="46"/>
                    <a:pt x="0" y="46"/>
                    <a:pt x="0" y="46"/>
                  </a:cubicBezTo>
                </a:path>
              </a:pathLst>
            </a:cu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145">
              <a:extLst>
                <a:ext uri="{FF2B5EF4-FFF2-40B4-BE49-F238E27FC236}">
                  <a16:creationId xmlns:a16="http://schemas.microsoft.com/office/drawing/2014/main" id="{FEB2BA03-F3AA-4CC0-81A2-4B02B203DF4A}"/>
                </a:ext>
              </a:extLst>
            </p:cNvPr>
            <p:cNvSpPr>
              <a:spLocks/>
            </p:cNvSpPr>
            <p:nvPr/>
          </p:nvSpPr>
          <p:spPr bwMode="auto">
            <a:xfrm>
              <a:off x="3781425" y="3541713"/>
              <a:ext cx="112713" cy="207963"/>
            </a:xfrm>
            <a:custGeom>
              <a:avLst/>
              <a:gdLst>
                <a:gd name="T0" fmla="*/ 25 w 25"/>
                <a:gd name="T1" fmla="*/ 46 h 46"/>
                <a:gd name="T2" fmla="*/ 23 w 25"/>
                <a:gd name="T3" fmla="*/ 46 h 46"/>
                <a:gd name="T4" fmla="*/ 0 w 25"/>
                <a:gd name="T5" fmla="*/ 23 h 46"/>
                <a:gd name="T6" fmla="*/ 0 w 25"/>
                <a:gd name="T7" fmla="*/ 23 h 46"/>
                <a:gd name="T8" fmla="*/ 23 w 25"/>
                <a:gd name="T9" fmla="*/ 0 h 46"/>
                <a:gd name="T10" fmla="*/ 25 w 25"/>
                <a:gd name="T11" fmla="*/ 0 h 46"/>
              </a:gdLst>
              <a:ahLst/>
              <a:cxnLst>
                <a:cxn ang="0">
                  <a:pos x="T0" y="T1"/>
                </a:cxn>
                <a:cxn ang="0">
                  <a:pos x="T2" y="T3"/>
                </a:cxn>
                <a:cxn ang="0">
                  <a:pos x="T4" y="T5"/>
                </a:cxn>
                <a:cxn ang="0">
                  <a:pos x="T6" y="T7"/>
                </a:cxn>
                <a:cxn ang="0">
                  <a:pos x="T8" y="T9"/>
                </a:cxn>
                <a:cxn ang="0">
                  <a:pos x="T10" y="T11"/>
                </a:cxn>
              </a:cxnLst>
              <a:rect l="0" t="0" r="r" b="b"/>
              <a:pathLst>
                <a:path w="25" h="46">
                  <a:moveTo>
                    <a:pt x="25" y="46"/>
                  </a:moveTo>
                  <a:cubicBezTo>
                    <a:pt x="23" y="46"/>
                    <a:pt x="23" y="46"/>
                    <a:pt x="23" y="46"/>
                  </a:cubicBezTo>
                  <a:cubicBezTo>
                    <a:pt x="10" y="46"/>
                    <a:pt x="0" y="36"/>
                    <a:pt x="0" y="23"/>
                  </a:cubicBezTo>
                  <a:cubicBezTo>
                    <a:pt x="0" y="23"/>
                    <a:pt x="0" y="23"/>
                    <a:pt x="0" y="23"/>
                  </a:cubicBezTo>
                  <a:cubicBezTo>
                    <a:pt x="0" y="10"/>
                    <a:pt x="10" y="0"/>
                    <a:pt x="23" y="0"/>
                  </a:cubicBezTo>
                  <a:cubicBezTo>
                    <a:pt x="25" y="0"/>
                    <a:pt x="25" y="0"/>
                    <a:pt x="25" y="0"/>
                  </a:cubicBezTo>
                </a:path>
              </a:pathLst>
            </a:cu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46">
              <a:extLst>
                <a:ext uri="{FF2B5EF4-FFF2-40B4-BE49-F238E27FC236}">
                  <a16:creationId xmlns:a16="http://schemas.microsoft.com/office/drawing/2014/main" id="{F02F64D9-E1AC-42BD-8AC1-00CD87E198AA}"/>
                </a:ext>
              </a:extLst>
            </p:cNvPr>
            <p:cNvSpPr>
              <a:spLocks/>
            </p:cNvSpPr>
            <p:nvPr/>
          </p:nvSpPr>
          <p:spPr bwMode="auto">
            <a:xfrm>
              <a:off x="3916363" y="3370263"/>
              <a:ext cx="323850" cy="352425"/>
            </a:xfrm>
            <a:custGeom>
              <a:avLst/>
              <a:gdLst>
                <a:gd name="T0" fmla="*/ 72 w 72"/>
                <a:gd name="T1" fmla="*/ 78 h 78"/>
                <a:gd name="T2" fmla="*/ 72 w 72"/>
                <a:gd name="T3" fmla="*/ 36 h 78"/>
                <a:gd name="T4" fmla="*/ 36 w 72"/>
                <a:gd name="T5" fmla="*/ 0 h 78"/>
                <a:gd name="T6" fmla="*/ 36 w 72"/>
                <a:gd name="T7" fmla="*/ 0 h 78"/>
                <a:gd name="T8" fmla="*/ 0 w 72"/>
                <a:gd name="T9" fmla="*/ 36 h 78"/>
                <a:gd name="T10" fmla="*/ 0 w 72"/>
                <a:gd name="T11" fmla="*/ 77 h 78"/>
              </a:gdLst>
              <a:ahLst/>
              <a:cxnLst>
                <a:cxn ang="0">
                  <a:pos x="T0" y="T1"/>
                </a:cxn>
                <a:cxn ang="0">
                  <a:pos x="T2" y="T3"/>
                </a:cxn>
                <a:cxn ang="0">
                  <a:pos x="T4" y="T5"/>
                </a:cxn>
                <a:cxn ang="0">
                  <a:pos x="T6" y="T7"/>
                </a:cxn>
                <a:cxn ang="0">
                  <a:pos x="T8" y="T9"/>
                </a:cxn>
                <a:cxn ang="0">
                  <a:pos x="T10" y="T11"/>
                </a:cxn>
              </a:cxnLst>
              <a:rect l="0" t="0" r="r" b="b"/>
              <a:pathLst>
                <a:path w="72" h="78">
                  <a:moveTo>
                    <a:pt x="72" y="78"/>
                  </a:moveTo>
                  <a:cubicBezTo>
                    <a:pt x="72" y="36"/>
                    <a:pt x="72" y="36"/>
                    <a:pt x="72" y="36"/>
                  </a:cubicBezTo>
                  <a:cubicBezTo>
                    <a:pt x="72" y="17"/>
                    <a:pt x="56" y="0"/>
                    <a:pt x="36" y="0"/>
                  </a:cubicBezTo>
                  <a:cubicBezTo>
                    <a:pt x="36" y="0"/>
                    <a:pt x="36" y="0"/>
                    <a:pt x="36" y="0"/>
                  </a:cubicBezTo>
                  <a:cubicBezTo>
                    <a:pt x="16" y="0"/>
                    <a:pt x="0" y="17"/>
                    <a:pt x="0" y="36"/>
                  </a:cubicBezTo>
                  <a:cubicBezTo>
                    <a:pt x="0" y="77"/>
                    <a:pt x="0" y="77"/>
                    <a:pt x="0" y="77"/>
                  </a:cubicBezTo>
                </a:path>
              </a:pathLst>
            </a:custGeom>
            <a:no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 name="Freeform 147">
              <a:extLst>
                <a:ext uri="{FF2B5EF4-FFF2-40B4-BE49-F238E27FC236}">
                  <a16:creationId xmlns:a16="http://schemas.microsoft.com/office/drawing/2014/main" id="{7690B8E7-71F1-4E71-A972-7F180584A5AC}"/>
                </a:ext>
              </a:extLst>
            </p:cNvPr>
            <p:cNvSpPr>
              <a:spLocks/>
            </p:cNvSpPr>
            <p:nvPr/>
          </p:nvSpPr>
          <p:spPr bwMode="auto">
            <a:xfrm>
              <a:off x="4240213" y="3563938"/>
              <a:ext cx="80963" cy="158750"/>
            </a:xfrm>
            <a:custGeom>
              <a:avLst/>
              <a:gdLst>
                <a:gd name="T0" fmla="*/ 0 w 18"/>
                <a:gd name="T1" fmla="*/ 0 h 35"/>
                <a:gd name="T2" fmla="*/ 1 w 18"/>
                <a:gd name="T3" fmla="*/ 0 h 35"/>
                <a:gd name="T4" fmla="*/ 18 w 18"/>
                <a:gd name="T5" fmla="*/ 18 h 35"/>
                <a:gd name="T6" fmla="*/ 18 w 18"/>
                <a:gd name="T7" fmla="*/ 18 h 35"/>
                <a:gd name="T8" fmla="*/ 1 w 18"/>
                <a:gd name="T9" fmla="*/ 35 h 35"/>
                <a:gd name="T10" fmla="*/ 0 w 18"/>
                <a:gd name="T11" fmla="*/ 35 h 35"/>
              </a:gdLst>
              <a:ahLst/>
              <a:cxnLst>
                <a:cxn ang="0">
                  <a:pos x="T0" y="T1"/>
                </a:cxn>
                <a:cxn ang="0">
                  <a:pos x="T2" y="T3"/>
                </a:cxn>
                <a:cxn ang="0">
                  <a:pos x="T4" y="T5"/>
                </a:cxn>
                <a:cxn ang="0">
                  <a:pos x="T6" y="T7"/>
                </a:cxn>
                <a:cxn ang="0">
                  <a:pos x="T8" y="T9"/>
                </a:cxn>
                <a:cxn ang="0">
                  <a:pos x="T10" y="T11"/>
                </a:cxn>
              </a:cxnLst>
              <a:rect l="0" t="0" r="r" b="b"/>
              <a:pathLst>
                <a:path w="18" h="35">
                  <a:moveTo>
                    <a:pt x="0" y="0"/>
                  </a:moveTo>
                  <a:cubicBezTo>
                    <a:pt x="1" y="0"/>
                    <a:pt x="1" y="0"/>
                    <a:pt x="1" y="0"/>
                  </a:cubicBezTo>
                  <a:cubicBezTo>
                    <a:pt x="10" y="0"/>
                    <a:pt x="18" y="8"/>
                    <a:pt x="18" y="18"/>
                  </a:cubicBezTo>
                  <a:cubicBezTo>
                    <a:pt x="18" y="18"/>
                    <a:pt x="18" y="18"/>
                    <a:pt x="18" y="18"/>
                  </a:cubicBezTo>
                  <a:cubicBezTo>
                    <a:pt x="18" y="28"/>
                    <a:pt x="10" y="35"/>
                    <a:pt x="1" y="35"/>
                  </a:cubicBezTo>
                  <a:cubicBezTo>
                    <a:pt x="0" y="35"/>
                    <a:pt x="0" y="35"/>
                    <a:pt x="0" y="3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48">
              <a:extLst>
                <a:ext uri="{FF2B5EF4-FFF2-40B4-BE49-F238E27FC236}">
                  <a16:creationId xmlns:a16="http://schemas.microsoft.com/office/drawing/2014/main" id="{4F28E990-8636-4064-9EED-D91F86BB49CA}"/>
                </a:ext>
              </a:extLst>
            </p:cNvPr>
            <p:cNvSpPr>
              <a:spLocks/>
            </p:cNvSpPr>
            <p:nvPr/>
          </p:nvSpPr>
          <p:spPr bwMode="auto">
            <a:xfrm>
              <a:off x="3830638" y="3563938"/>
              <a:ext cx="85725" cy="158750"/>
            </a:xfrm>
            <a:custGeom>
              <a:avLst/>
              <a:gdLst>
                <a:gd name="T0" fmla="*/ 19 w 19"/>
                <a:gd name="T1" fmla="*/ 35 h 35"/>
                <a:gd name="T2" fmla="*/ 18 w 19"/>
                <a:gd name="T3" fmla="*/ 35 h 35"/>
                <a:gd name="T4" fmla="*/ 0 w 19"/>
                <a:gd name="T5" fmla="*/ 18 h 35"/>
                <a:gd name="T6" fmla="*/ 0 w 19"/>
                <a:gd name="T7" fmla="*/ 18 h 35"/>
                <a:gd name="T8" fmla="*/ 18 w 19"/>
                <a:gd name="T9" fmla="*/ 0 h 35"/>
                <a:gd name="T10" fmla="*/ 19 w 19"/>
                <a:gd name="T11" fmla="*/ 0 h 35"/>
              </a:gdLst>
              <a:ahLst/>
              <a:cxnLst>
                <a:cxn ang="0">
                  <a:pos x="T0" y="T1"/>
                </a:cxn>
                <a:cxn ang="0">
                  <a:pos x="T2" y="T3"/>
                </a:cxn>
                <a:cxn ang="0">
                  <a:pos x="T4" y="T5"/>
                </a:cxn>
                <a:cxn ang="0">
                  <a:pos x="T6" y="T7"/>
                </a:cxn>
                <a:cxn ang="0">
                  <a:pos x="T8" y="T9"/>
                </a:cxn>
                <a:cxn ang="0">
                  <a:pos x="T10" y="T11"/>
                </a:cxn>
              </a:cxnLst>
              <a:rect l="0" t="0" r="r" b="b"/>
              <a:pathLst>
                <a:path w="19" h="35">
                  <a:moveTo>
                    <a:pt x="19" y="35"/>
                  </a:moveTo>
                  <a:cubicBezTo>
                    <a:pt x="18" y="35"/>
                    <a:pt x="18" y="35"/>
                    <a:pt x="18" y="35"/>
                  </a:cubicBezTo>
                  <a:cubicBezTo>
                    <a:pt x="8" y="35"/>
                    <a:pt x="0" y="28"/>
                    <a:pt x="0" y="18"/>
                  </a:cubicBezTo>
                  <a:cubicBezTo>
                    <a:pt x="0" y="18"/>
                    <a:pt x="0" y="18"/>
                    <a:pt x="0" y="18"/>
                  </a:cubicBezTo>
                  <a:cubicBezTo>
                    <a:pt x="0" y="8"/>
                    <a:pt x="8" y="0"/>
                    <a:pt x="18" y="0"/>
                  </a:cubicBezTo>
                  <a:cubicBezTo>
                    <a:pt x="19" y="0"/>
                    <a:pt x="19" y="0"/>
                    <a:pt x="19"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49">
              <a:extLst>
                <a:ext uri="{FF2B5EF4-FFF2-40B4-BE49-F238E27FC236}">
                  <a16:creationId xmlns:a16="http://schemas.microsoft.com/office/drawing/2014/main" id="{A2EF3053-4F09-47CC-8995-7C5B4EDDCBCC}"/>
                </a:ext>
              </a:extLst>
            </p:cNvPr>
            <p:cNvSpPr>
              <a:spLocks/>
            </p:cNvSpPr>
            <p:nvPr/>
          </p:nvSpPr>
          <p:spPr bwMode="auto">
            <a:xfrm>
              <a:off x="4119563" y="3671888"/>
              <a:ext cx="120650" cy="153988"/>
            </a:xfrm>
            <a:custGeom>
              <a:avLst/>
              <a:gdLst>
                <a:gd name="T0" fmla="*/ 27 w 27"/>
                <a:gd name="T1" fmla="*/ 0 h 34"/>
                <a:gd name="T2" fmla="*/ 27 w 27"/>
                <a:gd name="T3" fmla="*/ 17 h 34"/>
                <a:gd name="T4" fmla="*/ 10 w 27"/>
                <a:gd name="T5" fmla="*/ 34 h 34"/>
                <a:gd name="T6" fmla="*/ 0 w 27"/>
                <a:gd name="T7" fmla="*/ 34 h 34"/>
              </a:gdLst>
              <a:ahLst/>
              <a:cxnLst>
                <a:cxn ang="0">
                  <a:pos x="T0" y="T1"/>
                </a:cxn>
                <a:cxn ang="0">
                  <a:pos x="T2" y="T3"/>
                </a:cxn>
                <a:cxn ang="0">
                  <a:pos x="T4" y="T5"/>
                </a:cxn>
                <a:cxn ang="0">
                  <a:pos x="T6" y="T7"/>
                </a:cxn>
              </a:cxnLst>
              <a:rect l="0" t="0" r="r" b="b"/>
              <a:pathLst>
                <a:path w="27" h="34">
                  <a:moveTo>
                    <a:pt x="27" y="0"/>
                  </a:moveTo>
                  <a:cubicBezTo>
                    <a:pt x="27" y="17"/>
                    <a:pt x="27" y="17"/>
                    <a:pt x="27" y="17"/>
                  </a:cubicBezTo>
                  <a:cubicBezTo>
                    <a:pt x="27" y="26"/>
                    <a:pt x="19" y="34"/>
                    <a:pt x="10" y="34"/>
                  </a:cubicBezTo>
                  <a:cubicBezTo>
                    <a:pt x="0" y="34"/>
                    <a:pt x="0" y="34"/>
                    <a:pt x="0"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50">
              <a:extLst>
                <a:ext uri="{FF2B5EF4-FFF2-40B4-BE49-F238E27FC236}">
                  <a16:creationId xmlns:a16="http://schemas.microsoft.com/office/drawing/2014/main" id="{4D9886C7-2736-4066-87DC-EC5942FDF553}"/>
                </a:ext>
              </a:extLst>
            </p:cNvPr>
            <p:cNvSpPr>
              <a:spLocks/>
            </p:cNvSpPr>
            <p:nvPr/>
          </p:nvSpPr>
          <p:spPr bwMode="auto">
            <a:xfrm>
              <a:off x="4043363" y="3808413"/>
              <a:ext cx="66675" cy="26988"/>
            </a:xfrm>
            <a:custGeom>
              <a:avLst/>
              <a:gdLst>
                <a:gd name="T0" fmla="*/ 12 w 15"/>
                <a:gd name="T1" fmla="*/ 6 h 6"/>
                <a:gd name="T2" fmla="*/ 3 w 15"/>
                <a:gd name="T3" fmla="*/ 6 h 6"/>
                <a:gd name="T4" fmla="*/ 0 w 15"/>
                <a:gd name="T5" fmla="*/ 3 h 6"/>
                <a:gd name="T6" fmla="*/ 0 w 15"/>
                <a:gd name="T7" fmla="*/ 3 h 6"/>
                <a:gd name="T8" fmla="*/ 3 w 15"/>
                <a:gd name="T9" fmla="*/ 0 h 6"/>
                <a:gd name="T10" fmla="*/ 12 w 15"/>
                <a:gd name="T11" fmla="*/ 0 h 6"/>
                <a:gd name="T12" fmla="*/ 15 w 15"/>
                <a:gd name="T13" fmla="*/ 3 h 6"/>
                <a:gd name="T14" fmla="*/ 15 w 15"/>
                <a:gd name="T15" fmla="*/ 3 h 6"/>
                <a:gd name="T16" fmla="*/ 12 w 15"/>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2" y="6"/>
                  </a:moveTo>
                  <a:cubicBezTo>
                    <a:pt x="3" y="6"/>
                    <a:pt x="3" y="6"/>
                    <a:pt x="3" y="6"/>
                  </a:cubicBezTo>
                  <a:cubicBezTo>
                    <a:pt x="1" y="6"/>
                    <a:pt x="0" y="5"/>
                    <a:pt x="0" y="3"/>
                  </a:cubicBezTo>
                  <a:cubicBezTo>
                    <a:pt x="0" y="3"/>
                    <a:pt x="0" y="3"/>
                    <a:pt x="0" y="3"/>
                  </a:cubicBezTo>
                  <a:cubicBezTo>
                    <a:pt x="0" y="2"/>
                    <a:pt x="1" y="0"/>
                    <a:pt x="3" y="0"/>
                  </a:cubicBezTo>
                  <a:cubicBezTo>
                    <a:pt x="12" y="0"/>
                    <a:pt x="12" y="0"/>
                    <a:pt x="12" y="0"/>
                  </a:cubicBezTo>
                  <a:cubicBezTo>
                    <a:pt x="14" y="0"/>
                    <a:pt x="15" y="2"/>
                    <a:pt x="15" y="3"/>
                  </a:cubicBezTo>
                  <a:cubicBezTo>
                    <a:pt x="15" y="3"/>
                    <a:pt x="15" y="3"/>
                    <a:pt x="15" y="3"/>
                  </a:cubicBezTo>
                  <a:cubicBezTo>
                    <a:pt x="15" y="5"/>
                    <a:pt x="14" y="6"/>
                    <a:pt x="12" y="6"/>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8" name="Group 37">
            <a:extLst>
              <a:ext uri="{FF2B5EF4-FFF2-40B4-BE49-F238E27FC236}">
                <a16:creationId xmlns:a16="http://schemas.microsoft.com/office/drawing/2014/main" id="{025735F1-832F-4B4B-A5A3-E07EC0EFA5A3}"/>
              </a:ext>
            </a:extLst>
          </p:cNvPr>
          <p:cNvGrpSpPr/>
          <p:nvPr/>
        </p:nvGrpSpPr>
        <p:grpSpPr>
          <a:xfrm>
            <a:off x="503246" y="3315136"/>
            <a:ext cx="5804327" cy="430887"/>
            <a:chOff x="503246" y="3049446"/>
            <a:chExt cx="5804327" cy="430887"/>
          </a:xfrm>
        </p:grpSpPr>
        <p:sp>
          <p:nvSpPr>
            <p:cNvPr id="4" name="Content Placeholder 7"/>
            <p:cNvSpPr txBox="1">
              <a:spLocks/>
            </p:cNvSpPr>
            <p:nvPr/>
          </p:nvSpPr>
          <p:spPr>
            <a:xfrm>
              <a:off x="1313146" y="3049446"/>
              <a:ext cx="4994427" cy="430887"/>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Clr>
                  <a:schemeClr val="accent6"/>
                </a:buClr>
                <a:buNone/>
                <a:defRPr/>
              </a:pPr>
              <a:r>
                <a:rPr lang="en-GB" sz="1400" b="1" dirty="0"/>
                <a:t>Simple reflections </a:t>
              </a:r>
              <a:r>
                <a:rPr lang="en-GB" sz="1400" dirty="0"/>
                <a:t>are a direct mirroring of what you've just heard without adding new meaning.</a:t>
              </a:r>
            </a:p>
          </p:txBody>
        </p:sp>
        <p:grpSp>
          <p:nvGrpSpPr>
            <p:cNvPr id="26" name="Group 25">
              <a:extLst>
                <a:ext uri="{FF2B5EF4-FFF2-40B4-BE49-F238E27FC236}">
                  <a16:creationId xmlns:a16="http://schemas.microsoft.com/office/drawing/2014/main" id="{9A72C18C-0E5B-4401-A21B-53D0C5557660}"/>
                </a:ext>
              </a:extLst>
            </p:cNvPr>
            <p:cNvGrpSpPr/>
            <p:nvPr/>
          </p:nvGrpSpPr>
          <p:grpSpPr>
            <a:xfrm rot="5400000">
              <a:off x="521027" y="3075077"/>
              <a:ext cx="344060" cy="379622"/>
              <a:chOff x="5248275" y="5115348"/>
              <a:chExt cx="487366" cy="537740"/>
            </a:xfrm>
          </p:grpSpPr>
          <p:sp>
            <p:nvSpPr>
              <p:cNvPr id="27" name="Freeform 26">
                <a:extLst>
                  <a:ext uri="{FF2B5EF4-FFF2-40B4-BE49-F238E27FC236}">
                    <a16:creationId xmlns:a16="http://schemas.microsoft.com/office/drawing/2014/main" id="{D7B37085-D7AB-4276-ACA0-D5A7FB7F14B9}"/>
                  </a:ext>
                </a:extLst>
              </p:cNvPr>
              <p:cNvSpPr>
                <a:spLocks/>
              </p:cNvSpPr>
              <p:nvPr/>
            </p:nvSpPr>
            <p:spPr bwMode="auto">
              <a:xfrm>
                <a:off x="5248278" y="5140749"/>
                <a:ext cx="407990" cy="444501"/>
              </a:xfrm>
              <a:custGeom>
                <a:avLst/>
                <a:gdLst>
                  <a:gd name="T0" fmla="*/ 178 w 257"/>
                  <a:gd name="T1" fmla="*/ 280 h 280"/>
                  <a:gd name="T2" fmla="*/ 0 w 257"/>
                  <a:gd name="T3" fmla="*/ 280 h 280"/>
                  <a:gd name="T4" fmla="*/ 0 w 257"/>
                  <a:gd name="T5" fmla="*/ 108 h 280"/>
                  <a:gd name="T6" fmla="*/ 133 w 257"/>
                  <a:gd name="T7" fmla="*/ 0 h 280"/>
                  <a:gd name="T8" fmla="*/ 257 w 257"/>
                  <a:gd name="T9" fmla="*/ 108 h 280"/>
                  <a:gd name="T10" fmla="*/ 257 w 257"/>
                  <a:gd name="T11" fmla="*/ 280 h 280"/>
                  <a:gd name="T12" fmla="*/ 178 w 257"/>
                  <a:gd name="T13" fmla="*/ 280 h 280"/>
                </a:gdLst>
                <a:ahLst/>
                <a:cxnLst>
                  <a:cxn ang="0">
                    <a:pos x="T0" y="T1"/>
                  </a:cxn>
                  <a:cxn ang="0">
                    <a:pos x="T2" y="T3"/>
                  </a:cxn>
                  <a:cxn ang="0">
                    <a:pos x="T4" y="T5"/>
                  </a:cxn>
                  <a:cxn ang="0">
                    <a:pos x="T6" y="T7"/>
                  </a:cxn>
                  <a:cxn ang="0">
                    <a:pos x="T8" y="T9"/>
                  </a:cxn>
                  <a:cxn ang="0">
                    <a:pos x="T10" y="T11"/>
                  </a:cxn>
                  <a:cxn ang="0">
                    <a:pos x="T12" y="T13"/>
                  </a:cxn>
                </a:cxnLst>
                <a:rect l="0" t="0" r="r" b="b"/>
                <a:pathLst>
                  <a:path w="257" h="280">
                    <a:moveTo>
                      <a:pt x="178" y="280"/>
                    </a:moveTo>
                    <a:lnTo>
                      <a:pt x="0" y="280"/>
                    </a:lnTo>
                    <a:lnTo>
                      <a:pt x="0" y="108"/>
                    </a:lnTo>
                    <a:lnTo>
                      <a:pt x="133" y="0"/>
                    </a:lnTo>
                    <a:lnTo>
                      <a:pt x="257" y="108"/>
                    </a:lnTo>
                    <a:lnTo>
                      <a:pt x="257" y="280"/>
                    </a:lnTo>
                    <a:lnTo>
                      <a:pt x="178" y="280"/>
                    </a:lnTo>
                    <a:close/>
                  </a:path>
                </a:pathLst>
              </a:custGeom>
              <a:solidFill>
                <a:srgbClr val="E2DE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7">
                <a:extLst>
                  <a:ext uri="{FF2B5EF4-FFF2-40B4-BE49-F238E27FC236}">
                    <a16:creationId xmlns:a16="http://schemas.microsoft.com/office/drawing/2014/main" id="{19FC0A29-EB3F-4F41-93AD-80CE40164FD8}"/>
                  </a:ext>
                </a:extLst>
              </p:cNvPr>
              <p:cNvSpPr>
                <a:spLocks/>
              </p:cNvSpPr>
              <p:nvPr/>
            </p:nvSpPr>
            <p:spPr bwMode="auto">
              <a:xfrm>
                <a:off x="5248275" y="5208588"/>
                <a:ext cx="407988" cy="444500"/>
              </a:xfrm>
              <a:custGeom>
                <a:avLst/>
                <a:gdLst>
                  <a:gd name="T0" fmla="*/ 178 w 257"/>
                  <a:gd name="T1" fmla="*/ 280 h 280"/>
                  <a:gd name="T2" fmla="*/ 0 w 257"/>
                  <a:gd name="T3" fmla="*/ 280 h 280"/>
                  <a:gd name="T4" fmla="*/ 0 w 257"/>
                  <a:gd name="T5" fmla="*/ 108 h 280"/>
                  <a:gd name="T6" fmla="*/ 133 w 257"/>
                  <a:gd name="T7" fmla="*/ 0 h 280"/>
                  <a:gd name="T8" fmla="*/ 257 w 257"/>
                  <a:gd name="T9" fmla="*/ 108 h 280"/>
                  <a:gd name="T10" fmla="*/ 257 w 257"/>
                  <a:gd name="T11" fmla="*/ 280 h 280"/>
                </a:gdLst>
                <a:ahLst/>
                <a:cxnLst>
                  <a:cxn ang="0">
                    <a:pos x="T0" y="T1"/>
                  </a:cxn>
                  <a:cxn ang="0">
                    <a:pos x="T2" y="T3"/>
                  </a:cxn>
                  <a:cxn ang="0">
                    <a:pos x="T4" y="T5"/>
                  </a:cxn>
                  <a:cxn ang="0">
                    <a:pos x="T6" y="T7"/>
                  </a:cxn>
                  <a:cxn ang="0">
                    <a:pos x="T8" y="T9"/>
                  </a:cxn>
                  <a:cxn ang="0">
                    <a:pos x="T10" y="T11"/>
                  </a:cxn>
                </a:cxnLst>
                <a:rect l="0" t="0" r="r" b="b"/>
                <a:pathLst>
                  <a:path w="257" h="280">
                    <a:moveTo>
                      <a:pt x="178" y="280"/>
                    </a:moveTo>
                    <a:lnTo>
                      <a:pt x="0" y="280"/>
                    </a:lnTo>
                    <a:lnTo>
                      <a:pt x="0" y="108"/>
                    </a:lnTo>
                    <a:lnTo>
                      <a:pt x="133" y="0"/>
                    </a:lnTo>
                    <a:lnTo>
                      <a:pt x="257" y="108"/>
                    </a:lnTo>
                    <a:lnTo>
                      <a:pt x="257" y="28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8">
                <a:extLst>
                  <a:ext uri="{FF2B5EF4-FFF2-40B4-BE49-F238E27FC236}">
                    <a16:creationId xmlns:a16="http://schemas.microsoft.com/office/drawing/2014/main" id="{0E3B83A4-1E02-4D5F-9C98-7FE700AE5B07}"/>
                  </a:ext>
                </a:extLst>
              </p:cNvPr>
              <p:cNvSpPr>
                <a:spLocks/>
              </p:cNvSpPr>
              <p:nvPr/>
            </p:nvSpPr>
            <p:spPr bwMode="auto">
              <a:xfrm>
                <a:off x="5280028" y="5115348"/>
                <a:ext cx="455613" cy="495300"/>
              </a:xfrm>
              <a:custGeom>
                <a:avLst/>
                <a:gdLst>
                  <a:gd name="T0" fmla="*/ 197 w 287"/>
                  <a:gd name="T1" fmla="*/ 312 h 312"/>
                  <a:gd name="T2" fmla="*/ 0 w 287"/>
                  <a:gd name="T3" fmla="*/ 312 h 312"/>
                  <a:gd name="T4" fmla="*/ 0 w 287"/>
                  <a:gd name="T5" fmla="*/ 121 h 312"/>
                  <a:gd name="T6" fmla="*/ 146 w 287"/>
                  <a:gd name="T7" fmla="*/ 0 h 312"/>
                  <a:gd name="T8" fmla="*/ 287 w 287"/>
                  <a:gd name="T9" fmla="*/ 121 h 312"/>
                  <a:gd name="T10" fmla="*/ 287 w 287"/>
                  <a:gd name="T11" fmla="*/ 312 h 312"/>
                </a:gdLst>
                <a:ahLst/>
                <a:cxnLst>
                  <a:cxn ang="0">
                    <a:pos x="T0" y="T1"/>
                  </a:cxn>
                  <a:cxn ang="0">
                    <a:pos x="T2" y="T3"/>
                  </a:cxn>
                  <a:cxn ang="0">
                    <a:pos x="T4" y="T5"/>
                  </a:cxn>
                  <a:cxn ang="0">
                    <a:pos x="T6" y="T7"/>
                  </a:cxn>
                  <a:cxn ang="0">
                    <a:pos x="T8" y="T9"/>
                  </a:cxn>
                  <a:cxn ang="0">
                    <a:pos x="T10" y="T11"/>
                  </a:cxn>
                </a:cxnLst>
                <a:rect l="0" t="0" r="r" b="b"/>
                <a:pathLst>
                  <a:path w="287" h="312">
                    <a:moveTo>
                      <a:pt x="197" y="312"/>
                    </a:moveTo>
                    <a:lnTo>
                      <a:pt x="0" y="312"/>
                    </a:lnTo>
                    <a:lnTo>
                      <a:pt x="0" y="121"/>
                    </a:lnTo>
                    <a:lnTo>
                      <a:pt x="146" y="0"/>
                    </a:lnTo>
                    <a:lnTo>
                      <a:pt x="287" y="121"/>
                    </a:lnTo>
                    <a:lnTo>
                      <a:pt x="287" y="312"/>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37" name="Group 36">
            <a:extLst>
              <a:ext uri="{FF2B5EF4-FFF2-40B4-BE49-F238E27FC236}">
                <a16:creationId xmlns:a16="http://schemas.microsoft.com/office/drawing/2014/main" id="{F0C8400D-C8E4-473E-B9DF-D42B99CED81C}"/>
              </a:ext>
            </a:extLst>
          </p:cNvPr>
          <p:cNvGrpSpPr/>
          <p:nvPr/>
        </p:nvGrpSpPr>
        <p:grpSpPr>
          <a:xfrm>
            <a:off x="322803" y="4663464"/>
            <a:ext cx="5863216" cy="646331"/>
            <a:chOff x="322803" y="4397774"/>
            <a:chExt cx="5863216" cy="646331"/>
          </a:xfrm>
        </p:grpSpPr>
        <p:grpSp>
          <p:nvGrpSpPr>
            <p:cNvPr id="21" name="Group 20">
              <a:extLst>
                <a:ext uri="{FF2B5EF4-FFF2-40B4-BE49-F238E27FC236}">
                  <a16:creationId xmlns:a16="http://schemas.microsoft.com/office/drawing/2014/main" id="{4E7F4126-701A-4860-85A8-14DD0C83DDEA}"/>
                </a:ext>
              </a:extLst>
            </p:cNvPr>
            <p:cNvGrpSpPr/>
            <p:nvPr/>
          </p:nvGrpSpPr>
          <p:grpSpPr>
            <a:xfrm>
              <a:off x="322803" y="4610609"/>
              <a:ext cx="674688" cy="220663"/>
              <a:chOff x="2822575" y="1522413"/>
              <a:chExt cx="674688" cy="220663"/>
            </a:xfrm>
          </p:grpSpPr>
          <p:sp>
            <p:nvSpPr>
              <p:cNvPr id="22" name="Rectangle 35">
                <a:extLst>
                  <a:ext uri="{FF2B5EF4-FFF2-40B4-BE49-F238E27FC236}">
                    <a16:creationId xmlns:a16="http://schemas.microsoft.com/office/drawing/2014/main" id="{8AAB7726-E661-4D10-83B2-F659A4A39739}"/>
                  </a:ext>
                </a:extLst>
              </p:cNvPr>
              <p:cNvSpPr>
                <a:spLocks noChangeArrowheads="1"/>
              </p:cNvSpPr>
              <p:nvPr/>
            </p:nvSpPr>
            <p:spPr bwMode="auto">
              <a:xfrm>
                <a:off x="2822575" y="1522413"/>
                <a:ext cx="611188" cy="220663"/>
              </a:xfrm>
              <a:prstGeom prst="rect">
                <a:avLst/>
              </a:prstGeom>
              <a:solidFill>
                <a:srgbClr val="E2DE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36">
                <a:extLst>
                  <a:ext uri="{FF2B5EF4-FFF2-40B4-BE49-F238E27FC236}">
                    <a16:creationId xmlns:a16="http://schemas.microsoft.com/office/drawing/2014/main" id="{83D160E0-73E2-423E-A6DC-D86FEBD34CFD}"/>
                  </a:ext>
                </a:extLst>
              </p:cNvPr>
              <p:cNvSpPr>
                <a:spLocks/>
              </p:cNvSpPr>
              <p:nvPr/>
            </p:nvSpPr>
            <p:spPr bwMode="auto">
              <a:xfrm>
                <a:off x="2881313" y="1522413"/>
                <a:ext cx="193675" cy="220663"/>
              </a:xfrm>
              <a:custGeom>
                <a:avLst/>
                <a:gdLst>
                  <a:gd name="T0" fmla="*/ 42 w 122"/>
                  <a:gd name="T1" fmla="*/ 139 h 139"/>
                  <a:gd name="T2" fmla="*/ 0 w 122"/>
                  <a:gd name="T3" fmla="*/ 139 h 139"/>
                  <a:gd name="T4" fmla="*/ 0 w 122"/>
                  <a:gd name="T5" fmla="*/ 0 h 139"/>
                  <a:gd name="T6" fmla="*/ 82 w 122"/>
                  <a:gd name="T7" fmla="*/ 0 h 139"/>
                  <a:gd name="T8" fmla="*/ 122 w 122"/>
                  <a:gd name="T9" fmla="*/ 71 h 139"/>
                  <a:gd name="T10" fmla="*/ 82 w 122"/>
                  <a:gd name="T11" fmla="*/ 139 h 139"/>
                </a:gdLst>
                <a:ahLst/>
                <a:cxnLst>
                  <a:cxn ang="0">
                    <a:pos x="T0" y="T1"/>
                  </a:cxn>
                  <a:cxn ang="0">
                    <a:pos x="T2" y="T3"/>
                  </a:cxn>
                  <a:cxn ang="0">
                    <a:pos x="T4" y="T5"/>
                  </a:cxn>
                  <a:cxn ang="0">
                    <a:pos x="T6" y="T7"/>
                  </a:cxn>
                  <a:cxn ang="0">
                    <a:pos x="T8" y="T9"/>
                  </a:cxn>
                  <a:cxn ang="0">
                    <a:pos x="T10" y="T11"/>
                  </a:cxn>
                </a:cxnLst>
                <a:rect l="0" t="0" r="r" b="b"/>
                <a:pathLst>
                  <a:path w="122" h="139">
                    <a:moveTo>
                      <a:pt x="42" y="139"/>
                    </a:moveTo>
                    <a:lnTo>
                      <a:pt x="0" y="139"/>
                    </a:lnTo>
                    <a:lnTo>
                      <a:pt x="0" y="0"/>
                    </a:lnTo>
                    <a:lnTo>
                      <a:pt x="82" y="0"/>
                    </a:lnTo>
                    <a:lnTo>
                      <a:pt x="122" y="71"/>
                    </a:lnTo>
                    <a:lnTo>
                      <a:pt x="82" y="139"/>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37">
                <a:extLst>
                  <a:ext uri="{FF2B5EF4-FFF2-40B4-BE49-F238E27FC236}">
                    <a16:creationId xmlns:a16="http://schemas.microsoft.com/office/drawing/2014/main" id="{54F9E336-3747-40AF-A7AB-58E8FD08E55F}"/>
                  </a:ext>
                </a:extLst>
              </p:cNvPr>
              <p:cNvSpPr>
                <a:spLocks/>
              </p:cNvSpPr>
              <p:nvPr/>
            </p:nvSpPr>
            <p:spPr bwMode="auto">
              <a:xfrm>
                <a:off x="3070225" y="1522413"/>
                <a:ext cx="228600" cy="220663"/>
              </a:xfrm>
              <a:custGeom>
                <a:avLst/>
                <a:gdLst>
                  <a:gd name="T0" fmla="*/ 105 w 144"/>
                  <a:gd name="T1" fmla="*/ 0 h 139"/>
                  <a:gd name="T2" fmla="*/ 0 w 144"/>
                  <a:gd name="T3" fmla="*/ 0 h 139"/>
                  <a:gd name="T4" fmla="*/ 37 w 144"/>
                  <a:gd name="T5" fmla="*/ 71 h 139"/>
                  <a:gd name="T6" fmla="*/ 0 w 144"/>
                  <a:gd name="T7" fmla="*/ 139 h 139"/>
                  <a:gd name="T8" fmla="*/ 51 w 144"/>
                  <a:gd name="T9" fmla="*/ 139 h 139"/>
                  <a:gd name="T10" fmla="*/ 105 w 144"/>
                  <a:gd name="T11" fmla="*/ 139 h 139"/>
                  <a:gd name="T12" fmla="*/ 144 w 144"/>
                  <a:gd name="T13" fmla="*/ 71 h 139"/>
                  <a:gd name="T14" fmla="*/ 124 w 144"/>
                  <a:gd name="T15" fmla="*/ 37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4" h="139">
                    <a:moveTo>
                      <a:pt x="105" y="0"/>
                    </a:moveTo>
                    <a:lnTo>
                      <a:pt x="0" y="0"/>
                    </a:lnTo>
                    <a:lnTo>
                      <a:pt x="37" y="71"/>
                    </a:lnTo>
                    <a:lnTo>
                      <a:pt x="0" y="139"/>
                    </a:lnTo>
                    <a:lnTo>
                      <a:pt x="51" y="139"/>
                    </a:lnTo>
                    <a:lnTo>
                      <a:pt x="105" y="139"/>
                    </a:lnTo>
                    <a:lnTo>
                      <a:pt x="144" y="71"/>
                    </a:lnTo>
                    <a:lnTo>
                      <a:pt x="124" y="37"/>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38">
                <a:extLst>
                  <a:ext uri="{FF2B5EF4-FFF2-40B4-BE49-F238E27FC236}">
                    <a16:creationId xmlns:a16="http://schemas.microsoft.com/office/drawing/2014/main" id="{6295F367-E109-475D-847E-DD4CA7A057B6}"/>
                  </a:ext>
                </a:extLst>
              </p:cNvPr>
              <p:cNvSpPr>
                <a:spLocks/>
              </p:cNvSpPr>
              <p:nvPr/>
            </p:nvSpPr>
            <p:spPr bwMode="auto">
              <a:xfrm>
                <a:off x="3303588" y="1522413"/>
                <a:ext cx="193675" cy="220663"/>
              </a:xfrm>
              <a:custGeom>
                <a:avLst/>
                <a:gdLst>
                  <a:gd name="T0" fmla="*/ 68 w 122"/>
                  <a:gd name="T1" fmla="*/ 0 h 139"/>
                  <a:gd name="T2" fmla="*/ 0 w 122"/>
                  <a:gd name="T3" fmla="*/ 0 h 139"/>
                  <a:gd name="T4" fmla="*/ 40 w 122"/>
                  <a:gd name="T5" fmla="*/ 71 h 139"/>
                  <a:gd name="T6" fmla="*/ 0 w 122"/>
                  <a:gd name="T7" fmla="*/ 139 h 139"/>
                  <a:gd name="T8" fmla="*/ 54 w 122"/>
                  <a:gd name="T9" fmla="*/ 139 h 139"/>
                  <a:gd name="T10" fmla="*/ 122 w 122"/>
                  <a:gd name="T11" fmla="*/ 139 h 139"/>
                  <a:gd name="T12" fmla="*/ 122 w 122"/>
                  <a:gd name="T13" fmla="*/ 71 h 139"/>
                  <a:gd name="T14" fmla="*/ 122 w 122"/>
                  <a:gd name="T15" fmla="*/ 0 h 1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 h="139">
                    <a:moveTo>
                      <a:pt x="68" y="0"/>
                    </a:moveTo>
                    <a:lnTo>
                      <a:pt x="0" y="0"/>
                    </a:lnTo>
                    <a:lnTo>
                      <a:pt x="40" y="71"/>
                    </a:lnTo>
                    <a:lnTo>
                      <a:pt x="0" y="139"/>
                    </a:lnTo>
                    <a:lnTo>
                      <a:pt x="54" y="139"/>
                    </a:lnTo>
                    <a:lnTo>
                      <a:pt x="122" y="139"/>
                    </a:lnTo>
                    <a:lnTo>
                      <a:pt x="122" y="71"/>
                    </a:lnTo>
                    <a:lnTo>
                      <a:pt x="122"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30" name="Rectangle 29">
              <a:extLst>
                <a:ext uri="{FF2B5EF4-FFF2-40B4-BE49-F238E27FC236}">
                  <a16:creationId xmlns:a16="http://schemas.microsoft.com/office/drawing/2014/main" id="{43AEBEF2-0CE7-46D9-BB47-0CBF5C364CEA}"/>
                </a:ext>
              </a:extLst>
            </p:cNvPr>
            <p:cNvSpPr/>
            <p:nvPr/>
          </p:nvSpPr>
          <p:spPr>
            <a:xfrm>
              <a:off x="1340816" y="4397774"/>
              <a:ext cx="4845203" cy="646331"/>
            </a:xfrm>
            <a:prstGeom prst="rect">
              <a:avLst/>
            </a:prstGeom>
          </p:spPr>
          <p:txBody>
            <a:bodyPr wrap="square" lIns="0" tIns="0" rIns="0" bIns="0" anchor="ctr">
              <a:spAutoFit/>
            </a:bodyPr>
            <a:lstStyle/>
            <a:p>
              <a:pPr marL="0" lvl="1">
                <a:buClr>
                  <a:srgbClr val="898C96"/>
                </a:buClr>
                <a:defRPr/>
              </a:pPr>
              <a:r>
                <a:rPr lang="en-GB" sz="1400" b="1" dirty="0">
                  <a:solidFill>
                    <a:srgbClr val="000000"/>
                  </a:solidFill>
                </a:rPr>
                <a:t>Complex reflections </a:t>
              </a:r>
              <a:r>
                <a:rPr lang="en-GB" sz="1400" dirty="0">
                  <a:solidFill>
                    <a:srgbClr val="000000"/>
                  </a:solidFill>
                </a:rPr>
                <a:t>are like a mirror of what you just heard, but with an attribution of new meaning (your interpretation and angling of what you hear). </a:t>
              </a:r>
            </a:p>
          </p:txBody>
        </p:sp>
      </p:grpSp>
      <p:cxnSp>
        <p:nvCxnSpPr>
          <p:cNvPr id="32" name="Straight Connector 31">
            <a:extLst>
              <a:ext uri="{FF2B5EF4-FFF2-40B4-BE49-F238E27FC236}">
                <a16:creationId xmlns:a16="http://schemas.microsoft.com/office/drawing/2014/main" id="{FE001B4F-8035-4B55-B019-4AF6841A5576}"/>
              </a:ext>
            </a:extLst>
          </p:cNvPr>
          <p:cNvCxnSpPr>
            <a:cxnSpLocks/>
          </p:cNvCxnSpPr>
          <p:nvPr/>
        </p:nvCxnSpPr>
        <p:spPr>
          <a:xfrm flipH="1">
            <a:off x="269875" y="4197049"/>
            <a:ext cx="5731981"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65382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8219F64-8CED-48B1-9A63-E0D8DACD0079}"/>
              </a:ext>
            </a:extLst>
          </p:cNvPr>
          <p:cNvSpPr/>
          <p:nvPr/>
        </p:nvSpPr>
        <p:spPr>
          <a:xfrm>
            <a:off x="273050" y="2486025"/>
            <a:ext cx="9393237" cy="3018848"/>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5" name="Text Placeholder 4">
            <a:extLst>
              <a:ext uri="{FF2B5EF4-FFF2-40B4-BE49-F238E27FC236}">
                <a16:creationId xmlns:a16="http://schemas.microsoft.com/office/drawing/2014/main" id="{B0346420-571E-4FA9-8CE8-114E58CBD2E1}"/>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dirty="0"/>
          </a:p>
        </p:txBody>
      </p:sp>
      <p:sp>
        <p:nvSpPr>
          <p:cNvPr id="6" name="Text Placeholder 5">
            <a:extLst>
              <a:ext uri="{FF2B5EF4-FFF2-40B4-BE49-F238E27FC236}">
                <a16:creationId xmlns:a16="http://schemas.microsoft.com/office/drawing/2014/main" id="{324FD127-DF83-49C1-B6DA-B42321B7AFF9}"/>
              </a:ext>
            </a:extLst>
          </p:cNvPr>
          <p:cNvSpPr>
            <a:spLocks noGrp="1"/>
          </p:cNvSpPr>
          <p:nvPr>
            <p:ph type="body" sz="quarter" idx="14"/>
          </p:nvPr>
        </p:nvSpPr>
        <p:spPr/>
        <p:txBody>
          <a:bodyPr/>
          <a:lstStyle/>
          <a:p>
            <a:endParaRPr lang="en-GB" dirty="0"/>
          </a:p>
        </p:txBody>
      </p:sp>
      <p:sp>
        <p:nvSpPr>
          <p:cNvPr id="4" name="Rectangle 3"/>
          <p:cNvSpPr/>
          <p:nvPr/>
        </p:nvSpPr>
        <p:spPr>
          <a:xfrm>
            <a:off x="2671358" y="2825238"/>
            <a:ext cx="7440842" cy="1231106"/>
          </a:xfrm>
          <a:prstGeom prst="rect">
            <a:avLst/>
          </a:prstGeom>
        </p:spPr>
        <p:txBody>
          <a:bodyPr wrap="square" anchor="ctr">
            <a:spAutoFit/>
          </a:bodyPr>
          <a:lstStyle/>
          <a:p>
            <a:pPr marL="0" lvl="1">
              <a:spcBef>
                <a:spcPts val="600"/>
              </a:spcBef>
              <a:spcAft>
                <a:spcPts val="600"/>
              </a:spcAft>
              <a:buClr>
                <a:schemeClr val="accent6"/>
              </a:buClr>
              <a:defRPr/>
            </a:pPr>
            <a:r>
              <a:rPr lang="en-GB" sz="1400" b="1" dirty="0">
                <a:solidFill>
                  <a:srgbClr val="1F2023"/>
                </a:solidFill>
                <a:latin typeface="Arial" pitchFamily="34" charset="0"/>
                <a:cs typeface="Arial" pitchFamily="34" charset="0"/>
              </a:rPr>
              <a:t>Something from a conversation: </a:t>
            </a:r>
          </a:p>
          <a:p>
            <a:pPr marL="0" lvl="1">
              <a:buClr>
                <a:schemeClr val="accent6"/>
              </a:buClr>
              <a:tabLst>
                <a:tab pos="176213" algn="l"/>
                <a:tab pos="723900" algn="l"/>
              </a:tabLst>
              <a:defRPr/>
            </a:pPr>
            <a:r>
              <a:rPr lang="en-GB" sz="1400" b="1" dirty="0">
                <a:solidFill>
                  <a:srgbClr val="1F2023"/>
                </a:solidFill>
                <a:latin typeface="Arial" pitchFamily="34" charset="0"/>
                <a:cs typeface="Arial" pitchFamily="34" charset="0"/>
              </a:rPr>
              <a:t>	</a:t>
            </a:r>
            <a:r>
              <a:rPr lang="en-GB" sz="1200" b="1" dirty="0">
                <a:solidFill>
                  <a:srgbClr val="1F2023"/>
                </a:solidFill>
                <a:latin typeface="Arial" pitchFamily="34" charset="0"/>
                <a:cs typeface="Arial" pitchFamily="34" charset="0"/>
              </a:rPr>
              <a:t>A: </a:t>
            </a:r>
            <a:r>
              <a:rPr lang="en-GB" sz="1200" dirty="0">
                <a:solidFill>
                  <a:srgbClr val="1F2023"/>
                </a:solidFill>
                <a:latin typeface="Arial" pitchFamily="34" charset="0"/>
                <a:cs typeface="Arial" pitchFamily="34" charset="0"/>
              </a:rPr>
              <a:t>“I think that you made the decision in our business area too quickly. </a:t>
            </a:r>
          </a:p>
          <a:p>
            <a:pPr marL="0" lvl="1">
              <a:buClr>
                <a:schemeClr val="accent6"/>
              </a:buClr>
              <a:tabLst>
                <a:tab pos="355600" algn="l"/>
                <a:tab pos="442913" algn="l"/>
              </a:tabLst>
              <a:defRPr/>
            </a:pPr>
            <a:r>
              <a:rPr lang="en-GB" sz="1200" dirty="0">
                <a:solidFill>
                  <a:srgbClr val="1F2023"/>
                </a:solidFill>
                <a:latin typeface="Arial" pitchFamily="34" charset="0"/>
                <a:cs typeface="Arial" pitchFamily="34" charset="0"/>
              </a:rPr>
              <a:t>		We do not have the necessary knowledge, if you ask me. </a:t>
            </a:r>
          </a:p>
          <a:p>
            <a:pPr marL="0" lvl="1">
              <a:buClr>
                <a:schemeClr val="accent6"/>
              </a:buClr>
              <a:tabLst>
                <a:tab pos="355600" algn="l"/>
                <a:tab pos="442913" algn="l"/>
              </a:tabLst>
              <a:defRPr/>
            </a:pPr>
            <a:r>
              <a:rPr lang="en-GB" sz="1200" dirty="0">
                <a:solidFill>
                  <a:srgbClr val="1F2023"/>
                </a:solidFill>
                <a:latin typeface="Arial" pitchFamily="34" charset="0"/>
                <a:cs typeface="Arial" pitchFamily="34" charset="0"/>
              </a:rPr>
              <a:t>		We should wait and gather more knowledge!”</a:t>
            </a:r>
          </a:p>
          <a:p>
            <a:pPr marL="0" lvl="1">
              <a:spcBef>
                <a:spcPts val="600"/>
              </a:spcBef>
              <a:spcAft>
                <a:spcPts val="600"/>
              </a:spcAft>
              <a:buClr>
                <a:schemeClr val="accent6"/>
              </a:buClr>
              <a:tabLst>
                <a:tab pos="176213" algn="l"/>
                <a:tab pos="355600" algn="l"/>
              </a:tabLst>
              <a:defRPr/>
            </a:pPr>
            <a:r>
              <a:rPr lang="en-GB" sz="1200" b="1" dirty="0">
                <a:solidFill>
                  <a:srgbClr val="1F2023"/>
                </a:solidFill>
                <a:latin typeface="Arial" pitchFamily="34" charset="0"/>
                <a:cs typeface="Arial" pitchFamily="34" charset="0"/>
              </a:rPr>
              <a:t>	B: </a:t>
            </a:r>
            <a:r>
              <a:rPr lang="en-GB" sz="1200" dirty="0">
                <a:solidFill>
                  <a:srgbClr val="1F2023"/>
                </a:solidFill>
                <a:latin typeface="Arial" pitchFamily="34" charset="0"/>
                <a:cs typeface="Arial" pitchFamily="34" charset="0"/>
              </a:rPr>
              <a:t>“In your opinion, we do not have the necessary knowledge!”</a:t>
            </a:r>
          </a:p>
        </p:txBody>
      </p:sp>
      <p:sp>
        <p:nvSpPr>
          <p:cNvPr id="17" name="Isosceles Triangle 16">
            <a:extLst>
              <a:ext uri="{FF2B5EF4-FFF2-40B4-BE49-F238E27FC236}">
                <a16:creationId xmlns:a16="http://schemas.microsoft.com/office/drawing/2014/main" id="{107D06C7-164B-4726-8074-91952645461F}"/>
              </a:ext>
            </a:extLst>
          </p:cNvPr>
          <p:cNvSpPr/>
          <p:nvPr/>
        </p:nvSpPr>
        <p:spPr>
          <a:xfrm rot="10800000">
            <a:off x="4828381" y="1724026"/>
            <a:ext cx="279398" cy="119715"/>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0" name="Rectangle 19">
            <a:extLst>
              <a:ext uri="{FF2B5EF4-FFF2-40B4-BE49-F238E27FC236}">
                <a16:creationId xmlns:a16="http://schemas.microsoft.com/office/drawing/2014/main" id="{B7E86606-B2D9-46D6-A6E1-73AD3EB1AB9A}"/>
              </a:ext>
            </a:extLst>
          </p:cNvPr>
          <p:cNvSpPr/>
          <p:nvPr/>
        </p:nvSpPr>
        <p:spPr>
          <a:xfrm>
            <a:off x="2671358" y="4648098"/>
            <a:ext cx="6607971" cy="492443"/>
          </a:xfrm>
          <a:prstGeom prst="rect">
            <a:avLst/>
          </a:prstGeom>
        </p:spPr>
        <p:txBody>
          <a:bodyPr wrap="square" anchor="ctr">
            <a:spAutoFit/>
          </a:bodyPr>
          <a:lstStyle/>
          <a:p>
            <a:r>
              <a:rPr lang="en-GB" sz="1400" b="1" dirty="0">
                <a:solidFill>
                  <a:srgbClr val="1F2023"/>
                </a:solidFill>
                <a:latin typeface="Arial" pitchFamily="34" charset="0"/>
                <a:cs typeface="Arial" pitchFamily="34" charset="0"/>
              </a:rPr>
              <a:t>At the tables: </a:t>
            </a:r>
          </a:p>
          <a:p>
            <a:r>
              <a:rPr lang="en-GB" sz="1200" dirty="0">
                <a:solidFill>
                  <a:srgbClr val="1F2023"/>
                </a:solidFill>
                <a:latin typeface="Arial" pitchFamily="34" charset="0"/>
                <a:cs typeface="Arial" pitchFamily="34" charset="0"/>
              </a:rPr>
              <a:t>Talk about how you could make a complex reflection here?</a:t>
            </a:r>
            <a:endParaRPr lang="en-GB" sz="1200" dirty="0">
              <a:solidFill>
                <a:srgbClr val="1F2023"/>
              </a:solidFill>
            </a:endParaRPr>
          </a:p>
        </p:txBody>
      </p:sp>
      <p:grpSp>
        <p:nvGrpSpPr>
          <p:cNvPr id="21" name="Group 20">
            <a:extLst>
              <a:ext uri="{FF2B5EF4-FFF2-40B4-BE49-F238E27FC236}">
                <a16:creationId xmlns:a16="http://schemas.microsoft.com/office/drawing/2014/main" id="{1B9E07AE-F602-400B-8074-2DB793FFB71F}"/>
              </a:ext>
            </a:extLst>
          </p:cNvPr>
          <p:cNvGrpSpPr/>
          <p:nvPr/>
        </p:nvGrpSpPr>
        <p:grpSpPr>
          <a:xfrm>
            <a:off x="1999115" y="2906003"/>
            <a:ext cx="452660" cy="357363"/>
            <a:chOff x="4051300" y="3319463"/>
            <a:chExt cx="512763" cy="404813"/>
          </a:xfrm>
        </p:grpSpPr>
        <p:sp>
          <p:nvSpPr>
            <p:cNvPr id="22" name="Freeform 22">
              <a:extLst>
                <a:ext uri="{FF2B5EF4-FFF2-40B4-BE49-F238E27FC236}">
                  <a16:creationId xmlns:a16="http://schemas.microsoft.com/office/drawing/2014/main" id="{D66F61F9-C1A5-4B89-9D9E-9B10A5EC8AC7}"/>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23">
              <a:extLst>
                <a:ext uri="{FF2B5EF4-FFF2-40B4-BE49-F238E27FC236}">
                  <a16:creationId xmlns:a16="http://schemas.microsoft.com/office/drawing/2014/main" id="{6EA06EBE-CFF3-4B33-BCD8-E93CE9591296}"/>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24">
              <a:extLst>
                <a:ext uri="{FF2B5EF4-FFF2-40B4-BE49-F238E27FC236}">
                  <a16:creationId xmlns:a16="http://schemas.microsoft.com/office/drawing/2014/main" id="{A8EA6C5C-1110-4CBA-AD92-61EAA27404F7}"/>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25" name="Straight Connector 24">
            <a:extLst>
              <a:ext uri="{FF2B5EF4-FFF2-40B4-BE49-F238E27FC236}">
                <a16:creationId xmlns:a16="http://schemas.microsoft.com/office/drawing/2014/main" id="{FCE4A989-87E9-4109-8C1D-933AF6E2A7FB}"/>
              </a:ext>
            </a:extLst>
          </p:cNvPr>
          <p:cNvCxnSpPr>
            <a:cxnSpLocks/>
          </p:cNvCxnSpPr>
          <p:nvPr/>
        </p:nvCxnSpPr>
        <p:spPr>
          <a:xfrm flipH="1">
            <a:off x="2042561" y="4395558"/>
            <a:ext cx="568730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667AD227-E043-4B8E-8B24-6848005132E1}"/>
              </a:ext>
            </a:extLst>
          </p:cNvPr>
          <p:cNvGrpSpPr/>
          <p:nvPr/>
        </p:nvGrpSpPr>
        <p:grpSpPr>
          <a:xfrm>
            <a:off x="2076805" y="4734773"/>
            <a:ext cx="280423" cy="269648"/>
            <a:chOff x="7442604" y="3311525"/>
            <a:chExt cx="526646" cy="506412"/>
          </a:xfrm>
        </p:grpSpPr>
        <p:sp>
          <p:nvSpPr>
            <p:cNvPr id="30" name="Freeform 93">
              <a:extLst>
                <a:ext uri="{FF2B5EF4-FFF2-40B4-BE49-F238E27FC236}">
                  <a16:creationId xmlns:a16="http://schemas.microsoft.com/office/drawing/2014/main" id="{8DA8F8EA-0A0E-4EE4-9393-83E5D8EA7D9C}"/>
                </a:ext>
              </a:extLst>
            </p:cNvPr>
            <p:cNvSpPr>
              <a:spLocks/>
            </p:cNvSpPr>
            <p:nvPr/>
          </p:nvSpPr>
          <p:spPr bwMode="auto">
            <a:xfrm>
              <a:off x="7442604" y="3392486"/>
              <a:ext cx="415925" cy="344488"/>
            </a:xfrm>
            <a:custGeom>
              <a:avLst/>
              <a:gdLst>
                <a:gd name="T0" fmla="*/ 93 w 93"/>
                <a:gd name="T1" fmla="*/ 77 h 77"/>
                <a:gd name="T2" fmla="*/ 51 w 93"/>
                <a:gd name="T3" fmla="*/ 59 h 77"/>
                <a:gd name="T4" fmla="*/ 47 w 93"/>
                <a:gd name="T5" fmla="*/ 59 h 77"/>
                <a:gd name="T6" fmla="*/ 20 w 93"/>
                <a:gd name="T7" fmla="*/ 59 h 77"/>
                <a:gd name="T8" fmla="*/ 0 w 93"/>
                <a:gd name="T9" fmla="*/ 39 h 77"/>
                <a:gd name="T10" fmla="*/ 0 w 93"/>
                <a:gd name="T11" fmla="*/ 39 h 77"/>
                <a:gd name="T12" fmla="*/ 20 w 93"/>
                <a:gd name="T13" fmla="*/ 19 h 77"/>
                <a:gd name="T14" fmla="*/ 51 w 93"/>
                <a:gd name="T15" fmla="*/ 19 h 77"/>
                <a:gd name="T16" fmla="*/ 51 w 93"/>
                <a:gd name="T17" fmla="*/ 19 h 77"/>
                <a:gd name="T18" fmla="*/ 93 w 93"/>
                <a:gd name="T19" fmla="*/ 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77">
                  <a:moveTo>
                    <a:pt x="93" y="77"/>
                  </a:moveTo>
                  <a:cubicBezTo>
                    <a:pt x="51" y="59"/>
                    <a:pt x="51" y="59"/>
                    <a:pt x="51" y="59"/>
                  </a:cubicBezTo>
                  <a:cubicBezTo>
                    <a:pt x="47" y="59"/>
                    <a:pt x="47" y="59"/>
                    <a:pt x="47" y="59"/>
                  </a:cubicBezTo>
                  <a:cubicBezTo>
                    <a:pt x="20" y="59"/>
                    <a:pt x="20" y="59"/>
                    <a:pt x="20" y="59"/>
                  </a:cubicBezTo>
                  <a:cubicBezTo>
                    <a:pt x="9" y="59"/>
                    <a:pt x="0" y="50"/>
                    <a:pt x="0" y="39"/>
                  </a:cubicBezTo>
                  <a:cubicBezTo>
                    <a:pt x="0" y="39"/>
                    <a:pt x="0" y="39"/>
                    <a:pt x="0" y="39"/>
                  </a:cubicBezTo>
                  <a:cubicBezTo>
                    <a:pt x="0" y="28"/>
                    <a:pt x="9" y="19"/>
                    <a:pt x="20" y="19"/>
                  </a:cubicBezTo>
                  <a:cubicBezTo>
                    <a:pt x="51" y="19"/>
                    <a:pt x="51" y="19"/>
                    <a:pt x="51" y="19"/>
                  </a:cubicBezTo>
                  <a:cubicBezTo>
                    <a:pt x="51" y="19"/>
                    <a:pt x="51" y="19"/>
                    <a:pt x="51" y="19"/>
                  </a:cubicBezTo>
                  <a:cubicBezTo>
                    <a:pt x="93" y="0"/>
                    <a:pt x="93" y="0"/>
                    <a:pt x="93" y="0"/>
                  </a:cubicBezTo>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94">
              <a:extLst>
                <a:ext uri="{FF2B5EF4-FFF2-40B4-BE49-F238E27FC236}">
                  <a16:creationId xmlns:a16="http://schemas.microsoft.com/office/drawing/2014/main" id="{22EF3CFF-BAA1-4C14-9D73-620D1B0850A6}"/>
                </a:ext>
              </a:extLst>
            </p:cNvPr>
            <p:cNvSpPr>
              <a:spLocks/>
            </p:cNvSpPr>
            <p:nvPr/>
          </p:nvSpPr>
          <p:spPr bwMode="auto">
            <a:xfrm>
              <a:off x="7477125" y="3311525"/>
              <a:ext cx="492125" cy="506412"/>
            </a:xfrm>
            <a:custGeom>
              <a:avLst/>
              <a:gdLst>
                <a:gd name="T0" fmla="*/ 33 w 110"/>
                <a:gd name="T1" fmla="*/ 78 h 113"/>
                <a:gd name="T2" fmla="*/ 33 w 110"/>
                <a:gd name="T3" fmla="*/ 105 h 113"/>
                <a:gd name="T4" fmla="*/ 40 w 110"/>
                <a:gd name="T5" fmla="*/ 113 h 113"/>
                <a:gd name="T6" fmla="*/ 40 w 110"/>
                <a:gd name="T7" fmla="*/ 113 h 113"/>
                <a:gd name="T8" fmla="*/ 48 w 110"/>
                <a:gd name="T9" fmla="*/ 105 h 113"/>
                <a:gd name="T10" fmla="*/ 48 w 110"/>
                <a:gd name="T11" fmla="*/ 78 h 113"/>
                <a:gd name="T12" fmla="*/ 41 w 110"/>
                <a:gd name="T13" fmla="*/ 70 h 113"/>
                <a:gd name="T14" fmla="*/ 22 w 110"/>
                <a:gd name="T15" fmla="*/ 70 h 113"/>
                <a:gd name="T16" fmla="*/ 0 w 110"/>
                <a:gd name="T17" fmla="*/ 49 h 113"/>
                <a:gd name="T18" fmla="*/ 0 w 110"/>
                <a:gd name="T19" fmla="*/ 49 h 113"/>
                <a:gd name="T20" fmla="*/ 22 w 110"/>
                <a:gd name="T21" fmla="*/ 27 h 113"/>
                <a:gd name="T22" fmla="*/ 54 w 110"/>
                <a:gd name="T23" fmla="*/ 27 h 113"/>
                <a:gd name="T24" fmla="*/ 54 w 110"/>
                <a:gd name="T25" fmla="*/ 27 h 113"/>
                <a:gd name="T26" fmla="*/ 99 w 110"/>
                <a:gd name="T27" fmla="*/ 7 h 113"/>
                <a:gd name="T28" fmla="*/ 99 w 110"/>
                <a:gd name="T29" fmla="*/ 5 h 113"/>
                <a:gd name="T30" fmla="*/ 104 w 110"/>
                <a:gd name="T31" fmla="*/ 0 h 113"/>
                <a:gd name="T32" fmla="*/ 104 w 110"/>
                <a:gd name="T33" fmla="*/ 0 h 113"/>
                <a:gd name="T34" fmla="*/ 110 w 110"/>
                <a:gd name="T35" fmla="*/ 5 h 113"/>
                <a:gd name="T36" fmla="*/ 110 w 110"/>
                <a:gd name="T37" fmla="*/ 95 h 113"/>
                <a:gd name="T38" fmla="*/ 104 w 110"/>
                <a:gd name="T39" fmla="*/ 100 h 113"/>
                <a:gd name="T40" fmla="*/ 104 w 110"/>
                <a:gd name="T41" fmla="*/ 100 h 113"/>
                <a:gd name="T42" fmla="*/ 99 w 110"/>
                <a:gd name="T43" fmla="*/ 95 h 113"/>
                <a:gd name="T44" fmla="*/ 99 w 110"/>
                <a:gd name="T45" fmla="*/ 89 h 113"/>
                <a:gd name="T46" fmla="*/ 54 w 110"/>
                <a:gd name="T47" fmla="*/ 71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13">
                  <a:moveTo>
                    <a:pt x="33" y="78"/>
                  </a:moveTo>
                  <a:cubicBezTo>
                    <a:pt x="33" y="105"/>
                    <a:pt x="33" y="105"/>
                    <a:pt x="33" y="105"/>
                  </a:cubicBezTo>
                  <a:cubicBezTo>
                    <a:pt x="33" y="110"/>
                    <a:pt x="36" y="113"/>
                    <a:pt x="40" y="113"/>
                  </a:cubicBezTo>
                  <a:cubicBezTo>
                    <a:pt x="40" y="113"/>
                    <a:pt x="40" y="113"/>
                    <a:pt x="40" y="113"/>
                  </a:cubicBezTo>
                  <a:cubicBezTo>
                    <a:pt x="45" y="113"/>
                    <a:pt x="48" y="110"/>
                    <a:pt x="48" y="105"/>
                  </a:cubicBezTo>
                  <a:cubicBezTo>
                    <a:pt x="48" y="78"/>
                    <a:pt x="48" y="78"/>
                    <a:pt x="48" y="78"/>
                  </a:cubicBezTo>
                  <a:cubicBezTo>
                    <a:pt x="48" y="74"/>
                    <a:pt x="45" y="70"/>
                    <a:pt x="41" y="70"/>
                  </a:cubicBezTo>
                  <a:cubicBezTo>
                    <a:pt x="22" y="70"/>
                    <a:pt x="22" y="70"/>
                    <a:pt x="22" y="70"/>
                  </a:cubicBezTo>
                  <a:cubicBezTo>
                    <a:pt x="10" y="70"/>
                    <a:pt x="0" y="61"/>
                    <a:pt x="0" y="49"/>
                  </a:cubicBezTo>
                  <a:cubicBezTo>
                    <a:pt x="0" y="49"/>
                    <a:pt x="0" y="49"/>
                    <a:pt x="0" y="49"/>
                  </a:cubicBezTo>
                  <a:cubicBezTo>
                    <a:pt x="0" y="37"/>
                    <a:pt x="10" y="27"/>
                    <a:pt x="22" y="27"/>
                  </a:cubicBezTo>
                  <a:cubicBezTo>
                    <a:pt x="54" y="27"/>
                    <a:pt x="54" y="27"/>
                    <a:pt x="54" y="27"/>
                  </a:cubicBezTo>
                  <a:cubicBezTo>
                    <a:pt x="54" y="27"/>
                    <a:pt x="54" y="27"/>
                    <a:pt x="54" y="27"/>
                  </a:cubicBezTo>
                  <a:cubicBezTo>
                    <a:pt x="99" y="7"/>
                    <a:pt x="99" y="7"/>
                    <a:pt x="99" y="7"/>
                  </a:cubicBezTo>
                  <a:cubicBezTo>
                    <a:pt x="99" y="5"/>
                    <a:pt x="99" y="5"/>
                    <a:pt x="99" y="5"/>
                  </a:cubicBezTo>
                  <a:cubicBezTo>
                    <a:pt x="99" y="2"/>
                    <a:pt x="101" y="0"/>
                    <a:pt x="104" y="0"/>
                  </a:cubicBezTo>
                  <a:cubicBezTo>
                    <a:pt x="104" y="0"/>
                    <a:pt x="104" y="0"/>
                    <a:pt x="104" y="0"/>
                  </a:cubicBezTo>
                  <a:cubicBezTo>
                    <a:pt x="107" y="0"/>
                    <a:pt x="110" y="2"/>
                    <a:pt x="110" y="5"/>
                  </a:cubicBezTo>
                  <a:cubicBezTo>
                    <a:pt x="110" y="95"/>
                    <a:pt x="110" y="95"/>
                    <a:pt x="110" y="95"/>
                  </a:cubicBezTo>
                  <a:cubicBezTo>
                    <a:pt x="110" y="98"/>
                    <a:pt x="107" y="100"/>
                    <a:pt x="104" y="100"/>
                  </a:cubicBezTo>
                  <a:cubicBezTo>
                    <a:pt x="104" y="100"/>
                    <a:pt x="104" y="100"/>
                    <a:pt x="104" y="100"/>
                  </a:cubicBezTo>
                  <a:cubicBezTo>
                    <a:pt x="101" y="100"/>
                    <a:pt x="99" y="98"/>
                    <a:pt x="99" y="95"/>
                  </a:cubicBezTo>
                  <a:cubicBezTo>
                    <a:pt x="99" y="89"/>
                    <a:pt x="99" y="89"/>
                    <a:pt x="99" y="89"/>
                  </a:cubicBezTo>
                  <a:cubicBezTo>
                    <a:pt x="54" y="71"/>
                    <a:pt x="54" y="71"/>
                    <a:pt x="54" y="7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7" name="Freeform: Shape 26">
            <a:extLst>
              <a:ext uri="{FF2B5EF4-FFF2-40B4-BE49-F238E27FC236}">
                <a16:creationId xmlns:a16="http://schemas.microsoft.com/office/drawing/2014/main" id="{5BA6BE2D-468A-47DE-8E78-463BC2C2502F}"/>
              </a:ext>
            </a:extLst>
          </p:cNvPr>
          <p:cNvSpPr/>
          <p:nvPr/>
        </p:nvSpPr>
        <p:spPr>
          <a:xfrm>
            <a:off x="4767263" y="-720297"/>
            <a:ext cx="595306" cy="72803"/>
          </a:xfrm>
          <a:custGeom>
            <a:avLst/>
            <a:gdLst/>
            <a:ahLst/>
            <a:cxnLst/>
            <a:rect l="0" t="0" r="0" b="0"/>
            <a:pathLst>
              <a:path w="616394" h="72802">
                <a:moveTo>
                  <a:pt x="236609" y="73045"/>
                </a:moveTo>
                <a:cubicBezTo>
                  <a:pt x="232726" y="73045"/>
                  <a:pt x="230299" y="73045"/>
                  <a:pt x="229328" y="73045"/>
                </a:cubicBezTo>
                <a:cubicBezTo>
                  <a:pt x="226902" y="71589"/>
                  <a:pt x="224475" y="70618"/>
                  <a:pt x="222048" y="70618"/>
                </a:cubicBezTo>
                <a:cubicBezTo>
                  <a:pt x="218165" y="70618"/>
                  <a:pt x="215738" y="69162"/>
                  <a:pt x="213312" y="65765"/>
                </a:cubicBezTo>
                <a:cubicBezTo>
                  <a:pt x="213312" y="64309"/>
                  <a:pt x="210885" y="63338"/>
                  <a:pt x="209428" y="61882"/>
                </a:cubicBezTo>
                <a:cubicBezTo>
                  <a:pt x="204575" y="57999"/>
                  <a:pt x="205546" y="49748"/>
                  <a:pt x="211855" y="47322"/>
                </a:cubicBezTo>
                <a:cubicBezTo>
                  <a:pt x="213312" y="47322"/>
                  <a:pt x="214282" y="45866"/>
                  <a:pt x="215738" y="45866"/>
                </a:cubicBezTo>
                <a:cubicBezTo>
                  <a:pt x="222048" y="45866"/>
                  <a:pt x="226902" y="44410"/>
                  <a:pt x="232726" y="43439"/>
                </a:cubicBezTo>
                <a:cubicBezTo>
                  <a:pt x="239035" y="41012"/>
                  <a:pt x="244859" y="41012"/>
                  <a:pt x="251169" y="39556"/>
                </a:cubicBezTo>
                <a:cubicBezTo>
                  <a:pt x="257478" y="39556"/>
                  <a:pt x="263303" y="38100"/>
                  <a:pt x="269612" y="38100"/>
                </a:cubicBezTo>
                <a:cubicBezTo>
                  <a:pt x="276892" y="38100"/>
                  <a:pt x="285629" y="36644"/>
                  <a:pt x="292909" y="38100"/>
                </a:cubicBezTo>
                <a:cubicBezTo>
                  <a:pt x="295336" y="38100"/>
                  <a:pt x="296792" y="38100"/>
                  <a:pt x="299218" y="36644"/>
                </a:cubicBezTo>
                <a:cubicBezTo>
                  <a:pt x="305528" y="35188"/>
                  <a:pt x="312808" y="34217"/>
                  <a:pt x="320089" y="35188"/>
                </a:cubicBezTo>
                <a:cubicBezTo>
                  <a:pt x="324942" y="35188"/>
                  <a:pt x="329796" y="36644"/>
                  <a:pt x="333679" y="36644"/>
                </a:cubicBezTo>
                <a:cubicBezTo>
                  <a:pt x="338532" y="36644"/>
                  <a:pt x="342415" y="35188"/>
                  <a:pt x="347268" y="34217"/>
                </a:cubicBezTo>
                <a:cubicBezTo>
                  <a:pt x="348724" y="34217"/>
                  <a:pt x="351151" y="34217"/>
                  <a:pt x="353578" y="34217"/>
                </a:cubicBezTo>
                <a:cubicBezTo>
                  <a:pt x="367167" y="35673"/>
                  <a:pt x="379301" y="32761"/>
                  <a:pt x="391435" y="31790"/>
                </a:cubicBezTo>
                <a:cubicBezTo>
                  <a:pt x="395318" y="31790"/>
                  <a:pt x="397745" y="31790"/>
                  <a:pt x="400171" y="33246"/>
                </a:cubicBezTo>
                <a:cubicBezTo>
                  <a:pt x="406481" y="33246"/>
                  <a:pt x="413761" y="33246"/>
                  <a:pt x="419585" y="31790"/>
                </a:cubicBezTo>
                <a:cubicBezTo>
                  <a:pt x="434146" y="30334"/>
                  <a:pt x="448706" y="30334"/>
                  <a:pt x="463267" y="30334"/>
                </a:cubicBezTo>
                <a:cubicBezTo>
                  <a:pt x="467150" y="30334"/>
                  <a:pt x="470547" y="31790"/>
                  <a:pt x="475401" y="31790"/>
                </a:cubicBezTo>
                <a:cubicBezTo>
                  <a:pt x="479284" y="31790"/>
                  <a:pt x="482681" y="29364"/>
                  <a:pt x="486564" y="27908"/>
                </a:cubicBezTo>
                <a:cubicBezTo>
                  <a:pt x="496271" y="25481"/>
                  <a:pt x="505978" y="25481"/>
                  <a:pt x="517141" y="25481"/>
                </a:cubicBezTo>
                <a:cubicBezTo>
                  <a:pt x="524421" y="25481"/>
                  <a:pt x="533158" y="24025"/>
                  <a:pt x="540438" y="23054"/>
                </a:cubicBezTo>
                <a:cubicBezTo>
                  <a:pt x="541893" y="21598"/>
                  <a:pt x="544320" y="20627"/>
                  <a:pt x="542865" y="19171"/>
                </a:cubicBezTo>
                <a:cubicBezTo>
                  <a:pt x="541408" y="19171"/>
                  <a:pt x="541408" y="17715"/>
                  <a:pt x="540438" y="17715"/>
                </a:cubicBezTo>
                <a:cubicBezTo>
                  <a:pt x="530731" y="17715"/>
                  <a:pt x="521994" y="17715"/>
                  <a:pt x="512287" y="17715"/>
                </a:cubicBezTo>
                <a:cubicBezTo>
                  <a:pt x="491418" y="17715"/>
                  <a:pt x="471032" y="19171"/>
                  <a:pt x="449192" y="19171"/>
                </a:cubicBezTo>
                <a:cubicBezTo>
                  <a:pt x="446765" y="19171"/>
                  <a:pt x="444338" y="19171"/>
                  <a:pt x="441911" y="19171"/>
                </a:cubicBezTo>
                <a:cubicBezTo>
                  <a:pt x="428322" y="20627"/>
                  <a:pt x="416188" y="21598"/>
                  <a:pt x="404054" y="19171"/>
                </a:cubicBezTo>
                <a:cubicBezTo>
                  <a:pt x="402598" y="19171"/>
                  <a:pt x="401628" y="19171"/>
                  <a:pt x="400171" y="19171"/>
                </a:cubicBezTo>
                <a:cubicBezTo>
                  <a:pt x="393862" y="21598"/>
                  <a:pt x="386581" y="20627"/>
                  <a:pt x="379301" y="20627"/>
                </a:cubicBezTo>
                <a:cubicBezTo>
                  <a:pt x="372992" y="20627"/>
                  <a:pt x="365712" y="22083"/>
                  <a:pt x="358431" y="22083"/>
                </a:cubicBezTo>
                <a:cubicBezTo>
                  <a:pt x="348724" y="23539"/>
                  <a:pt x="339988" y="24510"/>
                  <a:pt x="330281" y="23539"/>
                </a:cubicBezTo>
                <a:cubicBezTo>
                  <a:pt x="328825" y="23539"/>
                  <a:pt x="328825" y="23539"/>
                  <a:pt x="327854" y="23539"/>
                </a:cubicBezTo>
                <a:cubicBezTo>
                  <a:pt x="316691" y="25966"/>
                  <a:pt x="306013" y="24996"/>
                  <a:pt x="296306" y="25966"/>
                </a:cubicBezTo>
                <a:cubicBezTo>
                  <a:pt x="289997" y="27422"/>
                  <a:pt x="284173" y="24510"/>
                  <a:pt x="277863" y="27422"/>
                </a:cubicBezTo>
                <a:cubicBezTo>
                  <a:pt x="261847" y="27422"/>
                  <a:pt x="247286" y="31305"/>
                  <a:pt x="231755" y="29849"/>
                </a:cubicBezTo>
                <a:cubicBezTo>
                  <a:pt x="225445" y="29849"/>
                  <a:pt x="219621" y="33732"/>
                  <a:pt x="213312" y="31305"/>
                </a:cubicBezTo>
                <a:cubicBezTo>
                  <a:pt x="208458" y="32761"/>
                  <a:pt x="202148" y="32761"/>
                  <a:pt x="196324" y="33732"/>
                </a:cubicBezTo>
                <a:cubicBezTo>
                  <a:pt x="194868" y="33732"/>
                  <a:pt x="192441" y="33732"/>
                  <a:pt x="191471" y="33732"/>
                </a:cubicBezTo>
                <a:cubicBezTo>
                  <a:pt x="180307" y="32276"/>
                  <a:pt x="170600" y="35188"/>
                  <a:pt x="160893" y="35188"/>
                </a:cubicBezTo>
                <a:cubicBezTo>
                  <a:pt x="148760" y="36644"/>
                  <a:pt x="137597" y="36644"/>
                  <a:pt x="125463" y="36644"/>
                </a:cubicBezTo>
                <a:cubicBezTo>
                  <a:pt x="123036" y="36644"/>
                  <a:pt x="121580" y="36644"/>
                  <a:pt x="119153" y="36644"/>
                </a:cubicBezTo>
                <a:cubicBezTo>
                  <a:pt x="112844" y="38100"/>
                  <a:pt x="105564" y="39071"/>
                  <a:pt x="98284" y="38100"/>
                </a:cubicBezTo>
                <a:cubicBezTo>
                  <a:pt x="98284" y="38100"/>
                  <a:pt x="96827" y="38100"/>
                  <a:pt x="95857" y="38100"/>
                </a:cubicBezTo>
                <a:cubicBezTo>
                  <a:pt x="79840" y="40527"/>
                  <a:pt x="65280" y="39556"/>
                  <a:pt x="49749" y="39556"/>
                </a:cubicBezTo>
                <a:cubicBezTo>
                  <a:pt x="45866" y="39556"/>
                  <a:pt x="41497" y="39556"/>
                  <a:pt x="37615" y="39556"/>
                </a:cubicBezTo>
                <a:cubicBezTo>
                  <a:pt x="30334" y="39556"/>
                  <a:pt x="24025" y="39556"/>
                  <a:pt x="18201" y="39556"/>
                </a:cubicBezTo>
                <a:cubicBezTo>
                  <a:pt x="15774" y="38100"/>
                  <a:pt x="13347" y="38100"/>
                  <a:pt x="10920" y="37129"/>
                </a:cubicBezTo>
                <a:cubicBezTo>
                  <a:pt x="6067" y="35673"/>
                  <a:pt x="3640" y="32276"/>
                  <a:pt x="3640" y="27422"/>
                </a:cubicBezTo>
                <a:cubicBezTo>
                  <a:pt x="3640" y="24996"/>
                  <a:pt x="5096" y="22569"/>
                  <a:pt x="7523" y="22569"/>
                </a:cubicBezTo>
                <a:cubicBezTo>
                  <a:pt x="9950" y="22569"/>
                  <a:pt x="12376" y="22569"/>
                  <a:pt x="13833" y="22569"/>
                </a:cubicBezTo>
                <a:cubicBezTo>
                  <a:pt x="27422" y="27422"/>
                  <a:pt x="40527" y="27422"/>
                  <a:pt x="52661" y="26452"/>
                </a:cubicBezTo>
                <a:cubicBezTo>
                  <a:pt x="66250" y="26452"/>
                  <a:pt x="80811" y="26452"/>
                  <a:pt x="93915" y="24996"/>
                </a:cubicBezTo>
                <a:cubicBezTo>
                  <a:pt x="96342" y="24996"/>
                  <a:pt x="100225" y="26452"/>
                  <a:pt x="103622" y="24996"/>
                </a:cubicBezTo>
                <a:cubicBezTo>
                  <a:pt x="109932" y="23539"/>
                  <a:pt x="115756" y="23539"/>
                  <a:pt x="123036" y="24996"/>
                </a:cubicBezTo>
                <a:cubicBezTo>
                  <a:pt x="124492" y="24996"/>
                  <a:pt x="125463" y="24996"/>
                  <a:pt x="126919" y="24996"/>
                </a:cubicBezTo>
                <a:cubicBezTo>
                  <a:pt x="135655" y="22569"/>
                  <a:pt x="143906" y="23539"/>
                  <a:pt x="152643" y="22569"/>
                </a:cubicBezTo>
                <a:cubicBezTo>
                  <a:pt x="155069" y="22569"/>
                  <a:pt x="157496" y="22569"/>
                  <a:pt x="161379" y="22569"/>
                </a:cubicBezTo>
                <a:cubicBezTo>
                  <a:pt x="165262" y="22569"/>
                  <a:pt x="170115" y="22569"/>
                  <a:pt x="174969" y="21113"/>
                </a:cubicBezTo>
                <a:cubicBezTo>
                  <a:pt x="179822" y="19657"/>
                  <a:pt x="184676" y="19657"/>
                  <a:pt x="190986" y="19657"/>
                </a:cubicBezTo>
                <a:cubicBezTo>
                  <a:pt x="198266" y="19657"/>
                  <a:pt x="205546" y="19657"/>
                  <a:pt x="212826" y="18201"/>
                </a:cubicBezTo>
                <a:cubicBezTo>
                  <a:pt x="224960" y="16744"/>
                  <a:pt x="237094" y="16744"/>
                  <a:pt x="249228" y="18201"/>
                </a:cubicBezTo>
                <a:cubicBezTo>
                  <a:pt x="250683" y="19657"/>
                  <a:pt x="253110" y="18201"/>
                  <a:pt x="254081" y="18201"/>
                </a:cubicBezTo>
                <a:cubicBezTo>
                  <a:pt x="257964" y="15774"/>
                  <a:pt x="262817" y="14318"/>
                  <a:pt x="266215" y="15774"/>
                </a:cubicBezTo>
                <a:cubicBezTo>
                  <a:pt x="273495" y="15774"/>
                  <a:pt x="280775" y="14318"/>
                  <a:pt x="287085" y="17230"/>
                </a:cubicBezTo>
                <a:cubicBezTo>
                  <a:pt x="288541" y="17230"/>
                  <a:pt x="289511" y="17230"/>
                  <a:pt x="289511" y="17230"/>
                </a:cubicBezTo>
                <a:cubicBezTo>
                  <a:pt x="291938" y="15774"/>
                  <a:pt x="293394" y="14803"/>
                  <a:pt x="295821" y="14803"/>
                </a:cubicBezTo>
                <a:cubicBezTo>
                  <a:pt x="302131" y="14803"/>
                  <a:pt x="307955" y="14803"/>
                  <a:pt x="312808" y="14803"/>
                </a:cubicBezTo>
                <a:cubicBezTo>
                  <a:pt x="315235" y="14803"/>
                  <a:pt x="316691" y="16259"/>
                  <a:pt x="317662" y="14803"/>
                </a:cubicBezTo>
                <a:cubicBezTo>
                  <a:pt x="321545" y="12376"/>
                  <a:pt x="326398" y="12376"/>
                  <a:pt x="331252" y="13347"/>
                </a:cubicBezTo>
                <a:cubicBezTo>
                  <a:pt x="338532" y="9464"/>
                  <a:pt x="345812" y="11891"/>
                  <a:pt x="353093" y="11891"/>
                </a:cubicBezTo>
                <a:cubicBezTo>
                  <a:pt x="360373" y="10435"/>
                  <a:pt x="367653" y="10435"/>
                  <a:pt x="373962" y="10435"/>
                </a:cubicBezTo>
                <a:cubicBezTo>
                  <a:pt x="375419" y="10435"/>
                  <a:pt x="376389" y="10435"/>
                  <a:pt x="377845" y="10435"/>
                </a:cubicBezTo>
                <a:cubicBezTo>
                  <a:pt x="385126" y="11891"/>
                  <a:pt x="392406" y="11891"/>
                  <a:pt x="401142" y="10435"/>
                </a:cubicBezTo>
                <a:cubicBezTo>
                  <a:pt x="405025" y="10435"/>
                  <a:pt x="409878" y="10435"/>
                  <a:pt x="413276" y="8979"/>
                </a:cubicBezTo>
                <a:cubicBezTo>
                  <a:pt x="418129" y="6552"/>
                  <a:pt x="422983" y="6552"/>
                  <a:pt x="427836" y="7523"/>
                </a:cubicBezTo>
                <a:cubicBezTo>
                  <a:pt x="434146" y="7523"/>
                  <a:pt x="438999" y="8979"/>
                  <a:pt x="443853" y="9950"/>
                </a:cubicBezTo>
                <a:cubicBezTo>
                  <a:pt x="450163" y="11406"/>
                  <a:pt x="457443" y="9950"/>
                  <a:pt x="463267" y="7523"/>
                </a:cubicBezTo>
                <a:cubicBezTo>
                  <a:pt x="467150" y="5096"/>
                  <a:pt x="472003" y="5096"/>
                  <a:pt x="476857" y="5096"/>
                </a:cubicBezTo>
                <a:cubicBezTo>
                  <a:pt x="488991" y="5096"/>
                  <a:pt x="501125" y="5096"/>
                  <a:pt x="513258" y="5096"/>
                </a:cubicBezTo>
                <a:cubicBezTo>
                  <a:pt x="515685" y="5096"/>
                  <a:pt x="518112" y="3640"/>
                  <a:pt x="520539" y="3640"/>
                </a:cubicBezTo>
                <a:cubicBezTo>
                  <a:pt x="532672" y="5096"/>
                  <a:pt x="544806" y="5096"/>
                  <a:pt x="556940" y="5096"/>
                </a:cubicBezTo>
                <a:cubicBezTo>
                  <a:pt x="559367" y="5096"/>
                  <a:pt x="560822" y="5096"/>
                  <a:pt x="561793" y="5096"/>
                </a:cubicBezTo>
                <a:cubicBezTo>
                  <a:pt x="569074" y="7523"/>
                  <a:pt x="577810" y="6552"/>
                  <a:pt x="585090" y="6552"/>
                </a:cubicBezTo>
                <a:cubicBezTo>
                  <a:pt x="591400" y="8008"/>
                  <a:pt x="596253" y="8008"/>
                  <a:pt x="601107" y="8979"/>
                </a:cubicBezTo>
                <a:cubicBezTo>
                  <a:pt x="605960" y="8979"/>
                  <a:pt x="610814" y="12862"/>
                  <a:pt x="612269" y="17715"/>
                </a:cubicBezTo>
                <a:cubicBezTo>
                  <a:pt x="612269" y="19171"/>
                  <a:pt x="613726" y="19171"/>
                  <a:pt x="613726" y="20142"/>
                </a:cubicBezTo>
                <a:cubicBezTo>
                  <a:pt x="615182" y="24996"/>
                  <a:pt x="613726" y="27422"/>
                  <a:pt x="608872" y="27422"/>
                </a:cubicBezTo>
                <a:cubicBezTo>
                  <a:pt x="604989" y="27422"/>
                  <a:pt x="600136" y="27422"/>
                  <a:pt x="596738" y="27422"/>
                </a:cubicBezTo>
                <a:cubicBezTo>
                  <a:pt x="593341" y="27422"/>
                  <a:pt x="589458" y="27422"/>
                  <a:pt x="585575" y="29849"/>
                </a:cubicBezTo>
                <a:cubicBezTo>
                  <a:pt x="584119" y="29849"/>
                  <a:pt x="581693" y="31305"/>
                  <a:pt x="579266" y="31305"/>
                </a:cubicBezTo>
                <a:cubicBezTo>
                  <a:pt x="572956" y="29849"/>
                  <a:pt x="567132" y="32761"/>
                  <a:pt x="559852" y="33732"/>
                </a:cubicBezTo>
                <a:cubicBezTo>
                  <a:pt x="548689" y="36159"/>
                  <a:pt x="536555" y="38585"/>
                  <a:pt x="524421" y="38585"/>
                </a:cubicBezTo>
                <a:cubicBezTo>
                  <a:pt x="510832" y="42468"/>
                  <a:pt x="497727" y="41012"/>
                  <a:pt x="484137" y="42468"/>
                </a:cubicBezTo>
                <a:cubicBezTo>
                  <a:pt x="464723" y="44895"/>
                  <a:pt x="445309" y="44895"/>
                  <a:pt x="425895" y="46351"/>
                </a:cubicBezTo>
                <a:cubicBezTo>
                  <a:pt x="406481" y="47807"/>
                  <a:pt x="388038" y="46351"/>
                  <a:pt x="370080" y="48778"/>
                </a:cubicBezTo>
                <a:cubicBezTo>
                  <a:pt x="361343" y="47322"/>
                  <a:pt x="354063" y="50234"/>
                  <a:pt x="345812" y="50234"/>
                </a:cubicBezTo>
                <a:cubicBezTo>
                  <a:pt x="338532" y="50234"/>
                  <a:pt x="329796" y="51690"/>
                  <a:pt x="322515" y="50234"/>
                </a:cubicBezTo>
                <a:cubicBezTo>
                  <a:pt x="313779" y="50234"/>
                  <a:pt x="305528" y="51690"/>
                  <a:pt x="296792" y="51690"/>
                </a:cubicBezTo>
                <a:cubicBezTo>
                  <a:pt x="289511" y="51690"/>
                  <a:pt x="280775" y="54117"/>
                  <a:pt x="273495" y="54117"/>
                </a:cubicBezTo>
                <a:cubicBezTo>
                  <a:pt x="264759" y="54117"/>
                  <a:pt x="256508" y="55573"/>
                  <a:pt x="247771" y="56543"/>
                </a:cubicBezTo>
                <a:cubicBezTo>
                  <a:pt x="242918" y="56543"/>
                  <a:pt x="238064" y="56543"/>
                  <a:pt x="231755" y="57999"/>
                </a:cubicBezTo>
                <a:cubicBezTo>
                  <a:pt x="230299" y="57999"/>
                  <a:pt x="229328" y="59455"/>
                  <a:pt x="226902" y="59455"/>
                </a:cubicBezTo>
                <a:cubicBezTo>
                  <a:pt x="225445" y="59455"/>
                  <a:pt x="225445" y="61882"/>
                  <a:pt x="225445" y="63338"/>
                </a:cubicBezTo>
                <a:cubicBezTo>
                  <a:pt x="226902" y="64794"/>
                  <a:pt x="227872" y="67221"/>
                  <a:pt x="229328" y="68192"/>
                </a:cubicBezTo>
                <a:cubicBezTo>
                  <a:pt x="229328" y="68192"/>
                  <a:pt x="232726" y="69648"/>
                  <a:pt x="236609" y="73045"/>
                </a:cubicBezTo>
                <a:lnTo>
                  <a:pt x="236609" y="73045"/>
                </a:lnTo>
                <a:close/>
              </a:path>
            </a:pathLst>
          </a:custGeom>
          <a:solidFill>
            <a:schemeClr val="bg1"/>
          </a:solidFill>
          <a:ln w="9525" cap="flat">
            <a:noFill/>
            <a:prstDash val="solid"/>
            <a:miter/>
          </a:ln>
        </p:spPr>
        <p:txBody>
          <a:bodyPr/>
          <a:lstStyle/>
          <a:p>
            <a:endParaRPr lang="en-GB" dirty="0"/>
          </a:p>
        </p:txBody>
      </p:sp>
      <p:sp>
        <p:nvSpPr>
          <p:cNvPr id="28" name="Rectangle 27">
            <a:extLst>
              <a:ext uri="{FF2B5EF4-FFF2-40B4-BE49-F238E27FC236}">
                <a16:creationId xmlns:a16="http://schemas.microsoft.com/office/drawing/2014/main" id="{4D6F0C6A-2734-4D19-92A7-674C24F93A2D}"/>
              </a:ext>
            </a:extLst>
          </p:cNvPr>
          <p:cNvSpPr/>
          <p:nvPr/>
        </p:nvSpPr>
        <p:spPr>
          <a:xfrm>
            <a:off x="269874" y="1543601"/>
            <a:ext cx="9396413" cy="930771"/>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251999" rIns="108000" bIns="108000" rtlCol="0" anchor="ctr" anchorCtr="0">
            <a:noAutofit/>
          </a:bodyPr>
          <a:lstStyle/>
          <a:p>
            <a:pPr algn="ctr"/>
            <a:r>
              <a:rPr lang="en-GB" sz="1600" b="1" dirty="0">
                <a:solidFill>
                  <a:schemeClr val="bg1"/>
                </a:solidFill>
              </a:rPr>
              <a:t>Example of active listening</a:t>
            </a:r>
          </a:p>
        </p:txBody>
      </p:sp>
      <p:sp>
        <p:nvSpPr>
          <p:cNvPr id="32" name="Oval 31"/>
          <p:cNvSpPr/>
          <p:nvPr/>
        </p:nvSpPr>
        <p:spPr>
          <a:xfrm>
            <a:off x="4493102" y="845599"/>
            <a:ext cx="995972" cy="995970"/>
          </a:xfrm>
          <a:prstGeom prst="ellipse">
            <a:avLst/>
          </a:prstGeom>
          <a:solidFill>
            <a:srgbClr val="FCFBF5"/>
          </a:solidFill>
          <a:ln w="19050">
            <a:solidFill>
              <a:srgbClr val="E8E5E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nvGrpSpPr>
          <p:cNvPr id="33" name="Group 32">
            <a:extLst>
              <a:ext uri="{FF2B5EF4-FFF2-40B4-BE49-F238E27FC236}">
                <a16:creationId xmlns:a16="http://schemas.microsoft.com/office/drawing/2014/main" id="{1C6FACFE-B3A3-4BD7-97FE-47B39B5E3263}"/>
              </a:ext>
            </a:extLst>
          </p:cNvPr>
          <p:cNvGrpSpPr/>
          <p:nvPr/>
        </p:nvGrpSpPr>
        <p:grpSpPr>
          <a:xfrm>
            <a:off x="4721212" y="1062389"/>
            <a:ext cx="539751" cy="465138"/>
            <a:chOff x="3781425" y="3370263"/>
            <a:chExt cx="539751" cy="465138"/>
          </a:xfrm>
        </p:grpSpPr>
        <p:sp>
          <p:nvSpPr>
            <p:cNvPr id="34" name="Freeform 144">
              <a:extLst>
                <a:ext uri="{FF2B5EF4-FFF2-40B4-BE49-F238E27FC236}">
                  <a16:creationId xmlns:a16="http://schemas.microsoft.com/office/drawing/2014/main" id="{1C216D34-E47E-434A-9A81-DB6D14A22534}"/>
                </a:ext>
              </a:extLst>
            </p:cNvPr>
            <p:cNvSpPr>
              <a:spLocks/>
            </p:cNvSpPr>
            <p:nvPr/>
          </p:nvSpPr>
          <p:spPr bwMode="auto">
            <a:xfrm>
              <a:off x="4191000" y="3541713"/>
              <a:ext cx="107950" cy="207963"/>
            </a:xfrm>
            <a:custGeom>
              <a:avLst/>
              <a:gdLst>
                <a:gd name="T0" fmla="*/ 0 w 24"/>
                <a:gd name="T1" fmla="*/ 0 h 46"/>
                <a:gd name="T2" fmla="*/ 1 w 24"/>
                <a:gd name="T3" fmla="*/ 0 h 46"/>
                <a:gd name="T4" fmla="*/ 24 w 24"/>
                <a:gd name="T5" fmla="*/ 23 h 46"/>
                <a:gd name="T6" fmla="*/ 24 w 24"/>
                <a:gd name="T7" fmla="*/ 23 h 46"/>
                <a:gd name="T8" fmla="*/ 1 w 24"/>
                <a:gd name="T9" fmla="*/ 46 h 46"/>
                <a:gd name="T10" fmla="*/ 0 w 24"/>
                <a:gd name="T11" fmla="*/ 46 h 46"/>
              </a:gdLst>
              <a:ahLst/>
              <a:cxnLst>
                <a:cxn ang="0">
                  <a:pos x="T0" y="T1"/>
                </a:cxn>
                <a:cxn ang="0">
                  <a:pos x="T2" y="T3"/>
                </a:cxn>
                <a:cxn ang="0">
                  <a:pos x="T4" y="T5"/>
                </a:cxn>
                <a:cxn ang="0">
                  <a:pos x="T6" y="T7"/>
                </a:cxn>
                <a:cxn ang="0">
                  <a:pos x="T8" y="T9"/>
                </a:cxn>
                <a:cxn ang="0">
                  <a:pos x="T10" y="T11"/>
                </a:cxn>
              </a:cxnLst>
              <a:rect l="0" t="0" r="r" b="b"/>
              <a:pathLst>
                <a:path w="24" h="46">
                  <a:moveTo>
                    <a:pt x="0" y="0"/>
                  </a:moveTo>
                  <a:cubicBezTo>
                    <a:pt x="1" y="0"/>
                    <a:pt x="1" y="0"/>
                    <a:pt x="1" y="0"/>
                  </a:cubicBezTo>
                  <a:cubicBezTo>
                    <a:pt x="14" y="0"/>
                    <a:pt x="24" y="10"/>
                    <a:pt x="24" y="23"/>
                  </a:cubicBezTo>
                  <a:cubicBezTo>
                    <a:pt x="24" y="23"/>
                    <a:pt x="24" y="23"/>
                    <a:pt x="24" y="23"/>
                  </a:cubicBezTo>
                  <a:cubicBezTo>
                    <a:pt x="24" y="36"/>
                    <a:pt x="14" y="46"/>
                    <a:pt x="1" y="46"/>
                  </a:cubicBezTo>
                  <a:cubicBezTo>
                    <a:pt x="0" y="46"/>
                    <a:pt x="0" y="46"/>
                    <a:pt x="0" y="46"/>
                  </a:cubicBezTo>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145">
              <a:extLst>
                <a:ext uri="{FF2B5EF4-FFF2-40B4-BE49-F238E27FC236}">
                  <a16:creationId xmlns:a16="http://schemas.microsoft.com/office/drawing/2014/main" id="{8D0FBE75-C794-487D-92E8-C2DEB319D623}"/>
                </a:ext>
              </a:extLst>
            </p:cNvPr>
            <p:cNvSpPr>
              <a:spLocks/>
            </p:cNvSpPr>
            <p:nvPr/>
          </p:nvSpPr>
          <p:spPr bwMode="auto">
            <a:xfrm>
              <a:off x="3781425" y="3541713"/>
              <a:ext cx="112713" cy="207963"/>
            </a:xfrm>
            <a:custGeom>
              <a:avLst/>
              <a:gdLst>
                <a:gd name="T0" fmla="*/ 25 w 25"/>
                <a:gd name="T1" fmla="*/ 46 h 46"/>
                <a:gd name="T2" fmla="*/ 23 w 25"/>
                <a:gd name="T3" fmla="*/ 46 h 46"/>
                <a:gd name="T4" fmla="*/ 0 w 25"/>
                <a:gd name="T5" fmla="*/ 23 h 46"/>
                <a:gd name="T6" fmla="*/ 0 w 25"/>
                <a:gd name="T7" fmla="*/ 23 h 46"/>
                <a:gd name="T8" fmla="*/ 23 w 25"/>
                <a:gd name="T9" fmla="*/ 0 h 46"/>
                <a:gd name="T10" fmla="*/ 25 w 25"/>
                <a:gd name="T11" fmla="*/ 0 h 46"/>
              </a:gdLst>
              <a:ahLst/>
              <a:cxnLst>
                <a:cxn ang="0">
                  <a:pos x="T0" y="T1"/>
                </a:cxn>
                <a:cxn ang="0">
                  <a:pos x="T2" y="T3"/>
                </a:cxn>
                <a:cxn ang="0">
                  <a:pos x="T4" y="T5"/>
                </a:cxn>
                <a:cxn ang="0">
                  <a:pos x="T6" y="T7"/>
                </a:cxn>
                <a:cxn ang="0">
                  <a:pos x="T8" y="T9"/>
                </a:cxn>
                <a:cxn ang="0">
                  <a:pos x="T10" y="T11"/>
                </a:cxn>
              </a:cxnLst>
              <a:rect l="0" t="0" r="r" b="b"/>
              <a:pathLst>
                <a:path w="25" h="46">
                  <a:moveTo>
                    <a:pt x="25" y="46"/>
                  </a:moveTo>
                  <a:cubicBezTo>
                    <a:pt x="23" y="46"/>
                    <a:pt x="23" y="46"/>
                    <a:pt x="23" y="46"/>
                  </a:cubicBezTo>
                  <a:cubicBezTo>
                    <a:pt x="10" y="46"/>
                    <a:pt x="0" y="36"/>
                    <a:pt x="0" y="23"/>
                  </a:cubicBezTo>
                  <a:cubicBezTo>
                    <a:pt x="0" y="23"/>
                    <a:pt x="0" y="23"/>
                    <a:pt x="0" y="23"/>
                  </a:cubicBezTo>
                  <a:cubicBezTo>
                    <a:pt x="0" y="10"/>
                    <a:pt x="10" y="0"/>
                    <a:pt x="23" y="0"/>
                  </a:cubicBezTo>
                  <a:cubicBezTo>
                    <a:pt x="25" y="0"/>
                    <a:pt x="25" y="0"/>
                    <a:pt x="25" y="0"/>
                  </a:cubicBezTo>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146">
              <a:extLst>
                <a:ext uri="{FF2B5EF4-FFF2-40B4-BE49-F238E27FC236}">
                  <a16:creationId xmlns:a16="http://schemas.microsoft.com/office/drawing/2014/main" id="{DED50154-D7EF-4EC1-8574-0A7894660134}"/>
                </a:ext>
              </a:extLst>
            </p:cNvPr>
            <p:cNvSpPr>
              <a:spLocks/>
            </p:cNvSpPr>
            <p:nvPr/>
          </p:nvSpPr>
          <p:spPr bwMode="auto">
            <a:xfrm>
              <a:off x="3916363" y="3370263"/>
              <a:ext cx="323850" cy="352425"/>
            </a:xfrm>
            <a:custGeom>
              <a:avLst/>
              <a:gdLst>
                <a:gd name="T0" fmla="*/ 72 w 72"/>
                <a:gd name="T1" fmla="*/ 78 h 78"/>
                <a:gd name="T2" fmla="*/ 72 w 72"/>
                <a:gd name="T3" fmla="*/ 36 h 78"/>
                <a:gd name="T4" fmla="*/ 36 w 72"/>
                <a:gd name="T5" fmla="*/ 0 h 78"/>
                <a:gd name="T6" fmla="*/ 36 w 72"/>
                <a:gd name="T7" fmla="*/ 0 h 78"/>
                <a:gd name="T8" fmla="*/ 0 w 72"/>
                <a:gd name="T9" fmla="*/ 36 h 78"/>
                <a:gd name="T10" fmla="*/ 0 w 72"/>
                <a:gd name="T11" fmla="*/ 77 h 78"/>
              </a:gdLst>
              <a:ahLst/>
              <a:cxnLst>
                <a:cxn ang="0">
                  <a:pos x="T0" y="T1"/>
                </a:cxn>
                <a:cxn ang="0">
                  <a:pos x="T2" y="T3"/>
                </a:cxn>
                <a:cxn ang="0">
                  <a:pos x="T4" y="T5"/>
                </a:cxn>
                <a:cxn ang="0">
                  <a:pos x="T6" y="T7"/>
                </a:cxn>
                <a:cxn ang="0">
                  <a:pos x="T8" y="T9"/>
                </a:cxn>
                <a:cxn ang="0">
                  <a:pos x="T10" y="T11"/>
                </a:cxn>
              </a:cxnLst>
              <a:rect l="0" t="0" r="r" b="b"/>
              <a:pathLst>
                <a:path w="72" h="78">
                  <a:moveTo>
                    <a:pt x="72" y="78"/>
                  </a:moveTo>
                  <a:cubicBezTo>
                    <a:pt x="72" y="36"/>
                    <a:pt x="72" y="36"/>
                    <a:pt x="72" y="36"/>
                  </a:cubicBezTo>
                  <a:cubicBezTo>
                    <a:pt x="72" y="17"/>
                    <a:pt x="56" y="0"/>
                    <a:pt x="36" y="0"/>
                  </a:cubicBezTo>
                  <a:cubicBezTo>
                    <a:pt x="36" y="0"/>
                    <a:pt x="36" y="0"/>
                    <a:pt x="36" y="0"/>
                  </a:cubicBezTo>
                  <a:cubicBezTo>
                    <a:pt x="16" y="0"/>
                    <a:pt x="0" y="17"/>
                    <a:pt x="0" y="36"/>
                  </a:cubicBezTo>
                  <a:cubicBezTo>
                    <a:pt x="0" y="77"/>
                    <a:pt x="0" y="77"/>
                    <a:pt x="0" y="77"/>
                  </a:cubicBezTo>
                </a:path>
              </a:pathLst>
            </a:custGeom>
            <a:no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37" name="Freeform 147">
              <a:extLst>
                <a:ext uri="{FF2B5EF4-FFF2-40B4-BE49-F238E27FC236}">
                  <a16:creationId xmlns:a16="http://schemas.microsoft.com/office/drawing/2014/main" id="{B47A3959-ECD9-4A5F-A2DD-680A35200A76}"/>
                </a:ext>
              </a:extLst>
            </p:cNvPr>
            <p:cNvSpPr>
              <a:spLocks/>
            </p:cNvSpPr>
            <p:nvPr/>
          </p:nvSpPr>
          <p:spPr bwMode="auto">
            <a:xfrm>
              <a:off x="4240213" y="3563938"/>
              <a:ext cx="80963" cy="158750"/>
            </a:xfrm>
            <a:custGeom>
              <a:avLst/>
              <a:gdLst>
                <a:gd name="T0" fmla="*/ 0 w 18"/>
                <a:gd name="T1" fmla="*/ 0 h 35"/>
                <a:gd name="T2" fmla="*/ 1 w 18"/>
                <a:gd name="T3" fmla="*/ 0 h 35"/>
                <a:gd name="T4" fmla="*/ 18 w 18"/>
                <a:gd name="T5" fmla="*/ 18 h 35"/>
                <a:gd name="T6" fmla="*/ 18 w 18"/>
                <a:gd name="T7" fmla="*/ 18 h 35"/>
                <a:gd name="T8" fmla="*/ 1 w 18"/>
                <a:gd name="T9" fmla="*/ 35 h 35"/>
                <a:gd name="T10" fmla="*/ 0 w 18"/>
                <a:gd name="T11" fmla="*/ 35 h 35"/>
              </a:gdLst>
              <a:ahLst/>
              <a:cxnLst>
                <a:cxn ang="0">
                  <a:pos x="T0" y="T1"/>
                </a:cxn>
                <a:cxn ang="0">
                  <a:pos x="T2" y="T3"/>
                </a:cxn>
                <a:cxn ang="0">
                  <a:pos x="T4" y="T5"/>
                </a:cxn>
                <a:cxn ang="0">
                  <a:pos x="T6" y="T7"/>
                </a:cxn>
                <a:cxn ang="0">
                  <a:pos x="T8" y="T9"/>
                </a:cxn>
                <a:cxn ang="0">
                  <a:pos x="T10" y="T11"/>
                </a:cxn>
              </a:cxnLst>
              <a:rect l="0" t="0" r="r" b="b"/>
              <a:pathLst>
                <a:path w="18" h="35">
                  <a:moveTo>
                    <a:pt x="0" y="0"/>
                  </a:moveTo>
                  <a:cubicBezTo>
                    <a:pt x="1" y="0"/>
                    <a:pt x="1" y="0"/>
                    <a:pt x="1" y="0"/>
                  </a:cubicBezTo>
                  <a:cubicBezTo>
                    <a:pt x="10" y="0"/>
                    <a:pt x="18" y="8"/>
                    <a:pt x="18" y="18"/>
                  </a:cubicBezTo>
                  <a:cubicBezTo>
                    <a:pt x="18" y="18"/>
                    <a:pt x="18" y="18"/>
                    <a:pt x="18" y="18"/>
                  </a:cubicBezTo>
                  <a:cubicBezTo>
                    <a:pt x="18" y="28"/>
                    <a:pt x="10" y="35"/>
                    <a:pt x="1" y="35"/>
                  </a:cubicBezTo>
                  <a:cubicBezTo>
                    <a:pt x="0" y="35"/>
                    <a:pt x="0" y="35"/>
                    <a:pt x="0" y="3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48">
              <a:extLst>
                <a:ext uri="{FF2B5EF4-FFF2-40B4-BE49-F238E27FC236}">
                  <a16:creationId xmlns:a16="http://schemas.microsoft.com/office/drawing/2014/main" id="{2DB1067E-7D37-47A0-99F1-F34CE75F10A4}"/>
                </a:ext>
              </a:extLst>
            </p:cNvPr>
            <p:cNvSpPr>
              <a:spLocks/>
            </p:cNvSpPr>
            <p:nvPr/>
          </p:nvSpPr>
          <p:spPr bwMode="auto">
            <a:xfrm>
              <a:off x="3830638" y="3563938"/>
              <a:ext cx="85725" cy="158750"/>
            </a:xfrm>
            <a:custGeom>
              <a:avLst/>
              <a:gdLst>
                <a:gd name="T0" fmla="*/ 19 w 19"/>
                <a:gd name="T1" fmla="*/ 35 h 35"/>
                <a:gd name="T2" fmla="*/ 18 w 19"/>
                <a:gd name="T3" fmla="*/ 35 h 35"/>
                <a:gd name="T4" fmla="*/ 0 w 19"/>
                <a:gd name="T5" fmla="*/ 18 h 35"/>
                <a:gd name="T6" fmla="*/ 0 w 19"/>
                <a:gd name="T7" fmla="*/ 18 h 35"/>
                <a:gd name="T8" fmla="*/ 18 w 19"/>
                <a:gd name="T9" fmla="*/ 0 h 35"/>
                <a:gd name="T10" fmla="*/ 19 w 19"/>
                <a:gd name="T11" fmla="*/ 0 h 35"/>
              </a:gdLst>
              <a:ahLst/>
              <a:cxnLst>
                <a:cxn ang="0">
                  <a:pos x="T0" y="T1"/>
                </a:cxn>
                <a:cxn ang="0">
                  <a:pos x="T2" y="T3"/>
                </a:cxn>
                <a:cxn ang="0">
                  <a:pos x="T4" y="T5"/>
                </a:cxn>
                <a:cxn ang="0">
                  <a:pos x="T6" y="T7"/>
                </a:cxn>
                <a:cxn ang="0">
                  <a:pos x="T8" y="T9"/>
                </a:cxn>
                <a:cxn ang="0">
                  <a:pos x="T10" y="T11"/>
                </a:cxn>
              </a:cxnLst>
              <a:rect l="0" t="0" r="r" b="b"/>
              <a:pathLst>
                <a:path w="19" h="35">
                  <a:moveTo>
                    <a:pt x="19" y="35"/>
                  </a:moveTo>
                  <a:cubicBezTo>
                    <a:pt x="18" y="35"/>
                    <a:pt x="18" y="35"/>
                    <a:pt x="18" y="35"/>
                  </a:cubicBezTo>
                  <a:cubicBezTo>
                    <a:pt x="8" y="35"/>
                    <a:pt x="0" y="28"/>
                    <a:pt x="0" y="18"/>
                  </a:cubicBezTo>
                  <a:cubicBezTo>
                    <a:pt x="0" y="18"/>
                    <a:pt x="0" y="18"/>
                    <a:pt x="0" y="18"/>
                  </a:cubicBezTo>
                  <a:cubicBezTo>
                    <a:pt x="0" y="8"/>
                    <a:pt x="8" y="0"/>
                    <a:pt x="18" y="0"/>
                  </a:cubicBezTo>
                  <a:cubicBezTo>
                    <a:pt x="19" y="0"/>
                    <a:pt x="19" y="0"/>
                    <a:pt x="19"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149">
              <a:extLst>
                <a:ext uri="{FF2B5EF4-FFF2-40B4-BE49-F238E27FC236}">
                  <a16:creationId xmlns:a16="http://schemas.microsoft.com/office/drawing/2014/main" id="{ECFC23A4-4463-491E-980C-6E8E30BB7DFF}"/>
                </a:ext>
              </a:extLst>
            </p:cNvPr>
            <p:cNvSpPr>
              <a:spLocks/>
            </p:cNvSpPr>
            <p:nvPr/>
          </p:nvSpPr>
          <p:spPr bwMode="auto">
            <a:xfrm>
              <a:off x="4119563" y="3671888"/>
              <a:ext cx="120650" cy="153988"/>
            </a:xfrm>
            <a:custGeom>
              <a:avLst/>
              <a:gdLst>
                <a:gd name="T0" fmla="*/ 27 w 27"/>
                <a:gd name="T1" fmla="*/ 0 h 34"/>
                <a:gd name="T2" fmla="*/ 27 w 27"/>
                <a:gd name="T3" fmla="*/ 17 h 34"/>
                <a:gd name="T4" fmla="*/ 10 w 27"/>
                <a:gd name="T5" fmla="*/ 34 h 34"/>
                <a:gd name="T6" fmla="*/ 0 w 27"/>
                <a:gd name="T7" fmla="*/ 34 h 34"/>
              </a:gdLst>
              <a:ahLst/>
              <a:cxnLst>
                <a:cxn ang="0">
                  <a:pos x="T0" y="T1"/>
                </a:cxn>
                <a:cxn ang="0">
                  <a:pos x="T2" y="T3"/>
                </a:cxn>
                <a:cxn ang="0">
                  <a:pos x="T4" y="T5"/>
                </a:cxn>
                <a:cxn ang="0">
                  <a:pos x="T6" y="T7"/>
                </a:cxn>
              </a:cxnLst>
              <a:rect l="0" t="0" r="r" b="b"/>
              <a:pathLst>
                <a:path w="27" h="34">
                  <a:moveTo>
                    <a:pt x="27" y="0"/>
                  </a:moveTo>
                  <a:cubicBezTo>
                    <a:pt x="27" y="17"/>
                    <a:pt x="27" y="17"/>
                    <a:pt x="27" y="17"/>
                  </a:cubicBezTo>
                  <a:cubicBezTo>
                    <a:pt x="27" y="26"/>
                    <a:pt x="19" y="34"/>
                    <a:pt x="10" y="34"/>
                  </a:cubicBezTo>
                  <a:cubicBezTo>
                    <a:pt x="0" y="34"/>
                    <a:pt x="0" y="34"/>
                    <a:pt x="0"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150">
              <a:extLst>
                <a:ext uri="{FF2B5EF4-FFF2-40B4-BE49-F238E27FC236}">
                  <a16:creationId xmlns:a16="http://schemas.microsoft.com/office/drawing/2014/main" id="{B4E47BBC-E5D7-4497-BEF4-AC57C1729301}"/>
                </a:ext>
              </a:extLst>
            </p:cNvPr>
            <p:cNvSpPr>
              <a:spLocks/>
            </p:cNvSpPr>
            <p:nvPr/>
          </p:nvSpPr>
          <p:spPr bwMode="auto">
            <a:xfrm>
              <a:off x="4043363" y="3808413"/>
              <a:ext cx="66675" cy="26988"/>
            </a:xfrm>
            <a:custGeom>
              <a:avLst/>
              <a:gdLst>
                <a:gd name="T0" fmla="*/ 12 w 15"/>
                <a:gd name="T1" fmla="*/ 6 h 6"/>
                <a:gd name="T2" fmla="*/ 3 w 15"/>
                <a:gd name="T3" fmla="*/ 6 h 6"/>
                <a:gd name="T4" fmla="*/ 0 w 15"/>
                <a:gd name="T5" fmla="*/ 3 h 6"/>
                <a:gd name="T6" fmla="*/ 0 w 15"/>
                <a:gd name="T7" fmla="*/ 3 h 6"/>
                <a:gd name="T8" fmla="*/ 3 w 15"/>
                <a:gd name="T9" fmla="*/ 0 h 6"/>
                <a:gd name="T10" fmla="*/ 12 w 15"/>
                <a:gd name="T11" fmla="*/ 0 h 6"/>
                <a:gd name="T12" fmla="*/ 15 w 15"/>
                <a:gd name="T13" fmla="*/ 3 h 6"/>
                <a:gd name="T14" fmla="*/ 15 w 15"/>
                <a:gd name="T15" fmla="*/ 3 h 6"/>
                <a:gd name="T16" fmla="*/ 12 w 15"/>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2" y="6"/>
                  </a:moveTo>
                  <a:cubicBezTo>
                    <a:pt x="3" y="6"/>
                    <a:pt x="3" y="6"/>
                    <a:pt x="3" y="6"/>
                  </a:cubicBezTo>
                  <a:cubicBezTo>
                    <a:pt x="1" y="6"/>
                    <a:pt x="0" y="5"/>
                    <a:pt x="0" y="3"/>
                  </a:cubicBezTo>
                  <a:cubicBezTo>
                    <a:pt x="0" y="3"/>
                    <a:pt x="0" y="3"/>
                    <a:pt x="0" y="3"/>
                  </a:cubicBezTo>
                  <a:cubicBezTo>
                    <a:pt x="0" y="2"/>
                    <a:pt x="1" y="0"/>
                    <a:pt x="3" y="0"/>
                  </a:cubicBezTo>
                  <a:cubicBezTo>
                    <a:pt x="12" y="0"/>
                    <a:pt x="12" y="0"/>
                    <a:pt x="12" y="0"/>
                  </a:cubicBezTo>
                  <a:cubicBezTo>
                    <a:pt x="14" y="0"/>
                    <a:pt x="15" y="2"/>
                    <a:pt x="15" y="3"/>
                  </a:cubicBezTo>
                  <a:cubicBezTo>
                    <a:pt x="15" y="3"/>
                    <a:pt x="15" y="3"/>
                    <a:pt x="15" y="3"/>
                  </a:cubicBezTo>
                  <a:cubicBezTo>
                    <a:pt x="15" y="5"/>
                    <a:pt x="14" y="6"/>
                    <a:pt x="12" y="6"/>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1" name="Freeform: Shape 26">
            <a:extLst>
              <a:ext uri="{FF2B5EF4-FFF2-40B4-BE49-F238E27FC236}">
                <a16:creationId xmlns:a16="http://schemas.microsoft.com/office/drawing/2014/main" id="{5BA6BE2D-468A-47DE-8E78-463BC2C2502F}"/>
              </a:ext>
            </a:extLst>
          </p:cNvPr>
          <p:cNvSpPr/>
          <p:nvPr/>
        </p:nvSpPr>
        <p:spPr>
          <a:xfrm>
            <a:off x="4828381" y="2215707"/>
            <a:ext cx="595306" cy="72803"/>
          </a:xfrm>
          <a:custGeom>
            <a:avLst/>
            <a:gdLst/>
            <a:ahLst/>
            <a:cxnLst/>
            <a:rect l="0" t="0" r="0" b="0"/>
            <a:pathLst>
              <a:path w="616394" h="72802">
                <a:moveTo>
                  <a:pt x="236609" y="73045"/>
                </a:moveTo>
                <a:cubicBezTo>
                  <a:pt x="232726" y="73045"/>
                  <a:pt x="230299" y="73045"/>
                  <a:pt x="229328" y="73045"/>
                </a:cubicBezTo>
                <a:cubicBezTo>
                  <a:pt x="226902" y="71589"/>
                  <a:pt x="224475" y="70618"/>
                  <a:pt x="222048" y="70618"/>
                </a:cubicBezTo>
                <a:cubicBezTo>
                  <a:pt x="218165" y="70618"/>
                  <a:pt x="215738" y="69162"/>
                  <a:pt x="213312" y="65765"/>
                </a:cubicBezTo>
                <a:cubicBezTo>
                  <a:pt x="213312" y="64309"/>
                  <a:pt x="210885" y="63338"/>
                  <a:pt x="209428" y="61882"/>
                </a:cubicBezTo>
                <a:cubicBezTo>
                  <a:pt x="204575" y="57999"/>
                  <a:pt x="205546" y="49748"/>
                  <a:pt x="211855" y="47322"/>
                </a:cubicBezTo>
                <a:cubicBezTo>
                  <a:pt x="213312" y="47322"/>
                  <a:pt x="214282" y="45866"/>
                  <a:pt x="215738" y="45866"/>
                </a:cubicBezTo>
                <a:cubicBezTo>
                  <a:pt x="222048" y="45866"/>
                  <a:pt x="226902" y="44410"/>
                  <a:pt x="232726" y="43439"/>
                </a:cubicBezTo>
                <a:cubicBezTo>
                  <a:pt x="239035" y="41012"/>
                  <a:pt x="244859" y="41012"/>
                  <a:pt x="251169" y="39556"/>
                </a:cubicBezTo>
                <a:cubicBezTo>
                  <a:pt x="257478" y="39556"/>
                  <a:pt x="263303" y="38100"/>
                  <a:pt x="269612" y="38100"/>
                </a:cubicBezTo>
                <a:cubicBezTo>
                  <a:pt x="276892" y="38100"/>
                  <a:pt x="285629" y="36644"/>
                  <a:pt x="292909" y="38100"/>
                </a:cubicBezTo>
                <a:cubicBezTo>
                  <a:pt x="295336" y="38100"/>
                  <a:pt x="296792" y="38100"/>
                  <a:pt x="299218" y="36644"/>
                </a:cubicBezTo>
                <a:cubicBezTo>
                  <a:pt x="305528" y="35188"/>
                  <a:pt x="312808" y="34217"/>
                  <a:pt x="320089" y="35188"/>
                </a:cubicBezTo>
                <a:cubicBezTo>
                  <a:pt x="324942" y="35188"/>
                  <a:pt x="329796" y="36644"/>
                  <a:pt x="333679" y="36644"/>
                </a:cubicBezTo>
                <a:cubicBezTo>
                  <a:pt x="338532" y="36644"/>
                  <a:pt x="342415" y="35188"/>
                  <a:pt x="347268" y="34217"/>
                </a:cubicBezTo>
                <a:cubicBezTo>
                  <a:pt x="348724" y="34217"/>
                  <a:pt x="351151" y="34217"/>
                  <a:pt x="353578" y="34217"/>
                </a:cubicBezTo>
                <a:cubicBezTo>
                  <a:pt x="367167" y="35673"/>
                  <a:pt x="379301" y="32761"/>
                  <a:pt x="391435" y="31790"/>
                </a:cubicBezTo>
                <a:cubicBezTo>
                  <a:pt x="395318" y="31790"/>
                  <a:pt x="397745" y="31790"/>
                  <a:pt x="400171" y="33246"/>
                </a:cubicBezTo>
                <a:cubicBezTo>
                  <a:pt x="406481" y="33246"/>
                  <a:pt x="413761" y="33246"/>
                  <a:pt x="419585" y="31790"/>
                </a:cubicBezTo>
                <a:cubicBezTo>
                  <a:pt x="434146" y="30334"/>
                  <a:pt x="448706" y="30334"/>
                  <a:pt x="463267" y="30334"/>
                </a:cubicBezTo>
                <a:cubicBezTo>
                  <a:pt x="467150" y="30334"/>
                  <a:pt x="470547" y="31790"/>
                  <a:pt x="475401" y="31790"/>
                </a:cubicBezTo>
                <a:cubicBezTo>
                  <a:pt x="479284" y="31790"/>
                  <a:pt x="482681" y="29364"/>
                  <a:pt x="486564" y="27908"/>
                </a:cubicBezTo>
                <a:cubicBezTo>
                  <a:pt x="496271" y="25481"/>
                  <a:pt x="505978" y="25481"/>
                  <a:pt x="517141" y="25481"/>
                </a:cubicBezTo>
                <a:cubicBezTo>
                  <a:pt x="524421" y="25481"/>
                  <a:pt x="533158" y="24025"/>
                  <a:pt x="540438" y="23054"/>
                </a:cubicBezTo>
                <a:cubicBezTo>
                  <a:pt x="541893" y="21598"/>
                  <a:pt x="544320" y="20627"/>
                  <a:pt x="542865" y="19171"/>
                </a:cubicBezTo>
                <a:cubicBezTo>
                  <a:pt x="541408" y="19171"/>
                  <a:pt x="541408" y="17715"/>
                  <a:pt x="540438" y="17715"/>
                </a:cubicBezTo>
                <a:cubicBezTo>
                  <a:pt x="530731" y="17715"/>
                  <a:pt x="521994" y="17715"/>
                  <a:pt x="512287" y="17715"/>
                </a:cubicBezTo>
                <a:cubicBezTo>
                  <a:pt x="491418" y="17715"/>
                  <a:pt x="471032" y="19171"/>
                  <a:pt x="449192" y="19171"/>
                </a:cubicBezTo>
                <a:cubicBezTo>
                  <a:pt x="446765" y="19171"/>
                  <a:pt x="444338" y="19171"/>
                  <a:pt x="441911" y="19171"/>
                </a:cubicBezTo>
                <a:cubicBezTo>
                  <a:pt x="428322" y="20627"/>
                  <a:pt x="416188" y="21598"/>
                  <a:pt x="404054" y="19171"/>
                </a:cubicBezTo>
                <a:cubicBezTo>
                  <a:pt x="402598" y="19171"/>
                  <a:pt x="401628" y="19171"/>
                  <a:pt x="400171" y="19171"/>
                </a:cubicBezTo>
                <a:cubicBezTo>
                  <a:pt x="393862" y="21598"/>
                  <a:pt x="386581" y="20627"/>
                  <a:pt x="379301" y="20627"/>
                </a:cubicBezTo>
                <a:cubicBezTo>
                  <a:pt x="372992" y="20627"/>
                  <a:pt x="365712" y="22083"/>
                  <a:pt x="358431" y="22083"/>
                </a:cubicBezTo>
                <a:cubicBezTo>
                  <a:pt x="348724" y="23539"/>
                  <a:pt x="339988" y="24510"/>
                  <a:pt x="330281" y="23539"/>
                </a:cubicBezTo>
                <a:cubicBezTo>
                  <a:pt x="328825" y="23539"/>
                  <a:pt x="328825" y="23539"/>
                  <a:pt x="327854" y="23539"/>
                </a:cubicBezTo>
                <a:cubicBezTo>
                  <a:pt x="316691" y="25966"/>
                  <a:pt x="306013" y="24996"/>
                  <a:pt x="296306" y="25966"/>
                </a:cubicBezTo>
                <a:cubicBezTo>
                  <a:pt x="289997" y="27422"/>
                  <a:pt x="284173" y="24510"/>
                  <a:pt x="277863" y="27422"/>
                </a:cubicBezTo>
                <a:cubicBezTo>
                  <a:pt x="261847" y="27422"/>
                  <a:pt x="247286" y="31305"/>
                  <a:pt x="231755" y="29849"/>
                </a:cubicBezTo>
                <a:cubicBezTo>
                  <a:pt x="225445" y="29849"/>
                  <a:pt x="219621" y="33732"/>
                  <a:pt x="213312" y="31305"/>
                </a:cubicBezTo>
                <a:cubicBezTo>
                  <a:pt x="208458" y="32761"/>
                  <a:pt x="202148" y="32761"/>
                  <a:pt x="196324" y="33732"/>
                </a:cubicBezTo>
                <a:cubicBezTo>
                  <a:pt x="194868" y="33732"/>
                  <a:pt x="192441" y="33732"/>
                  <a:pt x="191471" y="33732"/>
                </a:cubicBezTo>
                <a:cubicBezTo>
                  <a:pt x="180307" y="32276"/>
                  <a:pt x="170600" y="35188"/>
                  <a:pt x="160893" y="35188"/>
                </a:cubicBezTo>
                <a:cubicBezTo>
                  <a:pt x="148760" y="36644"/>
                  <a:pt x="137597" y="36644"/>
                  <a:pt x="125463" y="36644"/>
                </a:cubicBezTo>
                <a:cubicBezTo>
                  <a:pt x="123036" y="36644"/>
                  <a:pt x="121580" y="36644"/>
                  <a:pt x="119153" y="36644"/>
                </a:cubicBezTo>
                <a:cubicBezTo>
                  <a:pt x="112844" y="38100"/>
                  <a:pt x="105564" y="39071"/>
                  <a:pt x="98284" y="38100"/>
                </a:cubicBezTo>
                <a:cubicBezTo>
                  <a:pt x="98284" y="38100"/>
                  <a:pt x="96827" y="38100"/>
                  <a:pt x="95857" y="38100"/>
                </a:cubicBezTo>
                <a:cubicBezTo>
                  <a:pt x="79840" y="40527"/>
                  <a:pt x="65280" y="39556"/>
                  <a:pt x="49749" y="39556"/>
                </a:cubicBezTo>
                <a:cubicBezTo>
                  <a:pt x="45866" y="39556"/>
                  <a:pt x="41497" y="39556"/>
                  <a:pt x="37615" y="39556"/>
                </a:cubicBezTo>
                <a:cubicBezTo>
                  <a:pt x="30334" y="39556"/>
                  <a:pt x="24025" y="39556"/>
                  <a:pt x="18201" y="39556"/>
                </a:cubicBezTo>
                <a:cubicBezTo>
                  <a:pt x="15774" y="38100"/>
                  <a:pt x="13347" y="38100"/>
                  <a:pt x="10920" y="37129"/>
                </a:cubicBezTo>
                <a:cubicBezTo>
                  <a:pt x="6067" y="35673"/>
                  <a:pt x="3640" y="32276"/>
                  <a:pt x="3640" y="27422"/>
                </a:cubicBezTo>
                <a:cubicBezTo>
                  <a:pt x="3640" y="24996"/>
                  <a:pt x="5096" y="22569"/>
                  <a:pt x="7523" y="22569"/>
                </a:cubicBezTo>
                <a:cubicBezTo>
                  <a:pt x="9950" y="22569"/>
                  <a:pt x="12376" y="22569"/>
                  <a:pt x="13833" y="22569"/>
                </a:cubicBezTo>
                <a:cubicBezTo>
                  <a:pt x="27422" y="27422"/>
                  <a:pt x="40527" y="27422"/>
                  <a:pt x="52661" y="26452"/>
                </a:cubicBezTo>
                <a:cubicBezTo>
                  <a:pt x="66250" y="26452"/>
                  <a:pt x="80811" y="26452"/>
                  <a:pt x="93915" y="24996"/>
                </a:cubicBezTo>
                <a:cubicBezTo>
                  <a:pt x="96342" y="24996"/>
                  <a:pt x="100225" y="26452"/>
                  <a:pt x="103622" y="24996"/>
                </a:cubicBezTo>
                <a:cubicBezTo>
                  <a:pt x="109932" y="23539"/>
                  <a:pt x="115756" y="23539"/>
                  <a:pt x="123036" y="24996"/>
                </a:cubicBezTo>
                <a:cubicBezTo>
                  <a:pt x="124492" y="24996"/>
                  <a:pt x="125463" y="24996"/>
                  <a:pt x="126919" y="24996"/>
                </a:cubicBezTo>
                <a:cubicBezTo>
                  <a:pt x="135655" y="22569"/>
                  <a:pt x="143906" y="23539"/>
                  <a:pt x="152643" y="22569"/>
                </a:cubicBezTo>
                <a:cubicBezTo>
                  <a:pt x="155069" y="22569"/>
                  <a:pt x="157496" y="22569"/>
                  <a:pt x="161379" y="22569"/>
                </a:cubicBezTo>
                <a:cubicBezTo>
                  <a:pt x="165262" y="22569"/>
                  <a:pt x="170115" y="22569"/>
                  <a:pt x="174969" y="21113"/>
                </a:cubicBezTo>
                <a:cubicBezTo>
                  <a:pt x="179822" y="19657"/>
                  <a:pt x="184676" y="19657"/>
                  <a:pt x="190986" y="19657"/>
                </a:cubicBezTo>
                <a:cubicBezTo>
                  <a:pt x="198266" y="19657"/>
                  <a:pt x="205546" y="19657"/>
                  <a:pt x="212826" y="18201"/>
                </a:cubicBezTo>
                <a:cubicBezTo>
                  <a:pt x="224960" y="16744"/>
                  <a:pt x="237094" y="16744"/>
                  <a:pt x="249228" y="18201"/>
                </a:cubicBezTo>
                <a:cubicBezTo>
                  <a:pt x="250683" y="19657"/>
                  <a:pt x="253110" y="18201"/>
                  <a:pt x="254081" y="18201"/>
                </a:cubicBezTo>
                <a:cubicBezTo>
                  <a:pt x="257964" y="15774"/>
                  <a:pt x="262817" y="14318"/>
                  <a:pt x="266215" y="15774"/>
                </a:cubicBezTo>
                <a:cubicBezTo>
                  <a:pt x="273495" y="15774"/>
                  <a:pt x="280775" y="14318"/>
                  <a:pt x="287085" y="17230"/>
                </a:cubicBezTo>
                <a:cubicBezTo>
                  <a:pt x="288541" y="17230"/>
                  <a:pt x="289511" y="17230"/>
                  <a:pt x="289511" y="17230"/>
                </a:cubicBezTo>
                <a:cubicBezTo>
                  <a:pt x="291938" y="15774"/>
                  <a:pt x="293394" y="14803"/>
                  <a:pt x="295821" y="14803"/>
                </a:cubicBezTo>
                <a:cubicBezTo>
                  <a:pt x="302131" y="14803"/>
                  <a:pt x="307955" y="14803"/>
                  <a:pt x="312808" y="14803"/>
                </a:cubicBezTo>
                <a:cubicBezTo>
                  <a:pt x="315235" y="14803"/>
                  <a:pt x="316691" y="16259"/>
                  <a:pt x="317662" y="14803"/>
                </a:cubicBezTo>
                <a:cubicBezTo>
                  <a:pt x="321545" y="12376"/>
                  <a:pt x="326398" y="12376"/>
                  <a:pt x="331252" y="13347"/>
                </a:cubicBezTo>
                <a:cubicBezTo>
                  <a:pt x="338532" y="9464"/>
                  <a:pt x="345812" y="11891"/>
                  <a:pt x="353093" y="11891"/>
                </a:cubicBezTo>
                <a:cubicBezTo>
                  <a:pt x="360373" y="10435"/>
                  <a:pt x="367653" y="10435"/>
                  <a:pt x="373962" y="10435"/>
                </a:cubicBezTo>
                <a:cubicBezTo>
                  <a:pt x="375419" y="10435"/>
                  <a:pt x="376389" y="10435"/>
                  <a:pt x="377845" y="10435"/>
                </a:cubicBezTo>
                <a:cubicBezTo>
                  <a:pt x="385126" y="11891"/>
                  <a:pt x="392406" y="11891"/>
                  <a:pt x="401142" y="10435"/>
                </a:cubicBezTo>
                <a:cubicBezTo>
                  <a:pt x="405025" y="10435"/>
                  <a:pt x="409878" y="10435"/>
                  <a:pt x="413276" y="8979"/>
                </a:cubicBezTo>
                <a:cubicBezTo>
                  <a:pt x="418129" y="6552"/>
                  <a:pt x="422983" y="6552"/>
                  <a:pt x="427836" y="7523"/>
                </a:cubicBezTo>
                <a:cubicBezTo>
                  <a:pt x="434146" y="7523"/>
                  <a:pt x="438999" y="8979"/>
                  <a:pt x="443853" y="9950"/>
                </a:cubicBezTo>
                <a:cubicBezTo>
                  <a:pt x="450163" y="11406"/>
                  <a:pt x="457443" y="9950"/>
                  <a:pt x="463267" y="7523"/>
                </a:cubicBezTo>
                <a:cubicBezTo>
                  <a:pt x="467150" y="5096"/>
                  <a:pt x="472003" y="5096"/>
                  <a:pt x="476857" y="5096"/>
                </a:cubicBezTo>
                <a:cubicBezTo>
                  <a:pt x="488991" y="5096"/>
                  <a:pt x="501125" y="5096"/>
                  <a:pt x="513258" y="5096"/>
                </a:cubicBezTo>
                <a:cubicBezTo>
                  <a:pt x="515685" y="5096"/>
                  <a:pt x="518112" y="3640"/>
                  <a:pt x="520539" y="3640"/>
                </a:cubicBezTo>
                <a:cubicBezTo>
                  <a:pt x="532672" y="5096"/>
                  <a:pt x="544806" y="5096"/>
                  <a:pt x="556940" y="5096"/>
                </a:cubicBezTo>
                <a:cubicBezTo>
                  <a:pt x="559367" y="5096"/>
                  <a:pt x="560822" y="5096"/>
                  <a:pt x="561793" y="5096"/>
                </a:cubicBezTo>
                <a:cubicBezTo>
                  <a:pt x="569074" y="7523"/>
                  <a:pt x="577810" y="6552"/>
                  <a:pt x="585090" y="6552"/>
                </a:cubicBezTo>
                <a:cubicBezTo>
                  <a:pt x="591400" y="8008"/>
                  <a:pt x="596253" y="8008"/>
                  <a:pt x="601107" y="8979"/>
                </a:cubicBezTo>
                <a:cubicBezTo>
                  <a:pt x="605960" y="8979"/>
                  <a:pt x="610814" y="12862"/>
                  <a:pt x="612269" y="17715"/>
                </a:cubicBezTo>
                <a:cubicBezTo>
                  <a:pt x="612269" y="19171"/>
                  <a:pt x="613726" y="19171"/>
                  <a:pt x="613726" y="20142"/>
                </a:cubicBezTo>
                <a:cubicBezTo>
                  <a:pt x="615182" y="24996"/>
                  <a:pt x="613726" y="27422"/>
                  <a:pt x="608872" y="27422"/>
                </a:cubicBezTo>
                <a:cubicBezTo>
                  <a:pt x="604989" y="27422"/>
                  <a:pt x="600136" y="27422"/>
                  <a:pt x="596738" y="27422"/>
                </a:cubicBezTo>
                <a:cubicBezTo>
                  <a:pt x="593341" y="27422"/>
                  <a:pt x="589458" y="27422"/>
                  <a:pt x="585575" y="29849"/>
                </a:cubicBezTo>
                <a:cubicBezTo>
                  <a:pt x="584119" y="29849"/>
                  <a:pt x="581693" y="31305"/>
                  <a:pt x="579266" y="31305"/>
                </a:cubicBezTo>
                <a:cubicBezTo>
                  <a:pt x="572956" y="29849"/>
                  <a:pt x="567132" y="32761"/>
                  <a:pt x="559852" y="33732"/>
                </a:cubicBezTo>
                <a:cubicBezTo>
                  <a:pt x="548689" y="36159"/>
                  <a:pt x="536555" y="38585"/>
                  <a:pt x="524421" y="38585"/>
                </a:cubicBezTo>
                <a:cubicBezTo>
                  <a:pt x="510832" y="42468"/>
                  <a:pt x="497727" y="41012"/>
                  <a:pt x="484137" y="42468"/>
                </a:cubicBezTo>
                <a:cubicBezTo>
                  <a:pt x="464723" y="44895"/>
                  <a:pt x="445309" y="44895"/>
                  <a:pt x="425895" y="46351"/>
                </a:cubicBezTo>
                <a:cubicBezTo>
                  <a:pt x="406481" y="47807"/>
                  <a:pt x="388038" y="46351"/>
                  <a:pt x="370080" y="48778"/>
                </a:cubicBezTo>
                <a:cubicBezTo>
                  <a:pt x="361343" y="47322"/>
                  <a:pt x="354063" y="50234"/>
                  <a:pt x="345812" y="50234"/>
                </a:cubicBezTo>
                <a:cubicBezTo>
                  <a:pt x="338532" y="50234"/>
                  <a:pt x="329796" y="51690"/>
                  <a:pt x="322515" y="50234"/>
                </a:cubicBezTo>
                <a:cubicBezTo>
                  <a:pt x="313779" y="50234"/>
                  <a:pt x="305528" y="51690"/>
                  <a:pt x="296792" y="51690"/>
                </a:cubicBezTo>
                <a:cubicBezTo>
                  <a:pt x="289511" y="51690"/>
                  <a:pt x="280775" y="54117"/>
                  <a:pt x="273495" y="54117"/>
                </a:cubicBezTo>
                <a:cubicBezTo>
                  <a:pt x="264759" y="54117"/>
                  <a:pt x="256508" y="55573"/>
                  <a:pt x="247771" y="56543"/>
                </a:cubicBezTo>
                <a:cubicBezTo>
                  <a:pt x="242918" y="56543"/>
                  <a:pt x="238064" y="56543"/>
                  <a:pt x="231755" y="57999"/>
                </a:cubicBezTo>
                <a:cubicBezTo>
                  <a:pt x="230299" y="57999"/>
                  <a:pt x="229328" y="59455"/>
                  <a:pt x="226902" y="59455"/>
                </a:cubicBezTo>
                <a:cubicBezTo>
                  <a:pt x="225445" y="59455"/>
                  <a:pt x="225445" y="61882"/>
                  <a:pt x="225445" y="63338"/>
                </a:cubicBezTo>
                <a:cubicBezTo>
                  <a:pt x="226902" y="64794"/>
                  <a:pt x="227872" y="67221"/>
                  <a:pt x="229328" y="68192"/>
                </a:cubicBezTo>
                <a:cubicBezTo>
                  <a:pt x="229328" y="68192"/>
                  <a:pt x="232726" y="69648"/>
                  <a:pt x="236609" y="73045"/>
                </a:cubicBezTo>
                <a:lnTo>
                  <a:pt x="236609" y="73045"/>
                </a:lnTo>
                <a:close/>
              </a:path>
            </a:pathLst>
          </a:custGeom>
          <a:solidFill>
            <a:schemeClr val="bg1"/>
          </a:solidFill>
          <a:ln w="9525" cap="flat">
            <a:noFill/>
            <a:prstDash val="solid"/>
            <a:miter/>
          </a:ln>
        </p:spPr>
        <p:txBody>
          <a:bodyPr/>
          <a:lstStyle/>
          <a:p>
            <a:endParaRPr lang="en-GB" dirty="0"/>
          </a:p>
        </p:txBody>
      </p:sp>
    </p:spTree>
    <p:extLst>
      <p:ext uri="{BB962C8B-B14F-4D97-AF65-F5344CB8AC3E}">
        <p14:creationId xmlns:p14="http://schemas.microsoft.com/office/powerpoint/2010/main" val="123979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Effect transition="in" filter="fade">
                                      <p:cBhvr>
                                        <p:cTn id="7" dur="500"/>
                                        <p:tgtEl>
                                          <p:spTgt spid="4">
                                            <p:txEl>
                                              <p:pRg st="1" end="1"/>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4">
                                            <p:txEl>
                                              <p:pRg st="2" end="2"/>
                                            </p:txEl>
                                          </p:spTgt>
                                        </p:tgtEl>
                                        <p:attrNameLst>
                                          <p:attrName>style.visibility</p:attrName>
                                        </p:attrNameLst>
                                      </p:cBhvr>
                                      <p:to>
                                        <p:strVal val="visible"/>
                                      </p:to>
                                    </p:set>
                                    <p:animEffect transition="in" filter="fade">
                                      <p:cBhvr>
                                        <p:cTn id="10" dur="500"/>
                                        <p:tgtEl>
                                          <p:spTgt spid="4">
                                            <p:txEl>
                                              <p:pRg st="2" end="2"/>
                                            </p:txEl>
                                          </p:spTgt>
                                        </p:tgtEl>
                                      </p:cBhvr>
                                    </p:animEffect>
                                  </p:childTnLst>
                                </p:cTn>
                              </p:par>
                              <p:par>
                                <p:cTn id="11" presetID="10"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animEffect transition="in" filter="fade">
                                      <p:cBhvr>
                                        <p:cTn id="13" dur="500"/>
                                        <p:tgtEl>
                                          <p:spTgt spid="4">
                                            <p:txEl>
                                              <p:pRg st="3" end="3"/>
                                            </p:txEl>
                                          </p:spTgt>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
                                            <p:txEl>
                                              <p:pRg st="4" end="4"/>
                                            </p:txEl>
                                          </p:spTgt>
                                        </p:tgtEl>
                                        <p:attrNameLst>
                                          <p:attrName>style.visibility</p:attrName>
                                        </p:attrNameLst>
                                      </p:cBhvr>
                                      <p:to>
                                        <p:strVal val="visible"/>
                                      </p:to>
                                    </p:set>
                                    <p:animEffect transition="in" filter="fade">
                                      <p:cBhvr>
                                        <p:cTn id="18" dur="500"/>
                                        <p:tgtEl>
                                          <p:spTgt spid="4">
                                            <p:txEl>
                                              <p:pRg st="4" end="4"/>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0">
                                            <p:txEl>
                                              <p:pRg st="0" end="0"/>
                                            </p:txEl>
                                          </p:spTgt>
                                        </p:tgtEl>
                                        <p:attrNameLst>
                                          <p:attrName>style.visibility</p:attrName>
                                        </p:attrNameLst>
                                      </p:cBhvr>
                                      <p:to>
                                        <p:strVal val="visible"/>
                                      </p:to>
                                    </p:set>
                                    <p:animEffect transition="in" filter="fade">
                                      <p:cBhvr>
                                        <p:cTn id="23" dur="500"/>
                                        <p:tgtEl>
                                          <p:spTgt spid="20">
                                            <p:txEl>
                                              <p:pRg st="0" end="0"/>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20">
                                            <p:txEl>
                                              <p:pRg st="1" end="1"/>
                                            </p:txEl>
                                          </p:spTgt>
                                        </p:tgtEl>
                                        <p:attrNameLst>
                                          <p:attrName>style.visibility</p:attrName>
                                        </p:attrNameLst>
                                      </p:cBhvr>
                                      <p:to>
                                        <p:strVal val="visible"/>
                                      </p:to>
                                    </p:set>
                                    <p:animEffect transition="in" filter="fade">
                                      <p:cBhvr>
                                        <p:cTn id="26" dur="500"/>
                                        <p:tgtEl>
                                          <p:spTgt spid="20">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ectangle 92">
            <a:extLst>
              <a:ext uri="{FF2B5EF4-FFF2-40B4-BE49-F238E27FC236}">
                <a16:creationId xmlns:a16="http://schemas.microsoft.com/office/drawing/2014/main" id="{F0A3EEA6-F50D-4848-8D24-07741D0C99D3}"/>
              </a:ext>
            </a:extLst>
          </p:cNvPr>
          <p:cNvSpPr/>
          <p:nvPr/>
        </p:nvSpPr>
        <p:spPr>
          <a:xfrm>
            <a:off x="3241987" y="1816459"/>
            <a:ext cx="6376675" cy="181948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96" name="Rectangle 95">
            <a:extLst>
              <a:ext uri="{FF2B5EF4-FFF2-40B4-BE49-F238E27FC236}">
                <a16:creationId xmlns:a16="http://schemas.microsoft.com/office/drawing/2014/main" id="{D81FDD6C-AB6F-415C-A2B9-8F931F55AB01}"/>
              </a:ext>
            </a:extLst>
          </p:cNvPr>
          <p:cNvSpPr/>
          <p:nvPr/>
        </p:nvSpPr>
        <p:spPr>
          <a:xfrm>
            <a:off x="269875" y="1816459"/>
            <a:ext cx="2972113" cy="1819480"/>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le 1"/>
          <p:cNvSpPr>
            <a:spLocks noGrp="1"/>
          </p:cNvSpPr>
          <p:nvPr>
            <p:ph type="title"/>
          </p:nvPr>
        </p:nvSpPr>
        <p:spPr/>
        <p:txBody>
          <a:bodyPr/>
          <a:lstStyle/>
          <a:p>
            <a:r>
              <a:rPr lang="en-GB" dirty="0"/>
              <a:t>Ratio: Questions vs. Reflections</a:t>
            </a:r>
          </a:p>
        </p:txBody>
      </p:sp>
      <p:sp>
        <p:nvSpPr>
          <p:cNvPr id="56" name="Text Placeholder 55">
            <a:extLst>
              <a:ext uri="{FF2B5EF4-FFF2-40B4-BE49-F238E27FC236}">
                <a16:creationId xmlns:a16="http://schemas.microsoft.com/office/drawing/2014/main" id="{881E42AA-AC7C-4633-B160-5A8C86BE75FE}"/>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p:txBody>
          <a:bodyPr/>
          <a:lstStyle/>
          <a:p>
            <a:endParaRPr lang="en-GB" noProof="0" dirty="0"/>
          </a:p>
        </p:txBody>
      </p:sp>
      <p:sp>
        <p:nvSpPr>
          <p:cNvPr id="57" name="Text Placeholder 56">
            <a:extLst>
              <a:ext uri="{FF2B5EF4-FFF2-40B4-BE49-F238E27FC236}">
                <a16:creationId xmlns:a16="http://schemas.microsoft.com/office/drawing/2014/main" id="{48E495E7-19C2-4603-AC8B-D6F907374FBC}"/>
              </a:ext>
            </a:extLst>
          </p:cNvPr>
          <p:cNvSpPr>
            <a:spLocks noGrp="1"/>
          </p:cNvSpPr>
          <p:nvPr>
            <p:ph type="body" sz="quarter" idx="14"/>
          </p:nvPr>
        </p:nvSpPr>
        <p:spPr/>
        <p:txBody>
          <a:bodyPr/>
          <a:lstStyle/>
          <a:p>
            <a:endParaRPr lang="en-GB" dirty="0"/>
          </a:p>
        </p:txBody>
      </p:sp>
      <p:sp>
        <p:nvSpPr>
          <p:cNvPr id="4" name="Content Placeholder 7"/>
          <p:cNvSpPr txBox="1">
            <a:spLocks/>
          </p:cNvSpPr>
          <p:nvPr/>
        </p:nvSpPr>
        <p:spPr>
          <a:xfrm>
            <a:off x="551866" y="2977167"/>
            <a:ext cx="2237054" cy="407804"/>
          </a:xfrm>
          <a:prstGeom prst="rect">
            <a:avLst/>
          </a:prstGeom>
          <a:noFill/>
        </p:spPr>
        <p:txBody>
          <a:bodyPr vert="horz" wrap="square" lIns="0" tIns="0" rIns="0"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spcBef>
                <a:spcPts val="300"/>
              </a:spcBef>
              <a:defRPr/>
            </a:pPr>
            <a:r>
              <a:rPr lang="en-GB" sz="1200" b="1" dirty="0"/>
              <a:t>Ratio: </a:t>
            </a:r>
          </a:p>
          <a:p>
            <a:pPr lvl="0">
              <a:spcBef>
                <a:spcPts val="300"/>
              </a:spcBef>
              <a:defRPr/>
            </a:pPr>
            <a:r>
              <a:rPr lang="en-GB" sz="1200" dirty="0"/>
              <a:t>1 question to 1 or 2 reflections</a:t>
            </a:r>
          </a:p>
        </p:txBody>
      </p:sp>
      <p:sp>
        <p:nvSpPr>
          <p:cNvPr id="6" name="Rectangle 17"/>
          <p:cNvSpPr>
            <a:spLocks noChangeArrowheads="1"/>
          </p:cNvSpPr>
          <p:nvPr/>
        </p:nvSpPr>
        <p:spPr bwMode="auto">
          <a:xfrm>
            <a:off x="273050" y="5895431"/>
            <a:ext cx="9359900" cy="123111"/>
          </a:xfrm>
          <a:prstGeom prst="rect">
            <a:avLst/>
          </a:prstGeom>
          <a:noFill/>
          <a:ln w="9525">
            <a:noFill/>
            <a:miter lim="800000"/>
            <a:headEnd/>
            <a:tailEnd/>
          </a:ln>
          <a:effectLst/>
        </p:spPr>
        <p:txBody>
          <a:bodyPr lIns="0" tIns="0" rIns="0" bIns="0" anchor="b">
            <a:spAutoFit/>
          </a:bodyPr>
          <a:lstStyle/>
          <a:p>
            <a:pPr>
              <a:tabLst>
                <a:tab pos="320675" algn="r"/>
                <a:tab pos="388938" algn="l"/>
              </a:tabLst>
              <a:defRPr/>
            </a:pPr>
            <a:r>
              <a:rPr lang="en-GB" sz="800" kern="0" dirty="0"/>
              <a:t>	Source:	</a:t>
            </a:r>
            <a:r>
              <a:rPr lang="en-GB" sz="800" kern="0" dirty="0" err="1"/>
              <a:t>Metastudies</a:t>
            </a:r>
            <a:r>
              <a:rPr lang="en-GB" sz="800" kern="0" dirty="0"/>
              <a:t> - Motivational Interviewing </a:t>
            </a:r>
          </a:p>
        </p:txBody>
      </p:sp>
      <p:grpSp>
        <p:nvGrpSpPr>
          <p:cNvPr id="106" name="Group 105">
            <a:extLst>
              <a:ext uri="{FF2B5EF4-FFF2-40B4-BE49-F238E27FC236}">
                <a16:creationId xmlns:a16="http://schemas.microsoft.com/office/drawing/2014/main" id="{3023AD42-A18F-4CDC-899F-1634255D6A26}"/>
              </a:ext>
            </a:extLst>
          </p:cNvPr>
          <p:cNvGrpSpPr/>
          <p:nvPr/>
        </p:nvGrpSpPr>
        <p:grpSpPr>
          <a:xfrm>
            <a:off x="3623162" y="2264010"/>
            <a:ext cx="924379" cy="924379"/>
            <a:chOff x="4378158" y="2013857"/>
            <a:chExt cx="924379" cy="924379"/>
          </a:xfrm>
        </p:grpSpPr>
        <p:sp>
          <p:nvSpPr>
            <p:cNvPr id="7" name="Ellipse 6"/>
            <p:cNvSpPr/>
            <p:nvPr/>
          </p:nvSpPr>
          <p:spPr>
            <a:xfrm>
              <a:off x="4378158" y="2013857"/>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58" name="Group 57">
              <a:extLst>
                <a:ext uri="{FF2B5EF4-FFF2-40B4-BE49-F238E27FC236}">
                  <a16:creationId xmlns:a16="http://schemas.microsoft.com/office/drawing/2014/main" id="{62C9208B-2BA8-40DD-982F-4F03CF6E4EFF}"/>
                </a:ext>
              </a:extLst>
            </p:cNvPr>
            <p:cNvGrpSpPr/>
            <p:nvPr/>
          </p:nvGrpSpPr>
          <p:grpSpPr>
            <a:xfrm>
              <a:off x="4646672" y="2187915"/>
              <a:ext cx="387350" cy="576263"/>
              <a:chOff x="6305551" y="3308350"/>
              <a:chExt cx="387350" cy="576263"/>
            </a:xfrm>
          </p:grpSpPr>
          <p:sp>
            <p:nvSpPr>
              <p:cNvPr id="59" name="Oval 47">
                <a:extLst>
                  <a:ext uri="{FF2B5EF4-FFF2-40B4-BE49-F238E27FC236}">
                    <a16:creationId xmlns:a16="http://schemas.microsoft.com/office/drawing/2014/main" id="{48BE51AC-CE3A-4632-A5F3-6B6C7555F4F6}"/>
                  </a:ext>
                </a:extLst>
              </p:cNvPr>
              <p:cNvSpPr>
                <a:spLocks noChangeArrowheads="1"/>
              </p:cNvSpPr>
              <p:nvPr/>
            </p:nvSpPr>
            <p:spPr bwMode="auto">
              <a:xfrm>
                <a:off x="6305551" y="3308350"/>
                <a:ext cx="387350" cy="392113"/>
              </a:xfrm>
              <a:prstGeom prst="ellipse">
                <a:avLst/>
              </a:pr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48">
                <a:extLst>
                  <a:ext uri="{FF2B5EF4-FFF2-40B4-BE49-F238E27FC236}">
                    <a16:creationId xmlns:a16="http://schemas.microsoft.com/office/drawing/2014/main" id="{C9D4B9B5-3419-4ACA-91A9-1652366EC475}"/>
                  </a:ext>
                </a:extLst>
              </p:cNvPr>
              <p:cNvSpPr>
                <a:spLocks/>
              </p:cNvSpPr>
              <p:nvPr/>
            </p:nvSpPr>
            <p:spPr bwMode="auto">
              <a:xfrm>
                <a:off x="6453188" y="3556000"/>
                <a:ext cx="127000" cy="328613"/>
              </a:xfrm>
              <a:custGeom>
                <a:avLst/>
                <a:gdLst>
                  <a:gd name="T0" fmla="*/ 14 w 28"/>
                  <a:gd name="T1" fmla="*/ 73 h 73"/>
                  <a:gd name="T2" fmla="*/ 14 w 28"/>
                  <a:gd name="T3" fmla="*/ 73 h 73"/>
                  <a:gd name="T4" fmla="*/ 0 w 28"/>
                  <a:gd name="T5" fmla="*/ 59 h 73"/>
                  <a:gd name="T6" fmla="*/ 0 w 28"/>
                  <a:gd name="T7" fmla="*/ 14 h 73"/>
                  <a:gd name="T8" fmla="*/ 14 w 28"/>
                  <a:gd name="T9" fmla="*/ 0 h 73"/>
                  <a:gd name="T10" fmla="*/ 14 w 28"/>
                  <a:gd name="T11" fmla="*/ 0 h 73"/>
                  <a:gd name="T12" fmla="*/ 28 w 28"/>
                  <a:gd name="T13" fmla="*/ 14 h 73"/>
                  <a:gd name="T14" fmla="*/ 28 w 28"/>
                  <a:gd name="T15" fmla="*/ 59 h 73"/>
                  <a:gd name="T16" fmla="*/ 14 w 28"/>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3">
                    <a:moveTo>
                      <a:pt x="14" y="73"/>
                    </a:moveTo>
                    <a:cubicBezTo>
                      <a:pt x="14" y="73"/>
                      <a:pt x="14" y="73"/>
                      <a:pt x="14" y="73"/>
                    </a:cubicBezTo>
                    <a:cubicBezTo>
                      <a:pt x="6" y="73"/>
                      <a:pt x="0" y="67"/>
                      <a:pt x="0" y="59"/>
                    </a:cubicBezTo>
                    <a:cubicBezTo>
                      <a:pt x="0" y="14"/>
                      <a:pt x="0" y="14"/>
                      <a:pt x="0" y="14"/>
                    </a:cubicBezTo>
                    <a:cubicBezTo>
                      <a:pt x="0" y="7"/>
                      <a:pt x="6" y="0"/>
                      <a:pt x="14" y="0"/>
                    </a:cubicBezTo>
                    <a:cubicBezTo>
                      <a:pt x="14" y="0"/>
                      <a:pt x="14" y="0"/>
                      <a:pt x="14" y="0"/>
                    </a:cubicBezTo>
                    <a:cubicBezTo>
                      <a:pt x="21" y="0"/>
                      <a:pt x="28" y="7"/>
                      <a:pt x="28" y="14"/>
                    </a:cubicBezTo>
                    <a:cubicBezTo>
                      <a:pt x="28" y="59"/>
                      <a:pt x="28" y="59"/>
                      <a:pt x="28" y="59"/>
                    </a:cubicBezTo>
                    <a:cubicBezTo>
                      <a:pt x="28" y="67"/>
                      <a:pt x="21" y="73"/>
                      <a:pt x="14" y="73"/>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1" name="Oval 49">
                <a:extLst>
                  <a:ext uri="{FF2B5EF4-FFF2-40B4-BE49-F238E27FC236}">
                    <a16:creationId xmlns:a16="http://schemas.microsoft.com/office/drawing/2014/main" id="{34223366-80A6-4ADC-97B5-14408216355A}"/>
                  </a:ext>
                </a:extLst>
              </p:cNvPr>
              <p:cNvSpPr>
                <a:spLocks noChangeArrowheads="1"/>
              </p:cNvSpPr>
              <p:nvPr/>
            </p:nvSpPr>
            <p:spPr bwMode="auto">
              <a:xfrm>
                <a:off x="6507163" y="3817938"/>
                <a:ext cx="41275" cy="44450"/>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2" name="Freeform 50">
                <a:extLst>
                  <a:ext uri="{FF2B5EF4-FFF2-40B4-BE49-F238E27FC236}">
                    <a16:creationId xmlns:a16="http://schemas.microsoft.com/office/drawing/2014/main" id="{BC7CC044-A3E2-4E74-9500-34A49428C43D}"/>
                  </a:ext>
                </a:extLst>
              </p:cNvPr>
              <p:cNvSpPr>
                <a:spLocks/>
              </p:cNvSpPr>
              <p:nvPr/>
            </p:nvSpPr>
            <p:spPr bwMode="auto">
              <a:xfrm>
                <a:off x="6413501" y="3376613"/>
                <a:ext cx="225425" cy="341313"/>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97" name="Group 96">
            <a:extLst>
              <a:ext uri="{FF2B5EF4-FFF2-40B4-BE49-F238E27FC236}">
                <a16:creationId xmlns:a16="http://schemas.microsoft.com/office/drawing/2014/main" id="{27F743A3-251C-44F7-972A-443F6FF25EBB}"/>
              </a:ext>
            </a:extLst>
          </p:cNvPr>
          <p:cNvGrpSpPr/>
          <p:nvPr/>
        </p:nvGrpSpPr>
        <p:grpSpPr>
          <a:xfrm>
            <a:off x="551866" y="2090902"/>
            <a:ext cx="512763" cy="404813"/>
            <a:chOff x="4051300" y="3319463"/>
            <a:chExt cx="512763" cy="404813"/>
          </a:xfrm>
        </p:grpSpPr>
        <p:sp>
          <p:nvSpPr>
            <p:cNvPr id="98" name="Freeform 22">
              <a:extLst>
                <a:ext uri="{FF2B5EF4-FFF2-40B4-BE49-F238E27FC236}">
                  <a16:creationId xmlns:a16="http://schemas.microsoft.com/office/drawing/2014/main" id="{483EE1BF-43C8-436A-91EA-E07AD40517AF}"/>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23">
              <a:extLst>
                <a:ext uri="{FF2B5EF4-FFF2-40B4-BE49-F238E27FC236}">
                  <a16:creationId xmlns:a16="http://schemas.microsoft.com/office/drawing/2014/main" id="{AED154E1-386F-425C-BE3A-E99D480F8934}"/>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Freeform 24">
              <a:extLst>
                <a:ext uri="{FF2B5EF4-FFF2-40B4-BE49-F238E27FC236}">
                  <a16:creationId xmlns:a16="http://schemas.microsoft.com/office/drawing/2014/main" id="{42CF1CEC-286D-4AED-A768-6A6FE48D0CA8}"/>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01" name="Rectangle 100">
            <a:extLst>
              <a:ext uri="{FF2B5EF4-FFF2-40B4-BE49-F238E27FC236}">
                <a16:creationId xmlns:a16="http://schemas.microsoft.com/office/drawing/2014/main" id="{36208128-039E-419F-881B-FCCFDC50554F}"/>
              </a:ext>
            </a:extLst>
          </p:cNvPr>
          <p:cNvSpPr/>
          <p:nvPr/>
        </p:nvSpPr>
        <p:spPr>
          <a:xfrm>
            <a:off x="1137650" y="2139420"/>
            <a:ext cx="1436612" cy="307777"/>
          </a:xfrm>
          <a:prstGeom prst="rect">
            <a:avLst/>
          </a:prstGeom>
        </p:spPr>
        <p:txBody>
          <a:bodyPr wrap="none" anchor="ctr">
            <a:spAutoFit/>
          </a:bodyPr>
          <a:lstStyle/>
          <a:p>
            <a:pPr lvl="0">
              <a:defRPr/>
            </a:pPr>
            <a:r>
              <a:rPr lang="en-GB" sz="1400" b="1" dirty="0"/>
              <a:t>Conversation: </a:t>
            </a:r>
          </a:p>
        </p:txBody>
      </p:sp>
      <p:cxnSp>
        <p:nvCxnSpPr>
          <p:cNvPr id="103" name="Straight Connector 102">
            <a:extLst>
              <a:ext uri="{FF2B5EF4-FFF2-40B4-BE49-F238E27FC236}">
                <a16:creationId xmlns:a16="http://schemas.microsoft.com/office/drawing/2014/main" id="{94CE2465-9043-469D-B2BC-FF2768E534D4}"/>
              </a:ext>
            </a:extLst>
          </p:cNvPr>
          <p:cNvCxnSpPr>
            <a:cxnSpLocks/>
          </p:cNvCxnSpPr>
          <p:nvPr/>
        </p:nvCxnSpPr>
        <p:spPr>
          <a:xfrm flipH="1">
            <a:off x="551866" y="2726199"/>
            <a:ext cx="240813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nvGrpSpPr>
          <p:cNvPr id="107" name="Group 106">
            <a:extLst>
              <a:ext uri="{FF2B5EF4-FFF2-40B4-BE49-F238E27FC236}">
                <a16:creationId xmlns:a16="http://schemas.microsoft.com/office/drawing/2014/main" id="{E4E510B1-4FC3-4B8B-8744-559116CF4B1B}"/>
              </a:ext>
            </a:extLst>
          </p:cNvPr>
          <p:cNvGrpSpPr/>
          <p:nvPr/>
        </p:nvGrpSpPr>
        <p:grpSpPr>
          <a:xfrm>
            <a:off x="4928715" y="2570624"/>
            <a:ext cx="392113" cy="311150"/>
            <a:chOff x="2936876" y="5357813"/>
            <a:chExt cx="392113" cy="311150"/>
          </a:xfrm>
        </p:grpSpPr>
        <p:sp>
          <p:nvSpPr>
            <p:cNvPr id="108" name="Freeform 88">
              <a:extLst>
                <a:ext uri="{FF2B5EF4-FFF2-40B4-BE49-F238E27FC236}">
                  <a16:creationId xmlns:a16="http://schemas.microsoft.com/office/drawing/2014/main" id="{30925691-8004-4D31-856C-CE32EED2CCAC}"/>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8CA09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9" name="Freeform 90">
              <a:extLst>
                <a:ext uri="{FF2B5EF4-FFF2-40B4-BE49-F238E27FC236}">
                  <a16:creationId xmlns:a16="http://schemas.microsoft.com/office/drawing/2014/main" id="{42DE87C9-8101-42DB-AE3A-FBA2F2ABE121}"/>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0" name="Line 91">
              <a:extLst>
                <a:ext uri="{FF2B5EF4-FFF2-40B4-BE49-F238E27FC236}">
                  <a16:creationId xmlns:a16="http://schemas.microsoft.com/office/drawing/2014/main" id="{E3AA1053-A59F-4403-ABD4-98A3595D7827}"/>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17" name="Group 116">
            <a:extLst>
              <a:ext uri="{FF2B5EF4-FFF2-40B4-BE49-F238E27FC236}">
                <a16:creationId xmlns:a16="http://schemas.microsoft.com/office/drawing/2014/main" id="{61504947-B755-4682-85EF-6661C097388E}"/>
              </a:ext>
            </a:extLst>
          </p:cNvPr>
          <p:cNvGrpSpPr/>
          <p:nvPr/>
        </p:nvGrpSpPr>
        <p:grpSpPr>
          <a:xfrm>
            <a:off x="7007555" y="2264010"/>
            <a:ext cx="924379" cy="924379"/>
            <a:chOff x="5817748" y="2187810"/>
            <a:chExt cx="924379" cy="924379"/>
          </a:xfrm>
        </p:grpSpPr>
        <p:sp>
          <p:nvSpPr>
            <p:cNvPr id="8" name="Ellipse 7"/>
            <p:cNvSpPr/>
            <p:nvPr/>
          </p:nvSpPr>
          <p:spPr>
            <a:xfrm>
              <a:off x="5817748" y="2187810"/>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63" name="Group 62">
              <a:extLst>
                <a:ext uri="{FF2B5EF4-FFF2-40B4-BE49-F238E27FC236}">
                  <a16:creationId xmlns:a16="http://schemas.microsoft.com/office/drawing/2014/main" id="{094B5D84-638A-420B-B2F5-9A8B5B6887B1}"/>
                </a:ext>
              </a:extLst>
            </p:cNvPr>
            <p:cNvGrpSpPr/>
            <p:nvPr/>
          </p:nvGrpSpPr>
          <p:grpSpPr>
            <a:xfrm>
              <a:off x="6094200" y="2379331"/>
              <a:ext cx="371475" cy="541337"/>
              <a:chOff x="2000250" y="1401763"/>
              <a:chExt cx="371475" cy="541337"/>
            </a:xfrm>
          </p:grpSpPr>
          <p:sp>
            <p:nvSpPr>
              <p:cNvPr id="64" name="Freeform 57">
                <a:extLst>
                  <a:ext uri="{FF2B5EF4-FFF2-40B4-BE49-F238E27FC236}">
                    <a16:creationId xmlns:a16="http://schemas.microsoft.com/office/drawing/2014/main" id="{0A434FDB-3E9F-4DF7-83EC-B6B22F78F6F4}"/>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5" name="Line 58">
                <a:extLst>
                  <a:ext uri="{FF2B5EF4-FFF2-40B4-BE49-F238E27FC236}">
                    <a16:creationId xmlns:a16="http://schemas.microsoft.com/office/drawing/2014/main" id="{DC21DAA5-C035-4409-8D2C-64F4D7204CE1}"/>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6" name="Line 59">
                <a:extLst>
                  <a:ext uri="{FF2B5EF4-FFF2-40B4-BE49-F238E27FC236}">
                    <a16:creationId xmlns:a16="http://schemas.microsoft.com/office/drawing/2014/main" id="{3E88BD4C-0D56-47B1-9C02-9399F751C237}"/>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7" name="Line 60">
                <a:extLst>
                  <a:ext uri="{FF2B5EF4-FFF2-40B4-BE49-F238E27FC236}">
                    <a16:creationId xmlns:a16="http://schemas.microsoft.com/office/drawing/2014/main" id="{F4A436E9-5ED5-4277-8AF6-3D090A5E8A86}"/>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61">
                <a:extLst>
                  <a:ext uri="{FF2B5EF4-FFF2-40B4-BE49-F238E27FC236}">
                    <a16:creationId xmlns:a16="http://schemas.microsoft.com/office/drawing/2014/main" id="{CA5104D8-FAE2-4C2F-BA85-6181104CD96B}"/>
                  </a:ext>
                </a:extLst>
              </p:cNvPr>
              <p:cNvSpPr>
                <a:spLocks/>
              </p:cNvSpPr>
              <p:nvPr/>
            </p:nvSpPr>
            <p:spPr bwMode="auto">
              <a:xfrm>
                <a:off x="2000250" y="1441450"/>
                <a:ext cx="371475" cy="501650"/>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9" name="Line 62">
                <a:extLst>
                  <a:ext uri="{FF2B5EF4-FFF2-40B4-BE49-F238E27FC236}">
                    <a16:creationId xmlns:a16="http://schemas.microsoft.com/office/drawing/2014/main" id="{146667F9-DF3A-42EC-8FC1-0E834F055326}"/>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19" name="Group 118">
            <a:extLst>
              <a:ext uri="{FF2B5EF4-FFF2-40B4-BE49-F238E27FC236}">
                <a16:creationId xmlns:a16="http://schemas.microsoft.com/office/drawing/2014/main" id="{90EFAA1D-929B-4BAF-B8F1-8399DCA48DEA}"/>
              </a:ext>
            </a:extLst>
          </p:cNvPr>
          <p:cNvGrpSpPr/>
          <p:nvPr/>
        </p:nvGrpSpPr>
        <p:grpSpPr>
          <a:xfrm>
            <a:off x="5702002" y="2264010"/>
            <a:ext cx="924379" cy="924379"/>
            <a:chOff x="5817748" y="2187810"/>
            <a:chExt cx="924379" cy="924379"/>
          </a:xfrm>
        </p:grpSpPr>
        <p:sp>
          <p:nvSpPr>
            <p:cNvPr id="120" name="Ellipse 7">
              <a:extLst>
                <a:ext uri="{FF2B5EF4-FFF2-40B4-BE49-F238E27FC236}">
                  <a16:creationId xmlns:a16="http://schemas.microsoft.com/office/drawing/2014/main" id="{AFB1E5AC-A250-452B-B723-4C279D497D91}"/>
                </a:ext>
              </a:extLst>
            </p:cNvPr>
            <p:cNvSpPr/>
            <p:nvPr/>
          </p:nvSpPr>
          <p:spPr>
            <a:xfrm>
              <a:off x="5817748" y="2187810"/>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121" name="Group 120">
              <a:extLst>
                <a:ext uri="{FF2B5EF4-FFF2-40B4-BE49-F238E27FC236}">
                  <a16:creationId xmlns:a16="http://schemas.microsoft.com/office/drawing/2014/main" id="{80FF20E2-3054-410A-9A7C-DA476AEF5C3C}"/>
                </a:ext>
              </a:extLst>
            </p:cNvPr>
            <p:cNvGrpSpPr/>
            <p:nvPr/>
          </p:nvGrpSpPr>
          <p:grpSpPr>
            <a:xfrm>
              <a:off x="6094200" y="2379331"/>
              <a:ext cx="371475" cy="541337"/>
              <a:chOff x="2000250" y="1401763"/>
              <a:chExt cx="371475" cy="541337"/>
            </a:xfrm>
          </p:grpSpPr>
          <p:sp>
            <p:nvSpPr>
              <p:cNvPr id="122" name="Freeform 57">
                <a:extLst>
                  <a:ext uri="{FF2B5EF4-FFF2-40B4-BE49-F238E27FC236}">
                    <a16:creationId xmlns:a16="http://schemas.microsoft.com/office/drawing/2014/main" id="{F0DAC76A-0C62-4EA3-86BE-50C0B1D6ED76}"/>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3" name="Line 58">
                <a:extLst>
                  <a:ext uri="{FF2B5EF4-FFF2-40B4-BE49-F238E27FC236}">
                    <a16:creationId xmlns:a16="http://schemas.microsoft.com/office/drawing/2014/main" id="{23EEEB38-572B-4E60-A51B-363CD9F976BC}"/>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4" name="Line 59">
                <a:extLst>
                  <a:ext uri="{FF2B5EF4-FFF2-40B4-BE49-F238E27FC236}">
                    <a16:creationId xmlns:a16="http://schemas.microsoft.com/office/drawing/2014/main" id="{8CB1F85B-EF2B-4D71-8E42-F8C6A7EE1408}"/>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5" name="Line 60">
                <a:extLst>
                  <a:ext uri="{FF2B5EF4-FFF2-40B4-BE49-F238E27FC236}">
                    <a16:creationId xmlns:a16="http://schemas.microsoft.com/office/drawing/2014/main" id="{07DC2E26-C9F4-4FFB-83B0-F634495BC5B0}"/>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61">
                <a:extLst>
                  <a:ext uri="{FF2B5EF4-FFF2-40B4-BE49-F238E27FC236}">
                    <a16:creationId xmlns:a16="http://schemas.microsoft.com/office/drawing/2014/main" id="{29659C08-1699-4E09-AD00-8C5B3E4B93F7}"/>
                  </a:ext>
                </a:extLst>
              </p:cNvPr>
              <p:cNvSpPr>
                <a:spLocks/>
              </p:cNvSpPr>
              <p:nvPr/>
            </p:nvSpPr>
            <p:spPr bwMode="auto">
              <a:xfrm>
                <a:off x="2000250" y="1441450"/>
                <a:ext cx="371475" cy="501650"/>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7" name="Line 62">
                <a:extLst>
                  <a:ext uri="{FF2B5EF4-FFF2-40B4-BE49-F238E27FC236}">
                    <a16:creationId xmlns:a16="http://schemas.microsoft.com/office/drawing/2014/main" id="{D3479BDF-6574-473C-911C-7FF4A1216BCC}"/>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67" name="Group 166">
            <a:extLst>
              <a:ext uri="{FF2B5EF4-FFF2-40B4-BE49-F238E27FC236}">
                <a16:creationId xmlns:a16="http://schemas.microsoft.com/office/drawing/2014/main" id="{8C321BF9-8EEE-466D-AE61-78CB11A03C38}"/>
              </a:ext>
            </a:extLst>
          </p:cNvPr>
          <p:cNvGrpSpPr/>
          <p:nvPr/>
        </p:nvGrpSpPr>
        <p:grpSpPr>
          <a:xfrm>
            <a:off x="3241987" y="3899935"/>
            <a:ext cx="6390963" cy="1819480"/>
            <a:chOff x="3241987" y="3899935"/>
            <a:chExt cx="6390963" cy="1819480"/>
          </a:xfrm>
        </p:grpSpPr>
        <p:sp>
          <p:nvSpPr>
            <p:cNvPr id="91" name="Rectangle 90">
              <a:extLst>
                <a:ext uri="{FF2B5EF4-FFF2-40B4-BE49-F238E27FC236}">
                  <a16:creationId xmlns:a16="http://schemas.microsoft.com/office/drawing/2014/main" id="{9C45C5A6-44BA-4C3C-AEF5-2432077650DF}"/>
                </a:ext>
              </a:extLst>
            </p:cNvPr>
            <p:cNvSpPr/>
            <p:nvPr/>
          </p:nvSpPr>
          <p:spPr>
            <a:xfrm>
              <a:off x="3241987" y="3899935"/>
              <a:ext cx="6390963" cy="181948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nvGrpSpPr>
            <p:cNvPr id="116" name="Group 115">
              <a:extLst>
                <a:ext uri="{FF2B5EF4-FFF2-40B4-BE49-F238E27FC236}">
                  <a16:creationId xmlns:a16="http://schemas.microsoft.com/office/drawing/2014/main" id="{421D6348-E89D-4887-BB05-4BC9B42DA313}"/>
                </a:ext>
              </a:extLst>
            </p:cNvPr>
            <p:cNvGrpSpPr/>
            <p:nvPr/>
          </p:nvGrpSpPr>
          <p:grpSpPr>
            <a:xfrm>
              <a:off x="8313108" y="4347486"/>
              <a:ext cx="924379" cy="924379"/>
              <a:chOff x="6897868" y="2187810"/>
              <a:chExt cx="924379" cy="924379"/>
            </a:xfrm>
          </p:grpSpPr>
          <p:sp>
            <p:nvSpPr>
              <p:cNvPr id="9" name="Ellipse 8"/>
              <p:cNvSpPr/>
              <p:nvPr/>
            </p:nvSpPr>
            <p:spPr>
              <a:xfrm>
                <a:off x="6897868" y="2187810"/>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70" name="Group 69">
                <a:extLst>
                  <a:ext uri="{FF2B5EF4-FFF2-40B4-BE49-F238E27FC236}">
                    <a16:creationId xmlns:a16="http://schemas.microsoft.com/office/drawing/2014/main" id="{94843E5A-5A8A-45A4-8AE8-826B84D500FD}"/>
                  </a:ext>
                </a:extLst>
              </p:cNvPr>
              <p:cNvGrpSpPr/>
              <p:nvPr/>
            </p:nvGrpSpPr>
            <p:grpSpPr>
              <a:xfrm>
                <a:off x="7174320" y="2379331"/>
                <a:ext cx="371475" cy="541337"/>
                <a:chOff x="2000250" y="1401763"/>
                <a:chExt cx="371475" cy="541337"/>
              </a:xfrm>
            </p:grpSpPr>
            <p:sp>
              <p:nvSpPr>
                <p:cNvPr id="71" name="Freeform 57">
                  <a:extLst>
                    <a:ext uri="{FF2B5EF4-FFF2-40B4-BE49-F238E27FC236}">
                      <a16:creationId xmlns:a16="http://schemas.microsoft.com/office/drawing/2014/main" id="{26F91466-EEAF-44AE-983E-DE19F1229ECE}"/>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2" name="Line 58">
                  <a:extLst>
                    <a:ext uri="{FF2B5EF4-FFF2-40B4-BE49-F238E27FC236}">
                      <a16:creationId xmlns:a16="http://schemas.microsoft.com/office/drawing/2014/main" id="{1BA4F830-875E-4569-B9A0-7D08B42EE9E0}"/>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3" name="Line 59">
                  <a:extLst>
                    <a:ext uri="{FF2B5EF4-FFF2-40B4-BE49-F238E27FC236}">
                      <a16:creationId xmlns:a16="http://schemas.microsoft.com/office/drawing/2014/main" id="{6B195CD8-2FCD-441D-96C7-4869AF6B7D35}"/>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4" name="Line 60">
                  <a:extLst>
                    <a:ext uri="{FF2B5EF4-FFF2-40B4-BE49-F238E27FC236}">
                      <a16:creationId xmlns:a16="http://schemas.microsoft.com/office/drawing/2014/main" id="{B10B5BD9-6B4D-409E-AC2B-F88CACD2F5A9}"/>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5" name="Freeform 61">
                  <a:extLst>
                    <a:ext uri="{FF2B5EF4-FFF2-40B4-BE49-F238E27FC236}">
                      <a16:creationId xmlns:a16="http://schemas.microsoft.com/office/drawing/2014/main" id="{5827A315-0D7D-4C61-A4D1-1E43FD040FAB}"/>
                    </a:ext>
                  </a:extLst>
                </p:cNvPr>
                <p:cNvSpPr>
                  <a:spLocks/>
                </p:cNvSpPr>
                <p:nvPr/>
              </p:nvSpPr>
              <p:spPr bwMode="auto">
                <a:xfrm>
                  <a:off x="2000250" y="1441450"/>
                  <a:ext cx="371475" cy="501650"/>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6" name="Line 62">
                  <a:extLst>
                    <a:ext uri="{FF2B5EF4-FFF2-40B4-BE49-F238E27FC236}">
                      <a16:creationId xmlns:a16="http://schemas.microsoft.com/office/drawing/2014/main" id="{D4F20385-9977-41FE-A7F8-8962C01B4176}"/>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8" name="Group 127">
              <a:extLst>
                <a:ext uri="{FF2B5EF4-FFF2-40B4-BE49-F238E27FC236}">
                  <a16:creationId xmlns:a16="http://schemas.microsoft.com/office/drawing/2014/main" id="{BA9D0D50-B4D0-4464-9292-1602AEAA6E85}"/>
                </a:ext>
              </a:extLst>
            </p:cNvPr>
            <p:cNvGrpSpPr/>
            <p:nvPr/>
          </p:nvGrpSpPr>
          <p:grpSpPr>
            <a:xfrm>
              <a:off x="3623162" y="4347486"/>
              <a:ext cx="924379" cy="924379"/>
              <a:chOff x="4378158" y="2013857"/>
              <a:chExt cx="924379" cy="924379"/>
            </a:xfrm>
          </p:grpSpPr>
          <p:sp>
            <p:nvSpPr>
              <p:cNvPr id="129" name="Ellipse 6">
                <a:extLst>
                  <a:ext uri="{FF2B5EF4-FFF2-40B4-BE49-F238E27FC236}">
                    <a16:creationId xmlns:a16="http://schemas.microsoft.com/office/drawing/2014/main" id="{3B10DA68-9785-4EE0-93DF-232D08F03F6A}"/>
                  </a:ext>
                </a:extLst>
              </p:cNvPr>
              <p:cNvSpPr/>
              <p:nvPr/>
            </p:nvSpPr>
            <p:spPr>
              <a:xfrm>
                <a:off x="4378158" y="2013857"/>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130" name="Group 129">
                <a:extLst>
                  <a:ext uri="{FF2B5EF4-FFF2-40B4-BE49-F238E27FC236}">
                    <a16:creationId xmlns:a16="http://schemas.microsoft.com/office/drawing/2014/main" id="{ACCFEC62-B842-44BE-A77A-70CAFBFFC716}"/>
                  </a:ext>
                </a:extLst>
              </p:cNvPr>
              <p:cNvGrpSpPr/>
              <p:nvPr/>
            </p:nvGrpSpPr>
            <p:grpSpPr>
              <a:xfrm>
                <a:off x="4646672" y="2187915"/>
                <a:ext cx="387350" cy="576263"/>
                <a:chOff x="6305551" y="3308350"/>
                <a:chExt cx="387350" cy="576263"/>
              </a:xfrm>
            </p:grpSpPr>
            <p:sp>
              <p:nvSpPr>
                <p:cNvPr id="131" name="Oval 47">
                  <a:extLst>
                    <a:ext uri="{FF2B5EF4-FFF2-40B4-BE49-F238E27FC236}">
                      <a16:creationId xmlns:a16="http://schemas.microsoft.com/office/drawing/2014/main" id="{C3DD44C5-FD14-477C-A63E-6A3F69692CAA}"/>
                    </a:ext>
                  </a:extLst>
                </p:cNvPr>
                <p:cNvSpPr>
                  <a:spLocks noChangeArrowheads="1"/>
                </p:cNvSpPr>
                <p:nvPr/>
              </p:nvSpPr>
              <p:spPr bwMode="auto">
                <a:xfrm>
                  <a:off x="6305551" y="3308350"/>
                  <a:ext cx="387350" cy="392113"/>
                </a:xfrm>
                <a:prstGeom prst="ellipse">
                  <a:avLst/>
                </a:pr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2" name="Freeform 48">
                  <a:extLst>
                    <a:ext uri="{FF2B5EF4-FFF2-40B4-BE49-F238E27FC236}">
                      <a16:creationId xmlns:a16="http://schemas.microsoft.com/office/drawing/2014/main" id="{B5183586-E339-4101-A226-6011FEEA18BF}"/>
                    </a:ext>
                  </a:extLst>
                </p:cNvPr>
                <p:cNvSpPr>
                  <a:spLocks/>
                </p:cNvSpPr>
                <p:nvPr/>
              </p:nvSpPr>
              <p:spPr bwMode="auto">
                <a:xfrm>
                  <a:off x="6453188" y="3556000"/>
                  <a:ext cx="127000" cy="328613"/>
                </a:xfrm>
                <a:custGeom>
                  <a:avLst/>
                  <a:gdLst>
                    <a:gd name="T0" fmla="*/ 14 w 28"/>
                    <a:gd name="T1" fmla="*/ 73 h 73"/>
                    <a:gd name="T2" fmla="*/ 14 w 28"/>
                    <a:gd name="T3" fmla="*/ 73 h 73"/>
                    <a:gd name="T4" fmla="*/ 0 w 28"/>
                    <a:gd name="T5" fmla="*/ 59 h 73"/>
                    <a:gd name="T6" fmla="*/ 0 w 28"/>
                    <a:gd name="T7" fmla="*/ 14 h 73"/>
                    <a:gd name="T8" fmla="*/ 14 w 28"/>
                    <a:gd name="T9" fmla="*/ 0 h 73"/>
                    <a:gd name="T10" fmla="*/ 14 w 28"/>
                    <a:gd name="T11" fmla="*/ 0 h 73"/>
                    <a:gd name="T12" fmla="*/ 28 w 28"/>
                    <a:gd name="T13" fmla="*/ 14 h 73"/>
                    <a:gd name="T14" fmla="*/ 28 w 28"/>
                    <a:gd name="T15" fmla="*/ 59 h 73"/>
                    <a:gd name="T16" fmla="*/ 14 w 28"/>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3">
                      <a:moveTo>
                        <a:pt x="14" y="73"/>
                      </a:moveTo>
                      <a:cubicBezTo>
                        <a:pt x="14" y="73"/>
                        <a:pt x="14" y="73"/>
                        <a:pt x="14" y="73"/>
                      </a:cubicBezTo>
                      <a:cubicBezTo>
                        <a:pt x="6" y="73"/>
                        <a:pt x="0" y="67"/>
                        <a:pt x="0" y="59"/>
                      </a:cubicBezTo>
                      <a:cubicBezTo>
                        <a:pt x="0" y="14"/>
                        <a:pt x="0" y="14"/>
                        <a:pt x="0" y="14"/>
                      </a:cubicBezTo>
                      <a:cubicBezTo>
                        <a:pt x="0" y="7"/>
                        <a:pt x="6" y="0"/>
                        <a:pt x="14" y="0"/>
                      </a:cubicBezTo>
                      <a:cubicBezTo>
                        <a:pt x="14" y="0"/>
                        <a:pt x="14" y="0"/>
                        <a:pt x="14" y="0"/>
                      </a:cubicBezTo>
                      <a:cubicBezTo>
                        <a:pt x="21" y="0"/>
                        <a:pt x="28" y="7"/>
                        <a:pt x="28" y="14"/>
                      </a:cubicBezTo>
                      <a:cubicBezTo>
                        <a:pt x="28" y="59"/>
                        <a:pt x="28" y="59"/>
                        <a:pt x="28" y="59"/>
                      </a:cubicBezTo>
                      <a:cubicBezTo>
                        <a:pt x="28" y="67"/>
                        <a:pt x="21" y="73"/>
                        <a:pt x="14" y="73"/>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3" name="Oval 49">
                  <a:extLst>
                    <a:ext uri="{FF2B5EF4-FFF2-40B4-BE49-F238E27FC236}">
                      <a16:creationId xmlns:a16="http://schemas.microsoft.com/office/drawing/2014/main" id="{1024A08F-1E65-44C7-A955-89A32D8E36EC}"/>
                    </a:ext>
                  </a:extLst>
                </p:cNvPr>
                <p:cNvSpPr>
                  <a:spLocks noChangeArrowheads="1"/>
                </p:cNvSpPr>
                <p:nvPr/>
              </p:nvSpPr>
              <p:spPr bwMode="auto">
                <a:xfrm>
                  <a:off x="6507163" y="3817938"/>
                  <a:ext cx="41275" cy="44450"/>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4" name="Freeform 50">
                  <a:extLst>
                    <a:ext uri="{FF2B5EF4-FFF2-40B4-BE49-F238E27FC236}">
                      <a16:creationId xmlns:a16="http://schemas.microsoft.com/office/drawing/2014/main" id="{00040F43-DACD-4FF1-88F0-9BBEBF0EA1CC}"/>
                    </a:ext>
                  </a:extLst>
                </p:cNvPr>
                <p:cNvSpPr>
                  <a:spLocks/>
                </p:cNvSpPr>
                <p:nvPr/>
              </p:nvSpPr>
              <p:spPr bwMode="auto">
                <a:xfrm>
                  <a:off x="6413501" y="3376613"/>
                  <a:ext cx="225425" cy="341313"/>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35" name="Group 134">
              <a:extLst>
                <a:ext uri="{FF2B5EF4-FFF2-40B4-BE49-F238E27FC236}">
                  <a16:creationId xmlns:a16="http://schemas.microsoft.com/office/drawing/2014/main" id="{6A1CB455-E45A-4062-B708-CFF458F4EAFF}"/>
                </a:ext>
              </a:extLst>
            </p:cNvPr>
            <p:cNvGrpSpPr/>
            <p:nvPr/>
          </p:nvGrpSpPr>
          <p:grpSpPr>
            <a:xfrm>
              <a:off x="4928715" y="4654100"/>
              <a:ext cx="392113" cy="311150"/>
              <a:chOff x="2936876" y="5357813"/>
              <a:chExt cx="392113" cy="311150"/>
            </a:xfrm>
          </p:grpSpPr>
          <p:sp>
            <p:nvSpPr>
              <p:cNvPr id="136" name="Freeform 88">
                <a:extLst>
                  <a:ext uri="{FF2B5EF4-FFF2-40B4-BE49-F238E27FC236}">
                    <a16:creationId xmlns:a16="http://schemas.microsoft.com/office/drawing/2014/main" id="{7D83F575-AD5E-40C1-8806-09E89AA0D319}"/>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E6C9B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7" name="Freeform 90">
                <a:extLst>
                  <a:ext uri="{FF2B5EF4-FFF2-40B4-BE49-F238E27FC236}">
                    <a16:creationId xmlns:a16="http://schemas.microsoft.com/office/drawing/2014/main" id="{974B50BA-8987-48F1-90BC-4436B30079B6}"/>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8" name="Line 91">
                <a:extLst>
                  <a:ext uri="{FF2B5EF4-FFF2-40B4-BE49-F238E27FC236}">
                    <a16:creationId xmlns:a16="http://schemas.microsoft.com/office/drawing/2014/main" id="{D55E384F-D2E0-47A1-989A-97CEF1EB751F}"/>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39" name="Group 138">
              <a:extLst>
                <a:ext uri="{FF2B5EF4-FFF2-40B4-BE49-F238E27FC236}">
                  <a16:creationId xmlns:a16="http://schemas.microsoft.com/office/drawing/2014/main" id="{72E47213-6CCD-4D0B-A1DD-26442FDB7968}"/>
                </a:ext>
              </a:extLst>
            </p:cNvPr>
            <p:cNvGrpSpPr/>
            <p:nvPr/>
          </p:nvGrpSpPr>
          <p:grpSpPr>
            <a:xfrm>
              <a:off x="7007555" y="4347486"/>
              <a:ext cx="924379" cy="924379"/>
              <a:chOff x="5817748" y="2187810"/>
              <a:chExt cx="924379" cy="924379"/>
            </a:xfrm>
          </p:grpSpPr>
          <p:sp>
            <p:nvSpPr>
              <p:cNvPr id="140" name="Ellipse 7">
                <a:extLst>
                  <a:ext uri="{FF2B5EF4-FFF2-40B4-BE49-F238E27FC236}">
                    <a16:creationId xmlns:a16="http://schemas.microsoft.com/office/drawing/2014/main" id="{C7BA7C77-4134-41CF-9647-258CC0507C41}"/>
                  </a:ext>
                </a:extLst>
              </p:cNvPr>
              <p:cNvSpPr/>
              <p:nvPr/>
            </p:nvSpPr>
            <p:spPr>
              <a:xfrm>
                <a:off x="5817748" y="2187810"/>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141" name="Group 140">
                <a:extLst>
                  <a:ext uri="{FF2B5EF4-FFF2-40B4-BE49-F238E27FC236}">
                    <a16:creationId xmlns:a16="http://schemas.microsoft.com/office/drawing/2014/main" id="{3D2DC7FE-23D6-4ABA-99D7-299D5B9B2054}"/>
                  </a:ext>
                </a:extLst>
              </p:cNvPr>
              <p:cNvGrpSpPr/>
              <p:nvPr/>
            </p:nvGrpSpPr>
            <p:grpSpPr>
              <a:xfrm>
                <a:off x="6094200" y="2379331"/>
                <a:ext cx="371475" cy="541337"/>
                <a:chOff x="2000250" y="1401763"/>
                <a:chExt cx="371475" cy="541337"/>
              </a:xfrm>
            </p:grpSpPr>
            <p:sp>
              <p:nvSpPr>
                <p:cNvPr id="142" name="Freeform 57">
                  <a:extLst>
                    <a:ext uri="{FF2B5EF4-FFF2-40B4-BE49-F238E27FC236}">
                      <a16:creationId xmlns:a16="http://schemas.microsoft.com/office/drawing/2014/main" id="{9510EACA-252B-4521-99FB-AD18F5B9C3A2}"/>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3" name="Line 58">
                  <a:extLst>
                    <a:ext uri="{FF2B5EF4-FFF2-40B4-BE49-F238E27FC236}">
                      <a16:creationId xmlns:a16="http://schemas.microsoft.com/office/drawing/2014/main" id="{1F856518-628A-421F-8263-7F994138CA2B}"/>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4" name="Line 59">
                  <a:extLst>
                    <a:ext uri="{FF2B5EF4-FFF2-40B4-BE49-F238E27FC236}">
                      <a16:creationId xmlns:a16="http://schemas.microsoft.com/office/drawing/2014/main" id="{CFDDEBCA-B52F-43E0-AC6F-83B04DF06A22}"/>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5" name="Line 60">
                  <a:extLst>
                    <a:ext uri="{FF2B5EF4-FFF2-40B4-BE49-F238E27FC236}">
                      <a16:creationId xmlns:a16="http://schemas.microsoft.com/office/drawing/2014/main" id="{9FAED52D-9004-4272-8A87-E88D464C5DAF}"/>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6" name="Freeform 61">
                  <a:extLst>
                    <a:ext uri="{FF2B5EF4-FFF2-40B4-BE49-F238E27FC236}">
                      <a16:creationId xmlns:a16="http://schemas.microsoft.com/office/drawing/2014/main" id="{B6528AA1-DDE9-4F64-90B6-E6FABB0346C1}"/>
                    </a:ext>
                  </a:extLst>
                </p:cNvPr>
                <p:cNvSpPr>
                  <a:spLocks/>
                </p:cNvSpPr>
                <p:nvPr/>
              </p:nvSpPr>
              <p:spPr bwMode="auto">
                <a:xfrm>
                  <a:off x="2000250" y="1441450"/>
                  <a:ext cx="371475" cy="501650"/>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7" name="Line 62">
                  <a:extLst>
                    <a:ext uri="{FF2B5EF4-FFF2-40B4-BE49-F238E27FC236}">
                      <a16:creationId xmlns:a16="http://schemas.microsoft.com/office/drawing/2014/main" id="{FCEBDC89-A7C2-4EED-93F8-5A0E2D1BEA33}"/>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48" name="Group 147">
              <a:extLst>
                <a:ext uri="{FF2B5EF4-FFF2-40B4-BE49-F238E27FC236}">
                  <a16:creationId xmlns:a16="http://schemas.microsoft.com/office/drawing/2014/main" id="{2200F6F4-0152-4800-934F-3F56FC9522FA}"/>
                </a:ext>
              </a:extLst>
            </p:cNvPr>
            <p:cNvGrpSpPr/>
            <p:nvPr/>
          </p:nvGrpSpPr>
          <p:grpSpPr>
            <a:xfrm>
              <a:off x="5702002" y="4347486"/>
              <a:ext cx="924379" cy="924379"/>
              <a:chOff x="5817748" y="2187810"/>
              <a:chExt cx="924379" cy="924379"/>
            </a:xfrm>
          </p:grpSpPr>
          <p:sp>
            <p:nvSpPr>
              <p:cNvPr id="149" name="Ellipse 7">
                <a:extLst>
                  <a:ext uri="{FF2B5EF4-FFF2-40B4-BE49-F238E27FC236}">
                    <a16:creationId xmlns:a16="http://schemas.microsoft.com/office/drawing/2014/main" id="{390F150A-8D2D-4ACF-BCC2-3350A7306F01}"/>
                  </a:ext>
                </a:extLst>
              </p:cNvPr>
              <p:cNvSpPr/>
              <p:nvPr/>
            </p:nvSpPr>
            <p:spPr>
              <a:xfrm>
                <a:off x="5817748" y="2187810"/>
                <a:ext cx="924379" cy="924379"/>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accent5"/>
                  </a:solidFill>
                </a:endParaRPr>
              </a:p>
            </p:txBody>
          </p:sp>
          <p:grpSp>
            <p:nvGrpSpPr>
              <p:cNvPr id="150" name="Group 149">
                <a:extLst>
                  <a:ext uri="{FF2B5EF4-FFF2-40B4-BE49-F238E27FC236}">
                    <a16:creationId xmlns:a16="http://schemas.microsoft.com/office/drawing/2014/main" id="{DE45964E-761E-40FC-8260-EFA156879A98}"/>
                  </a:ext>
                </a:extLst>
              </p:cNvPr>
              <p:cNvGrpSpPr/>
              <p:nvPr/>
            </p:nvGrpSpPr>
            <p:grpSpPr>
              <a:xfrm>
                <a:off x="6094200" y="2379331"/>
                <a:ext cx="371475" cy="541337"/>
                <a:chOff x="2000250" y="1401763"/>
                <a:chExt cx="371475" cy="541337"/>
              </a:xfrm>
            </p:grpSpPr>
            <p:sp>
              <p:nvSpPr>
                <p:cNvPr id="151" name="Freeform 57">
                  <a:extLst>
                    <a:ext uri="{FF2B5EF4-FFF2-40B4-BE49-F238E27FC236}">
                      <a16:creationId xmlns:a16="http://schemas.microsoft.com/office/drawing/2014/main" id="{8945319D-857B-4783-AC79-13A42F745844}"/>
                    </a:ext>
                  </a:extLst>
                </p:cNvPr>
                <p:cNvSpPr>
                  <a:spLocks/>
                </p:cNvSpPr>
                <p:nvPr/>
              </p:nvSpPr>
              <p:spPr bwMode="auto">
                <a:xfrm>
                  <a:off x="2174875" y="1401763"/>
                  <a:ext cx="169863" cy="169862"/>
                </a:xfrm>
                <a:custGeom>
                  <a:avLst/>
                  <a:gdLst>
                    <a:gd name="T0" fmla="*/ 1 w 38"/>
                    <a:gd name="T1" fmla="*/ 0 h 38"/>
                    <a:gd name="T2" fmla="*/ 37 w 38"/>
                    <a:gd name="T3" fmla="*/ 36 h 38"/>
                    <a:gd name="T4" fmla="*/ 37 w 38"/>
                    <a:gd name="T5" fmla="*/ 38 h 38"/>
                    <a:gd name="T6" fmla="*/ 0 w 38"/>
                    <a:gd name="T7" fmla="*/ 38 h 38"/>
                    <a:gd name="T8" fmla="*/ 0 w 38"/>
                    <a:gd name="T9" fmla="*/ 37 h 38"/>
                    <a:gd name="T10" fmla="*/ 0 w 38"/>
                    <a:gd name="T11" fmla="*/ 1 h 38"/>
                    <a:gd name="T12" fmla="*/ 1 w 38"/>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38" h="38">
                      <a:moveTo>
                        <a:pt x="1" y="0"/>
                      </a:moveTo>
                      <a:cubicBezTo>
                        <a:pt x="37" y="36"/>
                        <a:pt x="37" y="36"/>
                        <a:pt x="37" y="36"/>
                      </a:cubicBezTo>
                      <a:cubicBezTo>
                        <a:pt x="38" y="37"/>
                        <a:pt x="37" y="38"/>
                        <a:pt x="37" y="38"/>
                      </a:cubicBezTo>
                      <a:cubicBezTo>
                        <a:pt x="0" y="38"/>
                        <a:pt x="0" y="38"/>
                        <a:pt x="0" y="38"/>
                      </a:cubicBezTo>
                      <a:cubicBezTo>
                        <a:pt x="0" y="38"/>
                        <a:pt x="0" y="37"/>
                        <a:pt x="0" y="37"/>
                      </a:cubicBezTo>
                      <a:cubicBezTo>
                        <a:pt x="0" y="1"/>
                        <a:pt x="0" y="1"/>
                        <a:pt x="0" y="1"/>
                      </a:cubicBezTo>
                      <a:cubicBezTo>
                        <a:pt x="0" y="0"/>
                        <a:pt x="0" y="0"/>
                        <a:pt x="1" y="0"/>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2" name="Line 58">
                  <a:extLst>
                    <a:ext uri="{FF2B5EF4-FFF2-40B4-BE49-F238E27FC236}">
                      <a16:creationId xmlns:a16="http://schemas.microsoft.com/office/drawing/2014/main" id="{B69F07D8-BC7E-44E9-AAF7-040396694167}"/>
                    </a:ext>
                  </a:extLst>
                </p:cNvPr>
                <p:cNvSpPr>
                  <a:spLocks noChangeShapeType="1"/>
                </p:cNvSpPr>
                <p:nvPr/>
              </p:nvSpPr>
              <p:spPr bwMode="auto">
                <a:xfrm>
                  <a:off x="2066925" y="1684338"/>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3" name="Line 59">
                  <a:extLst>
                    <a:ext uri="{FF2B5EF4-FFF2-40B4-BE49-F238E27FC236}">
                      <a16:creationId xmlns:a16="http://schemas.microsoft.com/office/drawing/2014/main" id="{84A88C99-D6B0-4C6F-B8F2-443F8F4E3DC4}"/>
                    </a:ext>
                  </a:extLst>
                </p:cNvPr>
                <p:cNvSpPr>
                  <a:spLocks noChangeShapeType="1"/>
                </p:cNvSpPr>
                <p:nvPr/>
              </p:nvSpPr>
              <p:spPr bwMode="auto">
                <a:xfrm>
                  <a:off x="2066925" y="1755775"/>
                  <a:ext cx="223838"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4" name="Line 60">
                  <a:extLst>
                    <a:ext uri="{FF2B5EF4-FFF2-40B4-BE49-F238E27FC236}">
                      <a16:creationId xmlns:a16="http://schemas.microsoft.com/office/drawing/2014/main" id="{FB8BA797-D58A-4BCE-9573-80EB95B522FC}"/>
                    </a:ext>
                  </a:extLst>
                </p:cNvPr>
                <p:cNvSpPr>
                  <a:spLocks noChangeShapeType="1"/>
                </p:cNvSpPr>
                <p:nvPr/>
              </p:nvSpPr>
              <p:spPr bwMode="auto">
                <a:xfrm>
                  <a:off x="2066925" y="1822450"/>
                  <a:ext cx="157163"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5" name="Freeform 61">
                  <a:extLst>
                    <a:ext uri="{FF2B5EF4-FFF2-40B4-BE49-F238E27FC236}">
                      <a16:creationId xmlns:a16="http://schemas.microsoft.com/office/drawing/2014/main" id="{3AE511F7-AD51-4FF2-81B6-195F5650DC9A}"/>
                    </a:ext>
                  </a:extLst>
                </p:cNvPr>
                <p:cNvSpPr>
                  <a:spLocks/>
                </p:cNvSpPr>
                <p:nvPr/>
              </p:nvSpPr>
              <p:spPr bwMode="auto">
                <a:xfrm>
                  <a:off x="2000250" y="1441450"/>
                  <a:ext cx="371475" cy="501650"/>
                </a:xfrm>
                <a:custGeom>
                  <a:avLst/>
                  <a:gdLst>
                    <a:gd name="T0" fmla="*/ 53 w 83"/>
                    <a:gd name="T1" fmla="*/ 4 h 112"/>
                    <a:gd name="T2" fmla="*/ 53 w 83"/>
                    <a:gd name="T3" fmla="*/ 29 h 112"/>
                    <a:gd name="T4" fmla="*/ 78 w 83"/>
                    <a:gd name="T5" fmla="*/ 29 h 112"/>
                    <a:gd name="T6" fmla="*/ 83 w 83"/>
                    <a:gd name="T7" fmla="*/ 34 h 112"/>
                    <a:gd name="T8" fmla="*/ 83 w 83"/>
                    <a:gd name="T9" fmla="*/ 41 h 112"/>
                    <a:gd name="T10" fmla="*/ 83 w 83"/>
                    <a:gd name="T11" fmla="*/ 112 h 112"/>
                    <a:gd name="T12" fmla="*/ 0 w 83"/>
                    <a:gd name="T13" fmla="*/ 112 h 112"/>
                    <a:gd name="T14" fmla="*/ 0 w 83"/>
                    <a:gd name="T15" fmla="*/ 0 h 112"/>
                    <a:gd name="T16" fmla="*/ 48 w 83"/>
                    <a:gd name="T17" fmla="*/ 0 h 112"/>
                    <a:gd name="T18" fmla="*/ 53 w 83"/>
                    <a:gd name="T19" fmla="*/ 4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3" h="112">
                      <a:moveTo>
                        <a:pt x="53" y="4"/>
                      </a:moveTo>
                      <a:cubicBezTo>
                        <a:pt x="53" y="29"/>
                        <a:pt x="53" y="29"/>
                        <a:pt x="53" y="29"/>
                      </a:cubicBezTo>
                      <a:cubicBezTo>
                        <a:pt x="78" y="29"/>
                        <a:pt x="78" y="29"/>
                        <a:pt x="78" y="29"/>
                      </a:cubicBezTo>
                      <a:cubicBezTo>
                        <a:pt x="80" y="29"/>
                        <a:pt x="83" y="31"/>
                        <a:pt x="83" y="34"/>
                      </a:cubicBezTo>
                      <a:cubicBezTo>
                        <a:pt x="83" y="41"/>
                        <a:pt x="83" y="41"/>
                        <a:pt x="83" y="41"/>
                      </a:cubicBezTo>
                      <a:cubicBezTo>
                        <a:pt x="83" y="112"/>
                        <a:pt x="83" y="112"/>
                        <a:pt x="83" y="112"/>
                      </a:cubicBezTo>
                      <a:cubicBezTo>
                        <a:pt x="0" y="112"/>
                        <a:pt x="0" y="112"/>
                        <a:pt x="0" y="112"/>
                      </a:cubicBezTo>
                      <a:cubicBezTo>
                        <a:pt x="0" y="0"/>
                        <a:pt x="0" y="0"/>
                        <a:pt x="0" y="0"/>
                      </a:cubicBezTo>
                      <a:cubicBezTo>
                        <a:pt x="48" y="0"/>
                        <a:pt x="48" y="0"/>
                        <a:pt x="48" y="0"/>
                      </a:cubicBezTo>
                      <a:cubicBezTo>
                        <a:pt x="51" y="0"/>
                        <a:pt x="53" y="2"/>
                        <a:pt x="53" y="4"/>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6" name="Line 62">
                  <a:extLst>
                    <a:ext uri="{FF2B5EF4-FFF2-40B4-BE49-F238E27FC236}">
                      <a16:creationId xmlns:a16="http://schemas.microsoft.com/office/drawing/2014/main" id="{316C5A16-FDB4-4FD7-BC8E-162FC9139A1E}"/>
                    </a:ext>
                  </a:extLst>
                </p:cNvPr>
                <p:cNvSpPr>
                  <a:spLocks noChangeShapeType="1"/>
                </p:cNvSpPr>
                <p:nvPr/>
              </p:nvSpPr>
              <p:spPr bwMode="auto">
                <a:xfrm>
                  <a:off x="2236788" y="1450975"/>
                  <a:ext cx="80963" cy="8096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grpSp>
        <p:nvGrpSpPr>
          <p:cNvPr id="165" name="Group 164">
            <a:extLst>
              <a:ext uri="{FF2B5EF4-FFF2-40B4-BE49-F238E27FC236}">
                <a16:creationId xmlns:a16="http://schemas.microsoft.com/office/drawing/2014/main" id="{96FB0E76-2187-4E83-97A4-69E8A78FF227}"/>
              </a:ext>
            </a:extLst>
          </p:cNvPr>
          <p:cNvGrpSpPr/>
          <p:nvPr/>
        </p:nvGrpSpPr>
        <p:grpSpPr>
          <a:xfrm>
            <a:off x="269875" y="3899935"/>
            <a:ext cx="3012670" cy="1819480"/>
            <a:chOff x="269875" y="3899935"/>
            <a:chExt cx="3012670" cy="1819480"/>
          </a:xfrm>
        </p:grpSpPr>
        <p:sp>
          <p:nvSpPr>
            <p:cNvPr id="157" name="Rectangle 156">
              <a:extLst>
                <a:ext uri="{FF2B5EF4-FFF2-40B4-BE49-F238E27FC236}">
                  <a16:creationId xmlns:a16="http://schemas.microsoft.com/office/drawing/2014/main" id="{CF091FB4-E7B2-4F93-AECE-B8E6320AF2DE}"/>
                </a:ext>
              </a:extLst>
            </p:cNvPr>
            <p:cNvSpPr/>
            <p:nvPr/>
          </p:nvSpPr>
          <p:spPr>
            <a:xfrm>
              <a:off x="269875" y="3899935"/>
              <a:ext cx="2972113" cy="1819480"/>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94" name="Rectangle 93">
              <a:extLst>
                <a:ext uri="{FF2B5EF4-FFF2-40B4-BE49-F238E27FC236}">
                  <a16:creationId xmlns:a16="http://schemas.microsoft.com/office/drawing/2014/main" id="{3749981F-778A-4FBB-B15E-B8AB78714E13}"/>
                </a:ext>
              </a:extLst>
            </p:cNvPr>
            <p:cNvSpPr/>
            <p:nvPr/>
          </p:nvSpPr>
          <p:spPr>
            <a:xfrm>
              <a:off x="551866" y="5060643"/>
              <a:ext cx="2730679" cy="407804"/>
            </a:xfrm>
            <a:prstGeom prst="rect">
              <a:avLst/>
            </a:prstGeom>
          </p:spPr>
          <p:txBody>
            <a:bodyPr wrap="square" lIns="0" tIns="0" rIns="0" bIns="0">
              <a:spAutoFit/>
            </a:bodyPr>
            <a:lstStyle/>
            <a:p>
              <a:pPr lvl="0">
                <a:spcBef>
                  <a:spcPts val="300"/>
                </a:spcBef>
                <a:defRPr/>
              </a:pPr>
              <a:r>
                <a:rPr lang="en-GB" sz="1200" b="1" dirty="0"/>
                <a:t>Ratio: </a:t>
              </a:r>
            </a:p>
            <a:p>
              <a:pPr lvl="0">
                <a:spcBef>
                  <a:spcPts val="300"/>
                </a:spcBef>
                <a:defRPr/>
              </a:pPr>
              <a:r>
                <a:rPr lang="en-GB" sz="1200" dirty="0"/>
                <a:t>1 question to 2 or 3 reflections </a:t>
              </a:r>
            </a:p>
          </p:txBody>
        </p:sp>
        <p:sp>
          <p:nvSpPr>
            <p:cNvPr id="158" name="Rectangle 157">
              <a:extLst>
                <a:ext uri="{FF2B5EF4-FFF2-40B4-BE49-F238E27FC236}">
                  <a16:creationId xmlns:a16="http://schemas.microsoft.com/office/drawing/2014/main" id="{40D33EAC-33D4-4439-A211-5A661DDD91C8}"/>
                </a:ext>
              </a:extLst>
            </p:cNvPr>
            <p:cNvSpPr/>
            <p:nvPr/>
          </p:nvSpPr>
          <p:spPr>
            <a:xfrm>
              <a:off x="1137651" y="4107649"/>
              <a:ext cx="1905450" cy="523220"/>
            </a:xfrm>
            <a:prstGeom prst="rect">
              <a:avLst/>
            </a:prstGeom>
          </p:spPr>
          <p:txBody>
            <a:bodyPr wrap="square" anchor="ctr">
              <a:spAutoFit/>
            </a:bodyPr>
            <a:lstStyle/>
            <a:p>
              <a:pPr lvl="0">
                <a:defRPr/>
              </a:pPr>
              <a:r>
                <a:rPr lang="en-GB" sz="1400" b="1" dirty="0"/>
                <a:t>‘Warm/hot’ conversation:</a:t>
              </a:r>
            </a:p>
          </p:txBody>
        </p:sp>
        <p:cxnSp>
          <p:nvCxnSpPr>
            <p:cNvPr id="159" name="Straight Connector 158">
              <a:extLst>
                <a:ext uri="{FF2B5EF4-FFF2-40B4-BE49-F238E27FC236}">
                  <a16:creationId xmlns:a16="http://schemas.microsoft.com/office/drawing/2014/main" id="{7702627E-A559-41AE-B222-2ACB08693802}"/>
                </a:ext>
              </a:extLst>
            </p:cNvPr>
            <p:cNvCxnSpPr>
              <a:cxnSpLocks/>
            </p:cNvCxnSpPr>
            <p:nvPr/>
          </p:nvCxnSpPr>
          <p:spPr>
            <a:xfrm flipH="1">
              <a:off x="551866" y="4809675"/>
              <a:ext cx="240813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nvGrpSpPr>
            <p:cNvPr id="161" name="Group 160">
              <a:extLst>
                <a:ext uri="{FF2B5EF4-FFF2-40B4-BE49-F238E27FC236}">
                  <a16:creationId xmlns:a16="http://schemas.microsoft.com/office/drawing/2014/main" id="{D2A63D89-932B-4EB6-B147-D9002BBC2E59}"/>
                </a:ext>
              </a:extLst>
            </p:cNvPr>
            <p:cNvGrpSpPr/>
            <p:nvPr/>
          </p:nvGrpSpPr>
          <p:grpSpPr>
            <a:xfrm>
              <a:off x="562317" y="4110843"/>
              <a:ext cx="491784" cy="461613"/>
              <a:chOff x="8318500" y="1587501"/>
              <a:chExt cx="517525" cy="485775"/>
            </a:xfrm>
          </p:grpSpPr>
          <p:sp>
            <p:nvSpPr>
              <p:cNvPr id="162" name="Freeform 91">
                <a:extLst>
                  <a:ext uri="{FF2B5EF4-FFF2-40B4-BE49-F238E27FC236}">
                    <a16:creationId xmlns:a16="http://schemas.microsoft.com/office/drawing/2014/main" id="{71B7AB12-D45C-46DB-8958-50BA890C4046}"/>
                  </a:ext>
                </a:extLst>
              </p:cNvPr>
              <p:cNvSpPr>
                <a:spLocks/>
              </p:cNvSpPr>
              <p:nvPr/>
            </p:nvSpPr>
            <p:spPr bwMode="auto">
              <a:xfrm>
                <a:off x="8367713" y="1785938"/>
                <a:ext cx="288925" cy="287338"/>
              </a:xfrm>
              <a:custGeom>
                <a:avLst/>
                <a:gdLst>
                  <a:gd name="T0" fmla="*/ 20 w 64"/>
                  <a:gd name="T1" fmla="*/ 64 h 64"/>
                  <a:gd name="T2" fmla="*/ 9 w 64"/>
                  <a:gd name="T3" fmla="*/ 26 h 64"/>
                  <a:gd name="T4" fmla="*/ 37 w 64"/>
                  <a:gd name="T5" fmla="*/ 0 h 64"/>
                  <a:gd name="T6" fmla="*/ 39 w 64"/>
                  <a:gd name="T7" fmla="*/ 63 h 64"/>
                </a:gdLst>
                <a:ahLst/>
                <a:cxnLst>
                  <a:cxn ang="0">
                    <a:pos x="T0" y="T1"/>
                  </a:cxn>
                  <a:cxn ang="0">
                    <a:pos x="T2" y="T3"/>
                  </a:cxn>
                  <a:cxn ang="0">
                    <a:pos x="T4" y="T5"/>
                  </a:cxn>
                  <a:cxn ang="0">
                    <a:pos x="T6" y="T7"/>
                  </a:cxn>
                </a:cxnLst>
                <a:rect l="0" t="0" r="r" b="b"/>
                <a:pathLst>
                  <a:path w="64" h="64">
                    <a:moveTo>
                      <a:pt x="20" y="64"/>
                    </a:moveTo>
                    <a:cubicBezTo>
                      <a:pt x="8" y="59"/>
                      <a:pt x="0" y="42"/>
                      <a:pt x="9" y="26"/>
                    </a:cubicBezTo>
                    <a:cubicBezTo>
                      <a:pt x="15" y="51"/>
                      <a:pt x="46" y="37"/>
                      <a:pt x="37" y="0"/>
                    </a:cubicBezTo>
                    <a:cubicBezTo>
                      <a:pt x="51" y="10"/>
                      <a:pt x="64" y="43"/>
                      <a:pt x="39" y="63"/>
                    </a:cubicBezTo>
                  </a:path>
                </a:pathLst>
              </a:custGeom>
              <a:solidFill>
                <a:srgbClr val="E0BC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3" name="Freeform 92">
                <a:extLst>
                  <a:ext uri="{FF2B5EF4-FFF2-40B4-BE49-F238E27FC236}">
                    <a16:creationId xmlns:a16="http://schemas.microsoft.com/office/drawing/2014/main" id="{86586B46-B7D9-4D37-9AA4-63C27BC1E038}"/>
                  </a:ext>
                </a:extLst>
              </p:cNvPr>
              <p:cNvSpPr>
                <a:spLocks/>
              </p:cNvSpPr>
              <p:nvPr/>
            </p:nvSpPr>
            <p:spPr bwMode="auto">
              <a:xfrm>
                <a:off x="8318500" y="1587501"/>
                <a:ext cx="517525" cy="485775"/>
              </a:xfrm>
              <a:custGeom>
                <a:avLst/>
                <a:gdLst>
                  <a:gd name="T0" fmla="*/ 23 w 115"/>
                  <a:gd name="T1" fmla="*/ 107 h 108"/>
                  <a:gd name="T2" fmla="*/ 5 w 115"/>
                  <a:gd name="T3" fmla="*/ 67 h 108"/>
                  <a:gd name="T4" fmla="*/ 41 w 115"/>
                  <a:gd name="T5" fmla="*/ 0 h 108"/>
                  <a:gd name="T6" fmla="*/ 72 w 115"/>
                  <a:gd name="T7" fmla="*/ 108 h 108"/>
                </a:gdLst>
                <a:ahLst/>
                <a:cxnLst>
                  <a:cxn ang="0">
                    <a:pos x="T0" y="T1"/>
                  </a:cxn>
                  <a:cxn ang="0">
                    <a:pos x="T2" y="T3"/>
                  </a:cxn>
                  <a:cxn ang="0">
                    <a:pos x="T4" y="T5"/>
                  </a:cxn>
                  <a:cxn ang="0">
                    <a:pos x="T6" y="T7"/>
                  </a:cxn>
                </a:cxnLst>
                <a:rect l="0" t="0" r="r" b="b"/>
                <a:pathLst>
                  <a:path w="115" h="108">
                    <a:moveTo>
                      <a:pt x="23" y="107"/>
                    </a:moveTo>
                    <a:cubicBezTo>
                      <a:pt x="10" y="100"/>
                      <a:pt x="0" y="84"/>
                      <a:pt x="5" y="67"/>
                    </a:cubicBezTo>
                    <a:cubicBezTo>
                      <a:pt x="12" y="45"/>
                      <a:pt x="52" y="39"/>
                      <a:pt x="41" y="0"/>
                    </a:cubicBezTo>
                    <a:cubicBezTo>
                      <a:pt x="115" y="45"/>
                      <a:pt x="87" y="102"/>
                      <a:pt x="72" y="108"/>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4" name="Freeform 93">
                <a:extLst>
                  <a:ext uri="{FF2B5EF4-FFF2-40B4-BE49-F238E27FC236}">
                    <a16:creationId xmlns:a16="http://schemas.microsoft.com/office/drawing/2014/main" id="{B58F3DE9-4A6C-48DE-8A93-D7CFC426833E}"/>
                  </a:ext>
                </a:extLst>
              </p:cNvPr>
              <p:cNvSpPr>
                <a:spLocks/>
              </p:cNvSpPr>
              <p:nvPr/>
            </p:nvSpPr>
            <p:spPr bwMode="auto">
              <a:xfrm>
                <a:off x="8404225" y="1785938"/>
                <a:ext cx="292100" cy="287338"/>
              </a:xfrm>
              <a:custGeom>
                <a:avLst/>
                <a:gdLst>
                  <a:gd name="T0" fmla="*/ 21 w 65"/>
                  <a:gd name="T1" fmla="*/ 64 h 64"/>
                  <a:gd name="T2" fmla="*/ 10 w 65"/>
                  <a:gd name="T3" fmla="*/ 26 h 64"/>
                  <a:gd name="T4" fmla="*/ 38 w 65"/>
                  <a:gd name="T5" fmla="*/ 0 h 64"/>
                  <a:gd name="T6" fmla="*/ 40 w 65"/>
                  <a:gd name="T7" fmla="*/ 63 h 64"/>
                </a:gdLst>
                <a:ahLst/>
                <a:cxnLst>
                  <a:cxn ang="0">
                    <a:pos x="T0" y="T1"/>
                  </a:cxn>
                  <a:cxn ang="0">
                    <a:pos x="T2" y="T3"/>
                  </a:cxn>
                  <a:cxn ang="0">
                    <a:pos x="T4" y="T5"/>
                  </a:cxn>
                  <a:cxn ang="0">
                    <a:pos x="T6" y="T7"/>
                  </a:cxn>
                </a:cxnLst>
                <a:rect l="0" t="0" r="r" b="b"/>
                <a:pathLst>
                  <a:path w="65" h="64">
                    <a:moveTo>
                      <a:pt x="21" y="64"/>
                    </a:moveTo>
                    <a:cubicBezTo>
                      <a:pt x="9" y="59"/>
                      <a:pt x="0" y="42"/>
                      <a:pt x="10" y="26"/>
                    </a:cubicBezTo>
                    <a:cubicBezTo>
                      <a:pt x="16" y="51"/>
                      <a:pt x="47" y="37"/>
                      <a:pt x="38" y="0"/>
                    </a:cubicBezTo>
                    <a:cubicBezTo>
                      <a:pt x="51" y="10"/>
                      <a:pt x="65" y="43"/>
                      <a:pt x="40" y="63"/>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Tree>
    <p:extLst>
      <p:ext uri="{BB962C8B-B14F-4D97-AF65-F5344CB8AC3E}">
        <p14:creationId xmlns:p14="http://schemas.microsoft.com/office/powerpoint/2010/main" val="2456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5"/>
                                        </p:tgtEl>
                                        <p:attrNameLst>
                                          <p:attrName>style.visibility</p:attrName>
                                        </p:attrNameLst>
                                      </p:cBhvr>
                                      <p:to>
                                        <p:strVal val="visible"/>
                                      </p:to>
                                    </p:set>
                                    <p:animEffect transition="in" filter="fade">
                                      <p:cBhvr>
                                        <p:cTn id="7" dur="500"/>
                                        <p:tgtEl>
                                          <p:spTgt spid="16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67"/>
                                        </p:tgtEl>
                                        <p:attrNameLst>
                                          <p:attrName>style.visibility</p:attrName>
                                        </p:attrNameLst>
                                      </p:cBhvr>
                                      <p:to>
                                        <p:strVal val="visible"/>
                                      </p:to>
                                    </p:set>
                                    <p:animEffect transition="in" filter="fade">
                                      <p:cBhvr>
                                        <p:cTn id="12" dur="500"/>
                                        <p:tgtEl>
                                          <p:spTgt spid="1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a:t>Reflections can help others stay in their ”train of thought”, without jumping too much back and forth based on new questions </a:t>
            </a:r>
            <a:endParaRPr lang="en-GB" dirty="0"/>
          </a:p>
        </p:txBody>
      </p:sp>
      <p:sp>
        <p:nvSpPr>
          <p:cNvPr id="3" name="Pladsholder til dato 2"/>
          <p:cNvSpPr>
            <a:spLocks noGrp="1"/>
          </p:cNvSpPr>
          <p:nvPr>
            <p:ph type="dt" sz="half" idx="10"/>
          </p:nvPr>
        </p:nvSpPr>
        <p:spPr/>
        <p:txBody>
          <a:bodyPr/>
          <a:lstStyle/>
          <a:p>
            <a:fld id="{8A6E0422-6ECB-43C9-8CFE-4C39AC685875}" type="datetime1">
              <a:rPr lang="en-GB" smtClean="0"/>
              <a:pPr/>
              <a:t>17/01/2019</a:t>
            </a:fld>
            <a:endParaRPr lang="en-GB" dirty="0"/>
          </a:p>
        </p:txBody>
      </p:sp>
      <p:sp>
        <p:nvSpPr>
          <p:cNvPr id="4" name="Pladsholder til tekst 3"/>
          <p:cNvSpPr>
            <a:spLocks noGrp="1"/>
          </p:cNvSpPr>
          <p:nvPr>
            <p:ph type="body" sz="quarter" idx="13"/>
          </p:nvPr>
        </p:nvSpPr>
        <p:spPr/>
        <p:txBody>
          <a:bodyPr/>
          <a:lstStyle/>
          <a:p>
            <a:endParaRPr lang="en-GB" dirty="0"/>
          </a:p>
        </p:txBody>
      </p:sp>
      <p:sp>
        <p:nvSpPr>
          <p:cNvPr id="5" name="Pladsholder til tekst 4"/>
          <p:cNvSpPr>
            <a:spLocks noGrp="1"/>
          </p:cNvSpPr>
          <p:nvPr>
            <p:ph type="body" sz="quarter" idx="14"/>
          </p:nvPr>
        </p:nvSpPr>
        <p:spPr/>
        <p:txBody>
          <a:bodyPr/>
          <a:lstStyle/>
          <a:p>
            <a:endParaRPr lang="en-GB" dirty="0"/>
          </a:p>
        </p:txBody>
      </p:sp>
      <p:grpSp>
        <p:nvGrpSpPr>
          <p:cNvPr id="35" name="Gruppe 34"/>
          <p:cNvGrpSpPr/>
          <p:nvPr/>
        </p:nvGrpSpPr>
        <p:grpSpPr>
          <a:xfrm>
            <a:off x="1698266" y="1368306"/>
            <a:ext cx="7489979" cy="2391977"/>
            <a:chOff x="492878" y="1349613"/>
            <a:chExt cx="7489979" cy="2391977"/>
          </a:xfrm>
        </p:grpSpPr>
        <p:cxnSp>
          <p:nvCxnSpPr>
            <p:cNvPr id="7" name="Lige forbindelse 6"/>
            <p:cNvCxnSpPr/>
            <p:nvPr/>
          </p:nvCxnSpPr>
          <p:spPr>
            <a:xfrm flipV="1">
              <a:off x="798286" y="1669143"/>
              <a:ext cx="1465943" cy="1248229"/>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 name="Lige forbindelse 8"/>
            <p:cNvCxnSpPr/>
            <p:nvPr/>
          </p:nvCxnSpPr>
          <p:spPr>
            <a:xfrm>
              <a:off x="2264229" y="1669143"/>
              <a:ext cx="326571" cy="1857828"/>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 name="Lige forbindelse 10"/>
            <p:cNvCxnSpPr/>
            <p:nvPr/>
          </p:nvCxnSpPr>
          <p:spPr>
            <a:xfrm flipV="1">
              <a:off x="2590800" y="2999332"/>
              <a:ext cx="486229" cy="52764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Lige forbindelse 15"/>
            <p:cNvCxnSpPr/>
            <p:nvPr/>
          </p:nvCxnSpPr>
          <p:spPr>
            <a:xfrm>
              <a:off x="3091543" y="3033486"/>
              <a:ext cx="333828" cy="434997"/>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Lige forbindelse 17"/>
            <p:cNvCxnSpPr/>
            <p:nvPr/>
          </p:nvCxnSpPr>
          <p:spPr>
            <a:xfrm flipV="1">
              <a:off x="3414486" y="1477678"/>
              <a:ext cx="986346" cy="1990805"/>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Lige forbindelse 21"/>
            <p:cNvCxnSpPr/>
            <p:nvPr/>
          </p:nvCxnSpPr>
          <p:spPr>
            <a:xfrm>
              <a:off x="4389946" y="1524000"/>
              <a:ext cx="559425" cy="1611086"/>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Arc 28">
              <a:extLst>
                <a:ext uri="{FF2B5EF4-FFF2-40B4-BE49-F238E27FC236}">
                  <a16:creationId xmlns:a16="http://schemas.microsoft.com/office/drawing/2014/main" id="{FA4B5864-22B7-42EC-8C90-C046101E4A8A}"/>
                </a:ext>
              </a:extLst>
            </p:cNvPr>
            <p:cNvSpPr/>
            <p:nvPr/>
          </p:nvSpPr>
          <p:spPr>
            <a:xfrm rot="10049348" flipH="1">
              <a:off x="3534591" y="1937336"/>
              <a:ext cx="1427422" cy="1804254"/>
            </a:xfrm>
            <a:prstGeom prst="arc">
              <a:avLst>
                <a:gd name="adj1" fmla="val 12731663"/>
                <a:gd name="adj2" fmla="val 19584977"/>
              </a:avLst>
            </a:prstGeom>
            <a:ln w="6350">
              <a:solidFill>
                <a:srgbClr val="1F2023"/>
              </a:solidFill>
              <a:headEnd type="arrow"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cxnSp>
          <p:nvCxnSpPr>
            <p:cNvPr id="25" name="Lige forbindelse 24"/>
            <p:cNvCxnSpPr/>
            <p:nvPr/>
          </p:nvCxnSpPr>
          <p:spPr>
            <a:xfrm flipV="1">
              <a:off x="3842344" y="1562633"/>
              <a:ext cx="3301724" cy="1739152"/>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Lige forbindelse 26"/>
            <p:cNvCxnSpPr/>
            <p:nvPr/>
          </p:nvCxnSpPr>
          <p:spPr>
            <a:xfrm>
              <a:off x="7144068" y="1562633"/>
              <a:ext cx="838789" cy="1739152"/>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8" name="Rektangel 27"/>
            <p:cNvSpPr/>
            <p:nvPr/>
          </p:nvSpPr>
          <p:spPr>
            <a:xfrm>
              <a:off x="492878" y="2815772"/>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29" name="Rektangel 28"/>
            <p:cNvSpPr/>
            <p:nvPr/>
          </p:nvSpPr>
          <p:spPr>
            <a:xfrm>
              <a:off x="1849402" y="1562633"/>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30" name="Rektangel 29"/>
            <p:cNvSpPr/>
            <p:nvPr/>
          </p:nvSpPr>
          <p:spPr>
            <a:xfrm>
              <a:off x="2203164" y="3405732"/>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31" name="Rektangel 30"/>
            <p:cNvSpPr/>
            <p:nvPr/>
          </p:nvSpPr>
          <p:spPr>
            <a:xfrm>
              <a:off x="2689393" y="2890475"/>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32" name="Rektangel 31"/>
            <p:cNvSpPr/>
            <p:nvPr/>
          </p:nvSpPr>
          <p:spPr>
            <a:xfrm>
              <a:off x="3940936" y="1349613"/>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33" name="Rektangel 32"/>
            <p:cNvSpPr/>
            <p:nvPr/>
          </p:nvSpPr>
          <p:spPr>
            <a:xfrm>
              <a:off x="4620685" y="2996553"/>
              <a:ext cx="1547885" cy="409179"/>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 – pointing back to something</a:t>
              </a:r>
              <a:endParaRPr lang="en-GB" sz="1100" noProof="0" dirty="0">
                <a:solidFill>
                  <a:srgbClr val="2F363B"/>
                </a:solidFill>
              </a:endParaRPr>
            </a:p>
          </p:txBody>
        </p:sp>
        <p:sp>
          <p:nvSpPr>
            <p:cNvPr id="34" name="Rektangel 33"/>
            <p:cNvSpPr/>
            <p:nvPr/>
          </p:nvSpPr>
          <p:spPr>
            <a:xfrm>
              <a:off x="6773659" y="1405539"/>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grpSp>
      <p:grpSp>
        <p:nvGrpSpPr>
          <p:cNvPr id="61" name="Gruppe 60"/>
          <p:cNvGrpSpPr/>
          <p:nvPr/>
        </p:nvGrpSpPr>
        <p:grpSpPr>
          <a:xfrm>
            <a:off x="1161153" y="4139069"/>
            <a:ext cx="8252583" cy="1823485"/>
            <a:chOff x="1037477" y="3179868"/>
            <a:chExt cx="8252583" cy="1823485"/>
          </a:xfrm>
        </p:grpSpPr>
        <p:cxnSp>
          <p:nvCxnSpPr>
            <p:cNvPr id="37" name="Lige forbindelse 36"/>
            <p:cNvCxnSpPr/>
            <p:nvPr/>
          </p:nvCxnSpPr>
          <p:spPr>
            <a:xfrm flipV="1">
              <a:off x="1407886" y="4557486"/>
              <a:ext cx="660789" cy="391885"/>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Lige forbindelse 38"/>
            <p:cNvCxnSpPr/>
            <p:nvPr/>
          </p:nvCxnSpPr>
          <p:spPr>
            <a:xfrm flipV="1">
              <a:off x="2068675" y="4492907"/>
              <a:ext cx="2117425" cy="59561"/>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Lige forbindelse 40"/>
            <p:cNvCxnSpPr/>
            <p:nvPr/>
          </p:nvCxnSpPr>
          <p:spPr>
            <a:xfrm flipV="1">
              <a:off x="4140407" y="4127825"/>
              <a:ext cx="874907" cy="362090"/>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Lige forbindelse 42"/>
            <p:cNvCxnSpPr/>
            <p:nvPr/>
          </p:nvCxnSpPr>
          <p:spPr>
            <a:xfrm flipV="1">
              <a:off x="5362564" y="3996964"/>
              <a:ext cx="1382539" cy="51016"/>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Lige forbindelse 44"/>
            <p:cNvCxnSpPr/>
            <p:nvPr/>
          </p:nvCxnSpPr>
          <p:spPr>
            <a:xfrm flipV="1">
              <a:off x="6725561" y="3772089"/>
              <a:ext cx="1193549" cy="224875"/>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Lige forbindelse 46"/>
            <p:cNvCxnSpPr/>
            <p:nvPr/>
          </p:nvCxnSpPr>
          <p:spPr>
            <a:xfrm flipV="1">
              <a:off x="8050801" y="3361016"/>
              <a:ext cx="465975" cy="393211"/>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Lige forbindelse 48"/>
            <p:cNvCxnSpPr/>
            <p:nvPr/>
          </p:nvCxnSpPr>
          <p:spPr>
            <a:xfrm flipV="1">
              <a:off x="8597339" y="3278997"/>
              <a:ext cx="692721" cy="51696"/>
            </a:xfrm>
            <a:prstGeom prst="line">
              <a:avLst/>
            </a:prstGeom>
            <a:ln w="6350">
              <a:solidFill>
                <a:srgbClr val="1F2023"/>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1" name="Rektangel 50"/>
            <p:cNvSpPr/>
            <p:nvPr/>
          </p:nvSpPr>
          <p:spPr>
            <a:xfrm>
              <a:off x="1697805" y="4391838"/>
              <a:ext cx="814900" cy="217714"/>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Reflection</a:t>
              </a:r>
              <a:endParaRPr lang="en-GB" sz="1100" noProof="0" dirty="0">
                <a:solidFill>
                  <a:srgbClr val="2F363B"/>
                </a:solidFill>
              </a:endParaRPr>
            </a:p>
          </p:txBody>
        </p:sp>
        <p:sp>
          <p:nvSpPr>
            <p:cNvPr id="52" name="Rektangel 51"/>
            <p:cNvSpPr/>
            <p:nvPr/>
          </p:nvSpPr>
          <p:spPr>
            <a:xfrm>
              <a:off x="1037477" y="4785639"/>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53" name="Rektangel 52"/>
            <p:cNvSpPr/>
            <p:nvPr/>
          </p:nvSpPr>
          <p:spPr>
            <a:xfrm>
              <a:off x="2955719" y="4378639"/>
              <a:ext cx="814900" cy="217714"/>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Reflection</a:t>
              </a:r>
              <a:endParaRPr lang="en-GB" sz="1100" noProof="0" dirty="0">
                <a:solidFill>
                  <a:srgbClr val="2F363B"/>
                </a:solidFill>
              </a:endParaRPr>
            </a:p>
          </p:txBody>
        </p:sp>
        <p:sp>
          <p:nvSpPr>
            <p:cNvPr id="54" name="Rektangel 53"/>
            <p:cNvSpPr/>
            <p:nvPr/>
          </p:nvSpPr>
          <p:spPr>
            <a:xfrm>
              <a:off x="5770014" y="3900276"/>
              <a:ext cx="814900" cy="217714"/>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Reflection</a:t>
              </a:r>
              <a:endParaRPr lang="en-GB" sz="1100" noProof="0" dirty="0">
                <a:solidFill>
                  <a:srgbClr val="2F363B"/>
                </a:solidFill>
              </a:endParaRPr>
            </a:p>
          </p:txBody>
        </p:sp>
        <p:sp>
          <p:nvSpPr>
            <p:cNvPr id="55" name="Rektangel 54"/>
            <p:cNvSpPr/>
            <p:nvPr/>
          </p:nvSpPr>
          <p:spPr>
            <a:xfrm>
              <a:off x="4772923" y="3957046"/>
              <a:ext cx="814900" cy="217714"/>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Reflection</a:t>
              </a:r>
              <a:endParaRPr lang="en-GB" sz="1100" noProof="0" dirty="0">
                <a:solidFill>
                  <a:srgbClr val="2F363B"/>
                </a:solidFill>
              </a:endParaRPr>
            </a:p>
          </p:txBody>
        </p:sp>
        <p:sp>
          <p:nvSpPr>
            <p:cNvPr id="56" name="Rektangel 55"/>
            <p:cNvSpPr/>
            <p:nvPr/>
          </p:nvSpPr>
          <p:spPr>
            <a:xfrm>
              <a:off x="3926522" y="4326916"/>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57" name="Rektangel 56"/>
            <p:cNvSpPr/>
            <p:nvPr/>
          </p:nvSpPr>
          <p:spPr>
            <a:xfrm>
              <a:off x="7334320" y="3612216"/>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
          <p:nvSpPr>
            <p:cNvPr id="58" name="Rektangel 57"/>
            <p:cNvSpPr/>
            <p:nvPr/>
          </p:nvSpPr>
          <p:spPr>
            <a:xfrm>
              <a:off x="8128959" y="3179868"/>
              <a:ext cx="814900" cy="217714"/>
            </a:xfrm>
            <a:prstGeom prst="rect">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Reflection</a:t>
              </a:r>
              <a:endParaRPr lang="en-GB" sz="1100" noProof="0" dirty="0">
                <a:solidFill>
                  <a:srgbClr val="2F363B"/>
                </a:solidFill>
              </a:endParaRPr>
            </a:p>
          </p:txBody>
        </p:sp>
      </p:grpSp>
      <p:sp>
        <p:nvSpPr>
          <p:cNvPr id="59" name="Tekstfelt 58"/>
          <p:cNvSpPr txBox="1"/>
          <p:nvPr/>
        </p:nvSpPr>
        <p:spPr>
          <a:xfrm>
            <a:off x="311891" y="2155769"/>
            <a:ext cx="1035540" cy="615553"/>
          </a:xfrm>
          <a:prstGeom prst="rect">
            <a:avLst/>
          </a:prstGeom>
          <a:noFill/>
          <a:ln w="6350">
            <a:noFill/>
            <a:prstDash val="sysDash"/>
          </a:ln>
        </p:spPr>
        <p:txBody>
          <a:bodyPr wrap="none" lIns="0" tIns="0" rIns="0" bIns="0" rtlCol="0">
            <a:spAutoFit/>
          </a:bodyPr>
          <a:lstStyle/>
          <a:p>
            <a:pPr algn="ctr"/>
            <a:r>
              <a:rPr lang="en-GB" sz="2000">
                <a:latin typeface="Impact" panose="020B0806030902050204" pitchFamily="34" charset="0"/>
              </a:rPr>
              <a:t>QUESTION </a:t>
            </a:r>
          </a:p>
          <a:p>
            <a:pPr algn="ctr"/>
            <a:r>
              <a:rPr lang="en-GB" sz="2000">
                <a:latin typeface="Impact" panose="020B0806030902050204" pitchFamily="34" charset="0"/>
              </a:rPr>
              <a:t>FOCUSED</a:t>
            </a:r>
            <a:endParaRPr lang="en-GB" sz="2000" dirty="0">
              <a:latin typeface="Impact" panose="020B0806030902050204" pitchFamily="34" charset="0"/>
            </a:endParaRPr>
          </a:p>
        </p:txBody>
      </p:sp>
      <p:sp>
        <p:nvSpPr>
          <p:cNvPr id="60" name="Tekstfelt 59"/>
          <p:cNvSpPr txBox="1"/>
          <p:nvPr/>
        </p:nvSpPr>
        <p:spPr>
          <a:xfrm>
            <a:off x="225074" y="4578302"/>
            <a:ext cx="1163780" cy="615553"/>
          </a:xfrm>
          <a:prstGeom prst="rect">
            <a:avLst/>
          </a:prstGeom>
          <a:noFill/>
          <a:ln w="6350">
            <a:noFill/>
            <a:prstDash val="sysDash"/>
          </a:ln>
        </p:spPr>
        <p:txBody>
          <a:bodyPr wrap="none" lIns="0" tIns="0" rIns="0" bIns="0" rtlCol="0">
            <a:spAutoFit/>
          </a:bodyPr>
          <a:lstStyle/>
          <a:p>
            <a:pPr algn="ctr"/>
            <a:r>
              <a:rPr lang="en-GB" sz="2000">
                <a:latin typeface="Impact" panose="020B0806030902050204" pitchFamily="34" charset="0"/>
              </a:rPr>
              <a:t>REFLECTION</a:t>
            </a:r>
          </a:p>
          <a:p>
            <a:pPr algn="ctr"/>
            <a:r>
              <a:rPr lang="en-GB" sz="2000">
                <a:latin typeface="Impact" panose="020B0806030902050204" pitchFamily="34" charset="0"/>
              </a:rPr>
              <a:t>FOCUSED</a:t>
            </a:r>
            <a:endParaRPr lang="en-GB" sz="2000" dirty="0">
              <a:latin typeface="Impact" panose="020B0806030902050204" pitchFamily="34" charset="0"/>
            </a:endParaRPr>
          </a:p>
        </p:txBody>
      </p:sp>
      <p:sp>
        <p:nvSpPr>
          <p:cNvPr id="62" name="Rektangel 61"/>
          <p:cNvSpPr/>
          <p:nvPr/>
        </p:nvSpPr>
        <p:spPr>
          <a:xfrm>
            <a:off x="4917036" y="3154738"/>
            <a:ext cx="740818" cy="217714"/>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108000" bIns="108000" rtlCol="0" anchor="t" anchorCtr="0">
            <a:noAutofit/>
          </a:bodyPr>
          <a:lstStyle/>
          <a:p>
            <a:pPr algn="ctr"/>
            <a:r>
              <a:rPr lang="en-GB" sz="1100" noProof="0">
                <a:solidFill>
                  <a:srgbClr val="2F363B"/>
                </a:solidFill>
              </a:rPr>
              <a:t>Question</a:t>
            </a:r>
            <a:endParaRPr lang="en-GB" sz="1100" noProof="0" dirty="0">
              <a:solidFill>
                <a:srgbClr val="2F363B"/>
              </a:solidFill>
            </a:endParaRPr>
          </a:p>
        </p:txBody>
      </p:sp>
    </p:spTree>
    <p:extLst>
      <p:ext uri="{BB962C8B-B14F-4D97-AF65-F5344CB8AC3E}">
        <p14:creationId xmlns:p14="http://schemas.microsoft.com/office/powerpoint/2010/main" val="86849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DB3568-0FD7-444D-9A3A-1471977E2249}"/>
              </a:ext>
            </a:extLst>
          </p:cNvPr>
          <p:cNvSpPr>
            <a:spLocks noGrp="1"/>
          </p:cNvSpPr>
          <p:nvPr>
            <p:ph type="body" sz="quarter" idx="13"/>
          </p:nvPr>
        </p:nvSpPr>
        <p:spPr/>
        <p:txBody>
          <a:bodyPr/>
          <a:lstStyle/>
          <a:p>
            <a:endParaRPr lang="en-GB"/>
          </a:p>
        </p:txBody>
      </p:sp>
      <p:sp>
        <p:nvSpPr>
          <p:cNvPr id="7" name="Text Placeholder 6">
            <a:extLst>
              <a:ext uri="{FF2B5EF4-FFF2-40B4-BE49-F238E27FC236}">
                <a16:creationId xmlns:a16="http://schemas.microsoft.com/office/drawing/2014/main" id="{EDBB56DE-CCF5-4589-9AFA-BD96A541A776}"/>
              </a:ext>
            </a:extLst>
          </p:cNvPr>
          <p:cNvSpPr>
            <a:spLocks noGrp="1"/>
          </p:cNvSpPr>
          <p:nvPr>
            <p:ph type="body" sz="quarter" idx="14"/>
          </p:nvPr>
        </p:nvSpPr>
        <p:spPr/>
        <p:txBody>
          <a:bodyPr/>
          <a:lstStyle/>
          <a:p>
            <a:endParaRPr lang="en-GB"/>
          </a:p>
        </p:txBody>
      </p:sp>
      <p:sp>
        <p:nvSpPr>
          <p:cNvPr id="2" name="Title 1"/>
          <p:cNvSpPr>
            <a:spLocks noGrp="1"/>
          </p:cNvSpPr>
          <p:nvPr>
            <p:ph type="title" idx="4294967295"/>
          </p:nvPr>
        </p:nvSpPr>
        <p:spPr>
          <a:xfrm>
            <a:off x="541266" y="476595"/>
            <a:ext cx="6873875" cy="825500"/>
          </a:xfrm>
        </p:spPr>
        <p:txBody>
          <a:bodyPr/>
          <a:lstStyle/>
          <a:p>
            <a:r>
              <a:rPr lang="en-GB" dirty="0"/>
              <a:t>REAL conversations</a:t>
            </a:r>
          </a:p>
        </p:txBody>
      </p:sp>
      <p:sp>
        <p:nvSpPr>
          <p:cNvPr id="9" name="Content Placeholder 7"/>
          <p:cNvSpPr txBox="1">
            <a:spLocks/>
          </p:cNvSpPr>
          <p:nvPr/>
        </p:nvSpPr>
        <p:spPr>
          <a:xfrm>
            <a:off x="726405" y="4467329"/>
            <a:ext cx="1972407" cy="1128258"/>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Relate</a:t>
            </a:r>
            <a:r>
              <a:rPr lang="en-GB" sz="1292" dirty="0"/>
              <a:t>: </a:t>
            </a:r>
          </a:p>
          <a:p>
            <a:pPr lvl="0">
              <a:defRPr/>
            </a:pPr>
            <a:r>
              <a:rPr lang="en-GB" sz="1108" dirty="0"/>
              <a:t>Being genuinely interested in the other person. Being curious. Create relatedness and willingness to share - also vulnerabilities. Being honest.</a:t>
            </a:r>
          </a:p>
        </p:txBody>
      </p:sp>
      <p:sp>
        <p:nvSpPr>
          <p:cNvPr id="14" name="Content Placeholder 7"/>
          <p:cNvSpPr txBox="1">
            <a:spLocks/>
          </p:cNvSpPr>
          <p:nvPr/>
        </p:nvSpPr>
        <p:spPr>
          <a:xfrm>
            <a:off x="2885217" y="4467329"/>
            <a:ext cx="1973908" cy="1399294"/>
          </a:xfrm>
          <a:prstGeom prst="rect">
            <a:avLst/>
          </a:prstGeom>
        </p:spPr>
        <p:txBody>
          <a:bodyPr vert="horz" wrap="square" lIns="33231" tIns="0" rIns="33231"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Engage</a:t>
            </a:r>
            <a:r>
              <a:rPr lang="en-GB" sz="1292" dirty="0"/>
              <a:t>: </a:t>
            </a:r>
          </a:p>
          <a:p>
            <a:pPr>
              <a:defRPr/>
            </a:pPr>
            <a:r>
              <a:rPr lang="en-GB" sz="1100" dirty="0"/>
              <a:t>Setting the direction in the conversation around something that matters. Being courageous. Challenge and evoke change talk. Create the right energy – also with the body language.</a:t>
            </a:r>
          </a:p>
        </p:txBody>
      </p:sp>
      <p:sp>
        <p:nvSpPr>
          <p:cNvPr id="15" name="Content Placeholder 7"/>
          <p:cNvSpPr txBox="1">
            <a:spLocks/>
          </p:cNvSpPr>
          <p:nvPr/>
        </p:nvSpPr>
        <p:spPr>
          <a:xfrm>
            <a:off x="5045531" y="4467329"/>
            <a:ext cx="1973908" cy="1128258"/>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Appreciate</a:t>
            </a:r>
            <a:r>
              <a:rPr lang="en-GB" sz="1292" dirty="0"/>
              <a:t>: </a:t>
            </a:r>
          </a:p>
          <a:p>
            <a:pPr lvl="0">
              <a:defRPr/>
            </a:pPr>
            <a:r>
              <a:rPr lang="en-GB" sz="1108" dirty="0"/>
              <a:t>Being able to spot strengths in the other person. Think positive and focus on what works. Acknowledge the other person.</a:t>
            </a:r>
          </a:p>
        </p:txBody>
      </p:sp>
      <p:sp>
        <p:nvSpPr>
          <p:cNvPr id="16" name="Content Placeholder 7"/>
          <p:cNvSpPr txBox="1">
            <a:spLocks/>
          </p:cNvSpPr>
          <p:nvPr/>
        </p:nvSpPr>
        <p:spPr>
          <a:xfrm>
            <a:off x="7205845" y="4467329"/>
            <a:ext cx="1973908" cy="1406924"/>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1292" b="1" dirty="0"/>
              <a:t>Listen: </a:t>
            </a:r>
          </a:p>
          <a:p>
            <a:pPr>
              <a:defRPr/>
            </a:pPr>
            <a:r>
              <a:rPr lang="en-GB" sz="1108" dirty="0"/>
              <a:t>Paying attention/being present. Making an effort to understand – also other perspectives than your own. Reflect what you hear. Balancing inquiry and advocacy. </a:t>
            </a:r>
            <a:endParaRPr lang="en-GB" sz="1292" dirty="0"/>
          </a:p>
        </p:txBody>
      </p:sp>
      <p:sp>
        <p:nvSpPr>
          <p:cNvPr id="8" name="AutoShape 2" descr="Image result for lions roaring"/>
          <p:cNvSpPr>
            <a:spLocks noChangeAspect="1" noChangeArrowheads="1"/>
          </p:cNvSpPr>
          <p:nvPr/>
        </p:nvSpPr>
        <p:spPr bwMode="auto">
          <a:xfrm>
            <a:off x="381000" y="130420"/>
            <a:ext cx="281354" cy="2813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2215" dirty="0"/>
          </a:p>
        </p:txBody>
      </p:sp>
      <p:sp>
        <p:nvSpPr>
          <p:cNvPr id="17" name="Rektangel 16"/>
          <p:cNvSpPr/>
          <p:nvPr/>
        </p:nvSpPr>
        <p:spPr>
          <a:xfrm>
            <a:off x="633047" y="1765790"/>
            <a:ext cx="2159975" cy="966415"/>
          </a:xfrm>
          <a:prstGeom prst="rect">
            <a:avLst/>
          </a:prstGeom>
          <a:solidFill>
            <a:srgbClr val="893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R</a:t>
            </a:r>
          </a:p>
        </p:txBody>
      </p:sp>
      <p:sp>
        <p:nvSpPr>
          <p:cNvPr id="29" name="Rektangel 28"/>
          <p:cNvSpPr/>
          <p:nvPr/>
        </p:nvSpPr>
        <p:spPr>
          <a:xfrm>
            <a:off x="2792998" y="1765790"/>
            <a:ext cx="2160000" cy="966415"/>
          </a:xfrm>
          <a:prstGeom prst="rect">
            <a:avLst/>
          </a:prstGeom>
          <a:solidFill>
            <a:srgbClr val="B8BB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E</a:t>
            </a:r>
          </a:p>
        </p:txBody>
      </p:sp>
      <p:sp>
        <p:nvSpPr>
          <p:cNvPr id="30" name="Rektangel 29"/>
          <p:cNvSpPr/>
          <p:nvPr/>
        </p:nvSpPr>
        <p:spPr>
          <a:xfrm>
            <a:off x="4952976" y="1765790"/>
            <a:ext cx="2160000" cy="966415"/>
          </a:xfrm>
          <a:prstGeom prst="rect">
            <a:avLst/>
          </a:prstGeom>
          <a:solidFill>
            <a:srgbClr val="8AA299"/>
          </a:solidFill>
          <a:ln w="9525">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A</a:t>
            </a:r>
          </a:p>
        </p:txBody>
      </p:sp>
      <p:sp>
        <p:nvSpPr>
          <p:cNvPr id="31" name="Rektangel 30"/>
          <p:cNvSpPr/>
          <p:nvPr/>
        </p:nvSpPr>
        <p:spPr>
          <a:xfrm>
            <a:off x="7112954" y="1765790"/>
            <a:ext cx="2160000" cy="966415"/>
          </a:xfrm>
          <a:prstGeom prst="rect">
            <a:avLst/>
          </a:prstGeom>
          <a:solidFill>
            <a:srgbClr val="E4B7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L</a:t>
            </a:r>
          </a:p>
        </p:txBody>
      </p:sp>
      <p:pic>
        <p:nvPicPr>
          <p:cNvPr id="18" name="Picture 2" descr="C:\Users\pke\AppData\Local\Microsoft\Windows\Temporary Internet Files\Content.Outlook\AZG39IJS\COLOURBOX11820001_holdinghands.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b="14060"/>
          <a:stretch/>
        </p:blipFill>
        <p:spPr bwMode="auto">
          <a:xfrm>
            <a:off x="633201" y="2983775"/>
            <a:ext cx="2160000" cy="1234325"/>
          </a:xfrm>
          <a:prstGeom prst="rect">
            <a:avLst/>
          </a:prstGeom>
          <a:extLst>
            <a:ext uri="{909E8E84-426E-40DD-AFC4-6F175D3DCCD1}">
              <a14:hiddenFill xmlns:a14="http://schemas.microsoft.com/office/drawing/2010/main">
                <a:solidFill>
                  <a:srgbClr val="FFFFFF"/>
                </a:solidFill>
              </a14:hiddenFill>
            </a:ext>
          </a:extLst>
        </p:spPr>
      </p:pic>
      <p:pic>
        <p:nvPicPr>
          <p:cNvPr id="19" name="Picture 3" descr="C:\Users\pke\AppData\Local\Microsoft\Windows\Temporary Internet Files\Content.Outlook\AZG39IJS\COLOURBOX7178663.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b="14060"/>
          <a:stretch/>
        </p:blipFill>
        <p:spPr bwMode="auto">
          <a:xfrm>
            <a:off x="2792998" y="2983772"/>
            <a:ext cx="2160000" cy="1234326"/>
          </a:xfrm>
          <a:prstGeom prst="rect">
            <a:avLst/>
          </a:prstGeom>
          <a:extLst>
            <a:ext uri="{909E8E84-426E-40DD-AFC4-6F175D3DCCD1}">
              <a14:hiddenFill xmlns:a14="http://schemas.microsoft.com/office/drawing/2010/main">
                <a:solidFill>
                  <a:srgbClr val="FFFFFF"/>
                </a:solidFill>
              </a14:hiddenFill>
            </a:ext>
          </a:extLst>
        </p:spPr>
      </p:pic>
      <p:pic>
        <p:nvPicPr>
          <p:cNvPr id="21" name="Picture 5" descr="C:\Users\pke\AppData\Local\Microsoft\Windows\Temporary Internet Files\Content.Outlook\AZG39IJS\COLOURBOX6269647.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l="76" t="6287" r="1" b="17806"/>
          <a:stretch/>
        </p:blipFill>
        <p:spPr bwMode="auto">
          <a:xfrm>
            <a:off x="7112954" y="2983772"/>
            <a:ext cx="2160000" cy="1234326"/>
          </a:xfrm>
          <a:prstGeom prst="rect">
            <a:avLst/>
          </a:prstGeom>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BA16314-5035-4E5B-A92A-F58A7DBF1481}"/>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33000"/>
                    </a14:imgEffect>
                  </a14:imgLayer>
                </a14:imgProps>
              </a:ext>
            </a:extLst>
          </a:blip>
          <a:srcRect t="2613" b="11712"/>
          <a:stretch/>
        </p:blipFill>
        <p:spPr>
          <a:xfrm>
            <a:off x="4952976" y="2983772"/>
            <a:ext cx="2160000" cy="1234326"/>
          </a:xfrm>
          <a:prstGeom prst="rect">
            <a:avLst/>
          </a:prstGeom>
        </p:spPr>
      </p:pic>
      <p:cxnSp>
        <p:nvCxnSpPr>
          <p:cNvPr id="28" name="Straight Connector 27">
            <a:extLst>
              <a:ext uri="{FF2B5EF4-FFF2-40B4-BE49-F238E27FC236}">
                <a16:creationId xmlns:a16="http://schemas.microsoft.com/office/drawing/2014/main" id="{E6D63EF0-33D6-48E6-A9E6-27541253CEAA}"/>
              </a:ext>
            </a:extLst>
          </p:cNvPr>
          <p:cNvCxnSpPr>
            <a:cxnSpLocks/>
          </p:cNvCxnSpPr>
          <p:nvPr/>
        </p:nvCxnSpPr>
        <p:spPr>
          <a:xfrm>
            <a:off x="2792014" y="4467329"/>
            <a:ext cx="0" cy="14264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B3A5E3C-4236-4622-9372-E82D3509E0EE}"/>
              </a:ext>
            </a:extLst>
          </p:cNvPr>
          <p:cNvCxnSpPr>
            <a:cxnSpLocks/>
          </p:cNvCxnSpPr>
          <p:nvPr/>
        </p:nvCxnSpPr>
        <p:spPr>
          <a:xfrm>
            <a:off x="4952328" y="4467329"/>
            <a:ext cx="0" cy="14264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E754CF-9B6D-4D9E-A83B-4219254AEC82}"/>
              </a:ext>
            </a:extLst>
          </p:cNvPr>
          <p:cNvCxnSpPr>
            <a:cxnSpLocks/>
          </p:cNvCxnSpPr>
          <p:nvPr/>
        </p:nvCxnSpPr>
        <p:spPr>
          <a:xfrm>
            <a:off x="7112965" y="4453657"/>
            <a:ext cx="0" cy="1440091"/>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274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5" grpId="0"/>
      <p:bldP spid="1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8497190-814B-4AE1-B189-75B0DD8ED9F7}"/>
              </a:ext>
            </a:extLst>
          </p:cNvPr>
          <p:cNvSpPr/>
          <p:nvPr/>
        </p:nvSpPr>
        <p:spPr>
          <a:xfrm>
            <a:off x="273050" y="1924493"/>
            <a:ext cx="4543425" cy="4392169"/>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14" name="Rectangle 13">
            <a:extLst>
              <a:ext uri="{FF2B5EF4-FFF2-40B4-BE49-F238E27FC236}">
                <a16:creationId xmlns:a16="http://schemas.microsoft.com/office/drawing/2014/main" id="{72242492-C175-46C4-B970-901B7FBFC542}"/>
              </a:ext>
            </a:extLst>
          </p:cNvPr>
          <p:cNvSpPr/>
          <p:nvPr/>
        </p:nvSpPr>
        <p:spPr>
          <a:xfrm>
            <a:off x="271461" y="1529383"/>
            <a:ext cx="3237283" cy="692336"/>
          </a:xfrm>
          <a:prstGeom prst="rect">
            <a:avLst/>
          </a:prstGeom>
          <a:solidFill>
            <a:srgbClr val="8AA299"/>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32000" tIns="108000" rIns="108000" bIns="108000" rtlCol="0" anchor="ctr" anchorCtr="0">
            <a:noAutofit/>
          </a:bodyPr>
          <a:lstStyle/>
          <a:p>
            <a:r>
              <a:rPr lang="en-GB" sz="1400" b="1" dirty="0">
                <a:solidFill>
                  <a:schemeClr val="bg1"/>
                </a:solidFill>
              </a:rPr>
              <a:t>Often starts with:</a:t>
            </a:r>
          </a:p>
        </p:txBody>
      </p:sp>
      <p:sp>
        <p:nvSpPr>
          <p:cNvPr id="31" name="Rectangle 30">
            <a:extLst>
              <a:ext uri="{FF2B5EF4-FFF2-40B4-BE49-F238E27FC236}">
                <a16:creationId xmlns:a16="http://schemas.microsoft.com/office/drawing/2014/main" id="{32E47DB7-8AFB-4B6C-8A23-95B5766C48B7}"/>
              </a:ext>
            </a:extLst>
          </p:cNvPr>
          <p:cNvSpPr/>
          <p:nvPr/>
        </p:nvSpPr>
        <p:spPr>
          <a:xfrm>
            <a:off x="273050" y="5967167"/>
            <a:ext cx="4543425" cy="349495"/>
          </a:xfrm>
          <a:prstGeom prst="rect">
            <a:avLst/>
          </a:prstGeom>
          <a:solidFill>
            <a:srgbClr val="E8E5E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aphicFrame>
        <p:nvGraphicFramePr>
          <p:cNvPr id="8" name="Objekt 7"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219" name="think-cell Slide" r:id="rId6" imgW="270" imgH="270" progId="TCLayout.ActiveDocument.1">
                  <p:embed/>
                </p:oleObj>
              </mc:Choice>
              <mc:Fallback>
                <p:oleObj name="think-cell Slide" r:id="rId6" imgW="270" imgH="270" progId="TCLayout.ActiveDocument.1">
                  <p:embed/>
                  <p:pic>
                    <p:nvPicPr>
                      <p:cNvPr id="8" name="Objekt 7" hidden="1"/>
                      <p:cNvPicPr/>
                      <p:nvPr/>
                    </p:nvPicPr>
                    <p:blipFill>
                      <a:blip r:embed="rId7"/>
                      <a:stretch>
                        <a:fillRect/>
                      </a:stretch>
                    </p:blipFill>
                    <p:spPr>
                      <a:xfrm>
                        <a:off x="0" y="0"/>
                        <a:ext cx="158750" cy="158750"/>
                      </a:xfrm>
                      <a:prstGeom prst="rect">
                        <a:avLst/>
                      </a:prstGeom>
                    </p:spPr>
                  </p:pic>
                </p:oleObj>
              </mc:Fallback>
            </mc:AlternateContent>
          </a:graphicData>
        </a:graphic>
      </p:graphicFrame>
      <p:pic>
        <p:nvPicPr>
          <p:cNvPr id="13" name="Picture Placeholder 12">
            <a:extLst>
              <a:ext uri="{FF2B5EF4-FFF2-40B4-BE49-F238E27FC236}">
                <a16:creationId xmlns:a16="http://schemas.microsoft.com/office/drawing/2014/main" id="{1C78A2C0-5833-4416-BE58-838E8F7C26F9}"/>
              </a:ext>
            </a:extLst>
          </p:cNvPr>
          <p:cNvPicPr>
            <a:picLocks noGrp="1" noChangeAspect="1"/>
          </p:cNvPicPr>
          <p:nvPr>
            <p:ph type="pic" sz="quarter" idx="15"/>
          </p:nvPr>
        </p:nvPicPr>
        <p:blipFill rotWithShape="1">
          <a:blip r:embed="rId8"/>
          <a:srcRect l="32013" r="3319"/>
          <a:stretch/>
        </p:blipFill>
        <p:spPr>
          <a:xfrm>
            <a:off x="5087940" y="1627188"/>
            <a:ext cx="4546598" cy="4689475"/>
          </a:xfrm>
        </p:spPr>
      </p:pic>
      <p:sp>
        <p:nvSpPr>
          <p:cNvPr id="2" name="Title 1"/>
          <p:cNvSpPr>
            <a:spLocks noGrp="1"/>
          </p:cNvSpPr>
          <p:nvPr>
            <p:ph type="title"/>
            <p:custDataLst>
              <p:tags r:id="rId3"/>
            </p:custDataLst>
          </p:nvPr>
        </p:nvSpPr>
        <p:spPr/>
        <p:txBody>
          <a:bodyPr/>
          <a:lstStyle/>
          <a:p>
            <a:r>
              <a:rPr lang="en-GB" dirty="0"/>
              <a:t>Active listening</a:t>
            </a:r>
          </a:p>
        </p:txBody>
      </p:sp>
      <p:sp>
        <p:nvSpPr>
          <p:cNvPr id="9" name="Text Placeholder 8">
            <a:extLst>
              <a:ext uri="{FF2B5EF4-FFF2-40B4-BE49-F238E27FC236}">
                <a16:creationId xmlns:a16="http://schemas.microsoft.com/office/drawing/2014/main" id="{0397C55F-86A3-4E5E-83E3-3B7A0DA9AC56}"/>
              </a:ext>
            </a:extLst>
          </p:cNvPr>
          <p:cNvSpPr>
            <a:spLocks noGrp="1"/>
          </p:cNvSpPr>
          <p:nvPr>
            <p:ph type="body" sz="quarter" idx="13"/>
          </p:nvPr>
        </p:nvSpPr>
        <p:spPr/>
        <p:txBody>
          <a:bodyPr/>
          <a:lstStyle/>
          <a:p>
            <a:endParaRPr lang="en-GB" dirty="0"/>
          </a:p>
        </p:txBody>
      </p:sp>
      <p:sp>
        <p:nvSpPr>
          <p:cNvPr id="10" name="Text Placeholder 9">
            <a:extLst>
              <a:ext uri="{FF2B5EF4-FFF2-40B4-BE49-F238E27FC236}">
                <a16:creationId xmlns:a16="http://schemas.microsoft.com/office/drawing/2014/main" id="{7BE3E007-6D69-432E-84AC-A849FCDC1D2C}"/>
              </a:ext>
            </a:extLst>
          </p:cNvPr>
          <p:cNvSpPr>
            <a:spLocks noGrp="1"/>
          </p:cNvSpPr>
          <p:nvPr>
            <p:ph type="body" sz="quarter" idx="14"/>
          </p:nvPr>
        </p:nvSpPr>
        <p:spPr/>
        <p:txBody>
          <a:bodyPr/>
          <a:lstStyle/>
          <a:p>
            <a:endParaRPr lang="en-GB" dirty="0"/>
          </a:p>
        </p:txBody>
      </p:sp>
      <p:sp>
        <p:nvSpPr>
          <p:cNvPr id="18" name="Rectangle 17">
            <a:extLst>
              <a:ext uri="{FF2B5EF4-FFF2-40B4-BE49-F238E27FC236}">
                <a16:creationId xmlns:a16="http://schemas.microsoft.com/office/drawing/2014/main" id="{308CD45C-D877-4210-84C6-6EA770F50CBE}"/>
              </a:ext>
            </a:extLst>
          </p:cNvPr>
          <p:cNvSpPr/>
          <p:nvPr/>
        </p:nvSpPr>
        <p:spPr>
          <a:xfrm>
            <a:off x="684897" y="2545789"/>
            <a:ext cx="1381789" cy="276999"/>
          </a:xfrm>
          <a:prstGeom prst="rect">
            <a:avLst/>
          </a:prstGeom>
        </p:spPr>
        <p:txBody>
          <a:bodyPr wrap="none">
            <a:spAutoFit/>
          </a:bodyPr>
          <a:lstStyle/>
          <a:p>
            <a:pPr marL="144000" lvl="1" indent="-144000">
              <a:buClr>
                <a:srgbClr val="1F2023"/>
              </a:buClr>
              <a:buFont typeface="Arial" panose="020B0604020202020204" pitchFamily="34" charset="0"/>
              <a:buChar char="•"/>
              <a:defRPr/>
            </a:pPr>
            <a:r>
              <a:rPr lang="en-GB" sz="1200" dirty="0">
                <a:solidFill>
                  <a:srgbClr val="1F2023"/>
                </a:solidFill>
              </a:rPr>
              <a:t>It seems like …</a:t>
            </a:r>
          </a:p>
        </p:txBody>
      </p:sp>
      <p:sp>
        <p:nvSpPr>
          <p:cNvPr id="20" name="Rectangle 19">
            <a:extLst>
              <a:ext uri="{FF2B5EF4-FFF2-40B4-BE49-F238E27FC236}">
                <a16:creationId xmlns:a16="http://schemas.microsoft.com/office/drawing/2014/main" id="{67C4915D-2616-4BF3-ABEC-FC3522D7BA69}"/>
              </a:ext>
            </a:extLst>
          </p:cNvPr>
          <p:cNvSpPr/>
          <p:nvPr/>
        </p:nvSpPr>
        <p:spPr>
          <a:xfrm>
            <a:off x="684897" y="3275318"/>
            <a:ext cx="1423467" cy="276999"/>
          </a:xfrm>
          <a:prstGeom prst="rect">
            <a:avLst/>
          </a:prstGeom>
        </p:spPr>
        <p:txBody>
          <a:bodyPr wrap="none">
            <a:spAutoFit/>
          </a:bodyPr>
          <a:lstStyle/>
          <a:p>
            <a:pPr marL="144000" lvl="1" indent="-144000">
              <a:buClr>
                <a:srgbClr val="1F2023"/>
              </a:buClr>
              <a:buFont typeface="Arial" panose="020B0604020202020204" pitchFamily="34" charset="0"/>
              <a:buChar char="•"/>
              <a:defRPr/>
            </a:pPr>
            <a:r>
              <a:rPr lang="en-GB" sz="1200" dirty="0">
                <a:solidFill>
                  <a:srgbClr val="1F2023"/>
                </a:solidFill>
              </a:rPr>
              <a:t>So you might …</a:t>
            </a:r>
          </a:p>
        </p:txBody>
      </p:sp>
      <p:sp>
        <p:nvSpPr>
          <p:cNvPr id="21" name="Rectangle 20">
            <a:extLst>
              <a:ext uri="{FF2B5EF4-FFF2-40B4-BE49-F238E27FC236}">
                <a16:creationId xmlns:a16="http://schemas.microsoft.com/office/drawing/2014/main" id="{AA79A60A-98DA-4C64-878D-C8BB9626E457}"/>
              </a:ext>
            </a:extLst>
          </p:cNvPr>
          <p:cNvSpPr/>
          <p:nvPr/>
        </p:nvSpPr>
        <p:spPr>
          <a:xfrm>
            <a:off x="684897" y="4004847"/>
            <a:ext cx="1837362" cy="276999"/>
          </a:xfrm>
          <a:prstGeom prst="rect">
            <a:avLst/>
          </a:prstGeom>
        </p:spPr>
        <p:txBody>
          <a:bodyPr wrap="none">
            <a:spAutoFit/>
          </a:bodyPr>
          <a:lstStyle/>
          <a:p>
            <a:pPr marL="144000" lvl="1" indent="-144000">
              <a:buClr>
                <a:srgbClr val="1F2023"/>
              </a:buClr>
              <a:buFont typeface="Arial" panose="020B0604020202020204" pitchFamily="34" charset="0"/>
              <a:buChar char="•"/>
              <a:defRPr/>
            </a:pPr>
            <a:r>
              <a:rPr lang="en-GB" sz="1200" dirty="0">
                <a:solidFill>
                  <a:srgbClr val="1F2023"/>
                </a:solidFill>
              </a:rPr>
              <a:t>You might feel that … </a:t>
            </a:r>
          </a:p>
        </p:txBody>
      </p:sp>
      <p:sp>
        <p:nvSpPr>
          <p:cNvPr id="22" name="Rectangle 21">
            <a:extLst>
              <a:ext uri="{FF2B5EF4-FFF2-40B4-BE49-F238E27FC236}">
                <a16:creationId xmlns:a16="http://schemas.microsoft.com/office/drawing/2014/main" id="{D43930AF-EC0D-41DF-A6D1-6377CE7658B4}"/>
              </a:ext>
            </a:extLst>
          </p:cNvPr>
          <p:cNvSpPr/>
          <p:nvPr/>
        </p:nvSpPr>
        <p:spPr>
          <a:xfrm>
            <a:off x="684897" y="4734376"/>
            <a:ext cx="2337499" cy="276999"/>
          </a:xfrm>
          <a:prstGeom prst="rect">
            <a:avLst/>
          </a:prstGeom>
        </p:spPr>
        <p:txBody>
          <a:bodyPr wrap="none">
            <a:spAutoFit/>
          </a:bodyPr>
          <a:lstStyle/>
          <a:p>
            <a:pPr marL="144000" lvl="1" indent="-144000">
              <a:buClr>
                <a:srgbClr val="1F2023"/>
              </a:buClr>
              <a:buFont typeface="Arial" panose="020B0604020202020204" pitchFamily="34" charset="0"/>
              <a:buChar char="•"/>
              <a:defRPr/>
            </a:pPr>
            <a:r>
              <a:rPr lang="en-GB" sz="1200" dirty="0">
                <a:solidFill>
                  <a:srgbClr val="1F2023"/>
                </a:solidFill>
              </a:rPr>
              <a:t>You have an experience of …</a:t>
            </a:r>
          </a:p>
        </p:txBody>
      </p:sp>
      <p:sp>
        <p:nvSpPr>
          <p:cNvPr id="23" name="Rectangle 22">
            <a:extLst>
              <a:ext uri="{FF2B5EF4-FFF2-40B4-BE49-F238E27FC236}">
                <a16:creationId xmlns:a16="http://schemas.microsoft.com/office/drawing/2014/main" id="{BAF8D1CC-F85C-4960-9448-FD7710592B2F}"/>
              </a:ext>
            </a:extLst>
          </p:cNvPr>
          <p:cNvSpPr/>
          <p:nvPr/>
        </p:nvSpPr>
        <p:spPr>
          <a:xfrm>
            <a:off x="684897" y="5463905"/>
            <a:ext cx="1713611" cy="276999"/>
          </a:xfrm>
          <a:prstGeom prst="rect">
            <a:avLst/>
          </a:prstGeom>
        </p:spPr>
        <p:txBody>
          <a:bodyPr wrap="none">
            <a:spAutoFit/>
          </a:bodyPr>
          <a:lstStyle/>
          <a:p>
            <a:pPr marL="144000" lvl="1" indent="-144000">
              <a:buClr>
                <a:srgbClr val="1F2023"/>
              </a:buClr>
              <a:buFont typeface="Arial" panose="020B0604020202020204" pitchFamily="34" charset="0"/>
              <a:buChar char="•"/>
              <a:defRPr/>
            </a:pPr>
            <a:r>
              <a:rPr lang="en-GB" sz="1200" dirty="0">
                <a:solidFill>
                  <a:srgbClr val="1F2023"/>
                </a:solidFill>
              </a:rPr>
              <a:t>It sounds like you …</a:t>
            </a:r>
          </a:p>
        </p:txBody>
      </p:sp>
      <p:cxnSp>
        <p:nvCxnSpPr>
          <p:cNvPr id="16" name="Straight Connector 15">
            <a:extLst>
              <a:ext uri="{FF2B5EF4-FFF2-40B4-BE49-F238E27FC236}">
                <a16:creationId xmlns:a16="http://schemas.microsoft.com/office/drawing/2014/main" id="{80A95A2D-44CB-41F3-88BD-05D31B3A42A2}"/>
              </a:ext>
            </a:extLst>
          </p:cNvPr>
          <p:cNvCxnSpPr>
            <a:cxnSpLocks/>
          </p:cNvCxnSpPr>
          <p:nvPr/>
        </p:nvCxnSpPr>
        <p:spPr>
          <a:xfrm flipH="1">
            <a:off x="717717" y="3049053"/>
            <a:ext cx="227185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6A6D45A-038E-4926-AE08-7A6C11EBEE0A}"/>
              </a:ext>
            </a:extLst>
          </p:cNvPr>
          <p:cNvCxnSpPr>
            <a:cxnSpLocks/>
          </p:cNvCxnSpPr>
          <p:nvPr/>
        </p:nvCxnSpPr>
        <p:spPr>
          <a:xfrm flipH="1">
            <a:off x="717717" y="3778582"/>
            <a:ext cx="227185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4A90ED2-4F13-4568-A4AD-CECAAE609325}"/>
              </a:ext>
            </a:extLst>
          </p:cNvPr>
          <p:cNvCxnSpPr>
            <a:cxnSpLocks/>
          </p:cNvCxnSpPr>
          <p:nvPr/>
        </p:nvCxnSpPr>
        <p:spPr>
          <a:xfrm flipH="1">
            <a:off x="717717" y="4508111"/>
            <a:ext cx="227185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AF0D84A-B24B-49E2-890B-BF71EBB86512}"/>
              </a:ext>
            </a:extLst>
          </p:cNvPr>
          <p:cNvCxnSpPr>
            <a:cxnSpLocks/>
          </p:cNvCxnSpPr>
          <p:nvPr/>
        </p:nvCxnSpPr>
        <p:spPr>
          <a:xfrm flipH="1">
            <a:off x="717717" y="5237640"/>
            <a:ext cx="227185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2088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endParaRPr lang="en-GB" dirty="0"/>
          </a:p>
        </p:txBody>
      </p:sp>
      <p:sp>
        <p:nvSpPr>
          <p:cNvPr id="5" name="Pladsholder til dato 4"/>
          <p:cNvSpPr>
            <a:spLocks noGrp="1"/>
          </p:cNvSpPr>
          <p:nvPr>
            <p:ph type="dt" sz="half" idx="10"/>
          </p:nvPr>
        </p:nvSpPr>
        <p:spPr/>
        <p:txBody>
          <a:bodyPr/>
          <a:lstStyle/>
          <a:p>
            <a:fld id="{8A6E0422-6ECB-43C9-8CFE-4C39AC685875}" type="datetime1">
              <a:rPr lang="en-GB" smtClean="0"/>
              <a:pPr/>
              <a:t>17/01/2019</a:t>
            </a:fld>
            <a:endParaRPr lang="en-GB" dirty="0"/>
          </a:p>
        </p:txBody>
      </p:sp>
      <p:sp>
        <p:nvSpPr>
          <p:cNvPr id="6" name="Pladsholder til tekst 5"/>
          <p:cNvSpPr>
            <a:spLocks noGrp="1"/>
          </p:cNvSpPr>
          <p:nvPr>
            <p:ph type="body" sz="quarter" idx="13"/>
          </p:nvPr>
        </p:nvSpPr>
        <p:spPr/>
        <p:txBody>
          <a:bodyPr/>
          <a:lstStyle/>
          <a:p>
            <a:endParaRPr lang="en-GB" dirty="0"/>
          </a:p>
        </p:txBody>
      </p:sp>
      <p:sp>
        <p:nvSpPr>
          <p:cNvPr id="7" name="Pladsholder til tekst 6"/>
          <p:cNvSpPr>
            <a:spLocks noGrp="1"/>
          </p:cNvSpPr>
          <p:nvPr>
            <p:ph type="body" sz="quarter" idx="14"/>
          </p:nvPr>
        </p:nvSpPr>
        <p:spPr/>
        <p:txBody>
          <a:bodyPr/>
          <a:lstStyle/>
          <a:p>
            <a:endParaRPr lang="en-GB" dirty="0"/>
          </a:p>
        </p:txBody>
      </p:sp>
      <p:pic>
        <p:nvPicPr>
          <p:cNvPr id="8" name="FBDIl0ftIdc"/>
          <p:cNvPicPr>
            <a:picLocks noRot="1" noChangeAspect="1"/>
          </p:cNvPicPr>
          <p:nvPr>
            <a:videoFile r:link="rId1"/>
          </p:nvPr>
        </p:nvPicPr>
        <p:blipFill>
          <a:blip r:embed="rId4"/>
          <a:stretch>
            <a:fillRect/>
          </a:stretch>
        </p:blipFill>
        <p:spPr>
          <a:xfrm>
            <a:off x="269874" y="962212"/>
            <a:ext cx="9127308" cy="5134110"/>
          </a:xfrm>
          <a:prstGeom prst="rect">
            <a:avLst/>
          </a:prstGeom>
        </p:spPr>
      </p:pic>
    </p:spTree>
    <p:extLst>
      <p:ext uri="{BB962C8B-B14F-4D97-AF65-F5344CB8AC3E}">
        <p14:creationId xmlns:p14="http://schemas.microsoft.com/office/powerpoint/2010/main" val="1569322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ctive listening exercise – with complex reflections</a:t>
            </a:r>
          </a:p>
        </p:txBody>
      </p:sp>
      <p:sp>
        <p:nvSpPr>
          <p:cNvPr id="3" name="Text Placeholder 2">
            <a:extLst>
              <a:ext uri="{FF2B5EF4-FFF2-40B4-BE49-F238E27FC236}">
                <a16:creationId xmlns:a16="http://schemas.microsoft.com/office/drawing/2014/main" id="{6B78BB38-5FC4-45C8-867E-9E1EC17F999A}"/>
              </a:ext>
            </a:extLst>
          </p:cNvPr>
          <p:cNvSpPr>
            <a:spLocks noGrp="1"/>
          </p:cNvSpPr>
          <p:nvPr>
            <p:ph type="body" sz="quarter" idx="13"/>
          </p:nvPr>
        </p:nvSpPr>
        <p:spPr/>
        <p:txBody>
          <a:bodyPr/>
          <a:lstStyle/>
          <a:p>
            <a:endParaRPr lang="en-GB" dirty="0"/>
          </a:p>
        </p:txBody>
      </p:sp>
      <p:sp>
        <p:nvSpPr>
          <p:cNvPr id="6" name="Text Placeholder 5">
            <a:extLst>
              <a:ext uri="{FF2B5EF4-FFF2-40B4-BE49-F238E27FC236}">
                <a16:creationId xmlns:a16="http://schemas.microsoft.com/office/drawing/2014/main" id="{0CF125D9-0DC2-46E7-A4EB-97950127AA6F}"/>
              </a:ext>
            </a:extLst>
          </p:cNvPr>
          <p:cNvSpPr>
            <a:spLocks noGrp="1"/>
          </p:cNvSpPr>
          <p:nvPr>
            <p:ph type="body" sz="quarter" idx="14"/>
          </p:nvPr>
        </p:nvSpPr>
        <p:spPr/>
        <p:txBody>
          <a:bodyPr/>
          <a:lstStyle/>
          <a:p>
            <a:endParaRPr lang="en-GB" dirty="0"/>
          </a:p>
        </p:txBody>
      </p:sp>
      <p:cxnSp>
        <p:nvCxnSpPr>
          <p:cNvPr id="27" name="Straight Connector 26">
            <a:extLst>
              <a:ext uri="{FF2B5EF4-FFF2-40B4-BE49-F238E27FC236}">
                <a16:creationId xmlns:a16="http://schemas.microsoft.com/office/drawing/2014/main" id="{FEC90A78-7DD3-4A1E-A7AF-891153D0F28D}"/>
              </a:ext>
            </a:extLst>
          </p:cNvPr>
          <p:cNvCxnSpPr>
            <a:cxnSpLocks/>
          </p:cNvCxnSpPr>
          <p:nvPr/>
        </p:nvCxnSpPr>
        <p:spPr>
          <a:xfrm flipH="1">
            <a:off x="273050" y="3764029"/>
            <a:ext cx="9359901"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nvGrpSpPr>
          <p:cNvPr id="39" name="Group 38">
            <a:extLst>
              <a:ext uri="{FF2B5EF4-FFF2-40B4-BE49-F238E27FC236}">
                <a16:creationId xmlns:a16="http://schemas.microsoft.com/office/drawing/2014/main" id="{DA5B607F-7D1B-41D4-AA68-58BA82DCDCC2}"/>
              </a:ext>
            </a:extLst>
          </p:cNvPr>
          <p:cNvGrpSpPr/>
          <p:nvPr/>
        </p:nvGrpSpPr>
        <p:grpSpPr>
          <a:xfrm>
            <a:off x="273049" y="1844970"/>
            <a:ext cx="9359901" cy="1635826"/>
            <a:chOff x="273049" y="1844970"/>
            <a:chExt cx="9359901" cy="1635826"/>
          </a:xfrm>
        </p:grpSpPr>
        <p:sp>
          <p:nvSpPr>
            <p:cNvPr id="35" name="Rectangle 34">
              <a:extLst>
                <a:ext uri="{FF2B5EF4-FFF2-40B4-BE49-F238E27FC236}">
                  <a16:creationId xmlns:a16="http://schemas.microsoft.com/office/drawing/2014/main" id="{D9216031-1458-4ABE-97C0-CDA25A8A74A1}"/>
                </a:ext>
              </a:extLst>
            </p:cNvPr>
            <p:cNvSpPr/>
            <p:nvPr/>
          </p:nvSpPr>
          <p:spPr>
            <a:xfrm>
              <a:off x="3169309" y="1844970"/>
              <a:ext cx="6463641" cy="1635824"/>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4" name="Content Placeholder 7"/>
            <p:cNvSpPr txBox="1">
              <a:spLocks/>
            </p:cNvSpPr>
            <p:nvPr/>
          </p:nvSpPr>
          <p:spPr>
            <a:xfrm>
              <a:off x="273049" y="1844970"/>
              <a:ext cx="3259470" cy="1635826"/>
            </a:xfrm>
            <a:prstGeom prst="rect">
              <a:avLst/>
            </a:prstGeom>
            <a:solidFill>
              <a:srgbClr val="B9C7C2"/>
            </a:solidFill>
            <a:ln w="9525">
              <a:noFill/>
            </a:ln>
          </p:spPr>
          <p:txBody>
            <a:bodyPr vert="horz" wrap="square" lIns="1908000" tIns="58500" rIns="58500" bIns="585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b="1" dirty="0">
                  <a:solidFill>
                    <a:srgbClr val="1F2023"/>
                  </a:solidFill>
                </a:rPr>
                <a:t>Active </a:t>
              </a:r>
              <a:br>
                <a:rPr lang="en-GB" sz="1400" b="1" dirty="0">
                  <a:solidFill>
                    <a:srgbClr val="1F2023"/>
                  </a:solidFill>
                </a:rPr>
              </a:br>
              <a:r>
                <a:rPr lang="en-GB" sz="1400" b="1" dirty="0">
                  <a:solidFill>
                    <a:srgbClr val="1F2023"/>
                  </a:solidFill>
                </a:rPr>
                <a:t>listening</a:t>
              </a:r>
            </a:p>
            <a:p>
              <a:r>
                <a:rPr lang="en-GB" sz="1400" dirty="0">
                  <a:solidFill>
                    <a:srgbClr val="1F2023"/>
                  </a:solidFill>
                </a:rPr>
                <a:t>(5 min.)</a:t>
              </a:r>
              <a:endParaRPr lang="en-GB" sz="1400" b="1" dirty="0">
                <a:solidFill>
                  <a:srgbClr val="1F2023"/>
                </a:solidFill>
              </a:endParaRPr>
            </a:p>
          </p:txBody>
        </p:sp>
        <p:sp>
          <p:nvSpPr>
            <p:cNvPr id="29" name="Content Placeholder 7">
              <a:extLst>
                <a:ext uri="{FF2B5EF4-FFF2-40B4-BE49-F238E27FC236}">
                  <a16:creationId xmlns:a16="http://schemas.microsoft.com/office/drawing/2014/main" id="{F35E63E7-1DCF-4C0B-B4B4-350DA6001CB7}"/>
                </a:ext>
              </a:extLst>
            </p:cNvPr>
            <p:cNvSpPr txBox="1">
              <a:spLocks/>
            </p:cNvSpPr>
            <p:nvPr/>
          </p:nvSpPr>
          <p:spPr>
            <a:xfrm>
              <a:off x="273049" y="1844970"/>
              <a:ext cx="1634400" cy="1635826"/>
            </a:xfrm>
            <a:prstGeom prst="rect">
              <a:avLst/>
            </a:prstGeom>
            <a:solidFill>
              <a:srgbClr val="A1B5AD"/>
            </a:solidFill>
            <a:ln w="9525">
              <a:noFill/>
            </a:ln>
          </p:spPr>
          <p:txBody>
            <a:bodyPr vert="horz" wrap="square" lIns="936000" tIns="58500" rIns="58500" bIns="585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400" b="1" dirty="0">
                <a:solidFill>
                  <a:srgbClr val="1F2023"/>
                </a:solidFill>
              </a:endParaRPr>
            </a:p>
          </p:txBody>
        </p:sp>
        <p:sp>
          <p:nvSpPr>
            <p:cNvPr id="5" name="Content Placeholder 7"/>
            <p:cNvSpPr txBox="1">
              <a:spLocks/>
            </p:cNvSpPr>
            <p:nvPr/>
          </p:nvSpPr>
          <p:spPr>
            <a:xfrm>
              <a:off x="3905255" y="2062719"/>
              <a:ext cx="5627608" cy="1200329"/>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1200"/>
                </a:spcBef>
                <a:buClr>
                  <a:schemeClr val="accent6"/>
                </a:buClr>
                <a:buNone/>
                <a:defRPr/>
              </a:pPr>
              <a:r>
                <a:rPr lang="en-GB" sz="1200" dirty="0"/>
                <a:t>With buddy  – sitting across from each other – knees nearly touching ;-)  </a:t>
              </a:r>
            </a:p>
            <a:p>
              <a:pPr lvl="1">
                <a:spcBef>
                  <a:spcPts val="1200"/>
                </a:spcBef>
                <a:buClr>
                  <a:srgbClr val="1F2023"/>
                </a:buClr>
                <a:defRPr/>
              </a:pPr>
              <a:r>
                <a:rPr lang="en-GB" sz="1200" dirty="0"/>
                <a:t>A tells a story to B about something that is an issue for her/him </a:t>
              </a:r>
            </a:p>
            <a:p>
              <a:pPr lvl="1">
                <a:spcBef>
                  <a:spcPts val="1200"/>
                </a:spcBef>
                <a:buClr>
                  <a:srgbClr val="1F2023"/>
                </a:buClr>
                <a:defRPr/>
              </a:pPr>
              <a:r>
                <a:rPr lang="en-GB" sz="1200" dirty="0"/>
                <a:t>B listens with active listening (focus on reflections)</a:t>
              </a:r>
            </a:p>
            <a:p>
              <a:pPr lvl="1">
                <a:spcBef>
                  <a:spcPts val="1200"/>
                </a:spcBef>
                <a:buClr>
                  <a:srgbClr val="1F2023"/>
                </a:buClr>
                <a:defRPr/>
              </a:pPr>
              <a:r>
                <a:rPr lang="en-GB" sz="1200" dirty="0"/>
                <a:t>A and B talk about how it was to have this conversation</a:t>
              </a:r>
            </a:p>
          </p:txBody>
        </p:sp>
        <p:grpSp>
          <p:nvGrpSpPr>
            <p:cNvPr id="19" name="Group 18">
              <a:extLst>
                <a:ext uri="{FF2B5EF4-FFF2-40B4-BE49-F238E27FC236}">
                  <a16:creationId xmlns:a16="http://schemas.microsoft.com/office/drawing/2014/main" id="{DDED2CCA-0D63-4CA8-962D-0598A384E7D2}"/>
                </a:ext>
              </a:extLst>
            </p:cNvPr>
            <p:cNvGrpSpPr/>
            <p:nvPr/>
          </p:nvGrpSpPr>
          <p:grpSpPr>
            <a:xfrm>
              <a:off x="634466" y="2355420"/>
              <a:ext cx="713568" cy="614926"/>
              <a:chOff x="3781425" y="3370263"/>
              <a:chExt cx="539751" cy="465138"/>
            </a:xfrm>
          </p:grpSpPr>
          <p:sp>
            <p:nvSpPr>
              <p:cNvPr id="20" name="Freeform 144">
                <a:extLst>
                  <a:ext uri="{FF2B5EF4-FFF2-40B4-BE49-F238E27FC236}">
                    <a16:creationId xmlns:a16="http://schemas.microsoft.com/office/drawing/2014/main" id="{2130A7BA-2D53-4C2E-9932-97AA07E8B890}"/>
                  </a:ext>
                </a:extLst>
              </p:cNvPr>
              <p:cNvSpPr>
                <a:spLocks/>
              </p:cNvSpPr>
              <p:nvPr/>
            </p:nvSpPr>
            <p:spPr bwMode="auto">
              <a:xfrm>
                <a:off x="4191000" y="3541713"/>
                <a:ext cx="107950" cy="207963"/>
              </a:xfrm>
              <a:custGeom>
                <a:avLst/>
                <a:gdLst>
                  <a:gd name="T0" fmla="*/ 0 w 24"/>
                  <a:gd name="T1" fmla="*/ 0 h 46"/>
                  <a:gd name="T2" fmla="*/ 1 w 24"/>
                  <a:gd name="T3" fmla="*/ 0 h 46"/>
                  <a:gd name="T4" fmla="*/ 24 w 24"/>
                  <a:gd name="T5" fmla="*/ 23 h 46"/>
                  <a:gd name="T6" fmla="*/ 24 w 24"/>
                  <a:gd name="T7" fmla="*/ 23 h 46"/>
                  <a:gd name="T8" fmla="*/ 1 w 24"/>
                  <a:gd name="T9" fmla="*/ 46 h 46"/>
                  <a:gd name="T10" fmla="*/ 0 w 24"/>
                  <a:gd name="T11" fmla="*/ 46 h 46"/>
                </a:gdLst>
                <a:ahLst/>
                <a:cxnLst>
                  <a:cxn ang="0">
                    <a:pos x="T0" y="T1"/>
                  </a:cxn>
                  <a:cxn ang="0">
                    <a:pos x="T2" y="T3"/>
                  </a:cxn>
                  <a:cxn ang="0">
                    <a:pos x="T4" y="T5"/>
                  </a:cxn>
                  <a:cxn ang="0">
                    <a:pos x="T6" y="T7"/>
                  </a:cxn>
                  <a:cxn ang="0">
                    <a:pos x="T8" y="T9"/>
                  </a:cxn>
                  <a:cxn ang="0">
                    <a:pos x="T10" y="T11"/>
                  </a:cxn>
                </a:cxnLst>
                <a:rect l="0" t="0" r="r" b="b"/>
                <a:pathLst>
                  <a:path w="24" h="46">
                    <a:moveTo>
                      <a:pt x="0" y="0"/>
                    </a:moveTo>
                    <a:cubicBezTo>
                      <a:pt x="1" y="0"/>
                      <a:pt x="1" y="0"/>
                      <a:pt x="1" y="0"/>
                    </a:cubicBezTo>
                    <a:cubicBezTo>
                      <a:pt x="14" y="0"/>
                      <a:pt x="24" y="10"/>
                      <a:pt x="24" y="23"/>
                    </a:cubicBezTo>
                    <a:cubicBezTo>
                      <a:pt x="24" y="23"/>
                      <a:pt x="24" y="23"/>
                      <a:pt x="24" y="23"/>
                    </a:cubicBezTo>
                    <a:cubicBezTo>
                      <a:pt x="24" y="36"/>
                      <a:pt x="14" y="46"/>
                      <a:pt x="1" y="46"/>
                    </a:cubicBezTo>
                    <a:cubicBezTo>
                      <a:pt x="0" y="46"/>
                      <a:pt x="0" y="46"/>
                      <a:pt x="0" y="46"/>
                    </a:cubicBezTo>
                  </a:path>
                </a:pathLst>
              </a:custGeom>
              <a:solidFill>
                <a:srgbClr val="D0D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145">
                <a:extLst>
                  <a:ext uri="{FF2B5EF4-FFF2-40B4-BE49-F238E27FC236}">
                    <a16:creationId xmlns:a16="http://schemas.microsoft.com/office/drawing/2014/main" id="{A3E6D938-196D-4711-9159-48F2661B1672}"/>
                  </a:ext>
                </a:extLst>
              </p:cNvPr>
              <p:cNvSpPr>
                <a:spLocks/>
              </p:cNvSpPr>
              <p:nvPr/>
            </p:nvSpPr>
            <p:spPr bwMode="auto">
              <a:xfrm>
                <a:off x="3781425" y="3541713"/>
                <a:ext cx="112713" cy="207963"/>
              </a:xfrm>
              <a:custGeom>
                <a:avLst/>
                <a:gdLst>
                  <a:gd name="T0" fmla="*/ 25 w 25"/>
                  <a:gd name="T1" fmla="*/ 46 h 46"/>
                  <a:gd name="T2" fmla="*/ 23 w 25"/>
                  <a:gd name="T3" fmla="*/ 46 h 46"/>
                  <a:gd name="T4" fmla="*/ 0 w 25"/>
                  <a:gd name="T5" fmla="*/ 23 h 46"/>
                  <a:gd name="T6" fmla="*/ 0 w 25"/>
                  <a:gd name="T7" fmla="*/ 23 h 46"/>
                  <a:gd name="T8" fmla="*/ 23 w 25"/>
                  <a:gd name="T9" fmla="*/ 0 h 46"/>
                  <a:gd name="T10" fmla="*/ 25 w 25"/>
                  <a:gd name="T11" fmla="*/ 0 h 46"/>
                </a:gdLst>
                <a:ahLst/>
                <a:cxnLst>
                  <a:cxn ang="0">
                    <a:pos x="T0" y="T1"/>
                  </a:cxn>
                  <a:cxn ang="0">
                    <a:pos x="T2" y="T3"/>
                  </a:cxn>
                  <a:cxn ang="0">
                    <a:pos x="T4" y="T5"/>
                  </a:cxn>
                  <a:cxn ang="0">
                    <a:pos x="T6" y="T7"/>
                  </a:cxn>
                  <a:cxn ang="0">
                    <a:pos x="T8" y="T9"/>
                  </a:cxn>
                  <a:cxn ang="0">
                    <a:pos x="T10" y="T11"/>
                  </a:cxn>
                </a:cxnLst>
                <a:rect l="0" t="0" r="r" b="b"/>
                <a:pathLst>
                  <a:path w="25" h="46">
                    <a:moveTo>
                      <a:pt x="25" y="46"/>
                    </a:moveTo>
                    <a:cubicBezTo>
                      <a:pt x="23" y="46"/>
                      <a:pt x="23" y="46"/>
                      <a:pt x="23" y="46"/>
                    </a:cubicBezTo>
                    <a:cubicBezTo>
                      <a:pt x="10" y="46"/>
                      <a:pt x="0" y="36"/>
                      <a:pt x="0" y="23"/>
                    </a:cubicBezTo>
                    <a:cubicBezTo>
                      <a:pt x="0" y="23"/>
                      <a:pt x="0" y="23"/>
                      <a:pt x="0" y="23"/>
                    </a:cubicBezTo>
                    <a:cubicBezTo>
                      <a:pt x="0" y="10"/>
                      <a:pt x="10" y="0"/>
                      <a:pt x="23" y="0"/>
                    </a:cubicBezTo>
                    <a:cubicBezTo>
                      <a:pt x="25" y="0"/>
                      <a:pt x="25" y="0"/>
                      <a:pt x="25" y="0"/>
                    </a:cubicBezTo>
                  </a:path>
                </a:pathLst>
              </a:custGeom>
              <a:solidFill>
                <a:srgbClr val="D0D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146">
                <a:extLst>
                  <a:ext uri="{FF2B5EF4-FFF2-40B4-BE49-F238E27FC236}">
                    <a16:creationId xmlns:a16="http://schemas.microsoft.com/office/drawing/2014/main" id="{D58D1FAE-04A5-4287-B77F-8102CC26254B}"/>
                  </a:ext>
                </a:extLst>
              </p:cNvPr>
              <p:cNvSpPr>
                <a:spLocks/>
              </p:cNvSpPr>
              <p:nvPr/>
            </p:nvSpPr>
            <p:spPr bwMode="auto">
              <a:xfrm>
                <a:off x="3916363" y="3370263"/>
                <a:ext cx="323850" cy="352425"/>
              </a:xfrm>
              <a:custGeom>
                <a:avLst/>
                <a:gdLst>
                  <a:gd name="T0" fmla="*/ 72 w 72"/>
                  <a:gd name="T1" fmla="*/ 78 h 78"/>
                  <a:gd name="T2" fmla="*/ 72 w 72"/>
                  <a:gd name="T3" fmla="*/ 36 h 78"/>
                  <a:gd name="T4" fmla="*/ 36 w 72"/>
                  <a:gd name="T5" fmla="*/ 0 h 78"/>
                  <a:gd name="T6" fmla="*/ 36 w 72"/>
                  <a:gd name="T7" fmla="*/ 0 h 78"/>
                  <a:gd name="T8" fmla="*/ 0 w 72"/>
                  <a:gd name="T9" fmla="*/ 36 h 78"/>
                  <a:gd name="T10" fmla="*/ 0 w 72"/>
                  <a:gd name="T11" fmla="*/ 77 h 78"/>
                </a:gdLst>
                <a:ahLst/>
                <a:cxnLst>
                  <a:cxn ang="0">
                    <a:pos x="T0" y="T1"/>
                  </a:cxn>
                  <a:cxn ang="0">
                    <a:pos x="T2" y="T3"/>
                  </a:cxn>
                  <a:cxn ang="0">
                    <a:pos x="T4" y="T5"/>
                  </a:cxn>
                  <a:cxn ang="0">
                    <a:pos x="T6" y="T7"/>
                  </a:cxn>
                  <a:cxn ang="0">
                    <a:pos x="T8" y="T9"/>
                  </a:cxn>
                  <a:cxn ang="0">
                    <a:pos x="T10" y="T11"/>
                  </a:cxn>
                </a:cxnLst>
                <a:rect l="0" t="0" r="r" b="b"/>
                <a:pathLst>
                  <a:path w="72" h="78">
                    <a:moveTo>
                      <a:pt x="72" y="78"/>
                    </a:moveTo>
                    <a:cubicBezTo>
                      <a:pt x="72" y="36"/>
                      <a:pt x="72" y="36"/>
                      <a:pt x="72" y="36"/>
                    </a:cubicBezTo>
                    <a:cubicBezTo>
                      <a:pt x="72" y="17"/>
                      <a:pt x="56" y="0"/>
                      <a:pt x="36" y="0"/>
                    </a:cubicBezTo>
                    <a:cubicBezTo>
                      <a:pt x="36" y="0"/>
                      <a:pt x="36" y="0"/>
                      <a:pt x="36" y="0"/>
                    </a:cubicBezTo>
                    <a:cubicBezTo>
                      <a:pt x="16" y="0"/>
                      <a:pt x="0" y="17"/>
                      <a:pt x="0" y="36"/>
                    </a:cubicBezTo>
                    <a:cubicBezTo>
                      <a:pt x="0" y="77"/>
                      <a:pt x="0" y="77"/>
                      <a:pt x="0" y="7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147">
                <a:extLst>
                  <a:ext uri="{FF2B5EF4-FFF2-40B4-BE49-F238E27FC236}">
                    <a16:creationId xmlns:a16="http://schemas.microsoft.com/office/drawing/2014/main" id="{038C02DB-00AD-4C8B-BA25-DB98C600648C}"/>
                  </a:ext>
                </a:extLst>
              </p:cNvPr>
              <p:cNvSpPr>
                <a:spLocks/>
              </p:cNvSpPr>
              <p:nvPr/>
            </p:nvSpPr>
            <p:spPr bwMode="auto">
              <a:xfrm>
                <a:off x="4240213" y="3563938"/>
                <a:ext cx="80963" cy="158750"/>
              </a:xfrm>
              <a:custGeom>
                <a:avLst/>
                <a:gdLst>
                  <a:gd name="T0" fmla="*/ 0 w 18"/>
                  <a:gd name="T1" fmla="*/ 0 h 35"/>
                  <a:gd name="T2" fmla="*/ 1 w 18"/>
                  <a:gd name="T3" fmla="*/ 0 h 35"/>
                  <a:gd name="T4" fmla="*/ 18 w 18"/>
                  <a:gd name="T5" fmla="*/ 18 h 35"/>
                  <a:gd name="T6" fmla="*/ 18 w 18"/>
                  <a:gd name="T7" fmla="*/ 18 h 35"/>
                  <a:gd name="T8" fmla="*/ 1 w 18"/>
                  <a:gd name="T9" fmla="*/ 35 h 35"/>
                  <a:gd name="T10" fmla="*/ 0 w 18"/>
                  <a:gd name="T11" fmla="*/ 35 h 35"/>
                </a:gdLst>
                <a:ahLst/>
                <a:cxnLst>
                  <a:cxn ang="0">
                    <a:pos x="T0" y="T1"/>
                  </a:cxn>
                  <a:cxn ang="0">
                    <a:pos x="T2" y="T3"/>
                  </a:cxn>
                  <a:cxn ang="0">
                    <a:pos x="T4" y="T5"/>
                  </a:cxn>
                  <a:cxn ang="0">
                    <a:pos x="T6" y="T7"/>
                  </a:cxn>
                  <a:cxn ang="0">
                    <a:pos x="T8" y="T9"/>
                  </a:cxn>
                  <a:cxn ang="0">
                    <a:pos x="T10" y="T11"/>
                  </a:cxn>
                </a:cxnLst>
                <a:rect l="0" t="0" r="r" b="b"/>
                <a:pathLst>
                  <a:path w="18" h="35">
                    <a:moveTo>
                      <a:pt x="0" y="0"/>
                    </a:moveTo>
                    <a:cubicBezTo>
                      <a:pt x="1" y="0"/>
                      <a:pt x="1" y="0"/>
                      <a:pt x="1" y="0"/>
                    </a:cubicBezTo>
                    <a:cubicBezTo>
                      <a:pt x="10" y="0"/>
                      <a:pt x="18" y="8"/>
                      <a:pt x="18" y="18"/>
                    </a:cubicBezTo>
                    <a:cubicBezTo>
                      <a:pt x="18" y="18"/>
                      <a:pt x="18" y="18"/>
                      <a:pt x="18" y="18"/>
                    </a:cubicBezTo>
                    <a:cubicBezTo>
                      <a:pt x="18" y="28"/>
                      <a:pt x="10" y="35"/>
                      <a:pt x="1" y="35"/>
                    </a:cubicBezTo>
                    <a:cubicBezTo>
                      <a:pt x="0" y="35"/>
                      <a:pt x="0" y="35"/>
                      <a:pt x="0" y="3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148">
                <a:extLst>
                  <a:ext uri="{FF2B5EF4-FFF2-40B4-BE49-F238E27FC236}">
                    <a16:creationId xmlns:a16="http://schemas.microsoft.com/office/drawing/2014/main" id="{FA758F91-1DDC-4843-B683-E1BFBEECE47D}"/>
                  </a:ext>
                </a:extLst>
              </p:cNvPr>
              <p:cNvSpPr>
                <a:spLocks/>
              </p:cNvSpPr>
              <p:nvPr/>
            </p:nvSpPr>
            <p:spPr bwMode="auto">
              <a:xfrm>
                <a:off x="3830638" y="3563938"/>
                <a:ext cx="85725" cy="158750"/>
              </a:xfrm>
              <a:custGeom>
                <a:avLst/>
                <a:gdLst>
                  <a:gd name="T0" fmla="*/ 19 w 19"/>
                  <a:gd name="T1" fmla="*/ 35 h 35"/>
                  <a:gd name="T2" fmla="*/ 18 w 19"/>
                  <a:gd name="T3" fmla="*/ 35 h 35"/>
                  <a:gd name="T4" fmla="*/ 0 w 19"/>
                  <a:gd name="T5" fmla="*/ 18 h 35"/>
                  <a:gd name="T6" fmla="*/ 0 w 19"/>
                  <a:gd name="T7" fmla="*/ 18 h 35"/>
                  <a:gd name="T8" fmla="*/ 18 w 19"/>
                  <a:gd name="T9" fmla="*/ 0 h 35"/>
                  <a:gd name="T10" fmla="*/ 19 w 19"/>
                  <a:gd name="T11" fmla="*/ 0 h 35"/>
                </a:gdLst>
                <a:ahLst/>
                <a:cxnLst>
                  <a:cxn ang="0">
                    <a:pos x="T0" y="T1"/>
                  </a:cxn>
                  <a:cxn ang="0">
                    <a:pos x="T2" y="T3"/>
                  </a:cxn>
                  <a:cxn ang="0">
                    <a:pos x="T4" y="T5"/>
                  </a:cxn>
                  <a:cxn ang="0">
                    <a:pos x="T6" y="T7"/>
                  </a:cxn>
                  <a:cxn ang="0">
                    <a:pos x="T8" y="T9"/>
                  </a:cxn>
                  <a:cxn ang="0">
                    <a:pos x="T10" y="T11"/>
                  </a:cxn>
                </a:cxnLst>
                <a:rect l="0" t="0" r="r" b="b"/>
                <a:pathLst>
                  <a:path w="19" h="35">
                    <a:moveTo>
                      <a:pt x="19" y="35"/>
                    </a:moveTo>
                    <a:cubicBezTo>
                      <a:pt x="18" y="35"/>
                      <a:pt x="18" y="35"/>
                      <a:pt x="18" y="35"/>
                    </a:cubicBezTo>
                    <a:cubicBezTo>
                      <a:pt x="8" y="35"/>
                      <a:pt x="0" y="28"/>
                      <a:pt x="0" y="18"/>
                    </a:cubicBezTo>
                    <a:cubicBezTo>
                      <a:pt x="0" y="18"/>
                      <a:pt x="0" y="18"/>
                      <a:pt x="0" y="18"/>
                    </a:cubicBezTo>
                    <a:cubicBezTo>
                      <a:pt x="0" y="8"/>
                      <a:pt x="8" y="0"/>
                      <a:pt x="18" y="0"/>
                    </a:cubicBezTo>
                    <a:cubicBezTo>
                      <a:pt x="19" y="0"/>
                      <a:pt x="19" y="0"/>
                      <a:pt x="19"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49">
                <a:extLst>
                  <a:ext uri="{FF2B5EF4-FFF2-40B4-BE49-F238E27FC236}">
                    <a16:creationId xmlns:a16="http://schemas.microsoft.com/office/drawing/2014/main" id="{E545C335-AABF-42C6-B178-56AD238F9CA1}"/>
                  </a:ext>
                </a:extLst>
              </p:cNvPr>
              <p:cNvSpPr>
                <a:spLocks/>
              </p:cNvSpPr>
              <p:nvPr/>
            </p:nvSpPr>
            <p:spPr bwMode="auto">
              <a:xfrm>
                <a:off x="4119563" y="3671888"/>
                <a:ext cx="120650" cy="153988"/>
              </a:xfrm>
              <a:custGeom>
                <a:avLst/>
                <a:gdLst>
                  <a:gd name="T0" fmla="*/ 27 w 27"/>
                  <a:gd name="T1" fmla="*/ 0 h 34"/>
                  <a:gd name="T2" fmla="*/ 27 w 27"/>
                  <a:gd name="T3" fmla="*/ 17 h 34"/>
                  <a:gd name="T4" fmla="*/ 10 w 27"/>
                  <a:gd name="T5" fmla="*/ 34 h 34"/>
                  <a:gd name="T6" fmla="*/ 0 w 27"/>
                  <a:gd name="T7" fmla="*/ 34 h 34"/>
                </a:gdLst>
                <a:ahLst/>
                <a:cxnLst>
                  <a:cxn ang="0">
                    <a:pos x="T0" y="T1"/>
                  </a:cxn>
                  <a:cxn ang="0">
                    <a:pos x="T2" y="T3"/>
                  </a:cxn>
                  <a:cxn ang="0">
                    <a:pos x="T4" y="T5"/>
                  </a:cxn>
                  <a:cxn ang="0">
                    <a:pos x="T6" y="T7"/>
                  </a:cxn>
                </a:cxnLst>
                <a:rect l="0" t="0" r="r" b="b"/>
                <a:pathLst>
                  <a:path w="27" h="34">
                    <a:moveTo>
                      <a:pt x="27" y="0"/>
                    </a:moveTo>
                    <a:cubicBezTo>
                      <a:pt x="27" y="17"/>
                      <a:pt x="27" y="17"/>
                      <a:pt x="27" y="17"/>
                    </a:cubicBezTo>
                    <a:cubicBezTo>
                      <a:pt x="27" y="26"/>
                      <a:pt x="19" y="34"/>
                      <a:pt x="10" y="34"/>
                    </a:cubicBezTo>
                    <a:cubicBezTo>
                      <a:pt x="0" y="34"/>
                      <a:pt x="0" y="34"/>
                      <a:pt x="0"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50">
                <a:extLst>
                  <a:ext uri="{FF2B5EF4-FFF2-40B4-BE49-F238E27FC236}">
                    <a16:creationId xmlns:a16="http://schemas.microsoft.com/office/drawing/2014/main" id="{1A8EB777-DA5C-4DE3-B2C8-96CD22688474}"/>
                  </a:ext>
                </a:extLst>
              </p:cNvPr>
              <p:cNvSpPr>
                <a:spLocks/>
              </p:cNvSpPr>
              <p:nvPr/>
            </p:nvSpPr>
            <p:spPr bwMode="auto">
              <a:xfrm>
                <a:off x="4043363" y="3808413"/>
                <a:ext cx="66675" cy="26988"/>
              </a:xfrm>
              <a:custGeom>
                <a:avLst/>
                <a:gdLst>
                  <a:gd name="T0" fmla="*/ 12 w 15"/>
                  <a:gd name="T1" fmla="*/ 6 h 6"/>
                  <a:gd name="T2" fmla="*/ 3 w 15"/>
                  <a:gd name="T3" fmla="*/ 6 h 6"/>
                  <a:gd name="T4" fmla="*/ 0 w 15"/>
                  <a:gd name="T5" fmla="*/ 3 h 6"/>
                  <a:gd name="T6" fmla="*/ 0 w 15"/>
                  <a:gd name="T7" fmla="*/ 3 h 6"/>
                  <a:gd name="T8" fmla="*/ 3 w 15"/>
                  <a:gd name="T9" fmla="*/ 0 h 6"/>
                  <a:gd name="T10" fmla="*/ 12 w 15"/>
                  <a:gd name="T11" fmla="*/ 0 h 6"/>
                  <a:gd name="T12" fmla="*/ 15 w 15"/>
                  <a:gd name="T13" fmla="*/ 3 h 6"/>
                  <a:gd name="T14" fmla="*/ 15 w 15"/>
                  <a:gd name="T15" fmla="*/ 3 h 6"/>
                  <a:gd name="T16" fmla="*/ 12 w 15"/>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2" y="6"/>
                    </a:moveTo>
                    <a:cubicBezTo>
                      <a:pt x="3" y="6"/>
                      <a:pt x="3" y="6"/>
                      <a:pt x="3" y="6"/>
                    </a:cubicBezTo>
                    <a:cubicBezTo>
                      <a:pt x="1" y="6"/>
                      <a:pt x="0" y="5"/>
                      <a:pt x="0" y="3"/>
                    </a:cubicBezTo>
                    <a:cubicBezTo>
                      <a:pt x="0" y="3"/>
                      <a:pt x="0" y="3"/>
                      <a:pt x="0" y="3"/>
                    </a:cubicBezTo>
                    <a:cubicBezTo>
                      <a:pt x="0" y="2"/>
                      <a:pt x="1" y="0"/>
                      <a:pt x="3" y="0"/>
                    </a:cubicBezTo>
                    <a:cubicBezTo>
                      <a:pt x="12" y="0"/>
                      <a:pt x="12" y="0"/>
                      <a:pt x="12" y="0"/>
                    </a:cubicBezTo>
                    <a:cubicBezTo>
                      <a:pt x="14" y="0"/>
                      <a:pt x="15" y="2"/>
                      <a:pt x="15" y="3"/>
                    </a:cubicBezTo>
                    <a:cubicBezTo>
                      <a:pt x="15" y="3"/>
                      <a:pt x="15" y="3"/>
                      <a:pt x="15" y="3"/>
                    </a:cubicBezTo>
                    <a:cubicBezTo>
                      <a:pt x="15" y="5"/>
                      <a:pt x="14" y="6"/>
                      <a:pt x="12" y="6"/>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8" name="Isosceles Triangle 27">
              <a:extLst>
                <a:ext uri="{FF2B5EF4-FFF2-40B4-BE49-F238E27FC236}">
                  <a16:creationId xmlns:a16="http://schemas.microsoft.com/office/drawing/2014/main" id="{A92BE262-6AB6-4691-9C19-C03E92ABC5FE}"/>
                </a:ext>
              </a:extLst>
            </p:cNvPr>
            <p:cNvSpPr/>
            <p:nvPr/>
          </p:nvSpPr>
          <p:spPr>
            <a:xfrm rot="5400000">
              <a:off x="3419550" y="2587962"/>
              <a:ext cx="375789" cy="149848"/>
            </a:xfrm>
            <a:prstGeom prst="triangle">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grpSp>
        <p:nvGrpSpPr>
          <p:cNvPr id="40" name="Group 39">
            <a:extLst>
              <a:ext uri="{FF2B5EF4-FFF2-40B4-BE49-F238E27FC236}">
                <a16:creationId xmlns:a16="http://schemas.microsoft.com/office/drawing/2014/main" id="{C30B07DD-D10C-4666-9F7D-49680A4B7BEA}"/>
              </a:ext>
            </a:extLst>
          </p:cNvPr>
          <p:cNvGrpSpPr/>
          <p:nvPr/>
        </p:nvGrpSpPr>
        <p:grpSpPr>
          <a:xfrm>
            <a:off x="273049" y="4044609"/>
            <a:ext cx="9359901" cy="1635827"/>
            <a:chOff x="273049" y="4044609"/>
            <a:chExt cx="9359901" cy="1635827"/>
          </a:xfrm>
        </p:grpSpPr>
        <p:sp>
          <p:nvSpPr>
            <p:cNvPr id="36" name="Rectangle 35">
              <a:extLst>
                <a:ext uri="{FF2B5EF4-FFF2-40B4-BE49-F238E27FC236}">
                  <a16:creationId xmlns:a16="http://schemas.microsoft.com/office/drawing/2014/main" id="{07B8195E-DF5D-4632-A425-1FA5B2A0F34E}"/>
                </a:ext>
              </a:extLst>
            </p:cNvPr>
            <p:cNvSpPr/>
            <p:nvPr/>
          </p:nvSpPr>
          <p:spPr>
            <a:xfrm>
              <a:off x="3169309" y="4044612"/>
              <a:ext cx="6463641" cy="1635824"/>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12" name="Content Placeholder 7"/>
            <p:cNvSpPr txBox="1">
              <a:spLocks/>
            </p:cNvSpPr>
            <p:nvPr/>
          </p:nvSpPr>
          <p:spPr>
            <a:xfrm>
              <a:off x="273049" y="4044609"/>
              <a:ext cx="3259470" cy="1635826"/>
            </a:xfrm>
            <a:prstGeom prst="rect">
              <a:avLst/>
            </a:prstGeom>
            <a:solidFill>
              <a:srgbClr val="B9C7C2"/>
            </a:solidFill>
            <a:ln w="9525">
              <a:noFill/>
            </a:ln>
          </p:spPr>
          <p:txBody>
            <a:bodyPr vert="horz" wrap="square" lIns="1908000" tIns="58500" rIns="58500" bIns="585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z="1400" b="1" dirty="0">
                  <a:solidFill>
                    <a:srgbClr val="1F2023"/>
                  </a:solidFill>
                </a:rPr>
                <a:t>Active </a:t>
              </a:r>
              <a:br>
                <a:rPr lang="en-GB" sz="1400" b="1" dirty="0">
                  <a:solidFill>
                    <a:srgbClr val="1F2023"/>
                  </a:solidFill>
                </a:rPr>
              </a:br>
              <a:r>
                <a:rPr lang="en-GB" sz="1400" b="1" dirty="0">
                  <a:solidFill>
                    <a:srgbClr val="1F2023"/>
                  </a:solidFill>
                </a:rPr>
                <a:t>listening</a:t>
              </a:r>
              <a:endParaRPr lang="en-GB" sz="1400" dirty="0">
                <a:solidFill>
                  <a:srgbClr val="1F2023"/>
                </a:solidFill>
              </a:endParaRPr>
            </a:p>
            <a:p>
              <a:r>
                <a:rPr lang="en-GB" sz="1400" dirty="0">
                  <a:solidFill>
                    <a:srgbClr val="1F2023"/>
                  </a:solidFill>
                </a:rPr>
                <a:t>(5 min.)</a:t>
              </a:r>
            </a:p>
          </p:txBody>
        </p:sp>
        <p:sp>
          <p:nvSpPr>
            <p:cNvPr id="30" name="Content Placeholder 7">
              <a:extLst>
                <a:ext uri="{FF2B5EF4-FFF2-40B4-BE49-F238E27FC236}">
                  <a16:creationId xmlns:a16="http://schemas.microsoft.com/office/drawing/2014/main" id="{D45990D1-5EED-41A2-9B8B-43B6CEBB703B}"/>
                </a:ext>
              </a:extLst>
            </p:cNvPr>
            <p:cNvSpPr txBox="1">
              <a:spLocks/>
            </p:cNvSpPr>
            <p:nvPr/>
          </p:nvSpPr>
          <p:spPr>
            <a:xfrm>
              <a:off x="273049" y="4044609"/>
              <a:ext cx="1634400" cy="1635826"/>
            </a:xfrm>
            <a:prstGeom prst="rect">
              <a:avLst/>
            </a:prstGeom>
            <a:solidFill>
              <a:srgbClr val="A1B5AD"/>
            </a:solidFill>
            <a:ln w="9525">
              <a:noFill/>
            </a:ln>
          </p:spPr>
          <p:txBody>
            <a:bodyPr vert="horz" wrap="square" lIns="936000" tIns="58500" rIns="58500" bIns="5850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GB" sz="1400" dirty="0">
                <a:solidFill>
                  <a:schemeClr val="bg1"/>
                </a:solidFill>
              </a:endParaRPr>
            </a:p>
          </p:txBody>
        </p:sp>
        <p:sp>
          <p:nvSpPr>
            <p:cNvPr id="13" name="Content Placeholder 7"/>
            <p:cNvSpPr txBox="1">
              <a:spLocks/>
            </p:cNvSpPr>
            <p:nvPr/>
          </p:nvSpPr>
          <p:spPr>
            <a:xfrm>
              <a:off x="3905255" y="4431635"/>
              <a:ext cx="5627608" cy="861774"/>
            </a:xfrm>
            <a:prstGeom prst="rect">
              <a:avLst/>
            </a:prstGeom>
          </p:spPr>
          <p:txBody>
            <a:bodyPr vert="horz" wrap="square" lIns="0" tIns="0" rIns="0" bIns="0" rtlCol="0" anchor="ctr">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Clr>
                  <a:srgbClr val="1F2023"/>
                </a:buClr>
                <a:defRPr/>
              </a:pPr>
              <a:r>
                <a:rPr lang="en-GB" sz="1200" dirty="0"/>
                <a:t>B tells a story to A about something that is an issue for her/him </a:t>
              </a:r>
            </a:p>
            <a:p>
              <a:pPr lvl="1">
                <a:spcBef>
                  <a:spcPts val="1200"/>
                </a:spcBef>
                <a:buClr>
                  <a:srgbClr val="1F2023"/>
                </a:buClr>
                <a:defRPr/>
              </a:pPr>
              <a:r>
                <a:rPr lang="en-GB" sz="1200" dirty="0"/>
                <a:t>A listens with active listening (focus on reflections)</a:t>
              </a:r>
            </a:p>
            <a:p>
              <a:pPr lvl="1">
                <a:spcBef>
                  <a:spcPts val="1200"/>
                </a:spcBef>
                <a:buClr>
                  <a:srgbClr val="1F2023"/>
                </a:buClr>
                <a:defRPr/>
              </a:pPr>
              <a:r>
                <a:rPr lang="en-GB" sz="1200" dirty="0"/>
                <a:t>A and B talk about how it was to have this conversation</a:t>
              </a:r>
            </a:p>
          </p:txBody>
        </p:sp>
        <p:grpSp>
          <p:nvGrpSpPr>
            <p:cNvPr id="9" name="Group 8">
              <a:extLst>
                <a:ext uri="{FF2B5EF4-FFF2-40B4-BE49-F238E27FC236}">
                  <a16:creationId xmlns:a16="http://schemas.microsoft.com/office/drawing/2014/main" id="{28E9A335-BCE4-4D7E-83E0-D28A5D2CB11E}"/>
                </a:ext>
              </a:extLst>
            </p:cNvPr>
            <p:cNvGrpSpPr/>
            <p:nvPr/>
          </p:nvGrpSpPr>
          <p:grpSpPr>
            <a:xfrm>
              <a:off x="634466" y="4555059"/>
              <a:ext cx="713568" cy="614926"/>
              <a:chOff x="3781425" y="3370263"/>
              <a:chExt cx="539751" cy="465138"/>
            </a:xfrm>
          </p:grpSpPr>
          <p:sp>
            <p:nvSpPr>
              <p:cNvPr id="10" name="Freeform 144">
                <a:extLst>
                  <a:ext uri="{FF2B5EF4-FFF2-40B4-BE49-F238E27FC236}">
                    <a16:creationId xmlns:a16="http://schemas.microsoft.com/office/drawing/2014/main" id="{4AA6923D-80C8-438A-AFEB-1F88715ED668}"/>
                  </a:ext>
                </a:extLst>
              </p:cNvPr>
              <p:cNvSpPr>
                <a:spLocks/>
              </p:cNvSpPr>
              <p:nvPr/>
            </p:nvSpPr>
            <p:spPr bwMode="auto">
              <a:xfrm>
                <a:off x="4191000" y="3541713"/>
                <a:ext cx="107950" cy="207963"/>
              </a:xfrm>
              <a:custGeom>
                <a:avLst/>
                <a:gdLst>
                  <a:gd name="T0" fmla="*/ 0 w 24"/>
                  <a:gd name="T1" fmla="*/ 0 h 46"/>
                  <a:gd name="T2" fmla="*/ 1 w 24"/>
                  <a:gd name="T3" fmla="*/ 0 h 46"/>
                  <a:gd name="T4" fmla="*/ 24 w 24"/>
                  <a:gd name="T5" fmla="*/ 23 h 46"/>
                  <a:gd name="T6" fmla="*/ 24 w 24"/>
                  <a:gd name="T7" fmla="*/ 23 h 46"/>
                  <a:gd name="T8" fmla="*/ 1 w 24"/>
                  <a:gd name="T9" fmla="*/ 46 h 46"/>
                  <a:gd name="T10" fmla="*/ 0 w 24"/>
                  <a:gd name="T11" fmla="*/ 46 h 46"/>
                </a:gdLst>
                <a:ahLst/>
                <a:cxnLst>
                  <a:cxn ang="0">
                    <a:pos x="T0" y="T1"/>
                  </a:cxn>
                  <a:cxn ang="0">
                    <a:pos x="T2" y="T3"/>
                  </a:cxn>
                  <a:cxn ang="0">
                    <a:pos x="T4" y="T5"/>
                  </a:cxn>
                  <a:cxn ang="0">
                    <a:pos x="T6" y="T7"/>
                  </a:cxn>
                  <a:cxn ang="0">
                    <a:pos x="T8" y="T9"/>
                  </a:cxn>
                  <a:cxn ang="0">
                    <a:pos x="T10" y="T11"/>
                  </a:cxn>
                </a:cxnLst>
                <a:rect l="0" t="0" r="r" b="b"/>
                <a:pathLst>
                  <a:path w="24" h="46">
                    <a:moveTo>
                      <a:pt x="0" y="0"/>
                    </a:moveTo>
                    <a:cubicBezTo>
                      <a:pt x="1" y="0"/>
                      <a:pt x="1" y="0"/>
                      <a:pt x="1" y="0"/>
                    </a:cubicBezTo>
                    <a:cubicBezTo>
                      <a:pt x="14" y="0"/>
                      <a:pt x="24" y="10"/>
                      <a:pt x="24" y="23"/>
                    </a:cubicBezTo>
                    <a:cubicBezTo>
                      <a:pt x="24" y="23"/>
                      <a:pt x="24" y="23"/>
                      <a:pt x="24" y="23"/>
                    </a:cubicBezTo>
                    <a:cubicBezTo>
                      <a:pt x="24" y="36"/>
                      <a:pt x="14" y="46"/>
                      <a:pt x="1" y="46"/>
                    </a:cubicBezTo>
                    <a:cubicBezTo>
                      <a:pt x="0" y="46"/>
                      <a:pt x="0" y="46"/>
                      <a:pt x="0" y="46"/>
                    </a:cubicBezTo>
                  </a:path>
                </a:pathLst>
              </a:custGeom>
              <a:solidFill>
                <a:srgbClr val="D0D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145">
                <a:extLst>
                  <a:ext uri="{FF2B5EF4-FFF2-40B4-BE49-F238E27FC236}">
                    <a16:creationId xmlns:a16="http://schemas.microsoft.com/office/drawing/2014/main" id="{3E04B86E-B45A-4F18-8FA8-6B4ED2593573}"/>
                  </a:ext>
                </a:extLst>
              </p:cNvPr>
              <p:cNvSpPr>
                <a:spLocks/>
              </p:cNvSpPr>
              <p:nvPr/>
            </p:nvSpPr>
            <p:spPr bwMode="auto">
              <a:xfrm>
                <a:off x="3781425" y="3541713"/>
                <a:ext cx="112713" cy="207963"/>
              </a:xfrm>
              <a:custGeom>
                <a:avLst/>
                <a:gdLst>
                  <a:gd name="T0" fmla="*/ 25 w 25"/>
                  <a:gd name="T1" fmla="*/ 46 h 46"/>
                  <a:gd name="T2" fmla="*/ 23 w 25"/>
                  <a:gd name="T3" fmla="*/ 46 h 46"/>
                  <a:gd name="T4" fmla="*/ 0 w 25"/>
                  <a:gd name="T5" fmla="*/ 23 h 46"/>
                  <a:gd name="T6" fmla="*/ 0 w 25"/>
                  <a:gd name="T7" fmla="*/ 23 h 46"/>
                  <a:gd name="T8" fmla="*/ 23 w 25"/>
                  <a:gd name="T9" fmla="*/ 0 h 46"/>
                  <a:gd name="T10" fmla="*/ 25 w 25"/>
                  <a:gd name="T11" fmla="*/ 0 h 46"/>
                </a:gdLst>
                <a:ahLst/>
                <a:cxnLst>
                  <a:cxn ang="0">
                    <a:pos x="T0" y="T1"/>
                  </a:cxn>
                  <a:cxn ang="0">
                    <a:pos x="T2" y="T3"/>
                  </a:cxn>
                  <a:cxn ang="0">
                    <a:pos x="T4" y="T5"/>
                  </a:cxn>
                  <a:cxn ang="0">
                    <a:pos x="T6" y="T7"/>
                  </a:cxn>
                  <a:cxn ang="0">
                    <a:pos x="T8" y="T9"/>
                  </a:cxn>
                  <a:cxn ang="0">
                    <a:pos x="T10" y="T11"/>
                  </a:cxn>
                </a:cxnLst>
                <a:rect l="0" t="0" r="r" b="b"/>
                <a:pathLst>
                  <a:path w="25" h="46">
                    <a:moveTo>
                      <a:pt x="25" y="46"/>
                    </a:moveTo>
                    <a:cubicBezTo>
                      <a:pt x="23" y="46"/>
                      <a:pt x="23" y="46"/>
                      <a:pt x="23" y="46"/>
                    </a:cubicBezTo>
                    <a:cubicBezTo>
                      <a:pt x="10" y="46"/>
                      <a:pt x="0" y="36"/>
                      <a:pt x="0" y="23"/>
                    </a:cubicBezTo>
                    <a:cubicBezTo>
                      <a:pt x="0" y="23"/>
                      <a:pt x="0" y="23"/>
                      <a:pt x="0" y="23"/>
                    </a:cubicBezTo>
                    <a:cubicBezTo>
                      <a:pt x="0" y="10"/>
                      <a:pt x="10" y="0"/>
                      <a:pt x="23" y="0"/>
                    </a:cubicBezTo>
                    <a:cubicBezTo>
                      <a:pt x="25" y="0"/>
                      <a:pt x="25" y="0"/>
                      <a:pt x="25" y="0"/>
                    </a:cubicBezTo>
                  </a:path>
                </a:pathLst>
              </a:custGeom>
              <a:solidFill>
                <a:srgbClr val="D0DA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46">
                <a:extLst>
                  <a:ext uri="{FF2B5EF4-FFF2-40B4-BE49-F238E27FC236}">
                    <a16:creationId xmlns:a16="http://schemas.microsoft.com/office/drawing/2014/main" id="{26011711-7DFD-4198-BB7B-8A3CA029F6E6}"/>
                  </a:ext>
                </a:extLst>
              </p:cNvPr>
              <p:cNvSpPr>
                <a:spLocks/>
              </p:cNvSpPr>
              <p:nvPr/>
            </p:nvSpPr>
            <p:spPr bwMode="auto">
              <a:xfrm>
                <a:off x="3916363" y="3370263"/>
                <a:ext cx="323850" cy="352425"/>
              </a:xfrm>
              <a:custGeom>
                <a:avLst/>
                <a:gdLst>
                  <a:gd name="T0" fmla="*/ 72 w 72"/>
                  <a:gd name="T1" fmla="*/ 78 h 78"/>
                  <a:gd name="T2" fmla="*/ 72 w 72"/>
                  <a:gd name="T3" fmla="*/ 36 h 78"/>
                  <a:gd name="T4" fmla="*/ 36 w 72"/>
                  <a:gd name="T5" fmla="*/ 0 h 78"/>
                  <a:gd name="T6" fmla="*/ 36 w 72"/>
                  <a:gd name="T7" fmla="*/ 0 h 78"/>
                  <a:gd name="T8" fmla="*/ 0 w 72"/>
                  <a:gd name="T9" fmla="*/ 36 h 78"/>
                  <a:gd name="T10" fmla="*/ 0 w 72"/>
                  <a:gd name="T11" fmla="*/ 77 h 78"/>
                </a:gdLst>
                <a:ahLst/>
                <a:cxnLst>
                  <a:cxn ang="0">
                    <a:pos x="T0" y="T1"/>
                  </a:cxn>
                  <a:cxn ang="0">
                    <a:pos x="T2" y="T3"/>
                  </a:cxn>
                  <a:cxn ang="0">
                    <a:pos x="T4" y="T5"/>
                  </a:cxn>
                  <a:cxn ang="0">
                    <a:pos x="T6" y="T7"/>
                  </a:cxn>
                  <a:cxn ang="0">
                    <a:pos x="T8" y="T9"/>
                  </a:cxn>
                  <a:cxn ang="0">
                    <a:pos x="T10" y="T11"/>
                  </a:cxn>
                </a:cxnLst>
                <a:rect l="0" t="0" r="r" b="b"/>
                <a:pathLst>
                  <a:path w="72" h="78">
                    <a:moveTo>
                      <a:pt x="72" y="78"/>
                    </a:moveTo>
                    <a:cubicBezTo>
                      <a:pt x="72" y="36"/>
                      <a:pt x="72" y="36"/>
                      <a:pt x="72" y="36"/>
                    </a:cubicBezTo>
                    <a:cubicBezTo>
                      <a:pt x="72" y="17"/>
                      <a:pt x="56" y="0"/>
                      <a:pt x="36" y="0"/>
                    </a:cubicBezTo>
                    <a:cubicBezTo>
                      <a:pt x="36" y="0"/>
                      <a:pt x="36" y="0"/>
                      <a:pt x="36" y="0"/>
                    </a:cubicBezTo>
                    <a:cubicBezTo>
                      <a:pt x="16" y="0"/>
                      <a:pt x="0" y="17"/>
                      <a:pt x="0" y="36"/>
                    </a:cubicBezTo>
                    <a:cubicBezTo>
                      <a:pt x="0" y="77"/>
                      <a:pt x="0" y="77"/>
                      <a:pt x="0" y="7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147">
                <a:extLst>
                  <a:ext uri="{FF2B5EF4-FFF2-40B4-BE49-F238E27FC236}">
                    <a16:creationId xmlns:a16="http://schemas.microsoft.com/office/drawing/2014/main" id="{DCDE6C60-AB24-4761-9222-C7799A33FE8F}"/>
                  </a:ext>
                </a:extLst>
              </p:cNvPr>
              <p:cNvSpPr>
                <a:spLocks/>
              </p:cNvSpPr>
              <p:nvPr/>
            </p:nvSpPr>
            <p:spPr bwMode="auto">
              <a:xfrm>
                <a:off x="4240213" y="3563938"/>
                <a:ext cx="80963" cy="158750"/>
              </a:xfrm>
              <a:custGeom>
                <a:avLst/>
                <a:gdLst>
                  <a:gd name="T0" fmla="*/ 0 w 18"/>
                  <a:gd name="T1" fmla="*/ 0 h 35"/>
                  <a:gd name="T2" fmla="*/ 1 w 18"/>
                  <a:gd name="T3" fmla="*/ 0 h 35"/>
                  <a:gd name="T4" fmla="*/ 18 w 18"/>
                  <a:gd name="T5" fmla="*/ 18 h 35"/>
                  <a:gd name="T6" fmla="*/ 18 w 18"/>
                  <a:gd name="T7" fmla="*/ 18 h 35"/>
                  <a:gd name="T8" fmla="*/ 1 w 18"/>
                  <a:gd name="T9" fmla="*/ 35 h 35"/>
                  <a:gd name="T10" fmla="*/ 0 w 18"/>
                  <a:gd name="T11" fmla="*/ 35 h 35"/>
                </a:gdLst>
                <a:ahLst/>
                <a:cxnLst>
                  <a:cxn ang="0">
                    <a:pos x="T0" y="T1"/>
                  </a:cxn>
                  <a:cxn ang="0">
                    <a:pos x="T2" y="T3"/>
                  </a:cxn>
                  <a:cxn ang="0">
                    <a:pos x="T4" y="T5"/>
                  </a:cxn>
                  <a:cxn ang="0">
                    <a:pos x="T6" y="T7"/>
                  </a:cxn>
                  <a:cxn ang="0">
                    <a:pos x="T8" y="T9"/>
                  </a:cxn>
                  <a:cxn ang="0">
                    <a:pos x="T10" y="T11"/>
                  </a:cxn>
                </a:cxnLst>
                <a:rect l="0" t="0" r="r" b="b"/>
                <a:pathLst>
                  <a:path w="18" h="35">
                    <a:moveTo>
                      <a:pt x="0" y="0"/>
                    </a:moveTo>
                    <a:cubicBezTo>
                      <a:pt x="1" y="0"/>
                      <a:pt x="1" y="0"/>
                      <a:pt x="1" y="0"/>
                    </a:cubicBezTo>
                    <a:cubicBezTo>
                      <a:pt x="10" y="0"/>
                      <a:pt x="18" y="8"/>
                      <a:pt x="18" y="18"/>
                    </a:cubicBezTo>
                    <a:cubicBezTo>
                      <a:pt x="18" y="18"/>
                      <a:pt x="18" y="18"/>
                      <a:pt x="18" y="18"/>
                    </a:cubicBezTo>
                    <a:cubicBezTo>
                      <a:pt x="18" y="28"/>
                      <a:pt x="10" y="35"/>
                      <a:pt x="1" y="35"/>
                    </a:cubicBezTo>
                    <a:cubicBezTo>
                      <a:pt x="0" y="35"/>
                      <a:pt x="0" y="35"/>
                      <a:pt x="0" y="3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148">
                <a:extLst>
                  <a:ext uri="{FF2B5EF4-FFF2-40B4-BE49-F238E27FC236}">
                    <a16:creationId xmlns:a16="http://schemas.microsoft.com/office/drawing/2014/main" id="{86951A25-E94B-4E06-8F50-28D24CC21165}"/>
                  </a:ext>
                </a:extLst>
              </p:cNvPr>
              <p:cNvSpPr>
                <a:spLocks/>
              </p:cNvSpPr>
              <p:nvPr/>
            </p:nvSpPr>
            <p:spPr bwMode="auto">
              <a:xfrm>
                <a:off x="3830638" y="3563938"/>
                <a:ext cx="85725" cy="158750"/>
              </a:xfrm>
              <a:custGeom>
                <a:avLst/>
                <a:gdLst>
                  <a:gd name="T0" fmla="*/ 19 w 19"/>
                  <a:gd name="T1" fmla="*/ 35 h 35"/>
                  <a:gd name="T2" fmla="*/ 18 w 19"/>
                  <a:gd name="T3" fmla="*/ 35 h 35"/>
                  <a:gd name="T4" fmla="*/ 0 w 19"/>
                  <a:gd name="T5" fmla="*/ 18 h 35"/>
                  <a:gd name="T6" fmla="*/ 0 w 19"/>
                  <a:gd name="T7" fmla="*/ 18 h 35"/>
                  <a:gd name="T8" fmla="*/ 18 w 19"/>
                  <a:gd name="T9" fmla="*/ 0 h 35"/>
                  <a:gd name="T10" fmla="*/ 19 w 19"/>
                  <a:gd name="T11" fmla="*/ 0 h 35"/>
                </a:gdLst>
                <a:ahLst/>
                <a:cxnLst>
                  <a:cxn ang="0">
                    <a:pos x="T0" y="T1"/>
                  </a:cxn>
                  <a:cxn ang="0">
                    <a:pos x="T2" y="T3"/>
                  </a:cxn>
                  <a:cxn ang="0">
                    <a:pos x="T4" y="T5"/>
                  </a:cxn>
                  <a:cxn ang="0">
                    <a:pos x="T6" y="T7"/>
                  </a:cxn>
                  <a:cxn ang="0">
                    <a:pos x="T8" y="T9"/>
                  </a:cxn>
                  <a:cxn ang="0">
                    <a:pos x="T10" y="T11"/>
                  </a:cxn>
                </a:cxnLst>
                <a:rect l="0" t="0" r="r" b="b"/>
                <a:pathLst>
                  <a:path w="19" h="35">
                    <a:moveTo>
                      <a:pt x="19" y="35"/>
                    </a:moveTo>
                    <a:cubicBezTo>
                      <a:pt x="18" y="35"/>
                      <a:pt x="18" y="35"/>
                      <a:pt x="18" y="35"/>
                    </a:cubicBezTo>
                    <a:cubicBezTo>
                      <a:pt x="8" y="35"/>
                      <a:pt x="0" y="28"/>
                      <a:pt x="0" y="18"/>
                    </a:cubicBezTo>
                    <a:cubicBezTo>
                      <a:pt x="0" y="18"/>
                      <a:pt x="0" y="18"/>
                      <a:pt x="0" y="18"/>
                    </a:cubicBezTo>
                    <a:cubicBezTo>
                      <a:pt x="0" y="8"/>
                      <a:pt x="8" y="0"/>
                      <a:pt x="18" y="0"/>
                    </a:cubicBezTo>
                    <a:cubicBezTo>
                      <a:pt x="19" y="0"/>
                      <a:pt x="19" y="0"/>
                      <a:pt x="19"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49">
                <a:extLst>
                  <a:ext uri="{FF2B5EF4-FFF2-40B4-BE49-F238E27FC236}">
                    <a16:creationId xmlns:a16="http://schemas.microsoft.com/office/drawing/2014/main" id="{5AACC522-126E-4987-9476-5C48E61FB000}"/>
                  </a:ext>
                </a:extLst>
              </p:cNvPr>
              <p:cNvSpPr>
                <a:spLocks/>
              </p:cNvSpPr>
              <p:nvPr/>
            </p:nvSpPr>
            <p:spPr bwMode="auto">
              <a:xfrm>
                <a:off x="4119563" y="3671888"/>
                <a:ext cx="120650" cy="153988"/>
              </a:xfrm>
              <a:custGeom>
                <a:avLst/>
                <a:gdLst>
                  <a:gd name="T0" fmla="*/ 27 w 27"/>
                  <a:gd name="T1" fmla="*/ 0 h 34"/>
                  <a:gd name="T2" fmla="*/ 27 w 27"/>
                  <a:gd name="T3" fmla="*/ 17 h 34"/>
                  <a:gd name="T4" fmla="*/ 10 w 27"/>
                  <a:gd name="T5" fmla="*/ 34 h 34"/>
                  <a:gd name="T6" fmla="*/ 0 w 27"/>
                  <a:gd name="T7" fmla="*/ 34 h 34"/>
                </a:gdLst>
                <a:ahLst/>
                <a:cxnLst>
                  <a:cxn ang="0">
                    <a:pos x="T0" y="T1"/>
                  </a:cxn>
                  <a:cxn ang="0">
                    <a:pos x="T2" y="T3"/>
                  </a:cxn>
                  <a:cxn ang="0">
                    <a:pos x="T4" y="T5"/>
                  </a:cxn>
                  <a:cxn ang="0">
                    <a:pos x="T6" y="T7"/>
                  </a:cxn>
                </a:cxnLst>
                <a:rect l="0" t="0" r="r" b="b"/>
                <a:pathLst>
                  <a:path w="27" h="34">
                    <a:moveTo>
                      <a:pt x="27" y="0"/>
                    </a:moveTo>
                    <a:cubicBezTo>
                      <a:pt x="27" y="17"/>
                      <a:pt x="27" y="17"/>
                      <a:pt x="27" y="17"/>
                    </a:cubicBezTo>
                    <a:cubicBezTo>
                      <a:pt x="27" y="26"/>
                      <a:pt x="19" y="34"/>
                      <a:pt x="10" y="34"/>
                    </a:cubicBezTo>
                    <a:cubicBezTo>
                      <a:pt x="0" y="34"/>
                      <a:pt x="0" y="34"/>
                      <a:pt x="0" y="3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50">
                <a:extLst>
                  <a:ext uri="{FF2B5EF4-FFF2-40B4-BE49-F238E27FC236}">
                    <a16:creationId xmlns:a16="http://schemas.microsoft.com/office/drawing/2014/main" id="{179448B0-4A5D-4EB9-80DC-5A24D7588A1B}"/>
                  </a:ext>
                </a:extLst>
              </p:cNvPr>
              <p:cNvSpPr>
                <a:spLocks/>
              </p:cNvSpPr>
              <p:nvPr/>
            </p:nvSpPr>
            <p:spPr bwMode="auto">
              <a:xfrm>
                <a:off x="4043363" y="3808413"/>
                <a:ext cx="66675" cy="26988"/>
              </a:xfrm>
              <a:custGeom>
                <a:avLst/>
                <a:gdLst>
                  <a:gd name="T0" fmla="*/ 12 w 15"/>
                  <a:gd name="T1" fmla="*/ 6 h 6"/>
                  <a:gd name="T2" fmla="*/ 3 w 15"/>
                  <a:gd name="T3" fmla="*/ 6 h 6"/>
                  <a:gd name="T4" fmla="*/ 0 w 15"/>
                  <a:gd name="T5" fmla="*/ 3 h 6"/>
                  <a:gd name="T6" fmla="*/ 0 w 15"/>
                  <a:gd name="T7" fmla="*/ 3 h 6"/>
                  <a:gd name="T8" fmla="*/ 3 w 15"/>
                  <a:gd name="T9" fmla="*/ 0 h 6"/>
                  <a:gd name="T10" fmla="*/ 12 w 15"/>
                  <a:gd name="T11" fmla="*/ 0 h 6"/>
                  <a:gd name="T12" fmla="*/ 15 w 15"/>
                  <a:gd name="T13" fmla="*/ 3 h 6"/>
                  <a:gd name="T14" fmla="*/ 15 w 15"/>
                  <a:gd name="T15" fmla="*/ 3 h 6"/>
                  <a:gd name="T16" fmla="*/ 12 w 15"/>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2" y="6"/>
                    </a:moveTo>
                    <a:cubicBezTo>
                      <a:pt x="3" y="6"/>
                      <a:pt x="3" y="6"/>
                      <a:pt x="3" y="6"/>
                    </a:cubicBezTo>
                    <a:cubicBezTo>
                      <a:pt x="1" y="6"/>
                      <a:pt x="0" y="5"/>
                      <a:pt x="0" y="3"/>
                    </a:cubicBezTo>
                    <a:cubicBezTo>
                      <a:pt x="0" y="3"/>
                      <a:pt x="0" y="3"/>
                      <a:pt x="0" y="3"/>
                    </a:cubicBezTo>
                    <a:cubicBezTo>
                      <a:pt x="0" y="2"/>
                      <a:pt x="1" y="0"/>
                      <a:pt x="3" y="0"/>
                    </a:cubicBezTo>
                    <a:cubicBezTo>
                      <a:pt x="12" y="0"/>
                      <a:pt x="12" y="0"/>
                      <a:pt x="12" y="0"/>
                    </a:cubicBezTo>
                    <a:cubicBezTo>
                      <a:pt x="14" y="0"/>
                      <a:pt x="15" y="2"/>
                      <a:pt x="15" y="3"/>
                    </a:cubicBezTo>
                    <a:cubicBezTo>
                      <a:pt x="15" y="3"/>
                      <a:pt x="15" y="3"/>
                      <a:pt x="15" y="3"/>
                    </a:cubicBezTo>
                    <a:cubicBezTo>
                      <a:pt x="15" y="5"/>
                      <a:pt x="14" y="6"/>
                      <a:pt x="12" y="6"/>
                    </a:cubicBezTo>
                    <a:close/>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32" name="Isosceles Triangle 31">
              <a:extLst>
                <a:ext uri="{FF2B5EF4-FFF2-40B4-BE49-F238E27FC236}">
                  <a16:creationId xmlns:a16="http://schemas.microsoft.com/office/drawing/2014/main" id="{8F4ECE3D-524D-49B4-894B-94F1A6377FD4}"/>
                </a:ext>
              </a:extLst>
            </p:cNvPr>
            <p:cNvSpPr/>
            <p:nvPr/>
          </p:nvSpPr>
          <p:spPr>
            <a:xfrm rot="5400000">
              <a:off x="3419550" y="4787599"/>
              <a:ext cx="375789" cy="149848"/>
            </a:xfrm>
            <a:prstGeom prst="triangle">
              <a:avLst/>
            </a:prstGeom>
            <a:solidFill>
              <a:srgbClr val="B9C7C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spTree>
    <p:extLst>
      <p:ext uri="{BB962C8B-B14F-4D97-AF65-F5344CB8AC3E}">
        <p14:creationId xmlns:p14="http://schemas.microsoft.com/office/powerpoint/2010/main" val="236985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500"/>
                                        <p:tgtEl>
                                          <p:spTgt spid="3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7"/>
          <p:cNvSpPr/>
          <p:nvPr/>
        </p:nvSpPr>
        <p:spPr>
          <a:xfrm>
            <a:off x="5399313" y="962212"/>
            <a:ext cx="3824517" cy="2758597"/>
          </a:xfrm>
          <a:prstGeom prst="rect">
            <a:avLst/>
          </a:prstGeom>
          <a:solidFill>
            <a:srgbClr val="F3E4DB"/>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7" name="Rektangel 6"/>
          <p:cNvSpPr/>
          <p:nvPr/>
        </p:nvSpPr>
        <p:spPr>
          <a:xfrm>
            <a:off x="682170" y="1855723"/>
            <a:ext cx="7827845" cy="3730171"/>
          </a:xfrm>
          <a:prstGeom prst="rect">
            <a:avLst/>
          </a:prstGeom>
          <a:solidFill>
            <a:srgbClr val="D7C5B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el 1"/>
          <p:cNvSpPr>
            <a:spLocks noGrp="1"/>
          </p:cNvSpPr>
          <p:nvPr>
            <p:ph type="title"/>
          </p:nvPr>
        </p:nvSpPr>
        <p:spPr/>
        <p:txBody>
          <a:bodyPr/>
          <a:lstStyle/>
          <a:p>
            <a:r>
              <a:rPr lang="en-GB" dirty="0"/>
              <a:t>Apply REAL conversations tools to client case</a:t>
            </a:r>
          </a:p>
        </p:txBody>
      </p:sp>
      <p:sp>
        <p:nvSpPr>
          <p:cNvPr id="3" name="Pladsholder til dato 2"/>
          <p:cNvSpPr>
            <a:spLocks noGrp="1"/>
          </p:cNvSpPr>
          <p:nvPr>
            <p:ph type="dt" sz="half" idx="10"/>
          </p:nvPr>
        </p:nvSpPr>
        <p:spPr/>
        <p:txBody>
          <a:bodyPr/>
          <a:lstStyle/>
          <a:p>
            <a:fld id="{8A6E0422-6ECB-43C9-8CFE-4C39AC685875}" type="datetime1">
              <a:rPr lang="en-GB" smtClean="0"/>
              <a:pPr/>
              <a:t>17/01/2019</a:t>
            </a:fld>
            <a:endParaRPr lang="en-GB" dirty="0"/>
          </a:p>
        </p:txBody>
      </p:sp>
      <p:sp>
        <p:nvSpPr>
          <p:cNvPr id="4" name="Pladsholder til tekst 3"/>
          <p:cNvSpPr>
            <a:spLocks noGrp="1"/>
          </p:cNvSpPr>
          <p:nvPr>
            <p:ph type="body" sz="quarter" idx="13"/>
          </p:nvPr>
        </p:nvSpPr>
        <p:spPr/>
        <p:txBody>
          <a:bodyPr/>
          <a:lstStyle/>
          <a:p>
            <a:endParaRPr lang="en-GB" dirty="0"/>
          </a:p>
        </p:txBody>
      </p:sp>
      <p:sp>
        <p:nvSpPr>
          <p:cNvPr id="5" name="Pladsholder til tekst 4"/>
          <p:cNvSpPr>
            <a:spLocks noGrp="1"/>
          </p:cNvSpPr>
          <p:nvPr>
            <p:ph type="body" sz="quarter" idx="14"/>
          </p:nvPr>
        </p:nvSpPr>
        <p:spPr/>
        <p:txBody>
          <a:bodyPr/>
          <a:lstStyle/>
          <a:p>
            <a:endParaRPr lang="en-GB" dirty="0"/>
          </a:p>
        </p:txBody>
      </p:sp>
      <p:sp>
        <p:nvSpPr>
          <p:cNvPr id="6" name="Tekstfelt 5"/>
          <p:cNvSpPr txBox="1"/>
          <p:nvPr/>
        </p:nvSpPr>
        <p:spPr>
          <a:xfrm>
            <a:off x="862641" y="2341510"/>
            <a:ext cx="7647374" cy="1969770"/>
          </a:xfrm>
          <a:prstGeom prst="rect">
            <a:avLst/>
          </a:prstGeom>
          <a:noFill/>
          <a:ln w="6350">
            <a:noFill/>
            <a:prstDash val="sysDash"/>
          </a:ln>
        </p:spPr>
        <p:txBody>
          <a:bodyPr wrap="square" lIns="0" tIns="0" rIns="0" bIns="0" rtlCol="0">
            <a:spAutoFit/>
          </a:bodyPr>
          <a:lstStyle/>
          <a:p>
            <a:pPr algn="l"/>
            <a:r>
              <a:rPr lang="en-GB" sz="1600" dirty="0"/>
              <a:t>Individually (3 min): Think of a client meeting/ workshop in the near future. Choose one of the REAL tools/ techniques and sketch out how it could be applied in your case.</a:t>
            </a:r>
          </a:p>
          <a:p>
            <a:pPr algn="l"/>
            <a:endParaRPr lang="en-GB" sz="1600" dirty="0"/>
          </a:p>
          <a:p>
            <a:pPr algn="l"/>
            <a:endParaRPr lang="en-GB" sz="1600" dirty="0"/>
          </a:p>
          <a:p>
            <a:r>
              <a:rPr lang="en-GB" sz="1600" dirty="0"/>
              <a:t>In trios (same groups as in ”knocking on the door” exercise) (20 min). Share the cases and choose one case to work with. Get sparring on which tools/ techniques can be applied and how.</a:t>
            </a:r>
          </a:p>
        </p:txBody>
      </p:sp>
    </p:spTree>
    <p:extLst>
      <p:ext uri="{BB962C8B-B14F-4D97-AF65-F5344CB8AC3E}">
        <p14:creationId xmlns:p14="http://schemas.microsoft.com/office/powerpoint/2010/main" val="1633537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 Placeholder 46">
            <a:extLst>
              <a:ext uri="{FF2B5EF4-FFF2-40B4-BE49-F238E27FC236}">
                <a16:creationId xmlns:a16="http://schemas.microsoft.com/office/drawing/2014/main" id="{460DF691-A3BA-4985-AC64-9F46ADBD356A}"/>
              </a:ext>
            </a:extLst>
          </p:cNvPr>
          <p:cNvSpPr>
            <a:spLocks noGrp="1"/>
          </p:cNvSpPr>
          <p:nvPr>
            <p:ph type="body" sz="quarter" idx="16"/>
          </p:nvPr>
        </p:nvSpPr>
        <p:spPr>
          <a:xfrm>
            <a:off x="266485" y="2092693"/>
            <a:ext cx="5051239" cy="2249014"/>
          </a:xfrm>
        </p:spPr>
        <p:txBody>
          <a:bodyPr/>
          <a:lstStyle/>
          <a:p>
            <a:r>
              <a:rPr lang="en-GB" sz="8000" dirty="0">
                <a:solidFill>
                  <a:srgbClr val="1F2023"/>
                </a:solidFill>
                <a:latin typeface="Impact" panose="020B0806030902050204" pitchFamily="34" charset="0"/>
                <a:ea typeface="+mj-ea"/>
                <a:cs typeface="+mj-cs"/>
              </a:rPr>
              <a:t>FEEDBACK</a:t>
            </a:r>
            <a:endParaRPr lang="en-GB" sz="4000" dirty="0">
              <a:solidFill>
                <a:srgbClr val="1F2023"/>
              </a:solidFill>
              <a:latin typeface="Impact" panose="020B0806030902050204" pitchFamily="34" charset="0"/>
            </a:endParaRPr>
          </a:p>
        </p:txBody>
      </p:sp>
      <p:sp>
        <p:nvSpPr>
          <p:cNvPr id="45" name="Text Placeholder 44">
            <a:extLst>
              <a:ext uri="{FF2B5EF4-FFF2-40B4-BE49-F238E27FC236}">
                <a16:creationId xmlns:a16="http://schemas.microsoft.com/office/drawing/2014/main" id="{E3DA08D1-D1D2-43D2-8866-4C50CFD56326}"/>
              </a:ext>
            </a:extLst>
          </p:cNvPr>
          <p:cNvSpPr>
            <a:spLocks noGrp="1"/>
          </p:cNvSpPr>
          <p:nvPr>
            <p:ph type="body" sz="quarter" idx="13"/>
          </p:nvPr>
        </p:nvSpPr>
        <p:spPr/>
        <p:txBody>
          <a:bodyPr/>
          <a:lstStyle/>
          <a:p>
            <a:endParaRPr lang="en-GB" dirty="0"/>
          </a:p>
        </p:txBody>
      </p:sp>
      <p:sp>
        <p:nvSpPr>
          <p:cNvPr id="46" name="Text Placeholder 45">
            <a:extLst>
              <a:ext uri="{FF2B5EF4-FFF2-40B4-BE49-F238E27FC236}">
                <a16:creationId xmlns:a16="http://schemas.microsoft.com/office/drawing/2014/main" id="{CE6EA00E-C827-4547-BC72-92DD6E1C30DB}"/>
              </a:ext>
            </a:extLst>
          </p:cNvPr>
          <p:cNvSpPr>
            <a:spLocks noGrp="1"/>
          </p:cNvSpPr>
          <p:nvPr>
            <p:ph type="body" sz="quarter" idx="14"/>
          </p:nvPr>
        </p:nvSpPr>
        <p:spPr/>
        <p:txBody>
          <a:bodyPr/>
          <a:lstStyle/>
          <a:p>
            <a:endParaRPr lang="en-GB" dirty="0"/>
          </a:p>
        </p:txBody>
      </p:sp>
      <p:grpSp>
        <p:nvGrpSpPr>
          <p:cNvPr id="56" name="Group 55">
            <a:extLst>
              <a:ext uri="{FF2B5EF4-FFF2-40B4-BE49-F238E27FC236}">
                <a16:creationId xmlns:a16="http://schemas.microsoft.com/office/drawing/2014/main" id="{BF0EDEF4-7652-4944-A1B8-6CB477CCD013}"/>
              </a:ext>
            </a:extLst>
          </p:cNvPr>
          <p:cNvGrpSpPr/>
          <p:nvPr/>
        </p:nvGrpSpPr>
        <p:grpSpPr>
          <a:xfrm>
            <a:off x="3009900" y="3519230"/>
            <a:ext cx="1847600" cy="1847600"/>
            <a:chOff x="2805623" y="3314953"/>
            <a:chExt cx="2256154" cy="2256154"/>
          </a:xfrm>
        </p:grpSpPr>
        <p:sp>
          <p:nvSpPr>
            <p:cNvPr id="49" name="Oval 48">
              <a:extLst>
                <a:ext uri="{FF2B5EF4-FFF2-40B4-BE49-F238E27FC236}">
                  <a16:creationId xmlns:a16="http://schemas.microsoft.com/office/drawing/2014/main" id="{8900B073-2BB7-4B56-9D99-46B1D9249386}"/>
                </a:ext>
              </a:extLst>
            </p:cNvPr>
            <p:cNvSpPr/>
            <p:nvPr/>
          </p:nvSpPr>
          <p:spPr>
            <a:xfrm>
              <a:off x="2934790" y="3444120"/>
              <a:ext cx="1997821" cy="1997821"/>
            </a:xfrm>
            <a:prstGeom prst="ellips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nvGrpSpPr>
            <p:cNvPr id="14" name="Group 9">
              <a:extLst>
                <a:ext uri="{FF2B5EF4-FFF2-40B4-BE49-F238E27FC236}">
                  <a16:creationId xmlns:a16="http://schemas.microsoft.com/office/drawing/2014/main" id="{CC6A1840-C8E8-445F-81A7-B6A2CC05BD80}"/>
                </a:ext>
              </a:extLst>
            </p:cNvPr>
            <p:cNvGrpSpPr>
              <a:grpSpLocks noChangeAspect="1"/>
            </p:cNvGrpSpPr>
            <p:nvPr/>
          </p:nvGrpSpPr>
          <p:grpSpPr bwMode="auto">
            <a:xfrm>
              <a:off x="3538026" y="3840956"/>
              <a:ext cx="791348" cy="1204148"/>
              <a:chOff x="-1599" y="1326"/>
              <a:chExt cx="1294" cy="1969"/>
            </a:xfrm>
          </p:grpSpPr>
          <p:sp>
            <p:nvSpPr>
              <p:cNvPr id="16" name="Freeform 10">
                <a:extLst>
                  <a:ext uri="{FF2B5EF4-FFF2-40B4-BE49-F238E27FC236}">
                    <a16:creationId xmlns:a16="http://schemas.microsoft.com/office/drawing/2014/main" id="{0C3E23C0-07ED-480D-89FF-AF8519CA78E5}"/>
                  </a:ext>
                </a:extLst>
              </p:cNvPr>
              <p:cNvSpPr>
                <a:spLocks/>
              </p:cNvSpPr>
              <p:nvPr/>
            </p:nvSpPr>
            <p:spPr bwMode="auto">
              <a:xfrm>
                <a:off x="-1297" y="1413"/>
                <a:ext cx="598" cy="620"/>
              </a:xfrm>
              <a:custGeom>
                <a:avLst/>
                <a:gdLst>
                  <a:gd name="T0" fmla="*/ 38 w 317"/>
                  <a:gd name="T1" fmla="*/ 204 h 330"/>
                  <a:gd name="T2" fmla="*/ 82 w 317"/>
                  <a:gd name="T3" fmla="*/ 138 h 330"/>
                  <a:gd name="T4" fmla="*/ 174 w 317"/>
                  <a:gd name="T5" fmla="*/ 71 h 330"/>
                  <a:gd name="T6" fmla="*/ 181 w 317"/>
                  <a:gd name="T7" fmla="*/ 64 h 330"/>
                  <a:gd name="T8" fmla="*/ 177 w 317"/>
                  <a:gd name="T9" fmla="*/ 5 h 330"/>
                  <a:gd name="T10" fmla="*/ 174 w 317"/>
                  <a:gd name="T11" fmla="*/ 0 h 330"/>
                  <a:gd name="T12" fmla="*/ 232 w 317"/>
                  <a:gd name="T13" fmla="*/ 9 h 330"/>
                  <a:gd name="T14" fmla="*/ 209 w 317"/>
                  <a:gd name="T15" fmla="*/ 21 h 330"/>
                  <a:gd name="T16" fmla="*/ 196 w 317"/>
                  <a:gd name="T17" fmla="*/ 39 h 330"/>
                  <a:gd name="T18" fmla="*/ 196 w 317"/>
                  <a:gd name="T19" fmla="*/ 48 h 330"/>
                  <a:gd name="T20" fmla="*/ 211 w 317"/>
                  <a:gd name="T21" fmla="*/ 71 h 330"/>
                  <a:gd name="T22" fmla="*/ 315 w 317"/>
                  <a:gd name="T23" fmla="*/ 174 h 330"/>
                  <a:gd name="T24" fmla="*/ 314 w 317"/>
                  <a:gd name="T25" fmla="*/ 193 h 330"/>
                  <a:gd name="T26" fmla="*/ 264 w 317"/>
                  <a:gd name="T27" fmla="*/ 316 h 330"/>
                  <a:gd name="T28" fmla="*/ 243 w 317"/>
                  <a:gd name="T29" fmla="*/ 328 h 330"/>
                  <a:gd name="T30" fmla="*/ 168 w 317"/>
                  <a:gd name="T31" fmla="*/ 321 h 330"/>
                  <a:gd name="T32" fmla="*/ 51 w 317"/>
                  <a:gd name="T33" fmla="*/ 313 h 330"/>
                  <a:gd name="T34" fmla="*/ 0 w 317"/>
                  <a:gd name="T35" fmla="*/ 313 h 330"/>
                  <a:gd name="T36" fmla="*/ 38 w 317"/>
                  <a:gd name="T37" fmla="*/ 20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7" h="330">
                    <a:moveTo>
                      <a:pt x="38" y="204"/>
                    </a:moveTo>
                    <a:cubicBezTo>
                      <a:pt x="46" y="178"/>
                      <a:pt x="65" y="159"/>
                      <a:pt x="82" y="138"/>
                    </a:cubicBezTo>
                    <a:cubicBezTo>
                      <a:pt x="107" y="108"/>
                      <a:pt x="140" y="88"/>
                      <a:pt x="174" y="71"/>
                    </a:cubicBezTo>
                    <a:cubicBezTo>
                      <a:pt x="177" y="70"/>
                      <a:pt x="179" y="67"/>
                      <a:pt x="181" y="64"/>
                    </a:cubicBezTo>
                    <a:cubicBezTo>
                      <a:pt x="190" y="44"/>
                      <a:pt x="192" y="24"/>
                      <a:pt x="177" y="5"/>
                    </a:cubicBezTo>
                    <a:cubicBezTo>
                      <a:pt x="176" y="4"/>
                      <a:pt x="175" y="2"/>
                      <a:pt x="174" y="0"/>
                    </a:cubicBezTo>
                    <a:cubicBezTo>
                      <a:pt x="194" y="3"/>
                      <a:pt x="212" y="6"/>
                      <a:pt x="232" y="9"/>
                    </a:cubicBezTo>
                    <a:cubicBezTo>
                      <a:pt x="224" y="14"/>
                      <a:pt x="217" y="17"/>
                      <a:pt x="209" y="21"/>
                    </a:cubicBezTo>
                    <a:cubicBezTo>
                      <a:pt x="201" y="24"/>
                      <a:pt x="197" y="31"/>
                      <a:pt x="196" y="39"/>
                    </a:cubicBezTo>
                    <a:cubicBezTo>
                      <a:pt x="196" y="42"/>
                      <a:pt x="196" y="45"/>
                      <a:pt x="196" y="48"/>
                    </a:cubicBezTo>
                    <a:cubicBezTo>
                      <a:pt x="195" y="65"/>
                      <a:pt x="195" y="65"/>
                      <a:pt x="211" y="71"/>
                    </a:cubicBezTo>
                    <a:cubicBezTo>
                      <a:pt x="259" y="92"/>
                      <a:pt x="296" y="125"/>
                      <a:pt x="315" y="174"/>
                    </a:cubicBezTo>
                    <a:cubicBezTo>
                      <a:pt x="317" y="180"/>
                      <a:pt x="316" y="188"/>
                      <a:pt x="314" y="193"/>
                    </a:cubicBezTo>
                    <a:cubicBezTo>
                      <a:pt x="301" y="235"/>
                      <a:pt x="286" y="277"/>
                      <a:pt x="264" y="316"/>
                    </a:cubicBezTo>
                    <a:cubicBezTo>
                      <a:pt x="259" y="325"/>
                      <a:pt x="252" y="328"/>
                      <a:pt x="243" y="328"/>
                    </a:cubicBezTo>
                    <a:cubicBezTo>
                      <a:pt x="218" y="330"/>
                      <a:pt x="193" y="326"/>
                      <a:pt x="168" y="321"/>
                    </a:cubicBezTo>
                    <a:cubicBezTo>
                      <a:pt x="129" y="313"/>
                      <a:pt x="91" y="311"/>
                      <a:pt x="51" y="313"/>
                    </a:cubicBezTo>
                    <a:cubicBezTo>
                      <a:pt x="34" y="314"/>
                      <a:pt x="17" y="313"/>
                      <a:pt x="0" y="313"/>
                    </a:cubicBezTo>
                    <a:cubicBezTo>
                      <a:pt x="19" y="280"/>
                      <a:pt x="25" y="241"/>
                      <a:pt x="38" y="204"/>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11">
                <a:extLst>
                  <a:ext uri="{FF2B5EF4-FFF2-40B4-BE49-F238E27FC236}">
                    <a16:creationId xmlns:a16="http://schemas.microsoft.com/office/drawing/2014/main" id="{57500C7A-E387-43B2-82DD-8BD2A12B2F21}"/>
                  </a:ext>
                </a:extLst>
              </p:cNvPr>
              <p:cNvSpPr>
                <a:spLocks/>
              </p:cNvSpPr>
              <p:nvPr/>
            </p:nvSpPr>
            <p:spPr bwMode="auto">
              <a:xfrm>
                <a:off x="-1307" y="1999"/>
                <a:ext cx="483" cy="773"/>
              </a:xfrm>
              <a:custGeom>
                <a:avLst/>
                <a:gdLst>
                  <a:gd name="T0" fmla="*/ 146 w 256"/>
                  <a:gd name="T1" fmla="*/ 411 h 411"/>
                  <a:gd name="T2" fmla="*/ 115 w 256"/>
                  <a:gd name="T3" fmla="*/ 331 h 411"/>
                  <a:gd name="T4" fmla="*/ 62 w 256"/>
                  <a:gd name="T5" fmla="*/ 207 h 411"/>
                  <a:gd name="T6" fmla="*/ 38 w 256"/>
                  <a:gd name="T7" fmla="*/ 131 h 411"/>
                  <a:gd name="T8" fmla="*/ 4 w 256"/>
                  <a:gd name="T9" fmla="*/ 19 h 411"/>
                  <a:gd name="T10" fmla="*/ 0 w 256"/>
                  <a:gd name="T11" fmla="*/ 3 h 411"/>
                  <a:gd name="T12" fmla="*/ 26 w 256"/>
                  <a:gd name="T13" fmla="*/ 1 h 411"/>
                  <a:gd name="T14" fmla="*/ 120 w 256"/>
                  <a:gd name="T15" fmla="*/ 3 h 411"/>
                  <a:gd name="T16" fmla="*/ 195 w 256"/>
                  <a:gd name="T17" fmla="*/ 14 h 411"/>
                  <a:gd name="T18" fmla="*/ 256 w 256"/>
                  <a:gd name="T19" fmla="*/ 18 h 411"/>
                  <a:gd name="T20" fmla="*/ 146 w 256"/>
                  <a:gd name="T21"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6" h="411">
                    <a:moveTo>
                      <a:pt x="146" y="411"/>
                    </a:moveTo>
                    <a:cubicBezTo>
                      <a:pt x="136" y="384"/>
                      <a:pt x="126" y="357"/>
                      <a:pt x="115" y="331"/>
                    </a:cubicBezTo>
                    <a:cubicBezTo>
                      <a:pt x="97" y="289"/>
                      <a:pt x="79" y="249"/>
                      <a:pt x="62" y="207"/>
                    </a:cubicBezTo>
                    <a:cubicBezTo>
                      <a:pt x="52" y="183"/>
                      <a:pt x="45" y="157"/>
                      <a:pt x="38" y="131"/>
                    </a:cubicBezTo>
                    <a:cubicBezTo>
                      <a:pt x="26" y="94"/>
                      <a:pt x="15" y="56"/>
                      <a:pt x="4" y="19"/>
                    </a:cubicBezTo>
                    <a:cubicBezTo>
                      <a:pt x="2" y="14"/>
                      <a:pt x="2" y="10"/>
                      <a:pt x="0" y="3"/>
                    </a:cubicBezTo>
                    <a:cubicBezTo>
                      <a:pt x="10" y="3"/>
                      <a:pt x="18" y="1"/>
                      <a:pt x="26" y="1"/>
                    </a:cubicBezTo>
                    <a:cubicBezTo>
                      <a:pt x="57" y="1"/>
                      <a:pt x="89" y="0"/>
                      <a:pt x="120" y="3"/>
                    </a:cubicBezTo>
                    <a:cubicBezTo>
                      <a:pt x="145" y="4"/>
                      <a:pt x="170" y="11"/>
                      <a:pt x="195" y="14"/>
                    </a:cubicBezTo>
                    <a:cubicBezTo>
                      <a:pt x="215" y="16"/>
                      <a:pt x="235" y="17"/>
                      <a:pt x="256" y="18"/>
                    </a:cubicBezTo>
                    <a:cubicBezTo>
                      <a:pt x="187" y="139"/>
                      <a:pt x="150" y="271"/>
                      <a:pt x="146" y="411"/>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2">
                <a:extLst>
                  <a:ext uri="{FF2B5EF4-FFF2-40B4-BE49-F238E27FC236}">
                    <a16:creationId xmlns:a16="http://schemas.microsoft.com/office/drawing/2014/main" id="{0B027B9F-DD97-4D0D-8656-49F595CD52C0}"/>
                  </a:ext>
                </a:extLst>
              </p:cNvPr>
              <p:cNvSpPr>
                <a:spLocks/>
              </p:cNvSpPr>
              <p:nvPr/>
            </p:nvSpPr>
            <p:spPr bwMode="auto">
              <a:xfrm>
                <a:off x="-1020" y="1774"/>
                <a:ext cx="658" cy="1515"/>
              </a:xfrm>
              <a:custGeom>
                <a:avLst/>
                <a:gdLst>
                  <a:gd name="T0" fmla="*/ 272 w 349"/>
                  <a:gd name="T1" fmla="*/ 802 h 806"/>
                  <a:gd name="T2" fmla="*/ 167 w 349"/>
                  <a:gd name="T3" fmla="*/ 770 h 806"/>
                  <a:gd name="T4" fmla="*/ 72 w 349"/>
                  <a:gd name="T5" fmla="*/ 724 h 806"/>
                  <a:gd name="T6" fmla="*/ 41 w 349"/>
                  <a:gd name="T7" fmla="*/ 695 h 806"/>
                  <a:gd name="T8" fmla="*/ 12 w 349"/>
                  <a:gd name="T9" fmla="*/ 650 h 806"/>
                  <a:gd name="T10" fmla="*/ 3 w 349"/>
                  <a:gd name="T11" fmla="*/ 611 h 806"/>
                  <a:gd name="T12" fmla="*/ 4 w 349"/>
                  <a:gd name="T13" fmla="*/ 569 h 806"/>
                  <a:gd name="T14" fmla="*/ 13 w 349"/>
                  <a:gd name="T15" fmla="*/ 428 h 806"/>
                  <a:gd name="T16" fmla="*/ 69 w 349"/>
                  <a:gd name="T17" fmla="*/ 232 h 806"/>
                  <a:gd name="T18" fmla="*/ 96 w 349"/>
                  <a:gd name="T19" fmla="*/ 173 h 806"/>
                  <a:gd name="T20" fmla="*/ 134 w 349"/>
                  <a:gd name="T21" fmla="*/ 100 h 806"/>
                  <a:gd name="T22" fmla="*/ 173 w 349"/>
                  <a:gd name="T23" fmla="*/ 0 h 806"/>
                  <a:gd name="T24" fmla="*/ 259 w 349"/>
                  <a:gd name="T25" fmla="*/ 212 h 806"/>
                  <a:gd name="T26" fmla="*/ 291 w 349"/>
                  <a:gd name="T27" fmla="*/ 367 h 806"/>
                  <a:gd name="T28" fmla="*/ 304 w 349"/>
                  <a:gd name="T29" fmla="*/ 539 h 806"/>
                  <a:gd name="T30" fmla="*/ 304 w 349"/>
                  <a:gd name="T31" fmla="*/ 591 h 806"/>
                  <a:gd name="T32" fmla="*/ 323 w 349"/>
                  <a:gd name="T33" fmla="*/ 681 h 806"/>
                  <a:gd name="T34" fmla="*/ 343 w 349"/>
                  <a:gd name="T35" fmla="*/ 737 h 806"/>
                  <a:gd name="T36" fmla="*/ 329 w 349"/>
                  <a:gd name="T37" fmla="*/ 788 h 806"/>
                  <a:gd name="T38" fmla="*/ 324 w 349"/>
                  <a:gd name="T39" fmla="*/ 792 h 806"/>
                  <a:gd name="T40" fmla="*/ 272 w 349"/>
                  <a:gd name="T41" fmla="*/ 802 h 8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49" h="806">
                    <a:moveTo>
                      <a:pt x="272" y="802"/>
                    </a:moveTo>
                    <a:cubicBezTo>
                      <a:pt x="235" y="796"/>
                      <a:pt x="202" y="781"/>
                      <a:pt x="167" y="770"/>
                    </a:cubicBezTo>
                    <a:cubicBezTo>
                      <a:pt x="133" y="759"/>
                      <a:pt x="102" y="743"/>
                      <a:pt x="72" y="724"/>
                    </a:cubicBezTo>
                    <a:cubicBezTo>
                      <a:pt x="59" y="717"/>
                      <a:pt x="49" y="707"/>
                      <a:pt x="41" y="695"/>
                    </a:cubicBezTo>
                    <a:cubicBezTo>
                      <a:pt x="31" y="680"/>
                      <a:pt x="22" y="665"/>
                      <a:pt x="12" y="650"/>
                    </a:cubicBezTo>
                    <a:cubicBezTo>
                      <a:pt x="5" y="638"/>
                      <a:pt x="2" y="625"/>
                      <a:pt x="3" y="611"/>
                    </a:cubicBezTo>
                    <a:cubicBezTo>
                      <a:pt x="3" y="597"/>
                      <a:pt x="5" y="583"/>
                      <a:pt x="4" y="569"/>
                    </a:cubicBezTo>
                    <a:cubicBezTo>
                      <a:pt x="0" y="522"/>
                      <a:pt x="6" y="475"/>
                      <a:pt x="13" y="428"/>
                    </a:cubicBezTo>
                    <a:cubicBezTo>
                      <a:pt x="23" y="361"/>
                      <a:pt x="36" y="293"/>
                      <a:pt x="69" y="232"/>
                    </a:cubicBezTo>
                    <a:cubicBezTo>
                      <a:pt x="79" y="213"/>
                      <a:pt x="87" y="192"/>
                      <a:pt x="96" y="173"/>
                    </a:cubicBezTo>
                    <a:cubicBezTo>
                      <a:pt x="108" y="148"/>
                      <a:pt x="123" y="125"/>
                      <a:pt x="134" y="100"/>
                    </a:cubicBezTo>
                    <a:cubicBezTo>
                      <a:pt x="148" y="67"/>
                      <a:pt x="161" y="32"/>
                      <a:pt x="173" y="0"/>
                    </a:cubicBezTo>
                    <a:cubicBezTo>
                      <a:pt x="211" y="65"/>
                      <a:pt x="237" y="138"/>
                      <a:pt x="259" y="212"/>
                    </a:cubicBezTo>
                    <a:cubicBezTo>
                      <a:pt x="274" y="263"/>
                      <a:pt x="282" y="315"/>
                      <a:pt x="291" y="367"/>
                    </a:cubicBezTo>
                    <a:cubicBezTo>
                      <a:pt x="302" y="424"/>
                      <a:pt x="303" y="481"/>
                      <a:pt x="304" y="539"/>
                    </a:cubicBezTo>
                    <a:cubicBezTo>
                      <a:pt x="305" y="556"/>
                      <a:pt x="304" y="574"/>
                      <a:pt x="304" y="591"/>
                    </a:cubicBezTo>
                    <a:cubicBezTo>
                      <a:pt x="305" y="622"/>
                      <a:pt x="315" y="652"/>
                      <a:pt x="323" y="681"/>
                    </a:cubicBezTo>
                    <a:cubicBezTo>
                      <a:pt x="329" y="700"/>
                      <a:pt x="336" y="719"/>
                      <a:pt x="343" y="737"/>
                    </a:cubicBezTo>
                    <a:cubicBezTo>
                      <a:pt x="349" y="756"/>
                      <a:pt x="344" y="776"/>
                      <a:pt x="329" y="788"/>
                    </a:cubicBezTo>
                    <a:cubicBezTo>
                      <a:pt x="327" y="790"/>
                      <a:pt x="325" y="791"/>
                      <a:pt x="324" y="792"/>
                    </a:cubicBezTo>
                    <a:cubicBezTo>
                      <a:pt x="308" y="806"/>
                      <a:pt x="291" y="805"/>
                      <a:pt x="272" y="802"/>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19">
                <a:extLst>
                  <a:ext uri="{FF2B5EF4-FFF2-40B4-BE49-F238E27FC236}">
                    <a16:creationId xmlns:a16="http://schemas.microsoft.com/office/drawing/2014/main" id="{D29411FE-9C02-46FB-AF14-F8B70E6A9450}"/>
                  </a:ext>
                </a:extLst>
              </p:cNvPr>
              <p:cNvSpPr>
                <a:spLocks/>
              </p:cNvSpPr>
              <p:nvPr/>
            </p:nvSpPr>
            <p:spPr bwMode="auto">
              <a:xfrm>
                <a:off x="-656" y="1901"/>
                <a:ext cx="196" cy="1108"/>
              </a:xfrm>
              <a:custGeom>
                <a:avLst/>
                <a:gdLst>
                  <a:gd name="T0" fmla="*/ 99 w 104"/>
                  <a:gd name="T1" fmla="*/ 565 h 589"/>
                  <a:gd name="T2" fmla="*/ 77 w 104"/>
                  <a:gd name="T3" fmla="*/ 355 h 589"/>
                  <a:gd name="T4" fmla="*/ 32 w 104"/>
                  <a:gd name="T5" fmla="*/ 125 h 589"/>
                  <a:gd name="T6" fmla="*/ 1 w 104"/>
                  <a:gd name="T7" fmla="*/ 6 h 589"/>
                  <a:gd name="T8" fmla="*/ 0 w 104"/>
                  <a:gd name="T9" fmla="*/ 0 h 589"/>
                  <a:gd name="T10" fmla="*/ 2 w 104"/>
                  <a:gd name="T11" fmla="*/ 0 h 589"/>
                  <a:gd name="T12" fmla="*/ 40 w 104"/>
                  <a:gd name="T13" fmla="*/ 145 h 589"/>
                  <a:gd name="T14" fmla="*/ 82 w 104"/>
                  <a:gd name="T15" fmla="*/ 364 h 589"/>
                  <a:gd name="T16" fmla="*/ 99 w 104"/>
                  <a:gd name="T17" fmla="*/ 530 h 589"/>
                  <a:gd name="T18" fmla="*/ 104 w 104"/>
                  <a:gd name="T19" fmla="*/ 589 h 589"/>
                  <a:gd name="T20" fmla="*/ 99 w 104"/>
                  <a:gd name="T21" fmla="*/ 565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4" h="589">
                    <a:moveTo>
                      <a:pt x="99" y="565"/>
                    </a:moveTo>
                    <a:cubicBezTo>
                      <a:pt x="92" y="495"/>
                      <a:pt x="85" y="425"/>
                      <a:pt x="77" y="355"/>
                    </a:cubicBezTo>
                    <a:cubicBezTo>
                      <a:pt x="67" y="277"/>
                      <a:pt x="50" y="201"/>
                      <a:pt x="32" y="125"/>
                    </a:cubicBezTo>
                    <a:cubicBezTo>
                      <a:pt x="22" y="85"/>
                      <a:pt x="11" y="45"/>
                      <a:pt x="1" y="6"/>
                    </a:cubicBezTo>
                    <a:cubicBezTo>
                      <a:pt x="0" y="4"/>
                      <a:pt x="0" y="2"/>
                      <a:pt x="0" y="0"/>
                    </a:cubicBezTo>
                    <a:cubicBezTo>
                      <a:pt x="0" y="0"/>
                      <a:pt x="1" y="0"/>
                      <a:pt x="2" y="0"/>
                    </a:cubicBezTo>
                    <a:cubicBezTo>
                      <a:pt x="15" y="48"/>
                      <a:pt x="28" y="96"/>
                      <a:pt x="40" y="145"/>
                    </a:cubicBezTo>
                    <a:cubicBezTo>
                      <a:pt x="58" y="217"/>
                      <a:pt x="73" y="290"/>
                      <a:pt x="82" y="364"/>
                    </a:cubicBezTo>
                    <a:cubicBezTo>
                      <a:pt x="89" y="419"/>
                      <a:pt x="93" y="475"/>
                      <a:pt x="99" y="530"/>
                    </a:cubicBezTo>
                    <a:cubicBezTo>
                      <a:pt x="101" y="549"/>
                      <a:pt x="103" y="569"/>
                      <a:pt x="104" y="589"/>
                    </a:cubicBezTo>
                    <a:cubicBezTo>
                      <a:pt x="102" y="581"/>
                      <a:pt x="100" y="573"/>
                      <a:pt x="99" y="565"/>
                    </a:cubicBezTo>
                    <a:close/>
                  </a:path>
                </a:pathLst>
              </a:custGeom>
              <a:solidFill>
                <a:srgbClr val="082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20">
                <a:extLst>
                  <a:ext uri="{FF2B5EF4-FFF2-40B4-BE49-F238E27FC236}">
                    <a16:creationId xmlns:a16="http://schemas.microsoft.com/office/drawing/2014/main" id="{A01C960A-7EC8-4CB8-A194-3CDC38B73F04}"/>
                  </a:ext>
                </a:extLst>
              </p:cNvPr>
              <p:cNvSpPr>
                <a:spLocks/>
              </p:cNvSpPr>
              <p:nvPr/>
            </p:nvSpPr>
            <p:spPr bwMode="auto">
              <a:xfrm>
                <a:off x="-1156" y="1892"/>
                <a:ext cx="238" cy="19"/>
              </a:xfrm>
              <a:custGeom>
                <a:avLst/>
                <a:gdLst>
                  <a:gd name="T0" fmla="*/ 126 w 126"/>
                  <a:gd name="T1" fmla="*/ 8 h 10"/>
                  <a:gd name="T2" fmla="*/ 126 w 126"/>
                  <a:gd name="T3" fmla="*/ 10 h 10"/>
                  <a:gd name="T4" fmla="*/ 0 w 126"/>
                  <a:gd name="T5" fmla="*/ 2 h 10"/>
                  <a:gd name="T6" fmla="*/ 0 w 126"/>
                  <a:gd name="T7" fmla="*/ 0 h 10"/>
                  <a:gd name="T8" fmla="*/ 126 w 126"/>
                  <a:gd name="T9" fmla="*/ 8 h 10"/>
                </a:gdLst>
                <a:ahLst/>
                <a:cxnLst>
                  <a:cxn ang="0">
                    <a:pos x="T0" y="T1"/>
                  </a:cxn>
                  <a:cxn ang="0">
                    <a:pos x="T2" y="T3"/>
                  </a:cxn>
                  <a:cxn ang="0">
                    <a:pos x="T4" y="T5"/>
                  </a:cxn>
                  <a:cxn ang="0">
                    <a:pos x="T6" y="T7"/>
                  </a:cxn>
                  <a:cxn ang="0">
                    <a:pos x="T8" y="T9"/>
                  </a:cxn>
                </a:cxnLst>
                <a:rect l="0" t="0" r="r" b="b"/>
                <a:pathLst>
                  <a:path w="126" h="10">
                    <a:moveTo>
                      <a:pt x="126" y="8"/>
                    </a:moveTo>
                    <a:cubicBezTo>
                      <a:pt x="126" y="9"/>
                      <a:pt x="126" y="9"/>
                      <a:pt x="126" y="10"/>
                    </a:cubicBezTo>
                    <a:cubicBezTo>
                      <a:pt x="84" y="7"/>
                      <a:pt x="42" y="4"/>
                      <a:pt x="0" y="2"/>
                    </a:cubicBezTo>
                    <a:cubicBezTo>
                      <a:pt x="0" y="1"/>
                      <a:pt x="0" y="0"/>
                      <a:pt x="0" y="0"/>
                    </a:cubicBezTo>
                    <a:cubicBezTo>
                      <a:pt x="42" y="2"/>
                      <a:pt x="84" y="5"/>
                      <a:pt x="126" y="8"/>
                    </a:cubicBezTo>
                    <a:close/>
                  </a:path>
                </a:pathLst>
              </a:custGeom>
              <a:solidFill>
                <a:srgbClr val="082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21">
                <a:extLst>
                  <a:ext uri="{FF2B5EF4-FFF2-40B4-BE49-F238E27FC236}">
                    <a16:creationId xmlns:a16="http://schemas.microsoft.com/office/drawing/2014/main" id="{65CDEC31-8979-4AAC-9AAD-0806296441FF}"/>
                  </a:ext>
                </a:extLst>
              </p:cNvPr>
              <p:cNvSpPr>
                <a:spLocks/>
              </p:cNvSpPr>
              <p:nvPr/>
            </p:nvSpPr>
            <p:spPr bwMode="auto">
              <a:xfrm>
                <a:off x="-1071" y="1681"/>
                <a:ext cx="249" cy="55"/>
              </a:xfrm>
              <a:custGeom>
                <a:avLst/>
                <a:gdLst>
                  <a:gd name="T0" fmla="*/ 132 w 132"/>
                  <a:gd name="T1" fmla="*/ 0 h 29"/>
                  <a:gd name="T2" fmla="*/ 0 w 132"/>
                  <a:gd name="T3" fmla="*/ 29 h 29"/>
                  <a:gd name="T4" fmla="*/ 68 w 132"/>
                  <a:gd name="T5" fmla="*/ 19 h 29"/>
                  <a:gd name="T6" fmla="*/ 132 w 132"/>
                  <a:gd name="T7" fmla="*/ 0 h 29"/>
                </a:gdLst>
                <a:ahLst/>
                <a:cxnLst>
                  <a:cxn ang="0">
                    <a:pos x="T0" y="T1"/>
                  </a:cxn>
                  <a:cxn ang="0">
                    <a:pos x="T2" y="T3"/>
                  </a:cxn>
                  <a:cxn ang="0">
                    <a:pos x="T4" y="T5"/>
                  </a:cxn>
                  <a:cxn ang="0">
                    <a:pos x="T6" y="T7"/>
                  </a:cxn>
                </a:cxnLst>
                <a:rect l="0" t="0" r="r" b="b"/>
                <a:pathLst>
                  <a:path w="132" h="29">
                    <a:moveTo>
                      <a:pt x="132" y="0"/>
                    </a:moveTo>
                    <a:cubicBezTo>
                      <a:pt x="115" y="17"/>
                      <a:pt x="33" y="27"/>
                      <a:pt x="0" y="29"/>
                    </a:cubicBezTo>
                    <a:cubicBezTo>
                      <a:pt x="23" y="26"/>
                      <a:pt x="46" y="23"/>
                      <a:pt x="68" y="19"/>
                    </a:cubicBezTo>
                    <a:cubicBezTo>
                      <a:pt x="90" y="14"/>
                      <a:pt x="112" y="6"/>
                      <a:pt x="132" y="0"/>
                    </a:cubicBezTo>
                    <a:close/>
                  </a:path>
                </a:pathLst>
              </a:custGeom>
              <a:solidFill>
                <a:srgbClr val="082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22">
                <a:extLst>
                  <a:ext uri="{FF2B5EF4-FFF2-40B4-BE49-F238E27FC236}">
                    <a16:creationId xmlns:a16="http://schemas.microsoft.com/office/drawing/2014/main" id="{341AD078-96AA-44AC-8BC1-E90EBFFC3099}"/>
                  </a:ext>
                </a:extLst>
              </p:cNvPr>
              <p:cNvSpPr>
                <a:spLocks/>
              </p:cNvSpPr>
              <p:nvPr/>
            </p:nvSpPr>
            <p:spPr bwMode="auto">
              <a:xfrm>
                <a:off x="-1261" y="1939"/>
                <a:ext cx="462" cy="36"/>
              </a:xfrm>
              <a:custGeom>
                <a:avLst/>
                <a:gdLst>
                  <a:gd name="T0" fmla="*/ 138 w 245"/>
                  <a:gd name="T1" fmla="*/ 10 h 19"/>
                  <a:gd name="T2" fmla="*/ 6 w 245"/>
                  <a:gd name="T3" fmla="*/ 5 h 19"/>
                  <a:gd name="T4" fmla="*/ 0 w 245"/>
                  <a:gd name="T5" fmla="*/ 4 h 19"/>
                  <a:gd name="T6" fmla="*/ 11 w 245"/>
                  <a:gd name="T7" fmla="*/ 2 h 19"/>
                  <a:gd name="T8" fmla="*/ 23 w 245"/>
                  <a:gd name="T9" fmla="*/ 1 h 19"/>
                  <a:gd name="T10" fmla="*/ 159 w 245"/>
                  <a:gd name="T11" fmla="*/ 10 h 19"/>
                  <a:gd name="T12" fmla="*/ 245 w 245"/>
                  <a:gd name="T13" fmla="*/ 15 h 19"/>
                  <a:gd name="T14" fmla="*/ 227 w 245"/>
                  <a:gd name="T15" fmla="*/ 17 h 19"/>
                  <a:gd name="T16" fmla="*/ 138 w 245"/>
                  <a:gd name="T17" fmla="*/ 1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5" h="19">
                    <a:moveTo>
                      <a:pt x="138" y="10"/>
                    </a:moveTo>
                    <a:cubicBezTo>
                      <a:pt x="94" y="3"/>
                      <a:pt x="50" y="3"/>
                      <a:pt x="6" y="5"/>
                    </a:cubicBezTo>
                    <a:cubicBezTo>
                      <a:pt x="4" y="5"/>
                      <a:pt x="2" y="5"/>
                      <a:pt x="0" y="4"/>
                    </a:cubicBezTo>
                    <a:cubicBezTo>
                      <a:pt x="4" y="4"/>
                      <a:pt x="7" y="3"/>
                      <a:pt x="11" y="2"/>
                    </a:cubicBezTo>
                    <a:cubicBezTo>
                      <a:pt x="15" y="2"/>
                      <a:pt x="19" y="1"/>
                      <a:pt x="23" y="1"/>
                    </a:cubicBezTo>
                    <a:cubicBezTo>
                      <a:pt x="69" y="0"/>
                      <a:pt x="114" y="2"/>
                      <a:pt x="159" y="10"/>
                    </a:cubicBezTo>
                    <a:cubicBezTo>
                      <a:pt x="187" y="15"/>
                      <a:pt x="216" y="16"/>
                      <a:pt x="245" y="15"/>
                    </a:cubicBezTo>
                    <a:cubicBezTo>
                      <a:pt x="239" y="15"/>
                      <a:pt x="233" y="17"/>
                      <a:pt x="227" y="17"/>
                    </a:cubicBezTo>
                    <a:cubicBezTo>
                      <a:pt x="197" y="19"/>
                      <a:pt x="168" y="14"/>
                      <a:pt x="138" y="10"/>
                    </a:cubicBezTo>
                    <a:close/>
                  </a:path>
                </a:pathLst>
              </a:custGeom>
              <a:solidFill>
                <a:srgbClr val="082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23">
                <a:extLst>
                  <a:ext uri="{FF2B5EF4-FFF2-40B4-BE49-F238E27FC236}">
                    <a16:creationId xmlns:a16="http://schemas.microsoft.com/office/drawing/2014/main" id="{18E9E643-8407-4DCA-BCF8-5F4C2EFA3744}"/>
                  </a:ext>
                </a:extLst>
              </p:cNvPr>
              <p:cNvSpPr>
                <a:spLocks/>
              </p:cNvSpPr>
              <p:nvPr/>
            </p:nvSpPr>
            <p:spPr bwMode="auto">
              <a:xfrm>
                <a:off x="-1267" y="2014"/>
                <a:ext cx="407" cy="36"/>
              </a:xfrm>
              <a:custGeom>
                <a:avLst/>
                <a:gdLst>
                  <a:gd name="T0" fmla="*/ 13 w 216"/>
                  <a:gd name="T1" fmla="*/ 1 h 19"/>
                  <a:gd name="T2" fmla="*/ 117 w 216"/>
                  <a:gd name="T3" fmla="*/ 8 h 19"/>
                  <a:gd name="T4" fmla="*/ 216 w 216"/>
                  <a:gd name="T5" fmla="*/ 17 h 19"/>
                  <a:gd name="T6" fmla="*/ 204 w 216"/>
                  <a:gd name="T7" fmla="*/ 18 h 19"/>
                  <a:gd name="T8" fmla="*/ 107 w 216"/>
                  <a:gd name="T9" fmla="*/ 9 h 19"/>
                  <a:gd name="T10" fmla="*/ 21 w 216"/>
                  <a:gd name="T11" fmla="*/ 3 h 19"/>
                  <a:gd name="T12" fmla="*/ 0 w 216"/>
                  <a:gd name="T13" fmla="*/ 3 h 19"/>
                  <a:gd name="T14" fmla="*/ 0 w 216"/>
                  <a:gd name="T15" fmla="*/ 2 h 19"/>
                  <a:gd name="T16" fmla="*/ 13 w 216"/>
                  <a:gd name="T17" fmla="*/ 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6" h="19">
                    <a:moveTo>
                      <a:pt x="13" y="1"/>
                    </a:moveTo>
                    <a:cubicBezTo>
                      <a:pt x="48" y="0"/>
                      <a:pt x="83" y="0"/>
                      <a:pt x="117" y="8"/>
                    </a:cubicBezTo>
                    <a:cubicBezTo>
                      <a:pt x="150" y="16"/>
                      <a:pt x="183" y="17"/>
                      <a:pt x="216" y="17"/>
                    </a:cubicBezTo>
                    <a:cubicBezTo>
                      <a:pt x="212" y="17"/>
                      <a:pt x="208" y="18"/>
                      <a:pt x="204" y="18"/>
                    </a:cubicBezTo>
                    <a:cubicBezTo>
                      <a:pt x="171" y="19"/>
                      <a:pt x="139" y="16"/>
                      <a:pt x="107" y="9"/>
                    </a:cubicBezTo>
                    <a:cubicBezTo>
                      <a:pt x="79" y="2"/>
                      <a:pt x="50" y="3"/>
                      <a:pt x="21" y="3"/>
                    </a:cubicBezTo>
                    <a:cubicBezTo>
                      <a:pt x="14" y="3"/>
                      <a:pt x="7" y="3"/>
                      <a:pt x="0" y="3"/>
                    </a:cubicBezTo>
                    <a:cubicBezTo>
                      <a:pt x="0" y="3"/>
                      <a:pt x="0" y="2"/>
                      <a:pt x="0" y="2"/>
                    </a:cubicBezTo>
                    <a:cubicBezTo>
                      <a:pt x="5" y="1"/>
                      <a:pt x="9" y="1"/>
                      <a:pt x="13" y="1"/>
                    </a:cubicBezTo>
                    <a:close/>
                  </a:path>
                </a:pathLst>
              </a:custGeom>
              <a:solidFill>
                <a:srgbClr val="082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24">
                <a:extLst>
                  <a:ext uri="{FF2B5EF4-FFF2-40B4-BE49-F238E27FC236}">
                    <a16:creationId xmlns:a16="http://schemas.microsoft.com/office/drawing/2014/main" id="{C34774A0-056B-4310-928B-0F60B43EB98A}"/>
                  </a:ext>
                </a:extLst>
              </p:cNvPr>
              <p:cNvSpPr>
                <a:spLocks noEditPoints="1"/>
              </p:cNvSpPr>
              <p:nvPr/>
            </p:nvSpPr>
            <p:spPr bwMode="auto">
              <a:xfrm>
                <a:off x="-1599" y="1326"/>
                <a:ext cx="1294" cy="1969"/>
              </a:xfrm>
              <a:custGeom>
                <a:avLst/>
                <a:gdLst>
                  <a:gd name="T0" fmla="*/ 666 w 686"/>
                  <a:gd name="T1" fmla="*/ 958 h 1047"/>
                  <a:gd name="T2" fmla="*/ 631 w 686"/>
                  <a:gd name="T3" fmla="*/ 784 h 1047"/>
                  <a:gd name="T4" fmla="*/ 621 w 686"/>
                  <a:gd name="T5" fmla="*/ 630 h 1047"/>
                  <a:gd name="T6" fmla="*/ 481 w 686"/>
                  <a:gd name="T7" fmla="*/ 188 h 1047"/>
                  <a:gd name="T8" fmla="*/ 372 w 686"/>
                  <a:gd name="T9" fmla="*/ 89 h 1047"/>
                  <a:gd name="T10" fmla="*/ 404 w 686"/>
                  <a:gd name="T11" fmla="*/ 54 h 1047"/>
                  <a:gd name="T12" fmla="*/ 637 w 686"/>
                  <a:gd name="T13" fmla="*/ 95 h 1047"/>
                  <a:gd name="T14" fmla="*/ 655 w 686"/>
                  <a:gd name="T15" fmla="*/ 87 h 1047"/>
                  <a:gd name="T16" fmla="*/ 400 w 686"/>
                  <a:gd name="T17" fmla="*/ 36 h 1047"/>
                  <a:gd name="T18" fmla="*/ 209 w 686"/>
                  <a:gd name="T19" fmla="*/ 6 h 1047"/>
                  <a:gd name="T20" fmla="*/ 0 w 686"/>
                  <a:gd name="T21" fmla="*/ 1 h 1047"/>
                  <a:gd name="T22" fmla="*/ 173 w 686"/>
                  <a:gd name="T23" fmla="*/ 14 h 1047"/>
                  <a:gd name="T24" fmla="*/ 338 w 686"/>
                  <a:gd name="T25" fmla="*/ 46 h 1047"/>
                  <a:gd name="T26" fmla="*/ 335 w 686"/>
                  <a:gd name="T27" fmla="*/ 104 h 1047"/>
                  <a:gd name="T28" fmla="*/ 188 w 686"/>
                  <a:gd name="T29" fmla="*/ 274 h 1047"/>
                  <a:gd name="T30" fmla="*/ 162 w 686"/>
                  <a:gd name="T31" fmla="*/ 368 h 1047"/>
                  <a:gd name="T32" fmla="*/ 250 w 686"/>
                  <a:gd name="T33" fmla="*/ 628 h 1047"/>
                  <a:gd name="T34" fmla="*/ 313 w 686"/>
                  <a:gd name="T35" fmla="*/ 795 h 1047"/>
                  <a:gd name="T36" fmla="*/ 319 w 686"/>
                  <a:gd name="T37" fmla="*/ 878 h 1047"/>
                  <a:gd name="T38" fmla="*/ 402 w 686"/>
                  <a:gd name="T39" fmla="*/ 973 h 1047"/>
                  <a:gd name="T40" fmla="*/ 669 w 686"/>
                  <a:gd name="T41" fmla="*/ 1047 h 1047"/>
                  <a:gd name="T42" fmla="*/ 685 w 686"/>
                  <a:gd name="T43" fmla="*/ 1025 h 1047"/>
                  <a:gd name="T44" fmla="*/ 251 w 686"/>
                  <a:gd name="T45" fmla="*/ 176 h 1047"/>
                  <a:gd name="T46" fmla="*/ 350 w 686"/>
                  <a:gd name="T47" fmla="*/ 102 h 1047"/>
                  <a:gd name="T48" fmla="*/ 343 w 686"/>
                  <a:gd name="T49" fmla="*/ 38 h 1047"/>
                  <a:gd name="T50" fmla="*/ 379 w 686"/>
                  <a:gd name="T51" fmla="*/ 59 h 1047"/>
                  <a:gd name="T52" fmla="*/ 365 w 686"/>
                  <a:gd name="T53" fmla="*/ 86 h 1047"/>
                  <a:gd name="T54" fmla="*/ 484 w 686"/>
                  <a:gd name="T55" fmla="*/ 212 h 1047"/>
                  <a:gd name="T56" fmla="*/ 433 w 686"/>
                  <a:gd name="T57" fmla="*/ 354 h 1047"/>
                  <a:gd name="T58" fmla="*/ 337 w 686"/>
                  <a:gd name="T59" fmla="*/ 359 h 1047"/>
                  <a:gd name="T60" fmla="*/ 169 w 686"/>
                  <a:gd name="T61" fmla="*/ 351 h 1047"/>
                  <a:gd name="T62" fmla="*/ 314 w 686"/>
                  <a:gd name="T63" fmla="*/ 765 h 1047"/>
                  <a:gd name="T64" fmla="*/ 230 w 686"/>
                  <a:gd name="T65" fmla="*/ 561 h 1047"/>
                  <a:gd name="T66" fmla="*/ 172 w 686"/>
                  <a:gd name="T67" fmla="*/ 373 h 1047"/>
                  <a:gd name="T68" fmla="*/ 194 w 686"/>
                  <a:gd name="T69" fmla="*/ 355 h 1047"/>
                  <a:gd name="T70" fmla="*/ 363 w 686"/>
                  <a:gd name="T71" fmla="*/ 368 h 1047"/>
                  <a:gd name="T72" fmla="*/ 314 w 686"/>
                  <a:gd name="T73" fmla="*/ 765 h 1047"/>
                  <a:gd name="T74" fmla="*/ 484 w 686"/>
                  <a:gd name="T75" fmla="*/ 1000 h 1047"/>
                  <a:gd name="T76" fmla="*/ 358 w 686"/>
                  <a:gd name="T77" fmla="*/ 925 h 1047"/>
                  <a:gd name="T78" fmla="*/ 319 w 686"/>
                  <a:gd name="T79" fmla="*/ 841 h 1047"/>
                  <a:gd name="T80" fmla="*/ 329 w 686"/>
                  <a:gd name="T81" fmla="*/ 658 h 1047"/>
                  <a:gd name="T82" fmla="*/ 413 w 686"/>
                  <a:gd name="T83" fmla="*/ 403 h 1047"/>
                  <a:gd name="T84" fmla="*/ 490 w 686"/>
                  <a:gd name="T85" fmla="*/ 230 h 1047"/>
                  <a:gd name="T86" fmla="*/ 608 w 686"/>
                  <a:gd name="T87" fmla="*/ 597 h 1047"/>
                  <a:gd name="T88" fmla="*/ 621 w 686"/>
                  <a:gd name="T89" fmla="*/ 821 h 1047"/>
                  <a:gd name="T90" fmla="*/ 659 w 686"/>
                  <a:gd name="T91" fmla="*/ 967 h 1047"/>
                  <a:gd name="T92" fmla="*/ 640 w 686"/>
                  <a:gd name="T93" fmla="*/ 1022 h 1047"/>
                  <a:gd name="T94" fmla="*/ 629 w 686"/>
                  <a:gd name="T95" fmla="*/ 1037 h 1047"/>
                  <a:gd name="T96" fmla="*/ 666 w 686"/>
                  <a:gd name="T97" fmla="*/ 988 h 1047"/>
                  <a:gd name="T98" fmla="*/ 629 w 686"/>
                  <a:gd name="T99" fmla="*/ 1037 h 1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86" h="1047">
                    <a:moveTo>
                      <a:pt x="685" y="1025"/>
                    </a:moveTo>
                    <a:cubicBezTo>
                      <a:pt x="679" y="1003"/>
                      <a:pt x="673" y="980"/>
                      <a:pt x="666" y="958"/>
                    </a:cubicBezTo>
                    <a:cubicBezTo>
                      <a:pt x="660" y="940"/>
                      <a:pt x="653" y="922"/>
                      <a:pt x="646" y="903"/>
                    </a:cubicBezTo>
                    <a:cubicBezTo>
                      <a:pt x="632" y="865"/>
                      <a:pt x="628" y="825"/>
                      <a:pt x="631" y="784"/>
                    </a:cubicBezTo>
                    <a:cubicBezTo>
                      <a:pt x="632" y="775"/>
                      <a:pt x="632" y="766"/>
                      <a:pt x="631" y="758"/>
                    </a:cubicBezTo>
                    <a:cubicBezTo>
                      <a:pt x="628" y="715"/>
                      <a:pt x="625" y="673"/>
                      <a:pt x="621" y="630"/>
                    </a:cubicBezTo>
                    <a:cubicBezTo>
                      <a:pt x="615" y="575"/>
                      <a:pt x="605" y="520"/>
                      <a:pt x="591" y="466"/>
                    </a:cubicBezTo>
                    <a:cubicBezTo>
                      <a:pt x="566" y="369"/>
                      <a:pt x="528" y="277"/>
                      <a:pt x="481" y="188"/>
                    </a:cubicBezTo>
                    <a:cubicBezTo>
                      <a:pt x="459" y="146"/>
                      <a:pt x="426" y="117"/>
                      <a:pt x="381" y="101"/>
                    </a:cubicBezTo>
                    <a:cubicBezTo>
                      <a:pt x="375" y="99"/>
                      <a:pt x="372" y="96"/>
                      <a:pt x="372" y="89"/>
                    </a:cubicBezTo>
                    <a:cubicBezTo>
                      <a:pt x="372" y="76"/>
                      <a:pt x="376" y="66"/>
                      <a:pt x="389" y="62"/>
                    </a:cubicBezTo>
                    <a:cubicBezTo>
                      <a:pt x="394" y="60"/>
                      <a:pt x="400" y="57"/>
                      <a:pt x="404" y="54"/>
                    </a:cubicBezTo>
                    <a:cubicBezTo>
                      <a:pt x="414" y="49"/>
                      <a:pt x="423" y="50"/>
                      <a:pt x="433" y="52"/>
                    </a:cubicBezTo>
                    <a:cubicBezTo>
                      <a:pt x="501" y="67"/>
                      <a:pt x="569" y="81"/>
                      <a:pt x="637" y="95"/>
                    </a:cubicBezTo>
                    <a:cubicBezTo>
                      <a:pt x="642" y="97"/>
                      <a:pt x="648" y="98"/>
                      <a:pt x="654" y="99"/>
                    </a:cubicBezTo>
                    <a:cubicBezTo>
                      <a:pt x="654" y="95"/>
                      <a:pt x="654" y="91"/>
                      <a:pt x="655" y="87"/>
                    </a:cubicBezTo>
                    <a:cubicBezTo>
                      <a:pt x="609" y="77"/>
                      <a:pt x="561" y="69"/>
                      <a:pt x="515" y="59"/>
                    </a:cubicBezTo>
                    <a:cubicBezTo>
                      <a:pt x="477" y="50"/>
                      <a:pt x="439" y="41"/>
                      <a:pt x="400" y="36"/>
                    </a:cubicBezTo>
                    <a:cubicBezTo>
                      <a:pt x="358" y="30"/>
                      <a:pt x="317" y="22"/>
                      <a:pt x="276" y="16"/>
                    </a:cubicBezTo>
                    <a:cubicBezTo>
                      <a:pt x="253" y="12"/>
                      <a:pt x="231" y="7"/>
                      <a:pt x="209" y="6"/>
                    </a:cubicBezTo>
                    <a:cubicBezTo>
                      <a:pt x="151" y="3"/>
                      <a:pt x="93" y="2"/>
                      <a:pt x="35" y="0"/>
                    </a:cubicBezTo>
                    <a:cubicBezTo>
                      <a:pt x="23" y="0"/>
                      <a:pt x="11" y="0"/>
                      <a:pt x="0" y="1"/>
                    </a:cubicBezTo>
                    <a:cubicBezTo>
                      <a:pt x="0" y="4"/>
                      <a:pt x="1" y="7"/>
                      <a:pt x="1" y="10"/>
                    </a:cubicBezTo>
                    <a:cubicBezTo>
                      <a:pt x="58" y="9"/>
                      <a:pt x="116" y="11"/>
                      <a:pt x="173" y="14"/>
                    </a:cubicBezTo>
                    <a:cubicBezTo>
                      <a:pt x="222" y="16"/>
                      <a:pt x="271" y="22"/>
                      <a:pt x="319" y="33"/>
                    </a:cubicBezTo>
                    <a:cubicBezTo>
                      <a:pt x="328" y="35"/>
                      <a:pt x="333" y="39"/>
                      <a:pt x="338" y="46"/>
                    </a:cubicBezTo>
                    <a:cubicBezTo>
                      <a:pt x="350" y="61"/>
                      <a:pt x="350" y="77"/>
                      <a:pt x="343" y="94"/>
                    </a:cubicBezTo>
                    <a:cubicBezTo>
                      <a:pt x="342" y="98"/>
                      <a:pt x="339" y="102"/>
                      <a:pt x="335" y="104"/>
                    </a:cubicBezTo>
                    <a:cubicBezTo>
                      <a:pt x="307" y="119"/>
                      <a:pt x="280" y="135"/>
                      <a:pt x="256" y="156"/>
                    </a:cubicBezTo>
                    <a:cubicBezTo>
                      <a:pt x="220" y="188"/>
                      <a:pt x="200" y="228"/>
                      <a:pt x="188" y="274"/>
                    </a:cubicBezTo>
                    <a:cubicBezTo>
                      <a:pt x="182" y="297"/>
                      <a:pt x="175" y="320"/>
                      <a:pt x="165" y="342"/>
                    </a:cubicBezTo>
                    <a:cubicBezTo>
                      <a:pt x="161" y="351"/>
                      <a:pt x="159" y="359"/>
                      <a:pt x="162" y="368"/>
                    </a:cubicBezTo>
                    <a:cubicBezTo>
                      <a:pt x="171" y="400"/>
                      <a:pt x="182" y="431"/>
                      <a:pt x="190" y="463"/>
                    </a:cubicBezTo>
                    <a:cubicBezTo>
                      <a:pt x="204" y="521"/>
                      <a:pt x="225" y="575"/>
                      <a:pt x="250" y="628"/>
                    </a:cubicBezTo>
                    <a:cubicBezTo>
                      <a:pt x="274" y="679"/>
                      <a:pt x="294" y="732"/>
                      <a:pt x="311" y="786"/>
                    </a:cubicBezTo>
                    <a:cubicBezTo>
                      <a:pt x="312" y="789"/>
                      <a:pt x="313" y="792"/>
                      <a:pt x="313" y="795"/>
                    </a:cubicBezTo>
                    <a:cubicBezTo>
                      <a:pt x="312" y="813"/>
                      <a:pt x="311" y="830"/>
                      <a:pt x="311" y="847"/>
                    </a:cubicBezTo>
                    <a:cubicBezTo>
                      <a:pt x="312" y="857"/>
                      <a:pt x="315" y="868"/>
                      <a:pt x="319" y="878"/>
                    </a:cubicBezTo>
                    <a:cubicBezTo>
                      <a:pt x="325" y="892"/>
                      <a:pt x="334" y="904"/>
                      <a:pt x="342" y="917"/>
                    </a:cubicBezTo>
                    <a:cubicBezTo>
                      <a:pt x="356" y="942"/>
                      <a:pt x="377" y="960"/>
                      <a:pt x="402" y="973"/>
                    </a:cubicBezTo>
                    <a:cubicBezTo>
                      <a:pt x="434" y="991"/>
                      <a:pt x="468" y="1002"/>
                      <a:pt x="502" y="1015"/>
                    </a:cubicBezTo>
                    <a:cubicBezTo>
                      <a:pt x="556" y="1037"/>
                      <a:pt x="611" y="1046"/>
                      <a:pt x="669" y="1047"/>
                    </a:cubicBezTo>
                    <a:cubicBezTo>
                      <a:pt x="682" y="1047"/>
                      <a:pt x="686" y="1046"/>
                      <a:pt x="686" y="1029"/>
                    </a:cubicBezTo>
                    <a:cubicBezTo>
                      <a:pt x="686" y="1027"/>
                      <a:pt x="686" y="1026"/>
                      <a:pt x="685" y="1025"/>
                    </a:cubicBezTo>
                    <a:close/>
                    <a:moveTo>
                      <a:pt x="207" y="242"/>
                    </a:moveTo>
                    <a:cubicBezTo>
                      <a:pt x="216" y="216"/>
                      <a:pt x="234" y="197"/>
                      <a:pt x="251" y="176"/>
                    </a:cubicBezTo>
                    <a:cubicBezTo>
                      <a:pt x="277" y="146"/>
                      <a:pt x="309" y="126"/>
                      <a:pt x="343" y="109"/>
                    </a:cubicBezTo>
                    <a:cubicBezTo>
                      <a:pt x="346" y="108"/>
                      <a:pt x="349" y="105"/>
                      <a:pt x="350" y="102"/>
                    </a:cubicBezTo>
                    <a:cubicBezTo>
                      <a:pt x="359" y="82"/>
                      <a:pt x="361" y="62"/>
                      <a:pt x="346" y="43"/>
                    </a:cubicBezTo>
                    <a:cubicBezTo>
                      <a:pt x="345" y="42"/>
                      <a:pt x="344" y="40"/>
                      <a:pt x="343" y="38"/>
                    </a:cubicBezTo>
                    <a:cubicBezTo>
                      <a:pt x="363" y="41"/>
                      <a:pt x="381" y="44"/>
                      <a:pt x="401" y="47"/>
                    </a:cubicBezTo>
                    <a:cubicBezTo>
                      <a:pt x="393" y="52"/>
                      <a:pt x="386" y="55"/>
                      <a:pt x="379" y="59"/>
                    </a:cubicBezTo>
                    <a:cubicBezTo>
                      <a:pt x="370" y="62"/>
                      <a:pt x="366" y="69"/>
                      <a:pt x="365" y="77"/>
                    </a:cubicBezTo>
                    <a:cubicBezTo>
                      <a:pt x="365" y="80"/>
                      <a:pt x="365" y="83"/>
                      <a:pt x="365" y="86"/>
                    </a:cubicBezTo>
                    <a:cubicBezTo>
                      <a:pt x="364" y="103"/>
                      <a:pt x="364" y="103"/>
                      <a:pt x="380" y="109"/>
                    </a:cubicBezTo>
                    <a:cubicBezTo>
                      <a:pt x="428" y="130"/>
                      <a:pt x="465" y="163"/>
                      <a:pt x="484" y="212"/>
                    </a:cubicBezTo>
                    <a:cubicBezTo>
                      <a:pt x="486" y="218"/>
                      <a:pt x="485" y="226"/>
                      <a:pt x="484" y="231"/>
                    </a:cubicBezTo>
                    <a:cubicBezTo>
                      <a:pt x="470" y="273"/>
                      <a:pt x="455" y="315"/>
                      <a:pt x="433" y="354"/>
                    </a:cubicBezTo>
                    <a:cubicBezTo>
                      <a:pt x="429" y="363"/>
                      <a:pt x="421" y="366"/>
                      <a:pt x="412" y="366"/>
                    </a:cubicBezTo>
                    <a:cubicBezTo>
                      <a:pt x="387" y="368"/>
                      <a:pt x="362" y="364"/>
                      <a:pt x="337" y="359"/>
                    </a:cubicBezTo>
                    <a:cubicBezTo>
                      <a:pt x="299" y="351"/>
                      <a:pt x="260" y="349"/>
                      <a:pt x="220" y="351"/>
                    </a:cubicBezTo>
                    <a:cubicBezTo>
                      <a:pt x="203" y="352"/>
                      <a:pt x="186" y="351"/>
                      <a:pt x="169" y="351"/>
                    </a:cubicBezTo>
                    <a:cubicBezTo>
                      <a:pt x="188" y="318"/>
                      <a:pt x="194" y="279"/>
                      <a:pt x="207" y="242"/>
                    </a:cubicBezTo>
                    <a:close/>
                    <a:moveTo>
                      <a:pt x="314" y="765"/>
                    </a:moveTo>
                    <a:cubicBezTo>
                      <a:pt x="304" y="738"/>
                      <a:pt x="294" y="711"/>
                      <a:pt x="283" y="685"/>
                    </a:cubicBezTo>
                    <a:cubicBezTo>
                      <a:pt x="266" y="643"/>
                      <a:pt x="247" y="603"/>
                      <a:pt x="230" y="561"/>
                    </a:cubicBezTo>
                    <a:cubicBezTo>
                      <a:pt x="220" y="537"/>
                      <a:pt x="213" y="511"/>
                      <a:pt x="206" y="485"/>
                    </a:cubicBezTo>
                    <a:cubicBezTo>
                      <a:pt x="194" y="448"/>
                      <a:pt x="183" y="410"/>
                      <a:pt x="172" y="373"/>
                    </a:cubicBezTo>
                    <a:cubicBezTo>
                      <a:pt x="170" y="368"/>
                      <a:pt x="170" y="364"/>
                      <a:pt x="168" y="357"/>
                    </a:cubicBezTo>
                    <a:cubicBezTo>
                      <a:pt x="178" y="357"/>
                      <a:pt x="186" y="355"/>
                      <a:pt x="194" y="355"/>
                    </a:cubicBezTo>
                    <a:cubicBezTo>
                      <a:pt x="225" y="355"/>
                      <a:pt x="257" y="354"/>
                      <a:pt x="288" y="357"/>
                    </a:cubicBezTo>
                    <a:cubicBezTo>
                      <a:pt x="314" y="358"/>
                      <a:pt x="338" y="365"/>
                      <a:pt x="363" y="368"/>
                    </a:cubicBezTo>
                    <a:cubicBezTo>
                      <a:pt x="383" y="370"/>
                      <a:pt x="403" y="371"/>
                      <a:pt x="424" y="372"/>
                    </a:cubicBezTo>
                    <a:cubicBezTo>
                      <a:pt x="355" y="493"/>
                      <a:pt x="318" y="625"/>
                      <a:pt x="314" y="765"/>
                    </a:cubicBezTo>
                    <a:close/>
                    <a:moveTo>
                      <a:pt x="589" y="1032"/>
                    </a:moveTo>
                    <a:cubicBezTo>
                      <a:pt x="552" y="1026"/>
                      <a:pt x="518" y="1011"/>
                      <a:pt x="484" y="1000"/>
                    </a:cubicBezTo>
                    <a:cubicBezTo>
                      <a:pt x="450" y="989"/>
                      <a:pt x="419" y="973"/>
                      <a:pt x="389" y="954"/>
                    </a:cubicBezTo>
                    <a:cubicBezTo>
                      <a:pt x="376" y="947"/>
                      <a:pt x="366" y="937"/>
                      <a:pt x="358" y="925"/>
                    </a:cubicBezTo>
                    <a:cubicBezTo>
                      <a:pt x="348" y="910"/>
                      <a:pt x="338" y="895"/>
                      <a:pt x="329" y="880"/>
                    </a:cubicBezTo>
                    <a:cubicBezTo>
                      <a:pt x="322" y="868"/>
                      <a:pt x="319" y="855"/>
                      <a:pt x="319" y="841"/>
                    </a:cubicBezTo>
                    <a:cubicBezTo>
                      <a:pt x="320" y="827"/>
                      <a:pt x="321" y="813"/>
                      <a:pt x="320" y="799"/>
                    </a:cubicBezTo>
                    <a:cubicBezTo>
                      <a:pt x="317" y="752"/>
                      <a:pt x="322" y="705"/>
                      <a:pt x="329" y="658"/>
                    </a:cubicBezTo>
                    <a:cubicBezTo>
                      <a:pt x="339" y="591"/>
                      <a:pt x="353" y="523"/>
                      <a:pt x="386" y="462"/>
                    </a:cubicBezTo>
                    <a:cubicBezTo>
                      <a:pt x="396" y="443"/>
                      <a:pt x="403" y="422"/>
                      <a:pt x="413" y="403"/>
                    </a:cubicBezTo>
                    <a:cubicBezTo>
                      <a:pt x="425" y="378"/>
                      <a:pt x="439" y="355"/>
                      <a:pt x="450" y="330"/>
                    </a:cubicBezTo>
                    <a:cubicBezTo>
                      <a:pt x="465" y="297"/>
                      <a:pt x="477" y="262"/>
                      <a:pt x="490" y="230"/>
                    </a:cubicBezTo>
                    <a:cubicBezTo>
                      <a:pt x="527" y="295"/>
                      <a:pt x="553" y="368"/>
                      <a:pt x="576" y="442"/>
                    </a:cubicBezTo>
                    <a:cubicBezTo>
                      <a:pt x="591" y="493"/>
                      <a:pt x="598" y="545"/>
                      <a:pt x="608" y="597"/>
                    </a:cubicBezTo>
                    <a:cubicBezTo>
                      <a:pt x="619" y="654"/>
                      <a:pt x="620" y="711"/>
                      <a:pt x="621" y="769"/>
                    </a:cubicBezTo>
                    <a:cubicBezTo>
                      <a:pt x="621" y="786"/>
                      <a:pt x="620" y="804"/>
                      <a:pt x="621" y="821"/>
                    </a:cubicBezTo>
                    <a:cubicBezTo>
                      <a:pt x="621" y="852"/>
                      <a:pt x="631" y="882"/>
                      <a:pt x="640" y="911"/>
                    </a:cubicBezTo>
                    <a:cubicBezTo>
                      <a:pt x="645" y="930"/>
                      <a:pt x="653" y="949"/>
                      <a:pt x="659" y="967"/>
                    </a:cubicBezTo>
                    <a:cubicBezTo>
                      <a:pt x="666" y="986"/>
                      <a:pt x="660" y="1006"/>
                      <a:pt x="645" y="1018"/>
                    </a:cubicBezTo>
                    <a:cubicBezTo>
                      <a:pt x="644" y="1020"/>
                      <a:pt x="642" y="1021"/>
                      <a:pt x="640" y="1022"/>
                    </a:cubicBezTo>
                    <a:cubicBezTo>
                      <a:pt x="625" y="1036"/>
                      <a:pt x="607" y="1035"/>
                      <a:pt x="589" y="1032"/>
                    </a:cubicBezTo>
                    <a:close/>
                    <a:moveTo>
                      <a:pt x="629" y="1037"/>
                    </a:moveTo>
                    <a:cubicBezTo>
                      <a:pt x="629" y="1036"/>
                      <a:pt x="629" y="1036"/>
                      <a:pt x="629" y="1035"/>
                    </a:cubicBezTo>
                    <a:cubicBezTo>
                      <a:pt x="647" y="1024"/>
                      <a:pt x="665" y="1013"/>
                      <a:pt x="666" y="988"/>
                    </a:cubicBezTo>
                    <a:cubicBezTo>
                      <a:pt x="674" y="1004"/>
                      <a:pt x="678" y="1020"/>
                      <a:pt x="679" y="1037"/>
                    </a:cubicBezTo>
                    <a:lnTo>
                      <a:pt x="629" y="1037"/>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2" name="Arc 51">
              <a:extLst>
                <a:ext uri="{FF2B5EF4-FFF2-40B4-BE49-F238E27FC236}">
                  <a16:creationId xmlns:a16="http://schemas.microsoft.com/office/drawing/2014/main" id="{B517C93F-B9BC-4A45-B799-9201E76EF904}"/>
                </a:ext>
              </a:extLst>
            </p:cNvPr>
            <p:cNvSpPr/>
            <p:nvPr/>
          </p:nvSpPr>
          <p:spPr>
            <a:xfrm>
              <a:off x="2805623" y="3314953"/>
              <a:ext cx="2256154" cy="2256154"/>
            </a:xfrm>
            <a:prstGeom prst="arc">
              <a:avLst>
                <a:gd name="adj1" fmla="val 549435"/>
                <a:gd name="adj2" fmla="val 6724500"/>
              </a:avLst>
            </a:prstGeom>
            <a:noFill/>
            <a:ln w="6350">
              <a:solidFill>
                <a:srgbClr val="ACAFB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grpSp>
        <p:nvGrpSpPr>
          <p:cNvPr id="55" name="Group 54">
            <a:extLst>
              <a:ext uri="{FF2B5EF4-FFF2-40B4-BE49-F238E27FC236}">
                <a16:creationId xmlns:a16="http://schemas.microsoft.com/office/drawing/2014/main" id="{C1329879-1C18-4E00-B7A6-E92AE3A4FB22}"/>
              </a:ext>
            </a:extLst>
          </p:cNvPr>
          <p:cNvGrpSpPr/>
          <p:nvPr/>
        </p:nvGrpSpPr>
        <p:grpSpPr>
          <a:xfrm>
            <a:off x="5534905" y="2826555"/>
            <a:ext cx="1847600" cy="1847600"/>
            <a:chOff x="4856924" y="2390015"/>
            <a:chExt cx="2256154" cy="2256154"/>
          </a:xfrm>
        </p:grpSpPr>
        <p:sp>
          <p:nvSpPr>
            <p:cNvPr id="50" name="Oval 49">
              <a:extLst>
                <a:ext uri="{FF2B5EF4-FFF2-40B4-BE49-F238E27FC236}">
                  <a16:creationId xmlns:a16="http://schemas.microsoft.com/office/drawing/2014/main" id="{A3CA36E0-A7AE-4883-83EB-F709D9D24922}"/>
                </a:ext>
              </a:extLst>
            </p:cNvPr>
            <p:cNvSpPr/>
            <p:nvPr/>
          </p:nvSpPr>
          <p:spPr>
            <a:xfrm>
              <a:off x="4986091" y="2519182"/>
              <a:ext cx="1997821" cy="1997821"/>
            </a:xfrm>
            <a:prstGeom prst="ellips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nvGrpSpPr>
            <p:cNvPr id="32" name="Group 27">
              <a:extLst>
                <a:ext uri="{FF2B5EF4-FFF2-40B4-BE49-F238E27FC236}">
                  <a16:creationId xmlns:a16="http://schemas.microsoft.com/office/drawing/2014/main" id="{C32946CC-EA14-42F7-90C3-A6B436A668DF}"/>
                </a:ext>
              </a:extLst>
            </p:cNvPr>
            <p:cNvGrpSpPr>
              <a:grpSpLocks noChangeAspect="1"/>
            </p:cNvGrpSpPr>
            <p:nvPr/>
          </p:nvGrpSpPr>
          <p:grpSpPr bwMode="auto">
            <a:xfrm>
              <a:off x="5106094" y="3287120"/>
              <a:ext cx="1757815" cy="461945"/>
              <a:chOff x="5925" y="2067"/>
              <a:chExt cx="2755" cy="724"/>
            </a:xfrm>
          </p:grpSpPr>
          <p:sp>
            <p:nvSpPr>
              <p:cNvPr id="34" name="Freeform 28">
                <a:extLst>
                  <a:ext uri="{FF2B5EF4-FFF2-40B4-BE49-F238E27FC236}">
                    <a16:creationId xmlns:a16="http://schemas.microsoft.com/office/drawing/2014/main" id="{42B1F78E-391B-4097-AECC-649F5C350DAD}"/>
                  </a:ext>
                </a:extLst>
              </p:cNvPr>
              <p:cNvSpPr>
                <a:spLocks/>
              </p:cNvSpPr>
              <p:nvPr/>
            </p:nvSpPr>
            <p:spPr bwMode="auto">
              <a:xfrm>
                <a:off x="5925" y="2075"/>
                <a:ext cx="2719" cy="716"/>
              </a:xfrm>
              <a:custGeom>
                <a:avLst/>
                <a:gdLst>
                  <a:gd name="T0" fmla="*/ 13 w 1445"/>
                  <a:gd name="T1" fmla="*/ 212 h 379"/>
                  <a:gd name="T2" fmla="*/ 126 w 1445"/>
                  <a:gd name="T3" fmla="*/ 86 h 379"/>
                  <a:gd name="T4" fmla="*/ 243 w 1445"/>
                  <a:gd name="T5" fmla="*/ 58 h 379"/>
                  <a:gd name="T6" fmla="*/ 446 w 1445"/>
                  <a:gd name="T7" fmla="*/ 92 h 379"/>
                  <a:gd name="T8" fmla="*/ 531 w 1445"/>
                  <a:gd name="T9" fmla="*/ 89 h 379"/>
                  <a:gd name="T10" fmla="*/ 640 w 1445"/>
                  <a:gd name="T11" fmla="*/ 72 h 379"/>
                  <a:gd name="T12" fmla="*/ 746 w 1445"/>
                  <a:gd name="T13" fmla="*/ 64 h 379"/>
                  <a:gd name="T14" fmla="*/ 915 w 1445"/>
                  <a:gd name="T15" fmla="*/ 50 h 379"/>
                  <a:gd name="T16" fmla="*/ 1152 w 1445"/>
                  <a:gd name="T17" fmla="*/ 2 h 379"/>
                  <a:gd name="T18" fmla="*/ 1231 w 1445"/>
                  <a:gd name="T19" fmla="*/ 6 h 379"/>
                  <a:gd name="T20" fmla="*/ 1389 w 1445"/>
                  <a:gd name="T21" fmla="*/ 107 h 379"/>
                  <a:gd name="T22" fmla="*/ 1442 w 1445"/>
                  <a:gd name="T23" fmla="*/ 216 h 379"/>
                  <a:gd name="T24" fmla="*/ 1441 w 1445"/>
                  <a:gd name="T25" fmla="*/ 288 h 379"/>
                  <a:gd name="T26" fmla="*/ 1421 w 1445"/>
                  <a:gd name="T27" fmla="*/ 308 h 379"/>
                  <a:gd name="T28" fmla="*/ 1379 w 1445"/>
                  <a:gd name="T29" fmla="*/ 326 h 379"/>
                  <a:gd name="T30" fmla="*/ 1374 w 1445"/>
                  <a:gd name="T31" fmla="*/ 341 h 379"/>
                  <a:gd name="T32" fmla="*/ 1345 w 1445"/>
                  <a:gd name="T33" fmla="*/ 336 h 379"/>
                  <a:gd name="T34" fmla="*/ 1317 w 1445"/>
                  <a:gd name="T35" fmla="*/ 333 h 379"/>
                  <a:gd name="T36" fmla="*/ 1316 w 1445"/>
                  <a:gd name="T37" fmla="*/ 346 h 379"/>
                  <a:gd name="T38" fmla="*/ 1280 w 1445"/>
                  <a:gd name="T39" fmla="*/ 332 h 379"/>
                  <a:gd name="T40" fmla="*/ 1271 w 1445"/>
                  <a:gd name="T41" fmla="*/ 342 h 379"/>
                  <a:gd name="T42" fmla="*/ 1243 w 1445"/>
                  <a:gd name="T43" fmla="*/ 321 h 379"/>
                  <a:gd name="T44" fmla="*/ 1243 w 1445"/>
                  <a:gd name="T45" fmla="*/ 328 h 379"/>
                  <a:gd name="T46" fmla="*/ 1211 w 1445"/>
                  <a:gd name="T47" fmla="*/ 317 h 379"/>
                  <a:gd name="T48" fmla="*/ 1203 w 1445"/>
                  <a:gd name="T49" fmla="*/ 322 h 379"/>
                  <a:gd name="T50" fmla="*/ 1198 w 1445"/>
                  <a:gd name="T51" fmla="*/ 332 h 379"/>
                  <a:gd name="T52" fmla="*/ 1174 w 1445"/>
                  <a:gd name="T53" fmla="*/ 303 h 379"/>
                  <a:gd name="T54" fmla="*/ 1167 w 1445"/>
                  <a:gd name="T55" fmla="*/ 315 h 379"/>
                  <a:gd name="T56" fmla="*/ 1140 w 1445"/>
                  <a:gd name="T57" fmla="*/ 300 h 379"/>
                  <a:gd name="T58" fmla="*/ 1135 w 1445"/>
                  <a:gd name="T59" fmla="*/ 310 h 379"/>
                  <a:gd name="T60" fmla="*/ 1115 w 1445"/>
                  <a:gd name="T61" fmla="*/ 300 h 379"/>
                  <a:gd name="T62" fmla="*/ 1112 w 1445"/>
                  <a:gd name="T63" fmla="*/ 305 h 379"/>
                  <a:gd name="T64" fmla="*/ 1102 w 1445"/>
                  <a:gd name="T65" fmla="*/ 310 h 379"/>
                  <a:gd name="T66" fmla="*/ 1092 w 1445"/>
                  <a:gd name="T67" fmla="*/ 286 h 379"/>
                  <a:gd name="T68" fmla="*/ 1051 w 1445"/>
                  <a:gd name="T69" fmla="*/ 270 h 379"/>
                  <a:gd name="T70" fmla="*/ 1036 w 1445"/>
                  <a:gd name="T71" fmla="*/ 275 h 379"/>
                  <a:gd name="T72" fmla="*/ 972 w 1445"/>
                  <a:gd name="T73" fmla="*/ 289 h 379"/>
                  <a:gd name="T74" fmla="*/ 929 w 1445"/>
                  <a:gd name="T75" fmla="*/ 313 h 379"/>
                  <a:gd name="T76" fmla="*/ 906 w 1445"/>
                  <a:gd name="T77" fmla="*/ 324 h 379"/>
                  <a:gd name="T78" fmla="*/ 839 w 1445"/>
                  <a:gd name="T79" fmla="*/ 358 h 379"/>
                  <a:gd name="T80" fmla="*/ 773 w 1445"/>
                  <a:gd name="T81" fmla="*/ 332 h 379"/>
                  <a:gd name="T82" fmla="*/ 766 w 1445"/>
                  <a:gd name="T83" fmla="*/ 346 h 379"/>
                  <a:gd name="T84" fmla="*/ 686 w 1445"/>
                  <a:gd name="T85" fmla="*/ 342 h 379"/>
                  <a:gd name="T86" fmla="*/ 647 w 1445"/>
                  <a:gd name="T87" fmla="*/ 335 h 379"/>
                  <a:gd name="T88" fmla="*/ 612 w 1445"/>
                  <a:gd name="T89" fmla="*/ 369 h 379"/>
                  <a:gd name="T90" fmla="*/ 552 w 1445"/>
                  <a:gd name="T91" fmla="*/ 341 h 379"/>
                  <a:gd name="T92" fmla="*/ 512 w 1445"/>
                  <a:gd name="T93" fmla="*/ 331 h 379"/>
                  <a:gd name="T94" fmla="*/ 496 w 1445"/>
                  <a:gd name="T95" fmla="*/ 350 h 379"/>
                  <a:gd name="T96" fmla="*/ 420 w 1445"/>
                  <a:gd name="T97" fmla="*/ 330 h 379"/>
                  <a:gd name="T98" fmla="*/ 349 w 1445"/>
                  <a:gd name="T99" fmla="*/ 317 h 379"/>
                  <a:gd name="T100" fmla="*/ 238 w 1445"/>
                  <a:gd name="T101" fmla="*/ 279 h 379"/>
                  <a:gd name="T102" fmla="*/ 182 w 1445"/>
                  <a:gd name="T103" fmla="*/ 267 h 379"/>
                  <a:gd name="T104" fmla="*/ 124 w 1445"/>
                  <a:gd name="T105" fmla="*/ 275 h 379"/>
                  <a:gd name="T106" fmla="*/ 17 w 1445"/>
                  <a:gd name="T107" fmla="*/ 260 h 379"/>
                  <a:gd name="T108" fmla="*/ 3 w 1445"/>
                  <a:gd name="T109" fmla="*/ 230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5" h="379">
                    <a:moveTo>
                      <a:pt x="3" y="230"/>
                    </a:moveTo>
                    <a:cubicBezTo>
                      <a:pt x="6" y="224"/>
                      <a:pt x="9" y="218"/>
                      <a:pt x="13" y="212"/>
                    </a:cubicBezTo>
                    <a:cubicBezTo>
                      <a:pt x="20" y="201"/>
                      <a:pt x="29" y="190"/>
                      <a:pt x="36" y="178"/>
                    </a:cubicBezTo>
                    <a:cubicBezTo>
                      <a:pt x="59" y="141"/>
                      <a:pt x="88" y="110"/>
                      <a:pt x="126" y="86"/>
                    </a:cubicBezTo>
                    <a:cubicBezTo>
                      <a:pt x="147" y="73"/>
                      <a:pt x="170" y="63"/>
                      <a:pt x="195" y="59"/>
                    </a:cubicBezTo>
                    <a:cubicBezTo>
                      <a:pt x="211" y="57"/>
                      <a:pt x="227" y="57"/>
                      <a:pt x="243" y="58"/>
                    </a:cubicBezTo>
                    <a:cubicBezTo>
                      <a:pt x="291" y="61"/>
                      <a:pt x="339" y="68"/>
                      <a:pt x="386" y="79"/>
                    </a:cubicBezTo>
                    <a:cubicBezTo>
                      <a:pt x="406" y="84"/>
                      <a:pt x="426" y="89"/>
                      <a:pt x="446" y="92"/>
                    </a:cubicBezTo>
                    <a:cubicBezTo>
                      <a:pt x="457" y="94"/>
                      <a:pt x="469" y="94"/>
                      <a:pt x="480" y="93"/>
                    </a:cubicBezTo>
                    <a:cubicBezTo>
                      <a:pt x="497" y="92"/>
                      <a:pt x="514" y="91"/>
                      <a:pt x="531" y="89"/>
                    </a:cubicBezTo>
                    <a:cubicBezTo>
                      <a:pt x="548" y="87"/>
                      <a:pt x="564" y="83"/>
                      <a:pt x="581" y="80"/>
                    </a:cubicBezTo>
                    <a:cubicBezTo>
                      <a:pt x="600" y="77"/>
                      <a:pt x="620" y="74"/>
                      <a:pt x="640" y="72"/>
                    </a:cubicBezTo>
                    <a:cubicBezTo>
                      <a:pt x="657" y="70"/>
                      <a:pt x="675" y="68"/>
                      <a:pt x="692" y="67"/>
                    </a:cubicBezTo>
                    <a:cubicBezTo>
                      <a:pt x="710" y="66"/>
                      <a:pt x="728" y="65"/>
                      <a:pt x="746" y="64"/>
                    </a:cubicBezTo>
                    <a:cubicBezTo>
                      <a:pt x="767" y="63"/>
                      <a:pt x="787" y="62"/>
                      <a:pt x="808" y="60"/>
                    </a:cubicBezTo>
                    <a:cubicBezTo>
                      <a:pt x="844" y="57"/>
                      <a:pt x="879" y="53"/>
                      <a:pt x="915" y="50"/>
                    </a:cubicBezTo>
                    <a:cubicBezTo>
                      <a:pt x="973" y="45"/>
                      <a:pt x="1029" y="30"/>
                      <a:pt x="1085" y="16"/>
                    </a:cubicBezTo>
                    <a:cubicBezTo>
                      <a:pt x="1107" y="10"/>
                      <a:pt x="1130" y="6"/>
                      <a:pt x="1152" y="2"/>
                    </a:cubicBezTo>
                    <a:cubicBezTo>
                      <a:pt x="1161" y="0"/>
                      <a:pt x="1171" y="0"/>
                      <a:pt x="1180" y="1"/>
                    </a:cubicBezTo>
                    <a:cubicBezTo>
                      <a:pt x="1197" y="2"/>
                      <a:pt x="1214" y="4"/>
                      <a:pt x="1231" y="6"/>
                    </a:cubicBezTo>
                    <a:cubicBezTo>
                      <a:pt x="1258" y="11"/>
                      <a:pt x="1282" y="22"/>
                      <a:pt x="1306" y="35"/>
                    </a:cubicBezTo>
                    <a:cubicBezTo>
                      <a:pt x="1338" y="54"/>
                      <a:pt x="1366" y="78"/>
                      <a:pt x="1389" y="107"/>
                    </a:cubicBezTo>
                    <a:cubicBezTo>
                      <a:pt x="1400" y="120"/>
                      <a:pt x="1411" y="134"/>
                      <a:pt x="1420" y="148"/>
                    </a:cubicBezTo>
                    <a:cubicBezTo>
                      <a:pt x="1433" y="169"/>
                      <a:pt x="1438" y="192"/>
                      <a:pt x="1442" y="216"/>
                    </a:cubicBezTo>
                    <a:cubicBezTo>
                      <a:pt x="1444" y="231"/>
                      <a:pt x="1444" y="246"/>
                      <a:pt x="1444" y="261"/>
                    </a:cubicBezTo>
                    <a:cubicBezTo>
                      <a:pt x="1445" y="270"/>
                      <a:pt x="1443" y="279"/>
                      <a:pt x="1441" y="288"/>
                    </a:cubicBezTo>
                    <a:cubicBezTo>
                      <a:pt x="1441" y="291"/>
                      <a:pt x="1439" y="293"/>
                      <a:pt x="1437" y="295"/>
                    </a:cubicBezTo>
                    <a:cubicBezTo>
                      <a:pt x="1432" y="300"/>
                      <a:pt x="1426" y="304"/>
                      <a:pt x="1421" y="308"/>
                    </a:cubicBezTo>
                    <a:cubicBezTo>
                      <a:pt x="1415" y="312"/>
                      <a:pt x="1409" y="315"/>
                      <a:pt x="1402" y="318"/>
                    </a:cubicBezTo>
                    <a:cubicBezTo>
                      <a:pt x="1395" y="321"/>
                      <a:pt x="1387" y="324"/>
                      <a:pt x="1379" y="326"/>
                    </a:cubicBezTo>
                    <a:cubicBezTo>
                      <a:pt x="1375" y="328"/>
                      <a:pt x="1373" y="330"/>
                      <a:pt x="1374" y="334"/>
                    </a:cubicBezTo>
                    <a:cubicBezTo>
                      <a:pt x="1374" y="336"/>
                      <a:pt x="1374" y="339"/>
                      <a:pt x="1374" y="341"/>
                    </a:cubicBezTo>
                    <a:cubicBezTo>
                      <a:pt x="1374" y="346"/>
                      <a:pt x="1373" y="347"/>
                      <a:pt x="1369" y="346"/>
                    </a:cubicBezTo>
                    <a:cubicBezTo>
                      <a:pt x="1360" y="344"/>
                      <a:pt x="1352" y="342"/>
                      <a:pt x="1345" y="336"/>
                    </a:cubicBezTo>
                    <a:cubicBezTo>
                      <a:pt x="1341" y="333"/>
                      <a:pt x="1338" y="331"/>
                      <a:pt x="1332" y="333"/>
                    </a:cubicBezTo>
                    <a:cubicBezTo>
                      <a:pt x="1328" y="334"/>
                      <a:pt x="1323" y="333"/>
                      <a:pt x="1317" y="333"/>
                    </a:cubicBezTo>
                    <a:cubicBezTo>
                      <a:pt x="1320" y="336"/>
                      <a:pt x="1322" y="339"/>
                      <a:pt x="1324" y="343"/>
                    </a:cubicBezTo>
                    <a:cubicBezTo>
                      <a:pt x="1321" y="344"/>
                      <a:pt x="1319" y="346"/>
                      <a:pt x="1316" y="346"/>
                    </a:cubicBezTo>
                    <a:cubicBezTo>
                      <a:pt x="1304" y="347"/>
                      <a:pt x="1294" y="341"/>
                      <a:pt x="1285" y="334"/>
                    </a:cubicBezTo>
                    <a:cubicBezTo>
                      <a:pt x="1283" y="333"/>
                      <a:pt x="1282" y="332"/>
                      <a:pt x="1280" y="332"/>
                    </a:cubicBezTo>
                    <a:cubicBezTo>
                      <a:pt x="1279" y="333"/>
                      <a:pt x="1278" y="335"/>
                      <a:pt x="1278" y="337"/>
                    </a:cubicBezTo>
                    <a:cubicBezTo>
                      <a:pt x="1277" y="342"/>
                      <a:pt x="1276" y="343"/>
                      <a:pt x="1271" y="342"/>
                    </a:cubicBezTo>
                    <a:cubicBezTo>
                      <a:pt x="1263" y="340"/>
                      <a:pt x="1256" y="335"/>
                      <a:pt x="1252" y="327"/>
                    </a:cubicBezTo>
                    <a:cubicBezTo>
                      <a:pt x="1250" y="324"/>
                      <a:pt x="1246" y="323"/>
                      <a:pt x="1243" y="321"/>
                    </a:cubicBezTo>
                    <a:cubicBezTo>
                      <a:pt x="1243" y="321"/>
                      <a:pt x="1242" y="321"/>
                      <a:pt x="1242" y="322"/>
                    </a:cubicBezTo>
                    <a:cubicBezTo>
                      <a:pt x="1242" y="324"/>
                      <a:pt x="1242" y="326"/>
                      <a:pt x="1243" y="328"/>
                    </a:cubicBezTo>
                    <a:cubicBezTo>
                      <a:pt x="1243" y="334"/>
                      <a:pt x="1240" y="336"/>
                      <a:pt x="1234" y="334"/>
                    </a:cubicBezTo>
                    <a:cubicBezTo>
                      <a:pt x="1224" y="331"/>
                      <a:pt x="1216" y="326"/>
                      <a:pt x="1211" y="317"/>
                    </a:cubicBezTo>
                    <a:cubicBezTo>
                      <a:pt x="1210" y="316"/>
                      <a:pt x="1209" y="315"/>
                      <a:pt x="1209" y="314"/>
                    </a:cubicBezTo>
                    <a:cubicBezTo>
                      <a:pt x="1205" y="316"/>
                      <a:pt x="1202" y="318"/>
                      <a:pt x="1203" y="322"/>
                    </a:cubicBezTo>
                    <a:cubicBezTo>
                      <a:pt x="1203" y="324"/>
                      <a:pt x="1203" y="326"/>
                      <a:pt x="1204" y="328"/>
                    </a:cubicBezTo>
                    <a:cubicBezTo>
                      <a:pt x="1204" y="333"/>
                      <a:pt x="1203" y="334"/>
                      <a:pt x="1198" y="332"/>
                    </a:cubicBezTo>
                    <a:cubicBezTo>
                      <a:pt x="1188" y="326"/>
                      <a:pt x="1180" y="318"/>
                      <a:pt x="1176" y="307"/>
                    </a:cubicBezTo>
                    <a:cubicBezTo>
                      <a:pt x="1176" y="305"/>
                      <a:pt x="1175" y="304"/>
                      <a:pt x="1174" y="303"/>
                    </a:cubicBezTo>
                    <a:cubicBezTo>
                      <a:pt x="1170" y="300"/>
                      <a:pt x="1167" y="302"/>
                      <a:pt x="1167" y="307"/>
                    </a:cubicBezTo>
                    <a:cubicBezTo>
                      <a:pt x="1167" y="309"/>
                      <a:pt x="1167" y="312"/>
                      <a:pt x="1167" y="315"/>
                    </a:cubicBezTo>
                    <a:cubicBezTo>
                      <a:pt x="1167" y="320"/>
                      <a:pt x="1164" y="322"/>
                      <a:pt x="1159" y="321"/>
                    </a:cubicBezTo>
                    <a:cubicBezTo>
                      <a:pt x="1149" y="319"/>
                      <a:pt x="1143" y="311"/>
                      <a:pt x="1140" y="300"/>
                    </a:cubicBezTo>
                    <a:cubicBezTo>
                      <a:pt x="1139" y="302"/>
                      <a:pt x="1138" y="303"/>
                      <a:pt x="1137" y="304"/>
                    </a:cubicBezTo>
                    <a:cubicBezTo>
                      <a:pt x="1136" y="306"/>
                      <a:pt x="1135" y="308"/>
                      <a:pt x="1135" y="310"/>
                    </a:cubicBezTo>
                    <a:cubicBezTo>
                      <a:pt x="1132" y="318"/>
                      <a:pt x="1129" y="319"/>
                      <a:pt x="1123" y="313"/>
                    </a:cubicBezTo>
                    <a:cubicBezTo>
                      <a:pt x="1120" y="310"/>
                      <a:pt x="1118" y="305"/>
                      <a:pt x="1115" y="300"/>
                    </a:cubicBezTo>
                    <a:cubicBezTo>
                      <a:pt x="1115" y="299"/>
                      <a:pt x="1114" y="297"/>
                      <a:pt x="1113" y="296"/>
                    </a:cubicBezTo>
                    <a:cubicBezTo>
                      <a:pt x="1112" y="299"/>
                      <a:pt x="1113" y="302"/>
                      <a:pt x="1112" y="305"/>
                    </a:cubicBezTo>
                    <a:cubicBezTo>
                      <a:pt x="1112" y="307"/>
                      <a:pt x="1111" y="311"/>
                      <a:pt x="1110" y="312"/>
                    </a:cubicBezTo>
                    <a:cubicBezTo>
                      <a:pt x="1108" y="313"/>
                      <a:pt x="1104" y="312"/>
                      <a:pt x="1102" y="310"/>
                    </a:cubicBezTo>
                    <a:cubicBezTo>
                      <a:pt x="1095" y="305"/>
                      <a:pt x="1091" y="298"/>
                      <a:pt x="1092" y="289"/>
                    </a:cubicBezTo>
                    <a:cubicBezTo>
                      <a:pt x="1092" y="288"/>
                      <a:pt x="1092" y="287"/>
                      <a:pt x="1092" y="286"/>
                    </a:cubicBezTo>
                    <a:cubicBezTo>
                      <a:pt x="1092" y="286"/>
                      <a:pt x="1092" y="286"/>
                      <a:pt x="1092" y="286"/>
                    </a:cubicBezTo>
                    <a:cubicBezTo>
                      <a:pt x="1076" y="286"/>
                      <a:pt x="1062" y="281"/>
                      <a:pt x="1051" y="270"/>
                    </a:cubicBezTo>
                    <a:cubicBezTo>
                      <a:pt x="1050" y="270"/>
                      <a:pt x="1048" y="269"/>
                      <a:pt x="1046" y="270"/>
                    </a:cubicBezTo>
                    <a:cubicBezTo>
                      <a:pt x="1043" y="271"/>
                      <a:pt x="1039" y="273"/>
                      <a:pt x="1036" y="275"/>
                    </a:cubicBezTo>
                    <a:cubicBezTo>
                      <a:pt x="1023" y="283"/>
                      <a:pt x="1009" y="286"/>
                      <a:pt x="995" y="283"/>
                    </a:cubicBezTo>
                    <a:cubicBezTo>
                      <a:pt x="986" y="281"/>
                      <a:pt x="978" y="283"/>
                      <a:pt x="972" y="289"/>
                    </a:cubicBezTo>
                    <a:cubicBezTo>
                      <a:pt x="967" y="293"/>
                      <a:pt x="963" y="297"/>
                      <a:pt x="959" y="301"/>
                    </a:cubicBezTo>
                    <a:cubicBezTo>
                      <a:pt x="950" y="309"/>
                      <a:pt x="940" y="313"/>
                      <a:pt x="929" y="313"/>
                    </a:cubicBezTo>
                    <a:cubicBezTo>
                      <a:pt x="922" y="313"/>
                      <a:pt x="916" y="313"/>
                      <a:pt x="909" y="313"/>
                    </a:cubicBezTo>
                    <a:cubicBezTo>
                      <a:pt x="908" y="316"/>
                      <a:pt x="907" y="320"/>
                      <a:pt x="906" y="324"/>
                    </a:cubicBezTo>
                    <a:cubicBezTo>
                      <a:pt x="899" y="352"/>
                      <a:pt x="878" y="361"/>
                      <a:pt x="854" y="360"/>
                    </a:cubicBezTo>
                    <a:cubicBezTo>
                      <a:pt x="849" y="359"/>
                      <a:pt x="844" y="359"/>
                      <a:pt x="839" y="358"/>
                    </a:cubicBezTo>
                    <a:cubicBezTo>
                      <a:pt x="824" y="355"/>
                      <a:pt x="813" y="346"/>
                      <a:pt x="809" y="332"/>
                    </a:cubicBezTo>
                    <a:cubicBezTo>
                      <a:pt x="797" y="332"/>
                      <a:pt x="785" y="332"/>
                      <a:pt x="773" y="332"/>
                    </a:cubicBezTo>
                    <a:cubicBezTo>
                      <a:pt x="770" y="332"/>
                      <a:pt x="769" y="334"/>
                      <a:pt x="769" y="336"/>
                    </a:cubicBezTo>
                    <a:cubicBezTo>
                      <a:pt x="768" y="340"/>
                      <a:pt x="767" y="343"/>
                      <a:pt x="766" y="346"/>
                    </a:cubicBezTo>
                    <a:cubicBezTo>
                      <a:pt x="758" y="376"/>
                      <a:pt x="715" y="379"/>
                      <a:pt x="700" y="364"/>
                    </a:cubicBezTo>
                    <a:cubicBezTo>
                      <a:pt x="693" y="358"/>
                      <a:pt x="688" y="351"/>
                      <a:pt x="686" y="342"/>
                    </a:cubicBezTo>
                    <a:cubicBezTo>
                      <a:pt x="685" y="338"/>
                      <a:pt x="683" y="337"/>
                      <a:pt x="680" y="337"/>
                    </a:cubicBezTo>
                    <a:cubicBezTo>
                      <a:pt x="669" y="336"/>
                      <a:pt x="658" y="336"/>
                      <a:pt x="647" y="335"/>
                    </a:cubicBezTo>
                    <a:cubicBezTo>
                      <a:pt x="642" y="334"/>
                      <a:pt x="640" y="336"/>
                      <a:pt x="638" y="341"/>
                    </a:cubicBezTo>
                    <a:cubicBezTo>
                      <a:pt x="633" y="354"/>
                      <a:pt x="624" y="363"/>
                      <a:pt x="612" y="369"/>
                    </a:cubicBezTo>
                    <a:cubicBezTo>
                      <a:pt x="594" y="377"/>
                      <a:pt x="571" y="372"/>
                      <a:pt x="558" y="357"/>
                    </a:cubicBezTo>
                    <a:cubicBezTo>
                      <a:pt x="554" y="353"/>
                      <a:pt x="553" y="347"/>
                      <a:pt x="552" y="341"/>
                    </a:cubicBezTo>
                    <a:cubicBezTo>
                      <a:pt x="551" y="336"/>
                      <a:pt x="549" y="334"/>
                      <a:pt x="544" y="333"/>
                    </a:cubicBezTo>
                    <a:cubicBezTo>
                      <a:pt x="533" y="332"/>
                      <a:pt x="523" y="328"/>
                      <a:pt x="512" y="331"/>
                    </a:cubicBezTo>
                    <a:cubicBezTo>
                      <a:pt x="510" y="332"/>
                      <a:pt x="508" y="333"/>
                      <a:pt x="506" y="335"/>
                    </a:cubicBezTo>
                    <a:cubicBezTo>
                      <a:pt x="502" y="340"/>
                      <a:pt x="499" y="345"/>
                      <a:pt x="496" y="350"/>
                    </a:cubicBezTo>
                    <a:cubicBezTo>
                      <a:pt x="485" y="364"/>
                      <a:pt x="470" y="370"/>
                      <a:pt x="453" y="366"/>
                    </a:cubicBezTo>
                    <a:cubicBezTo>
                      <a:pt x="434" y="361"/>
                      <a:pt x="422" y="348"/>
                      <a:pt x="420" y="330"/>
                    </a:cubicBezTo>
                    <a:cubicBezTo>
                      <a:pt x="419" y="327"/>
                      <a:pt x="418" y="326"/>
                      <a:pt x="415" y="326"/>
                    </a:cubicBezTo>
                    <a:cubicBezTo>
                      <a:pt x="393" y="323"/>
                      <a:pt x="371" y="319"/>
                      <a:pt x="349" y="317"/>
                    </a:cubicBezTo>
                    <a:cubicBezTo>
                      <a:pt x="317" y="314"/>
                      <a:pt x="290" y="300"/>
                      <a:pt x="263" y="286"/>
                    </a:cubicBezTo>
                    <a:cubicBezTo>
                      <a:pt x="255" y="281"/>
                      <a:pt x="247" y="278"/>
                      <a:pt x="238" y="279"/>
                    </a:cubicBezTo>
                    <a:cubicBezTo>
                      <a:pt x="222" y="281"/>
                      <a:pt x="206" y="277"/>
                      <a:pt x="190" y="272"/>
                    </a:cubicBezTo>
                    <a:cubicBezTo>
                      <a:pt x="187" y="270"/>
                      <a:pt x="184" y="269"/>
                      <a:pt x="182" y="267"/>
                    </a:cubicBezTo>
                    <a:cubicBezTo>
                      <a:pt x="177" y="263"/>
                      <a:pt x="173" y="263"/>
                      <a:pt x="169" y="265"/>
                    </a:cubicBezTo>
                    <a:cubicBezTo>
                      <a:pt x="154" y="269"/>
                      <a:pt x="139" y="272"/>
                      <a:pt x="124" y="275"/>
                    </a:cubicBezTo>
                    <a:cubicBezTo>
                      <a:pt x="107" y="279"/>
                      <a:pt x="91" y="277"/>
                      <a:pt x="75" y="276"/>
                    </a:cubicBezTo>
                    <a:cubicBezTo>
                      <a:pt x="55" y="274"/>
                      <a:pt x="36" y="269"/>
                      <a:pt x="17" y="260"/>
                    </a:cubicBezTo>
                    <a:cubicBezTo>
                      <a:pt x="13" y="258"/>
                      <a:pt x="9" y="254"/>
                      <a:pt x="6" y="250"/>
                    </a:cubicBezTo>
                    <a:cubicBezTo>
                      <a:pt x="0" y="245"/>
                      <a:pt x="0" y="237"/>
                      <a:pt x="3" y="230"/>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29">
                <a:extLst>
                  <a:ext uri="{FF2B5EF4-FFF2-40B4-BE49-F238E27FC236}">
                    <a16:creationId xmlns:a16="http://schemas.microsoft.com/office/drawing/2014/main" id="{E3ABD769-F596-4AFB-B02B-D45CF49791DE}"/>
                  </a:ext>
                </a:extLst>
              </p:cNvPr>
              <p:cNvSpPr>
                <a:spLocks noEditPoints="1"/>
              </p:cNvSpPr>
              <p:nvPr/>
            </p:nvSpPr>
            <p:spPr bwMode="auto">
              <a:xfrm>
                <a:off x="8351" y="2640"/>
                <a:ext cx="34" cy="30"/>
              </a:xfrm>
              <a:custGeom>
                <a:avLst/>
                <a:gdLst>
                  <a:gd name="T0" fmla="*/ 17 w 18"/>
                  <a:gd name="T1" fmla="*/ 7 h 16"/>
                  <a:gd name="T2" fmla="*/ 4 w 18"/>
                  <a:gd name="T3" fmla="*/ 15 h 16"/>
                  <a:gd name="T4" fmla="*/ 0 w 18"/>
                  <a:gd name="T5" fmla="*/ 12 h 16"/>
                  <a:gd name="T6" fmla="*/ 13 w 18"/>
                  <a:gd name="T7" fmla="*/ 0 h 16"/>
                  <a:gd name="T8" fmla="*/ 17 w 18"/>
                  <a:gd name="T9" fmla="*/ 7 h 16"/>
                  <a:gd name="T10" fmla="*/ 3 w 18"/>
                  <a:gd name="T11" fmla="*/ 12 h 16"/>
                  <a:gd name="T12" fmla="*/ 13 w 18"/>
                  <a:gd name="T13" fmla="*/ 7 h 16"/>
                  <a:gd name="T14" fmla="*/ 14 w 18"/>
                  <a:gd name="T15" fmla="*/ 4 h 16"/>
                  <a:gd name="T16" fmla="*/ 11 w 18"/>
                  <a:gd name="T17" fmla="*/ 3 h 16"/>
                  <a:gd name="T18" fmla="*/ 3 w 18"/>
                  <a:gd name="T19" fmla="*/ 12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16">
                    <a:moveTo>
                      <a:pt x="17" y="7"/>
                    </a:moveTo>
                    <a:cubicBezTo>
                      <a:pt x="15" y="11"/>
                      <a:pt x="8" y="16"/>
                      <a:pt x="4" y="15"/>
                    </a:cubicBezTo>
                    <a:cubicBezTo>
                      <a:pt x="2" y="15"/>
                      <a:pt x="0" y="13"/>
                      <a:pt x="0" y="12"/>
                    </a:cubicBezTo>
                    <a:cubicBezTo>
                      <a:pt x="0" y="7"/>
                      <a:pt x="8" y="0"/>
                      <a:pt x="13" y="0"/>
                    </a:cubicBezTo>
                    <a:cubicBezTo>
                      <a:pt x="16" y="0"/>
                      <a:pt x="18" y="3"/>
                      <a:pt x="17" y="7"/>
                    </a:cubicBezTo>
                    <a:close/>
                    <a:moveTo>
                      <a:pt x="3" y="12"/>
                    </a:moveTo>
                    <a:cubicBezTo>
                      <a:pt x="8" y="12"/>
                      <a:pt x="11" y="10"/>
                      <a:pt x="13" y="7"/>
                    </a:cubicBezTo>
                    <a:cubicBezTo>
                      <a:pt x="14" y="6"/>
                      <a:pt x="14" y="5"/>
                      <a:pt x="14" y="4"/>
                    </a:cubicBezTo>
                    <a:cubicBezTo>
                      <a:pt x="13" y="4"/>
                      <a:pt x="12" y="3"/>
                      <a:pt x="11" y="3"/>
                    </a:cubicBezTo>
                    <a:cubicBezTo>
                      <a:pt x="6" y="5"/>
                      <a:pt x="4" y="8"/>
                      <a:pt x="3" y="1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30">
                <a:extLst>
                  <a:ext uri="{FF2B5EF4-FFF2-40B4-BE49-F238E27FC236}">
                    <a16:creationId xmlns:a16="http://schemas.microsoft.com/office/drawing/2014/main" id="{8DE0D2BA-E6D6-40BA-8887-1FC3F621F147}"/>
                  </a:ext>
                </a:extLst>
              </p:cNvPr>
              <p:cNvSpPr>
                <a:spLocks noEditPoints="1"/>
              </p:cNvSpPr>
              <p:nvPr/>
            </p:nvSpPr>
            <p:spPr bwMode="auto">
              <a:xfrm>
                <a:off x="8279" y="2613"/>
                <a:ext cx="32" cy="29"/>
              </a:xfrm>
              <a:custGeom>
                <a:avLst/>
                <a:gdLst>
                  <a:gd name="T0" fmla="*/ 7 w 17"/>
                  <a:gd name="T1" fmla="*/ 15 h 15"/>
                  <a:gd name="T2" fmla="*/ 1 w 17"/>
                  <a:gd name="T3" fmla="*/ 13 h 15"/>
                  <a:gd name="T4" fmla="*/ 1 w 17"/>
                  <a:gd name="T5" fmla="*/ 7 h 15"/>
                  <a:gd name="T6" fmla="*/ 11 w 17"/>
                  <a:gd name="T7" fmla="*/ 0 h 15"/>
                  <a:gd name="T8" fmla="*/ 16 w 17"/>
                  <a:gd name="T9" fmla="*/ 6 h 15"/>
                  <a:gd name="T10" fmla="*/ 7 w 17"/>
                  <a:gd name="T11" fmla="*/ 15 h 15"/>
                  <a:gd name="T12" fmla="*/ 13 w 17"/>
                  <a:gd name="T13" fmla="*/ 4 h 15"/>
                  <a:gd name="T14" fmla="*/ 4 w 17"/>
                  <a:gd name="T15" fmla="*/ 12 h 15"/>
                  <a:gd name="T16" fmla="*/ 13 w 17"/>
                  <a:gd name="T17" fmla="*/ 4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15">
                    <a:moveTo>
                      <a:pt x="7" y="15"/>
                    </a:moveTo>
                    <a:cubicBezTo>
                      <a:pt x="5" y="15"/>
                      <a:pt x="2" y="15"/>
                      <a:pt x="1" y="13"/>
                    </a:cubicBezTo>
                    <a:cubicBezTo>
                      <a:pt x="0" y="12"/>
                      <a:pt x="0" y="9"/>
                      <a:pt x="1" y="7"/>
                    </a:cubicBezTo>
                    <a:cubicBezTo>
                      <a:pt x="2" y="3"/>
                      <a:pt x="6" y="1"/>
                      <a:pt x="11" y="0"/>
                    </a:cubicBezTo>
                    <a:cubicBezTo>
                      <a:pt x="16" y="0"/>
                      <a:pt x="17" y="2"/>
                      <a:pt x="16" y="6"/>
                    </a:cubicBezTo>
                    <a:cubicBezTo>
                      <a:pt x="14" y="10"/>
                      <a:pt x="12" y="14"/>
                      <a:pt x="7" y="15"/>
                    </a:cubicBezTo>
                    <a:close/>
                    <a:moveTo>
                      <a:pt x="13" y="4"/>
                    </a:moveTo>
                    <a:cubicBezTo>
                      <a:pt x="7" y="4"/>
                      <a:pt x="3" y="7"/>
                      <a:pt x="4" y="12"/>
                    </a:cubicBezTo>
                    <a:cubicBezTo>
                      <a:pt x="9" y="12"/>
                      <a:pt x="12" y="9"/>
                      <a:pt x="13" y="4"/>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31">
                <a:extLst>
                  <a:ext uri="{FF2B5EF4-FFF2-40B4-BE49-F238E27FC236}">
                    <a16:creationId xmlns:a16="http://schemas.microsoft.com/office/drawing/2014/main" id="{420B3BEF-4398-4DBA-82DF-5C8095256AA1}"/>
                  </a:ext>
                </a:extLst>
              </p:cNvPr>
              <p:cNvSpPr>
                <a:spLocks noEditPoints="1"/>
              </p:cNvSpPr>
              <p:nvPr/>
            </p:nvSpPr>
            <p:spPr bwMode="auto">
              <a:xfrm>
                <a:off x="8174" y="2576"/>
                <a:ext cx="26" cy="32"/>
              </a:xfrm>
              <a:custGeom>
                <a:avLst/>
                <a:gdLst>
                  <a:gd name="T0" fmla="*/ 14 w 14"/>
                  <a:gd name="T1" fmla="*/ 4 h 17"/>
                  <a:gd name="T2" fmla="*/ 4 w 14"/>
                  <a:gd name="T3" fmla="*/ 17 h 17"/>
                  <a:gd name="T4" fmla="*/ 0 w 14"/>
                  <a:gd name="T5" fmla="*/ 12 h 17"/>
                  <a:gd name="T6" fmla="*/ 10 w 14"/>
                  <a:gd name="T7" fmla="*/ 1 h 17"/>
                  <a:gd name="T8" fmla="*/ 14 w 14"/>
                  <a:gd name="T9" fmla="*/ 4 h 17"/>
                  <a:gd name="T10" fmla="*/ 10 w 14"/>
                  <a:gd name="T11" fmla="*/ 5 h 17"/>
                  <a:gd name="T12" fmla="*/ 4 w 14"/>
                  <a:gd name="T13" fmla="*/ 14 h 17"/>
                  <a:gd name="T14" fmla="*/ 10 w 14"/>
                  <a:gd name="T15" fmla="*/ 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7">
                    <a:moveTo>
                      <a:pt x="14" y="4"/>
                    </a:moveTo>
                    <a:cubicBezTo>
                      <a:pt x="14" y="12"/>
                      <a:pt x="9" y="17"/>
                      <a:pt x="4" y="17"/>
                    </a:cubicBezTo>
                    <a:cubicBezTo>
                      <a:pt x="1" y="17"/>
                      <a:pt x="0" y="15"/>
                      <a:pt x="0" y="12"/>
                    </a:cubicBezTo>
                    <a:cubicBezTo>
                      <a:pt x="0" y="7"/>
                      <a:pt x="5" y="0"/>
                      <a:pt x="10" y="1"/>
                    </a:cubicBezTo>
                    <a:cubicBezTo>
                      <a:pt x="12" y="1"/>
                      <a:pt x="13" y="4"/>
                      <a:pt x="14" y="4"/>
                    </a:cubicBezTo>
                    <a:close/>
                    <a:moveTo>
                      <a:pt x="10" y="5"/>
                    </a:moveTo>
                    <a:cubicBezTo>
                      <a:pt x="4" y="6"/>
                      <a:pt x="2" y="9"/>
                      <a:pt x="4" y="14"/>
                    </a:cubicBezTo>
                    <a:cubicBezTo>
                      <a:pt x="9" y="13"/>
                      <a:pt x="11" y="10"/>
                      <a:pt x="10" y="5"/>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32">
                <a:extLst>
                  <a:ext uri="{FF2B5EF4-FFF2-40B4-BE49-F238E27FC236}">
                    <a16:creationId xmlns:a16="http://schemas.microsoft.com/office/drawing/2014/main" id="{D56A5C95-259F-48A1-B5FC-3CB7BD7F4F28}"/>
                  </a:ext>
                </a:extLst>
              </p:cNvPr>
              <p:cNvSpPr>
                <a:spLocks noEditPoints="1"/>
              </p:cNvSpPr>
              <p:nvPr/>
            </p:nvSpPr>
            <p:spPr bwMode="auto">
              <a:xfrm>
                <a:off x="8055" y="2536"/>
                <a:ext cx="30" cy="42"/>
              </a:xfrm>
              <a:custGeom>
                <a:avLst/>
                <a:gdLst>
                  <a:gd name="T0" fmla="*/ 13 w 16"/>
                  <a:gd name="T1" fmla="*/ 1 h 22"/>
                  <a:gd name="T2" fmla="*/ 16 w 16"/>
                  <a:gd name="T3" fmla="*/ 7 h 22"/>
                  <a:gd name="T4" fmla="*/ 10 w 16"/>
                  <a:gd name="T5" fmla="*/ 20 h 22"/>
                  <a:gd name="T6" fmla="*/ 3 w 16"/>
                  <a:gd name="T7" fmla="*/ 22 h 22"/>
                  <a:gd name="T8" fmla="*/ 0 w 16"/>
                  <a:gd name="T9" fmla="*/ 16 h 22"/>
                  <a:gd name="T10" fmla="*/ 7 w 16"/>
                  <a:gd name="T11" fmla="*/ 3 h 22"/>
                  <a:gd name="T12" fmla="*/ 13 w 16"/>
                  <a:gd name="T13" fmla="*/ 1 h 22"/>
                  <a:gd name="T14" fmla="*/ 12 w 16"/>
                  <a:gd name="T15" fmla="*/ 3 h 22"/>
                  <a:gd name="T16" fmla="*/ 3 w 16"/>
                  <a:gd name="T17" fmla="*/ 15 h 22"/>
                  <a:gd name="T18" fmla="*/ 5 w 16"/>
                  <a:gd name="T19" fmla="*/ 19 h 22"/>
                  <a:gd name="T20" fmla="*/ 9 w 16"/>
                  <a:gd name="T21" fmla="*/ 17 h 22"/>
                  <a:gd name="T22" fmla="*/ 13 w 16"/>
                  <a:gd name="T23" fmla="*/ 4 h 22"/>
                  <a:gd name="T24" fmla="*/ 12 w 16"/>
                  <a:gd name="T25" fmla="*/ 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2">
                    <a:moveTo>
                      <a:pt x="13" y="1"/>
                    </a:moveTo>
                    <a:cubicBezTo>
                      <a:pt x="15" y="1"/>
                      <a:pt x="15" y="5"/>
                      <a:pt x="16" y="7"/>
                    </a:cubicBezTo>
                    <a:cubicBezTo>
                      <a:pt x="14" y="12"/>
                      <a:pt x="13" y="16"/>
                      <a:pt x="10" y="20"/>
                    </a:cubicBezTo>
                    <a:cubicBezTo>
                      <a:pt x="9" y="22"/>
                      <a:pt x="5" y="22"/>
                      <a:pt x="3" y="22"/>
                    </a:cubicBezTo>
                    <a:cubicBezTo>
                      <a:pt x="2" y="21"/>
                      <a:pt x="0" y="18"/>
                      <a:pt x="0" y="16"/>
                    </a:cubicBezTo>
                    <a:cubicBezTo>
                      <a:pt x="2" y="11"/>
                      <a:pt x="4" y="7"/>
                      <a:pt x="7" y="3"/>
                    </a:cubicBezTo>
                    <a:cubicBezTo>
                      <a:pt x="8" y="1"/>
                      <a:pt x="11" y="0"/>
                      <a:pt x="13" y="1"/>
                    </a:cubicBezTo>
                    <a:close/>
                    <a:moveTo>
                      <a:pt x="12" y="3"/>
                    </a:moveTo>
                    <a:cubicBezTo>
                      <a:pt x="6" y="5"/>
                      <a:pt x="4" y="10"/>
                      <a:pt x="3" y="15"/>
                    </a:cubicBezTo>
                    <a:cubicBezTo>
                      <a:pt x="3" y="16"/>
                      <a:pt x="4" y="18"/>
                      <a:pt x="5" y="19"/>
                    </a:cubicBezTo>
                    <a:cubicBezTo>
                      <a:pt x="6" y="18"/>
                      <a:pt x="8" y="18"/>
                      <a:pt x="9" y="17"/>
                    </a:cubicBezTo>
                    <a:cubicBezTo>
                      <a:pt x="11" y="13"/>
                      <a:pt x="12" y="8"/>
                      <a:pt x="13" y="4"/>
                    </a:cubicBezTo>
                    <a:cubicBezTo>
                      <a:pt x="13" y="4"/>
                      <a:pt x="12" y="3"/>
                      <a:pt x="12"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33">
                <a:extLst>
                  <a:ext uri="{FF2B5EF4-FFF2-40B4-BE49-F238E27FC236}">
                    <a16:creationId xmlns:a16="http://schemas.microsoft.com/office/drawing/2014/main" id="{7F31018D-1C43-463C-9E1A-1C07F0E81E19}"/>
                  </a:ext>
                </a:extLst>
              </p:cNvPr>
              <p:cNvSpPr>
                <a:spLocks noEditPoints="1"/>
              </p:cNvSpPr>
              <p:nvPr/>
            </p:nvSpPr>
            <p:spPr bwMode="auto">
              <a:xfrm>
                <a:off x="7980" y="2515"/>
                <a:ext cx="23" cy="36"/>
              </a:xfrm>
              <a:custGeom>
                <a:avLst/>
                <a:gdLst>
                  <a:gd name="T0" fmla="*/ 7 w 12"/>
                  <a:gd name="T1" fmla="*/ 16 h 19"/>
                  <a:gd name="T2" fmla="*/ 9 w 12"/>
                  <a:gd name="T3" fmla="*/ 12 h 19"/>
                  <a:gd name="T4" fmla="*/ 5 w 12"/>
                  <a:gd name="T5" fmla="*/ 4 h 19"/>
                  <a:gd name="T6" fmla="*/ 4 w 12"/>
                  <a:gd name="T7" fmla="*/ 14 h 19"/>
                  <a:gd name="T8" fmla="*/ 7 w 12"/>
                  <a:gd name="T9" fmla="*/ 16 h 19"/>
                  <a:gd name="T10" fmla="*/ 7 w 12"/>
                  <a:gd name="T11" fmla="*/ 19 h 19"/>
                  <a:gd name="T12" fmla="*/ 0 w 12"/>
                  <a:gd name="T13" fmla="*/ 12 h 19"/>
                  <a:gd name="T14" fmla="*/ 0 w 12"/>
                  <a:gd name="T15" fmla="*/ 9 h 19"/>
                  <a:gd name="T16" fmla="*/ 4 w 12"/>
                  <a:gd name="T17" fmla="*/ 1 h 19"/>
                  <a:gd name="T18" fmla="*/ 12 w 12"/>
                  <a:gd name="T19" fmla="*/ 8 h 19"/>
                  <a:gd name="T20" fmla="*/ 12 w 12"/>
                  <a:gd name="T21" fmla="*/ 11 h 19"/>
                  <a:gd name="T22" fmla="*/ 7 w 12"/>
                  <a:gd name="T23"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9">
                    <a:moveTo>
                      <a:pt x="7" y="16"/>
                    </a:moveTo>
                    <a:cubicBezTo>
                      <a:pt x="8" y="15"/>
                      <a:pt x="9" y="14"/>
                      <a:pt x="9" y="12"/>
                    </a:cubicBezTo>
                    <a:cubicBezTo>
                      <a:pt x="10" y="9"/>
                      <a:pt x="9" y="6"/>
                      <a:pt x="5" y="4"/>
                    </a:cubicBezTo>
                    <a:cubicBezTo>
                      <a:pt x="2" y="7"/>
                      <a:pt x="2" y="10"/>
                      <a:pt x="4" y="14"/>
                    </a:cubicBezTo>
                    <a:cubicBezTo>
                      <a:pt x="4" y="15"/>
                      <a:pt x="6" y="15"/>
                      <a:pt x="7" y="16"/>
                    </a:cubicBezTo>
                    <a:close/>
                    <a:moveTo>
                      <a:pt x="7" y="19"/>
                    </a:moveTo>
                    <a:cubicBezTo>
                      <a:pt x="5" y="19"/>
                      <a:pt x="1" y="16"/>
                      <a:pt x="0" y="12"/>
                    </a:cubicBezTo>
                    <a:cubicBezTo>
                      <a:pt x="0" y="11"/>
                      <a:pt x="0" y="10"/>
                      <a:pt x="0" y="9"/>
                    </a:cubicBezTo>
                    <a:cubicBezTo>
                      <a:pt x="1" y="6"/>
                      <a:pt x="0" y="2"/>
                      <a:pt x="4" y="1"/>
                    </a:cubicBezTo>
                    <a:cubicBezTo>
                      <a:pt x="7" y="0"/>
                      <a:pt x="11" y="4"/>
                      <a:pt x="12" y="8"/>
                    </a:cubicBezTo>
                    <a:cubicBezTo>
                      <a:pt x="12" y="9"/>
                      <a:pt x="12" y="10"/>
                      <a:pt x="12" y="11"/>
                    </a:cubicBezTo>
                    <a:cubicBezTo>
                      <a:pt x="12" y="14"/>
                      <a:pt x="12" y="18"/>
                      <a:pt x="7" y="19"/>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34">
                <a:extLst>
                  <a:ext uri="{FF2B5EF4-FFF2-40B4-BE49-F238E27FC236}">
                    <a16:creationId xmlns:a16="http://schemas.microsoft.com/office/drawing/2014/main" id="{17FEFEA4-03B9-4C48-B079-6A00E8D7DA9B}"/>
                  </a:ext>
                </a:extLst>
              </p:cNvPr>
              <p:cNvSpPr>
                <a:spLocks noEditPoints="1"/>
              </p:cNvSpPr>
              <p:nvPr/>
            </p:nvSpPr>
            <p:spPr bwMode="auto">
              <a:xfrm>
                <a:off x="7861" y="2538"/>
                <a:ext cx="23" cy="34"/>
              </a:xfrm>
              <a:custGeom>
                <a:avLst/>
                <a:gdLst>
                  <a:gd name="T0" fmla="*/ 11 w 12"/>
                  <a:gd name="T1" fmla="*/ 10 h 18"/>
                  <a:gd name="T2" fmla="*/ 6 w 12"/>
                  <a:gd name="T3" fmla="*/ 17 h 18"/>
                  <a:gd name="T4" fmla="*/ 0 w 12"/>
                  <a:gd name="T5" fmla="*/ 10 h 18"/>
                  <a:gd name="T6" fmla="*/ 7 w 12"/>
                  <a:gd name="T7" fmla="*/ 0 h 18"/>
                  <a:gd name="T8" fmla="*/ 11 w 12"/>
                  <a:gd name="T9" fmla="*/ 10 h 18"/>
                  <a:gd name="T10" fmla="*/ 11 w 12"/>
                  <a:gd name="T11" fmla="*/ 10 h 18"/>
                  <a:gd name="T12" fmla="*/ 5 w 12"/>
                  <a:gd name="T13" fmla="*/ 3 h 18"/>
                  <a:gd name="T14" fmla="*/ 5 w 12"/>
                  <a:gd name="T15" fmla="*/ 14 h 18"/>
                  <a:gd name="T16" fmla="*/ 5 w 12"/>
                  <a:gd name="T17"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8">
                    <a:moveTo>
                      <a:pt x="11" y="10"/>
                    </a:moveTo>
                    <a:cubicBezTo>
                      <a:pt x="10" y="13"/>
                      <a:pt x="10" y="18"/>
                      <a:pt x="6" y="17"/>
                    </a:cubicBezTo>
                    <a:cubicBezTo>
                      <a:pt x="3" y="16"/>
                      <a:pt x="2" y="12"/>
                      <a:pt x="0" y="10"/>
                    </a:cubicBezTo>
                    <a:cubicBezTo>
                      <a:pt x="1" y="4"/>
                      <a:pt x="4" y="0"/>
                      <a:pt x="7" y="0"/>
                    </a:cubicBezTo>
                    <a:cubicBezTo>
                      <a:pt x="10" y="0"/>
                      <a:pt x="12" y="5"/>
                      <a:pt x="11" y="10"/>
                    </a:cubicBezTo>
                    <a:cubicBezTo>
                      <a:pt x="11" y="10"/>
                      <a:pt x="11" y="10"/>
                      <a:pt x="11" y="10"/>
                    </a:cubicBezTo>
                    <a:close/>
                    <a:moveTo>
                      <a:pt x="5" y="3"/>
                    </a:moveTo>
                    <a:cubicBezTo>
                      <a:pt x="5" y="7"/>
                      <a:pt x="5" y="11"/>
                      <a:pt x="5" y="14"/>
                    </a:cubicBezTo>
                    <a:cubicBezTo>
                      <a:pt x="9" y="10"/>
                      <a:pt x="9" y="7"/>
                      <a:pt x="5" y="3"/>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35">
                <a:extLst>
                  <a:ext uri="{FF2B5EF4-FFF2-40B4-BE49-F238E27FC236}">
                    <a16:creationId xmlns:a16="http://schemas.microsoft.com/office/drawing/2014/main" id="{9AEB4D7D-CC6A-4CC4-820F-5F87BA513CF7}"/>
                  </a:ext>
                </a:extLst>
              </p:cNvPr>
              <p:cNvSpPr>
                <a:spLocks noEditPoints="1"/>
              </p:cNvSpPr>
              <p:nvPr/>
            </p:nvSpPr>
            <p:spPr bwMode="auto">
              <a:xfrm>
                <a:off x="7715" y="2595"/>
                <a:ext cx="26" cy="37"/>
              </a:xfrm>
              <a:custGeom>
                <a:avLst/>
                <a:gdLst>
                  <a:gd name="T0" fmla="*/ 14 w 14"/>
                  <a:gd name="T1" fmla="*/ 11 h 20"/>
                  <a:gd name="T2" fmla="*/ 6 w 14"/>
                  <a:gd name="T3" fmla="*/ 20 h 20"/>
                  <a:gd name="T4" fmla="*/ 1 w 14"/>
                  <a:gd name="T5" fmla="*/ 9 h 20"/>
                  <a:gd name="T6" fmla="*/ 1 w 14"/>
                  <a:gd name="T7" fmla="*/ 8 h 20"/>
                  <a:gd name="T8" fmla="*/ 8 w 14"/>
                  <a:gd name="T9" fmla="*/ 1 h 20"/>
                  <a:gd name="T10" fmla="*/ 14 w 14"/>
                  <a:gd name="T11" fmla="*/ 10 h 20"/>
                  <a:gd name="T12" fmla="*/ 14 w 14"/>
                  <a:gd name="T13" fmla="*/ 11 h 20"/>
                  <a:gd name="T14" fmla="*/ 9 w 14"/>
                  <a:gd name="T15" fmla="*/ 16 h 20"/>
                  <a:gd name="T16" fmla="*/ 6 w 14"/>
                  <a:gd name="T17" fmla="*/ 3 h 20"/>
                  <a:gd name="T18" fmla="*/ 5 w 14"/>
                  <a:gd name="T19" fmla="*/ 15 h 20"/>
                  <a:gd name="T20" fmla="*/ 9 w 14"/>
                  <a:gd name="T21" fmla="*/ 16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20">
                    <a:moveTo>
                      <a:pt x="14" y="11"/>
                    </a:moveTo>
                    <a:cubicBezTo>
                      <a:pt x="14" y="16"/>
                      <a:pt x="10" y="20"/>
                      <a:pt x="6" y="20"/>
                    </a:cubicBezTo>
                    <a:cubicBezTo>
                      <a:pt x="3" y="19"/>
                      <a:pt x="0" y="14"/>
                      <a:pt x="1" y="9"/>
                    </a:cubicBezTo>
                    <a:cubicBezTo>
                      <a:pt x="1" y="9"/>
                      <a:pt x="1" y="9"/>
                      <a:pt x="1" y="8"/>
                    </a:cubicBezTo>
                    <a:cubicBezTo>
                      <a:pt x="2" y="5"/>
                      <a:pt x="3" y="0"/>
                      <a:pt x="8" y="1"/>
                    </a:cubicBezTo>
                    <a:cubicBezTo>
                      <a:pt x="11" y="1"/>
                      <a:pt x="14" y="5"/>
                      <a:pt x="14" y="10"/>
                    </a:cubicBezTo>
                    <a:cubicBezTo>
                      <a:pt x="14" y="10"/>
                      <a:pt x="14" y="11"/>
                      <a:pt x="14" y="11"/>
                    </a:cubicBezTo>
                    <a:close/>
                    <a:moveTo>
                      <a:pt x="9" y="16"/>
                    </a:moveTo>
                    <a:cubicBezTo>
                      <a:pt x="13" y="12"/>
                      <a:pt x="12" y="6"/>
                      <a:pt x="6" y="3"/>
                    </a:cubicBezTo>
                    <a:cubicBezTo>
                      <a:pt x="3" y="7"/>
                      <a:pt x="3" y="11"/>
                      <a:pt x="5" y="15"/>
                    </a:cubicBezTo>
                    <a:cubicBezTo>
                      <a:pt x="6" y="18"/>
                      <a:pt x="8" y="18"/>
                      <a:pt x="9" y="16"/>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36">
                <a:extLst>
                  <a:ext uri="{FF2B5EF4-FFF2-40B4-BE49-F238E27FC236}">
                    <a16:creationId xmlns:a16="http://schemas.microsoft.com/office/drawing/2014/main" id="{E951C78C-2A86-49F4-ABA4-0917FB30E09C}"/>
                  </a:ext>
                </a:extLst>
              </p:cNvPr>
              <p:cNvSpPr>
                <a:spLocks noEditPoints="1"/>
              </p:cNvSpPr>
              <p:nvPr/>
            </p:nvSpPr>
            <p:spPr bwMode="auto">
              <a:xfrm>
                <a:off x="6461" y="2572"/>
                <a:ext cx="158" cy="53"/>
              </a:xfrm>
              <a:custGeom>
                <a:avLst/>
                <a:gdLst>
                  <a:gd name="T0" fmla="*/ 49 w 84"/>
                  <a:gd name="T1" fmla="*/ 25 h 28"/>
                  <a:gd name="T2" fmla="*/ 9 w 84"/>
                  <a:gd name="T3" fmla="*/ 10 h 28"/>
                  <a:gd name="T4" fmla="*/ 2 w 84"/>
                  <a:gd name="T5" fmla="*/ 6 h 28"/>
                  <a:gd name="T6" fmla="*/ 0 w 84"/>
                  <a:gd name="T7" fmla="*/ 2 h 28"/>
                  <a:gd name="T8" fmla="*/ 4 w 84"/>
                  <a:gd name="T9" fmla="*/ 0 h 28"/>
                  <a:gd name="T10" fmla="*/ 9 w 84"/>
                  <a:gd name="T11" fmla="*/ 0 h 28"/>
                  <a:gd name="T12" fmla="*/ 60 w 84"/>
                  <a:gd name="T13" fmla="*/ 12 h 28"/>
                  <a:gd name="T14" fmla="*/ 78 w 84"/>
                  <a:gd name="T15" fmla="*/ 18 h 28"/>
                  <a:gd name="T16" fmla="*/ 84 w 84"/>
                  <a:gd name="T17" fmla="*/ 24 h 28"/>
                  <a:gd name="T18" fmla="*/ 77 w 84"/>
                  <a:gd name="T19" fmla="*/ 28 h 28"/>
                  <a:gd name="T20" fmla="*/ 49 w 84"/>
                  <a:gd name="T21" fmla="*/ 25 h 28"/>
                  <a:gd name="T22" fmla="*/ 10 w 84"/>
                  <a:gd name="T23" fmla="*/ 8 h 28"/>
                  <a:gd name="T24" fmla="*/ 40 w 84"/>
                  <a:gd name="T25" fmla="*/ 19 h 28"/>
                  <a:gd name="T26" fmla="*/ 74 w 84"/>
                  <a:gd name="T27" fmla="*/ 25 h 28"/>
                  <a:gd name="T28" fmla="*/ 81 w 84"/>
                  <a:gd name="T29" fmla="*/ 24 h 28"/>
                  <a:gd name="T30" fmla="*/ 81 w 84"/>
                  <a:gd name="T31" fmla="*/ 22 h 28"/>
                  <a:gd name="T32" fmla="*/ 4 w 84"/>
                  <a:gd name="T33" fmla="*/ 2 h 28"/>
                  <a:gd name="T34" fmla="*/ 3 w 84"/>
                  <a:gd name="T35" fmla="*/ 4 h 28"/>
                  <a:gd name="T36" fmla="*/ 10 w 84"/>
                  <a:gd name="T3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4" h="28">
                    <a:moveTo>
                      <a:pt x="49" y="25"/>
                    </a:moveTo>
                    <a:cubicBezTo>
                      <a:pt x="35" y="21"/>
                      <a:pt x="22" y="15"/>
                      <a:pt x="9" y="10"/>
                    </a:cubicBezTo>
                    <a:cubicBezTo>
                      <a:pt x="6" y="10"/>
                      <a:pt x="4" y="8"/>
                      <a:pt x="2" y="6"/>
                    </a:cubicBezTo>
                    <a:cubicBezTo>
                      <a:pt x="1" y="5"/>
                      <a:pt x="0" y="3"/>
                      <a:pt x="0" y="2"/>
                    </a:cubicBezTo>
                    <a:cubicBezTo>
                      <a:pt x="1" y="1"/>
                      <a:pt x="3" y="0"/>
                      <a:pt x="4" y="0"/>
                    </a:cubicBezTo>
                    <a:cubicBezTo>
                      <a:pt x="6" y="0"/>
                      <a:pt x="7" y="0"/>
                      <a:pt x="9" y="0"/>
                    </a:cubicBezTo>
                    <a:cubicBezTo>
                      <a:pt x="27" y="0"/>
                      <a:pt x="43" y="8"/>
                      <a:pt x="60" y="12"/>
                    </a:cubicBezTo>
                    <a:cubicBezTo>
                      <a:pt x="66" y="14"/>
                      <a:pt x="72" y="16"/>
                      <a:pt x="78" y="18"/>
                    </a:cubicBezTo>
                    <a:cubicBezTo>
                      <a:pt x="80" y="19"/>
                      <a:pt x="82" y="22"/>
                      <a:pt x="84" y="24"/>
                    </a:cubicBezTo>
                    <a:cubicBezTo>
                      <a:pt x="81" y="25"/>
                      <a:pt x="79" y="28"/>
                      <a:pt x="77" y="28"/>
                    </a:cubicBezTo>
                    <a:cubicBezTo>
                      <a:pt x="68" y="28"/>
                      <a:pt x="58" y="27"/>
                      <a:pt x="49" y="25"/>
                    </a:cubicBezTo>
                    <a:close/>
                    <a:moveTo>
                      <a:pt x="10" y="8"/>
                    </a:moveTo>
                    <a:cubicBezTo>
                      <a:pt x="20" y="12"/>
                      <a:pt x="30" y="16"/>
                      <a:pt x="40" y="19"/>
                    </a:cubicBezTo>
                    <a:cubicBezTo>
                      <a:pt x="51" y="22"/>
                      <a:pt x="63" y="24"/>
                      <a:pt x="74" y="25"/>
                    </a:cubicBezTo>
                    <a:cubicBezTo>
                      <a:pt x="76" y="26"/>
                      <a:pt x="79" y="25"/>
                      <a:pt x="81" y="24"/>
                    </a:cubicBezTo>
                    <a:cubicBezTo>
                      <a:pt x="81" y="23"/>
                      <a:pt x="81" y="23"/>
                      <a:pt x="81" y="22"/>
                    </a:cubicBezTo>
                    <a:cubicBezTo>
                      <a:pt x="55" y="14"/>
                      <a:pt x="30" y="4"/>
                      <a:pt x="4" y="2"/>
                    </a:cubicBezTo>
                    <a:cubicBezTo>
                      <a:pt x="3" y="3"/>
                      <a:pt x="3" y="3"/>
                      <a:pt x="3" y="4"/>
                    </a:cubicBezTo>
                    <a:cubicBezTo>
                      <a:pt x="5" y="5"/>
                      <a:pt x="7" y="7"/>
                      <a:pt x="10" y="8"/>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37">
                <a:extLst>
                  <a:ext uri="{FF2B5EF4-FFF2-40B4-BE49-F238E27FC236}">
                    <a16:creationId xmlns:a16="http://schemas.microsoft.com/office/drawing/2014/main" id="{D234435F-E2ED-4EC1-BBD3-CF00CE62433A}"/>
                  </a:ext>
                </a:extLst>
              </p:cNvPr>
              <p:cNvSpPr>
                <a:spLocks noEditPoints="1"/>
              </p:cNvSpPr>
              <p:nvPr/>
            </p:nvSpPr>
            <p:spPr bwMode="auto">
              <a:xfrm>
                <a:off x="6104" y="2496"/>
                <a:ext cx="85" cy="57"/>
              </a:xfrm>
              <a:custGeom>
                <a:avLst/>
                <a:gdLst>
                  <a:gd name="T0" fmla="*/ 38 w 45"/>
                  <a:gd name="T1" fmla="*/ 30 h 30"/>
                  <a:gd name="T2" fmla="*/ 15 w 45"/>
                  <a:gd name="T3" fmla="*/ 26 h 30"/>
                  <a:gd name="T4" fmla="*/ 2 w 45"/>
                  <a:gd name="T5" fmla="*/ 10 h 30"/>
                  <a:gd name="T6" fmla="*/ 0 w 45"/>
                  <a:gd name="T7" fmla="*/ 2 h 30"/>
                  <a:gd name="T8" fmla="*/ 5 w 45"/>
                  <a:gd name="T9" fmla="*/ 0 h 30"/>
                  <a:gd name="T10" fmla="*/ 38 w 45"/>
                  <a:gd name="T11" fmla="*/ 10 h 30"/>
                  <a:gd name="T12" fmla="*/ 44 w 45"/>
                  <a:gd name="T13" fmla="*/ 23 h 30"/>
                  <a:gd name="T14" fmla="*/ 38 w 45"/>
                  <a:gd name="T15" fmla="*/ 30 h 30"/>
                  <a:gd name="T16" fmla="*/ 35 w 45"/>
                  <a:gd name="T17" fmla="*/ 12 h 30"/>
                  <a:gd name="T18" fmla="*/ 4 w 45"/>
                  <a:gd name="T19" fmla="*/ 2 h 30"/>
                  <a:gd name="T20" fmla="*/ 24 w 45"/>
                  <a:gd name="T21" fmla="*/ 25 h 30"/>
                  <a:gd name="T22" fmla="*/ 34 w 45"/>
                  <a:gd name="T23" fmla="*/ 26 h 30"/>
                  <a:gd name="T24" fmla="*/ 40 w 45"/>
                  <a:gd name="T25" fmla="*/ 18 h 30"/>
                  <a:gd name="T26" fmla="*/ 35 w 45"/>
                  <a:gd name="T27" fmla="*/ 1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 h="30">
                    <a:moveTo>
                      <a:pt x="38" y="30"/>
                    </a:moveTo>
                    <a:cubicBezTo>
                      <a:pt x="30" y="29"/>
                      <a:pt x="22" y="28"/>
                      <a:pt x="15" y="26"/>
                    </a:cubicBezTo>
                    <a:cubicBezTo>
                      <a:pt x="8" y="24"/>
                      <a:pt x="5" y="17"/>
                      <a:pt x="2" y="10"/>
                    </a:cubicBezTo>
                    <a:cubicBezTo>
                      <a:pt x="1" y="8"/>
                      <a:pt x="1" y="5"/>
                      <a:pt x="0" y="2"/>
                    </a:cubicBezTo>
                    <a:cubicBezTo>
                      <a:pt x="1" y="1"/>
                      <a:pt x="3" y="0"/>
                      <a:pt x="5" y="0"/>
                    </a:cubicBezTo>
                    <a:cubicBezTo>
                      <a:pt x="17" y="0"/>
                      <a:pt x="28" y="2"/>
                      <a:pt x="38" y="10"/>
                    </a:cubicBezTo>
                    <a:cubicBezTo>
                      <a:pt x="42" y="14"/>
                      <a:pt x="45" y="18"/>
                      <a:pt x="44" y="23"/>
                    </a:cubicBezTo>
                    <a:cubicBezTo>
                      <a:pt x="44" y="27"/>
                      <a:pt x="42" y="30"/>
                      <a:pt x="38" y="30"/>
                    </a:cubicBezTo>
                    <a:close/>
                    <a:moveTo>
                      <a:pt x="35" y="12"/>
                    </a:moveTo>
                    <a:cubicBezTo>
                      <a:pt x="26" y="5"/>
                      <a:pt x="15" y="4"/>
                      <a:pt x="4" y="2"/>
                    </a:cubicBezTo>
                    <a:cubicBezTo>
                      <a:pt x="5" y="16"/>
                      <a:pt x="12" y="23"/>
                      <a:pt x="24" y="25"/>
                    </a:cubicBezTo>
                    <a:cubicBezTo>
                      <a:pt x="27" y="26"/>
                      <a:pt x="31" y="26"/>
                      <a:pt x="34" y="26"/>
                    </a:cubicBezTo>
                    <a:cubicBezTo>
                      <a:pt x="41" y="27"/>
                      <a:pt x="43" y="24"/>
                      <a:pt x="40" y="18"/>
                    </a:cubicBezTo>
                    <a:cubicBezTo>
                      <a:pt x="39" y="16"/>
                      <a:pt x="37" y="14"/>
                      <a:pt x="35" y="12"/>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38">
                <a:extLst>
                  <a:ext uri="{FF2B5EF4-FFF2-40B4-BE49-F238E27FC236}">
                    <a16:creationId xmlns:a16="http://schemas.microsoft.com/office/drawing/2014/main" id="{8D77CA4F-E448-4051-9263-1EC26E9DC57D}"/>
                  </a:ext>
                </a:extLst>
              </p:cNvPr>
              <p:cNvSpPr>
                <a:spLocks noEditPoints="1"/>
              </p:cNvSpPr>
              <p:nvPr/>
            </p:nvSpPr>
            <p:spPr bwMode="auto">
              <a:xfrm>
                <a:off x="5961" y="2067"/>
                <a:ext cx="2719" cy="717"/>
              </a:xfrm>
              <a:custGeom>
                <a:avLst/>
                <a:gdLst>
                  <a:gd name="T0" fmla="*/ 693 w 1445"/>
                  <a:gd name="T1" fmla="*/ 67 h 379"/>
                  <a:gd name="T2" fmla="*/ 3 w 1445"/>
                  <a:gd name="T3" fmla="*/ 230 h 379"/>
                  <a:gd name="T4" fmla="*/ 420 w 1445"/>
                  <a:gd name="T5" fmla="*/ 330 h 379"/>
                  <a:gd name="T6" fmla="*/ 686 w 1445"/>
                  <a:gd name="T7" fmla="*/ 342 h 379"/>
                  <a:gd name="T8" fmla="*/ 972 w 1445"/>
                  <a:gd name="T9" fmla="*/ 289 h 379"/>
                  <a:gd name="T10" fmla="*/ 1116 w 1445"/>
                  <a:gd name="T11" fmla="*/ 300 h 379"/>
                  <a:gd name="T12" fmla="*/ 1203 w 1445"/>
                  <a:gd name="T13" fmla="*/ 322 h 379"/>
                  <a:gd name="T14" fmla="*/ 1317 w 1445"/>
                  <a:gd name="T15" fmla="*/ 346 h 379"/>
                  <a:gd name="T16" fmla="*/ 1442 w 1445"/>
                  <a:gd name="T17" fmla="*/ 288 h 379"/>
                  <a:gd name="T18" fmla="*/ 1400 w 1445"/>
                  <a:gd name="T19" fmla="*/ 239 h 379"/>
                  <a:gd name="T20" fmla="*/ 1309 w 1445"/>
                  <a:gd name="T21" fmla="*/ 90 h 379"/>
                  <a:gd name="T22" fmla="*/ 1175 w 1445"/>
                  <a:gd name="T23" fmla="*/ 32 h 379"/>
                  <a:gd name="T24" fmla="*/ 1004 w 1445"/>
                  <a:gd name="T25" fmla="*/ 105 h 379"/>
                  <a:gd name="T26" fmla="*/ 895 w 1445"/>
                  <a:gd name="T27" fmla="*/ 203 h 379"/>
                  <a:gd name="T28" fmla="*/ 767 w 1445"/>
                  <a:gd name="T29" fmla="*/ 230 h 379"/>
                  <a:gd name="T30" fmla="*/ 662 w 1445"/>
                  <a:gd name="T31" fmla="*/ 250 h 379"/>
                  <a:gd name="T32" fmla="*/ 448 w 1445"/>
                  <a:gd name="T33" fmla="*/ 246 h 379"/>
                  <a:gd name="T34" fmla="*/ 346 w 1445"/>
                  <a:gd name="T35" fmla="*/ 193 h 379"/>
                  <a:gd name="T36" fmla="*/ 264 w 1445"/>
                  <a:gd name="T37" fmla="*/ 77 h 379"/>
                  <a:gd name="T38" fmla="*/ 136 w 1445"/>
                  <a:gd name="T39" fmla="*/ 105 h 379"/>
                  <a:gd name="T40" fmla="*/ 89 w 1445"/>
                  <a:gd name="T41" fmla="*/ 190 h 379"/>
                  <a:gd name="T42" fmla="*/ 132 w 1445"/>
                  <a:gd name="T43" fmla="*/ 240 h 379"/>
                  <a:gd name="T44" fmla="*/ 21 w 1445"/>
                  <a:gd name="T45" fmla="*/ 213 h 379"/>
                  <a:gd name="T46" fmla="*/ 166 w 1445"/>
                  <a:gd name="T47" fmla="*/ 94 h 379"/>
                  <a:gd name="T48" fmla="*/ 223 w 1445"/>
                  <a:gd name="T49" fmla="*/ 63 h 379"/>
                  <a:gd name="T50" fmla="*/ 221 w 1445"/>
                  <a:gd name="T51" fmla="*/ 74 h 379"/>
                  <a:gd name="T52" fmla="*/ 243 w 1445"/>
                  <a:gd name="T53" fmla="*/ 271 h 379"/>
                  <a:gd name="T54" fmla="*/ 349 w 1445"/>
                  <a:gd name="T55" fmla="*/ 312 h 379"/>
                  <a:gd name="T56" fmla="*/ 362 w 1445"/>
                  <a:gd name="T57" fmla="*/ 80 h 379"/>
                  <a:gd name="T58" fmla="*/ 360 w 1445"/>
                  <a:gd name="T59" fmla="*/ 159 h 379"/>
                  <a:gd name="T60" fmla="*/ 461 w 1445"/>
                  <a:gd name="T61" fmla="*/ 361 h 379"/>
                  <a:gd name="T62" fmla="*/ 488 w 1445"/>
                  <a:gd name="T63" fmla="*/ 326 h 379"/>
                  <a:gd name="T64" fmla="*/ 424 w 1445"/>
                  <a:gd name="T65" fmla="*/ 317 h 379"/>
                  <a:gd name="T66" fmla="*/ 543 w 1445"/>
                  <a:gd name="T67" fmla="*/ 174 h 379"/>
                  <a:gd name="T68" fmla="*/ 427 w 1445"/>
                  <a:gd name="T69" fmla="*/ 331 h 379"/>
                  <a:gd name="T70" fmla="*/ 549 w 1445"/>
                  <a:gd name="T71" fmla="*/ 227 h 379"/>
                  <a:gd name="T72" fmla="*/ 599 w 1445"/>
                  <a:gd name="T73" fmla="*/ 364 h 379"/>
                  <a:gd name="T74" fmla="*/ 631 w 1445"/>
                  <a:gd name="T75" fmla="*/ 341 h 379"/>
                  <a:gd name="T76" fmla="*/ 548 w 1445"/>
                  <a:gd name="T77" fmla="*/ 290 h 379"/>
                  <a:gd name="T78" fmla="*/ 666 w 1445"/>
                  <a:gd name="T79" fmla="*/ 279 h 379"/>
                  <a:gd name="T80" fmla="*/ 773 w 1445"/>
                  <a:gd name="T81" fmla="*/ 328 h 379"/>
                  <a:gd name="T82" fmla="*/ 698 w 1445"/>
                  <a:gd name="T83" fmla="*/ 340 h 379"/>
                  <a:gd name="T84" fmla="*/ 744 w 1445"/>
                  <a:gd name="T85" fmla="*/ 95 h 379"/>
                  <a:gd name="T86" fmla="*/ 758 w 1445"/>
                  <a:gd name="T87" fmla="*/ 334 h 379"/>
                  <a:gd name="T88" fmla="*/ 900 w 1445"/>
                  <a:gd name="T89" fmla="*/ 318 h 379"/>
                  <a:gd name="T90" fmla="*/ 777 w 1445"/>
                  <a:gd name="T91" fmla="*/ 281 h 379"/>
                  <a:gd name="T92" fmla="*/ 895 w 1445"/>
                  <a:gd name="T93" fmla="*/ 217 h 379"/>
                  <a:gd name="T94" fmla="*/ 821 w 1445"/>
                  <a:gd name="T95" fmla="*/ 323 h 379"/>
                  <a:gd name="T96" fmla="*/ 904 w 1445"/>
                  <a:gd name="T97" fmla="*/ 254 h 379"/>
                  <a:gd name="T98" fmla="*/ 1037 w 1445"/>
                  <a:gd name="T99" fmla="*/ 268 h 379"/>
                  <a:gd name="T100" fmla="*/ 1134 w 1445"/>
                  <a:gd name="T101" fmla="*/ 9 h 379"/>
                  <a:gd name="T102" fmla="*/ 1119 w 1445"/>
                  <a:gd name="T103" fmla="*/ 295 h 379"/>
                  <a:gd name="T104" fmla="*/ 1175 w 1445"/>
                  <a:gd name="T105" fmla="*/ 37 h 379"/>
                  <a:gd name="T106" fmla="*/ 1158 w 1445"/>
                  <a:gd name="T107" fmla="*/ 316 h 379"/>
                  <a:gd name="T108" fmla="*/ 1386 w 1445"/>
                  <a:gd name="T109" fmla="*/ 144 h 379"/>
                  <a:gd name="T110" fmla="*/ 1214 w 1445"/>
                  <a:gd name="T111" fmla="*/ 314 h 379"/>
                  <a:gd name="T112" fmla="*/ 1426 w 1445"/>
                  <a:gd name="T113" fmla="*/ 171 h 379"/>
                  <a:gd name="T114" fmla="*/ 1402 w 1445"/>
                  <a:gd name="T115" fmla="*/ 313 h 379"/>
                  <a:gd name="T116" fmla="*/ 1392 w 1445"/>
                  <a:gd name="T117" fmla="*/ 281 h 379"/>
                  <a:gd name="T118" fmla="*/ 1380 w 1445"/>
                  <a:gd name="T119" fmla="*/ 25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45" h="379">
                    <a:moveTo>
                      <a:pt x="1442" y="216"/>
                    </a:moveTo>
                    <a:cubicBezTo>
                      <a:pt x="1439" y="192"/>
                      <a:pt x="1434" y="169"/>
                      <a:pt x="1421" y="148"/>
                    </a:cubicBezTo>
                    <a:cubicBezTo>
                      <a:pt x="1412" y="134"/>
                      <a:pt x="1401" y="120"/>
                      <a:pt x="1390" y="107"/>
                    </a:cubicBezTo>
                    <a:cubicBezTo>
                      <a:pt x="1366" y="78"/>
                      <a:pt x="1338" y="54"/>
                      <a:pt x="1306" y="35"/>
                    </a:cubicBezTo>
                    <a:cubicBezTo>
                      <a:pt x="1283" y="21"/>
                      <a:pt x="1258" y="11"/>
                      <a:pt x="1231" y="6"/>
                    </a:cubicBezTo>
                    <a:cubicBezTo>
                      <a:pt x="1214" y="4"/>
                      <a:pt x="1197" y="2"/>
                      <a:pt x="1180" y="1"/>
                    </a:cubicBezTo>
                    <a:cubicBezTo>
                      <a:pt x="1171" y="0"/>
                      <a:pt x="1162" y="0"/>
                      <a:pt x="1153" y="2"/>
                    </a:cubicBezTo>
                    <a:cubicBezTo>
                      <a:pt x="1130" y="6"/>
                      <a:pt x="1108" y="10"/>
                      <a:pt x="1085" y="16"/>
                    </a:cubicBezTo>
                    <a:cubicBezTo>
                      <a:pt x="1030" y="30"/>
                      <a:pt x="974" y="45"/>
                      <a:pt x="916" y="50"/>
                    </a:cubicBezTo>
                    <a:cubicBezTo>
                      <a:pt x="880" y="53"/>
                      <a:pt x="844" y="57"/>
                      <a:pt x="808" y="60"/>
                    </a:cubicBezTo>
                    <a:cubicBezTo>
                      <a:pt x="788" y="62"/>
                      <a:pt x="767" y="63"/>
                      <a:pt x="747" y="64"/>
                    </a:cubicBezTo>
                    <a:cubicBezTo>
                      <a:pt x="729" y="65"/>
                      <a:pt x="711" y="65"/>
                      <a:pt x="693" y="67"/>
                    </a:cubicBezTo>
                    <a:cubicBezTo>
                      <a:pt x="675" y="68"/>
                      <a:pt x="658" y="70"/>
                      <a:pt x="640" y="72"/>
                    </a:cubicBezTo>
                    <a:cubicBezTo>
                      <a:pt x="620" y="74"/>
                      <a:pt x="601" y="77"/>
                      <a:pt x="581" y="80"/>
                    </a:cubicBezTo>
                    <a:cubicBezTo>
                      <a:pt x="565" y="83"/>
                      <a:pt x="548" y="86"/>
                      <a:pt x="532" y="89"/>
                    </a:cubicBezTo>
                    <a:cubicBezTo>
                      <a:pt x="515" y="91"/>
                      <a:pt x="498" y="92"/>
                      <a:pt x="481" y="93"/>
                    </a:cubicBezTo>
                    <a:cubicBezTo>
                      <a:pt x="469" y="94"/>
                      <a:pt x="458" y="94"/>
                      <a:pt x="447" y="92"/>
                    </a:cubicBezTo>
                    <a:cubicBezTo>
                      <a:pt x="426" y="89"/>
                      <a:pt x="407" y="84"/>
                      <a:pt x="387" y="79"/>
                    </a:cubicBezTo>
                    <a:cubicBezTo>
                      <a:pt x="340" y="68"/>
                      <a:pt x="292" y="61"/>
                      <a:pt x="243" y="58"/>
                    </a:cubicBezTo>
                    <a:cubicBezTo>
                      <a:pt x="228" y="57"/>
                      <a:pt x="211" y="57"/>
                      <a:pt x="196" y="59"/>
                    </a:cubicBezTo>
                    <a:cubicBezTo>
                      <a:pt x="171" y="63"/>
                      <a:pt x="148" y="73"/>
                      <a:pt x="126" y="86"/>
                    </a:cubicBezTo>
                    <a:cubicBezTo>
                      <a:pt x="89" y="110"/>
                      <a:pt x="59" y="140"/>
                      <a:pt x="36" y="178"/>
                    </a:cubicBezTo>
                    <a:cubicBezTo>
                      <a:pt x="29" y="190"/>
                      <a:pt x="21" y="201"/>
                      <a:pt x="13" y="212"/>
                    </a:cubicBezTo>
                    <a:cubicBezTo>
                      <a:pt x="10" y="218"/>
                      <a:pt x="6" y="224"/>
                      <a:pt x="3" y="230"/>
                    </a:cubicBezTo>
                    <a:cubicBezTo>
                      <a:pt x="0" y="237"/>
                      <a:pt x="1" y="245"/>
                      <a:pt x="6" y="250"/>
                    </a:cubicBezTo>
                    <a:cubicBezTo>
                      <a:pt x="9" y="254"/>
                      <a:pt x="13" y="258"/>
                      <a:pt x="18" y="260"/>
                    </a:cubicBezTo>
                    <a:cubicBezTo>
                      <a:pt x="36" y="269"/>
                      <a:pt x="55" y="274"/>
                      <a:pt x="75" y="276"/>
                    </a:cubicBezTo>
                    <a:cubicBezTo>
                      <a:pt x="92" y="277"/>
                      <a:pt x="108" y="279"/>
                      <a:pt x="124" y="275"/>
                    </a:cubicBezTo>
                    <a:cubicBezTo>
                      <a:pt x="139" y="272"/>
                      <a:pt x="154" y="269"/>
                      <a:pt x="169" y="265"/>
                    </a:cubicBezTo>
                    <a:cubicBezTo>
                      <a:pt x="174" y="263"/>
                      <a:pt x="178" y="263"/>
                      <a:pt x="182" y="267"/>
                    </a:cubicBezTo>
                    <a:cubicBezTo>
                      <a:pt x="184" y="269"/>
                      <a:pt x="188" y="270"/>
                      <a:pt x="191" y="271"/>
                    </a:cubicBezTo>
                    <a:cubicBezTo>
                      <a:pt x="206" y="277"/>
                      <a:pt x="222" y="281"/>
                      <a:pt x="239" y="279"/>
                    </a:cubicBezTo>
                    <a:cubicBezTo>
                      <a:pt x="248" y="278"/>
                      <a:pt x="255" y="281"/>
                      <a:pt x="263" y="286"/>
                    </a:cubicBezTo>
                    <a:cubicBezTo>
                      <a:pt x="290" y="300"/>
                      <a:pt x="317" y="314"/>
                      <a:pt x="349" y="317"/>
                    </a:cubicBezTo>
                    <a:cubicBezTo>
                      <a:pt x="371" y="319"/>
                      <a:pt x="393" y="323"/>
                      <a:pt x="416" y="326"/>
                    </a:cubicBezTo>
                    <a:cubicBezTo>
                      <a:pt x="419" y="326"/>
                      <a:pt x="420" y="327"/>
                      <a:pt x="420" y="330"/>
                    </a:cubicBezTo>
                    <a:cubicBezTo>
                      <a:pt x="423" y="348"/>
                      <a:pt x="435" y="361"/>
                      <a:pt x="453" y="366"/>
                    </a:cubicBezTo>
                    <a:cubicBezTo>
                      <a:pt x="470" y="370"/>
                      <a:pt x="486" y="364"/>
                      <a:pt x="496" y="350"/>
                    </a:cubicBezTo>
                    <a:cubicBezTo>
                      <a:pt x="500" y="345"/>
                      <a:pt x="503" y="340"/>
                      <a:pt x="507" y="335"/>
                    </a:cubicBezTo>
                    <a:cubicBezTo>
                      <a:pt x="508" y="333"/>
                      <a:pt x="511" y="332"/>
                      <a:pt x="513" y="331"/>
                    </a:cubicBezTo>
                    <a:cubicBezTo>
                      <a:pt x="523" y="328"/>
                      <a:pt x="534" y="332"/>
                      <a:pt x="544" y="333"/>
                    </a:cubicBezTo>
                    <a:cubicBezTo>
                      <a:pt x="549" y="334"/>
                      <a:pt x="551" y="336"/>
                      <a:pt x="552" y="341"/>
                    </a:cubicBezTo>
                    <a:cubicBezTo>
                      <a:pt x="553" y="347"/>
                      <a:pt x="554" y="353"/>
                      <a:pt x="558" y="357"/>
                    </a:cubicBezTo>
                    <a:cubicBezTo>
                      <a:pt x="572" y="372"/>
                      <a:pt x="594" y="377"/>
                      <a:pt x="612" y="369"/>
                    </a:cubicBezTo>
                    <a:cubicBezTo>
                      <a:pt x="625" y="363"/>
                      <a:pt x="634" y="354"/>
                      <a:pt x="638" y="341"/>
                    </a:cubicBezTo>
                    <a:cubicBezTo>
                      <a:pt x="640" y="336"/>
                      <a:pt x="642" y="334"/>
                      <a:pt x="647" y="335"/>
                    </a:cubicBezTo>
                    <a:cubicBezTo>
                      <a:pt x="658" y="336"/>
                      <a:pt x="669" y="336"/>
                      <a:pt x="680" y="337"/>
                    </a:cubicBezTo>
                    <a:cubicBezTo>
                      <a:pt x="684" y="337"/>
                      <a:pt x="686" y="338"/>
                      <a:pt x="686" y="342"/>
                    </a:cubicBezTo>
                    <a:cubicBezTo>
                      <a:pt x="689" y="351"/>
                      <a:pt x="694" y="358"/>
                      <a:pt x="700" y="364"/>
                    </a:cubicBezTo>
                    <a:cubicBezTo>
                      <a:pt x="716" y="379"/>
                      <a:pt x="759" y="376"/>
                      <a:pt x="766" y="346"/>
                    </a:cubicBezTo>
                    <a:cubicBezTo>
                      <a:pt x="767" y="343"/>
                      <a:pt x="768" y="340"/>
                      <a:pt x="769" y="336"/>
                    </a:cubicBezTo>
                    <a:cubicBezTo>
                      <a:pt x="770" y="334"/>
                      <a:pt x="771" y="332"/>
                      <a:pt x="774" y="332"/>
                    </a:cubicBezTo>
                    <a:cubicBezTo>
                      <a:pt x="786" y="332"/>
                      <a:pt x="797" y="332"/>
                      <a:pt x="810" y="332"/>
                    </a:cubicBezTo>
                    <a:cubicBezTo>
                      <a:pt x="814" y="346"/>
                      <a:pt x="824" y="355"/>
                      <a:pt x="839" y="358"/>
                    </a:cubicBezTo>
                    <a:cubicBezTo>
                      <a:pt x="844" y="359"/>
                      <a:pt x="849" y="359"/>
                      <a:pt x="854" y="360"/>
                    </a:cubicBezTo>
                    <a:cubicBezTo>
                      <a:pt x="878" y="361"/>
                      <a:pt x="899" y="352"/>
                      <a:pt x="906" y="324"/>
                    </a:cubicBezTo>
                    <a:cubicBezTo>
                      <a:pt x="907" y="320"/>
                      <a:pt x="909" y="316"/>
                      <a:pt x="909" y="313"/>
                    </a:cubicBezTo>
                    <a:cubicBezTo>
                      <a:pt x="916" y="313"/>
                      <a:pt x="923" y="313"/>
                      <a:pt x="929" y="313"/>
                    </a:cubicBezTo>
                    <a:cubicBezTo>
                      <a:pt x="941" y="313"/>
                      <a:pt x="951" y="309"/>
                      <a:pt x="959" y="301"/>
                    </a:cubicBezTo>
                    <a:cubicBezTo>
                      <a:pt x="963" y="297"/>
                      <a:pt x="968" y="293"/>
                      <a:pt x="972" y="289"/>
                    </a:cubicBezTo>
                    <a:cubicBezTo>
                      <a:pt x="979" y="283"/>
                      <a:pt x="986" y="281"/>
                      <a:pt x="995" y="283"/>
                    </a:cubicBezTo>
                    <a:cubicBezTo>
                      <a:pt x="1010" y="286"/>
                      <a:pt x="1024" y="283"/>
                      <a:pt x="1036" y="275"/>
                    </a:cubicBezTo>
                    <a:cubicBezTo>
                      <a:pt x="1040" y="273"/>
                      <a:pt x="1043" y="271"/>
                      <a:pt x="1047" y="270"/>
                    </a:cubicBezTo>
                    <a:cubicBezTo>
                      <a:pt x="1048" y="269"/>
                      <a:pt x="1050" y="269"/>
                      <a:pt x="1051" y="270"/>
                    </a:cubicBezTo>
                    <a:cubicBezTo>
                      <a:pt x="1063" y="281"/>
                      <a:pt x="1076" y="286"/>
                      <a:pt x="1092" y="285"/>
                    </a:cubicBezTo>
                    <a:cubicBezTo>
                      <a:pt x="1092" y="286"/>
                      <a:pt x="1092" y="286"/>
                      <a:pt x="1092" y="286"/>
                    </a:cubicBezTo>
                    <a:cubicBezTo>
                      <a:pt x="1092" y="287"/>
                      <a:pt x="1092" y="288"/>
                      <a:pt x="1092" y="289"/>
                    </a:cubicBezTo>
                    <a:cubicBezTo>
                      <a:pt x="1091" y="298"/>
                      <a:pt x="1095" y="305"/>
                      <a:pt x="1102" y="310"/>
                    </a:cubicBezTo>
                    <a:cubicBezTo>
                      <a:pt x="1104" y="312"/>
                      <a:pt x="1108" y="313"/>
                      <a:pt x="1110" y="312"/>
                    </a:cubicBezTo>
                    <a:cubicBezTo>
                      <a:pt x="1112" y="311"/>
                      <a:pt x="1112" y="307"/>
                      <a:pt x="1113" y="305"/>
                    </a:cubicBezTo>
                    <a:cubicBezTo>
                      <a:pt x="1113" y="302"/>
                      <a:pt x="1113" y="299"/>
                      <a:pt x="1113" y="296"/>
                    </a:cubicBezTo>
                    <a:cubicBezTo>
                      <a:pt x="1115" y="297"/>
                      <a:pt x="1115" y="299"/>
                      <a:pt x="1116" y="300"/>
                    </a:cubicBezTo>
                    <a:cubicBezTo>
                      <a:pt x="1118" y="305"/>
                      <a:pt x="1120" y="310"/>
                      <a:pt x="1123" y="313"/>
                    </a:cubicBezTo>
                    <a:cubicBezTo>
                      <a:pt x="1129" y="319"/>
                      <a:pt x="1133" y="318"/>
                      <a:pt x="1135" y="310"/>
                    </a:cubicBezTo>
                    <a:cubicBezTo>
                      <a:pt x="1136" y="308"/>
                      <a:pt x="1136" y="306"/>
                      <a:pt x="1137" y="304"/>
                    </a:cubicBezTo>
                    <a:cubicBezTo>
                      <a:pt x="1138" y="303"/>
                      <a:pt x="1139" y="302"/>
                      <a:pt x="1141" y="300"/>
                    </a:cubicBezTo>
                    <a:cubicBezTo>
                      <a:pt x="1143" y="311"/>
                      <a:pt x="1149" y="319"/>
                      <a:pt x="1160" y="321"/>
                    </a:cubicBezTo>
                    <a:cubicBezTo>
                      <a:pt x="1165" y="322"/>
                      <a:pt x="1168" y="320"/>
                      <a:pt x="1168" y="315"/>
                    </a:cubicBezTo>
                    <a:cubicBezTo>
                      <a:pt x="1168" y="312"/>
                      <a:pt x="1168" y="309"/>
                      <a:pt x="1168" y="307"/>
                    </a:cubicBezTo>
                    <a:cubicBezTo>
                      <a:pt x="1168" y="302"/>
                      <a:pt x="1170" y="300"/>
                      <a:pt x="1174" y="303"/>
                    </a:cubicBezTo>
                    <a:cubicBezTo>
                      <a:pt x="1176" y="303"/>
                      <a:pt x="1176" y="305"/>
                      <a:pt x="1177" y="307"/>
                    </a:cubicBezTo>
                    <a:cubicBezTo>
                      <a:pt x="1180" y="318"/>
                      <a:pt x="1188" y="326"/>
                      <a:pt x="1199" y="332"/>
                    </a:cubicBezTo>
                    <a:cubicBezTo>
                      <a:pt x="1203" y="334"/>
                      <a:pt x="1205" y="333"/>
                      <a:pt x="1204" y="328"/>
                    </a:cubicBezTo>
                    <a:cubicBezTo>
                      <a:pt x="1204" y="326"/>
                      <a:pt x="1204" y="324"/>
                      <a:pt x="1203" y="322"/>
                    </a:cubicBezTo>
                    <a:cubicBezTo>
                      <a:pt x="1203" y="318"/>
                      <a:pt x="1205" y="316"/>
                      <a:pt x="1209" y="314"/>
                    </a:cubicBezTo>
                    <a:cubicBezTo>
                      <a:pt x="1210" y="315"/>
                      <a:pt x="1210" y="316"/>
                      <a:pt x="1211" y="317"/>
                    </a:cubicBezTo>
                    <a:cubicBezTo>
                      <a:pt x="1217" y="326"/>
                      <a:pt x="1225" y="331"/>
                      <a:pt x="1235" y="334"/>
                    </a:cubicBezTo>
                    <a:cubicBezTo>
                      <a:pt x="1241" y="336"/>
                      <a:pt x="1243" y="334"/>
                      <a:pt x="1243" y="328"/>
                    </a:cubicBezTo>
                    <a:cubicBezTo>
                      <a:pt x="1243" y="326"/>
                      <a:pt x="1243" y="324"/>
                      <a:pt x="1243" y="322"/>
                    </a:cubicBezTo>
                    <a:cubicBezTo>
                      <a:pt x="1243" y="321"/>
                      <a:pt x="1243" y="321"/>
                      <a:pt x="1244" y="321"/>
                    </a:cubicBezTo>
                    <a:cubicBezTo>
                      <a:pt x="1247" y="323"/>
                      <a:pt x="1251" y="324"/>
                      <a:pt x="1252" y="327"/>
                    </a:cubicBezTo>
                    <a:cubicBezTo>
                      <a:pt x="1257" y="335"/>
                      <a:pt x="1263" y="340"/>
                      <a:pt x="1272" y="342"/>
                    </a:cubicBezTo>
                    <a:cubicBezTo>
                      <a:pt x="1276" y="343"/>
                      <a:pt x="1277" y="342"/>
                      <a:pt x="1278" y="337"/>
                    </a:cubicBezTo>
                    <a:cubicBezTo>
                      <a:pt x="1278" y="335"/>
                      <a:pt x="1280" y="333"/>
                      <a:pt x="1280" y="332"/>
                    </a:cubicBezTo>
                    <a:cubicBezTo>
                      <a:pt x="1282" y="332"/>
                      <a:pt x="1284" y="333"/>
                      <a:pt x="1285" y="334"/>
                    </a:cubicBezTo>
                    <a:cubicBezTo>
                      <a:pt x="1294" y="341"/>
                      <a:pt x="1304" y="347"/>
                      <a:pt x="1317" y="346"/>
                    </a:cubicBezTo>
                    <a:cubicBezTo>
                      <a:pt x="1319" y="346"/>
                      <a:pt x="1322" y="344"/>
                      <a:pt x="1325" y="343"/>
                    </a:cubicBezTo>
                    <a:cubicBezTo>
                      <a:pt x="1322" y="339"/>
                      <a:pt x="1320" y="336"/>
                      <a:pt x="1317" y="333"/>
                    </a:cubicBezTo>
                    <a:cubicBezTo>
                      <a:pt x="1323" y="333"/>
                      <a:pt x="1328" y="334"/>
                      <a:pt x="1332" y="333"/>
                    </a:cubicBezTo>
                    <a:cubicBezTo>
                      <a:pt x="1338" y="331"/>
                      <a:pt x="1342" y="333"/>
                      <a:pt x="1346" y="336"/>
                    </a:cubicBezTo>
                    <a:cubicBezTo>
                      <a:pt x="1352" y="342"/>
                      <a:pt x="1361" y="344"/>
                      <a:pt x="1369" y="346"/>
                    </a:cubicBezTo>
                    <a:cubicBezTo>
                      <a:pt x="1374" y="347"/>
                      <a:pt x="1375" y="346"/>
                      <a:pt x="1375" y="341"/>
                    </a:cubicBezTo>
                    <a:cubicBezTo>
                      <a:pt x="1374" y="339"/>
                      <a:pt x="1374" y="336"/>
                      <a:pt x="1374" y="334"/>
                    </a:cubicBezTo>
                    <a:cubicBezTo>
                      <a:pt x="1374" y="330"/>
                      <a:pt x="1375" y="327"/>
                      <a:pt x="1379" y="326"/>
                    </a:cubicBezTo>
                    <a:cubicBezTo>
                      <a:pt x="1387" y="324"/>
                      <a:pt x="1395" y="321"/>
                      <a:pt x="1403" y="318"/>
                    </a:cubicBezTo>
                    <a:cubicBezTo>
                      <a:pt x="1409" y="315"/>
                      <a:pt x="1415" y="312"/>
                      <a:pt x="1421" y="308"/>
                    </a:cubicBezTo>
                    <a:cubicBezTo>
                      <a:pt x="1427" y="304"/>
                      <a:pt x="1432" y="300"/>
                      <a:pt x="1437" y="295"/>
                    </a:cubicBezTo>
                    <a:cubicBezTo>
                      <a:pt x="1439" y="293"/>
                      <a:pt x="1441" y="291"/>
                      <a:pt x="1442" y="288"/>
                    </a:cubicBezTo>
                    <a:cubicBezTo>
                      <a:pt x="1443" y="279"/>
                      <a:pt x="1445" y="270"/>
                      <a:pt x="1445" y="261"/>
                    </a:cubicBezTo>
                    <a:cubicBezTo>
                      <a:pt x="1445" y="246"/>
                      <a:pt x="1444" y="231"/>
                      <a:pt x="1442" y="216"/>
                    </a:cubicBezTo>
                    <a:close/>
                    <a:moveTo>
                      <a:pt x="1436" y="210"/>
                    </a:moveTo>
                    <a:cubicBezTo>
                      <a:pt x="1437" y="214"/>
                      <a:pt x="1437" y="219"/>
                      <a:pt x="1438" y="223"/>
                    </a:cubicBezTo>
                    <a:cubicBezTo>
                      <a:pt x="1438" y="224"/>
                      <a:pt x="1437" y="226"/>
                      <a:pt x="1436" y="226"/>
                    </a:cubicBezTo>
                    <a:cubicBezTo>
                      <a:pt x="1423" y="233"/>
                      <a:pt x="1411" y="241"/>
                      <a:pt x="1398" y="246"/>
                    </a:cubicBezTo>
                    <a:cubicBezTo>
                      <a:pt x="1387" y="252"/>
                      <a:pt x="1376" y="258"/>
                      <a:pt x="1366" y="265"/>
                    </a:cubicBezTo>
                    <a:cubicBezTo>
                      <a:pt x="1359" y="269"/>
                      <a:pt x="1352" y="272"/>
                      <a:pt x="1345" y="276"/>
                    </a:cubicBezTo>
                    <a:cubicBezTo>
                      <a:pt x="1345" y="276"/>
                      <a:pt x="1345" y="275"/>
                      <a:pt x="1345" y="275"/>
                    </a:cubicBezTo>
                    <a:cubicBezTo>
                      <a:pt x="1345" y="275"/>
                      <a:pt x="1346" y="274"/>
                      <a:pt x="1347" y="273"/>
                    </a:cubicBezTo>
                    <a:cubicBezTo>
                      <a:pt x="1356" y="267"/>
                      <a:pt x="1365" y="260"/>
                      <a:pt x="1374" y="255"/>
                    </a:cubicBezTo>
                    <a:cubicBezTo>
                      <a:pt x="1382" y="249"/>
                      <a:pt x="1391" y="243"/>
                      <a:pt x="1400" y="239"/>
                    </a:cubicBezTo>
                    <a:cubicBezTo>
                      <a:pt x="1412" y="232"/>
                      <a:pt x="1424" y="225"/>
                      <a:pt x="1432" y="214"/>
                    </a:cubicBezTo>
                    <a:cubicBezTo>
                      <a:pt x="1433" y="213"/>
                      <a:pt x="1434" y="211"/>
                      <a:pt x="1435" y="210"/>
                    </a:cubicBezTo>
                    <a:cubicBezTo>
                      <a:pt x="1435" y="210"/>
                      <a:pt x="1435" y="210"/>
                      <a:pt x="1436" y="210"/>
                    </a:cubicBezTo>
                    <a:close/>
                    <a:moveTo>
                      <a:pt x="1425" y="167"/>
                    </a:moveTo>
                    <a:cubicBezTo>
                      <a:pt x="1373" y="193"/>
                      <a:pt x="1323" y="219"/>
                      <a:pt x="1274" y="249"/>
                    </a:cubicBezTo>
                    <a:cubicBezTo>
                      <a:pt x="1291" y="236"/>
                      <a:pt x="1307" y="223"/>
                      <a:pt x="1324" y="211"/>
                    </a:cubicBezTo>
                    <a:cubicBezTo>
                      <a:pt x="1342" y="199"/>
                      <a:pt x="1358" y="185"/>
                      <a:pt x="1371" y="167"/>
                    </a:cubicBezTo>
                    <a:cubicBezTo>
                      <a:pt x="1380" y="153"/>
                      <a:pt x="1391" y="142"/>
                      <a:pt x="1402" y="128"/>
                    </a:cubicBezTo>
                    <a:cubicBezTo>
                      <a:pt x="1410" y="142"/>
                      <a:pt x="1418" y="154"/>
                      <a:pt x="1425" y="167"/>
                    </a:cubicBezTo>
                    <a:close/>
                    <a:moveTo>
                      <a:pt x="1328" y="56"/>
                    </a:moveTo>
                    <a:cubicBezTo>
                      <a:pt x="1331" y="58"/>
                      <a:pt x="1330" y="60"/>
                      <a:pt x="1329" y="62"/>
                    </a:cubicBezTo>
                    <a:cubicBezTo>
                      <a:pt x="1324" y="73"/>
                      <a:pt x="1317" y="82"/>
                      <a:pt x="1309" y="90"/>
                    </a:cubicBezTo>
                    <a:cubicBezTo>
                      <a:pt x="1300" y="99"/>
                      <a:pt x="1293" y="108"/>
                      <a:pt x="1284" y="116"/>
                    </a:cubicBezTo>
                    <a:cubicBezTo>
                      <a:pt x="1276" y="125"/>
                      <a:pt x="1268" y="134"/>
                      <a:pt x="1259" y="143"/>
                    </a:cubicBezTo>
                    <a:cubicBezTo>
                      <a:pt x="1250" y="153"/>
                      <a:pt x="1241" y="164"/>
                      <a:pt x="1232" y="175"/>
                    </a:cubicBezTo>
                    <a:cubicBezTo>
                      <a:pt x="1227" y="180"/>
                      <a:pt x="1223" y="186"/>
                      <a:pt x="1218" y="193"/>
                    </a:cubicBezTo>
                    <a:cubicBezTo>
                      <a:pt x="1218" y="192"/>
                      <a:pt x="1218" y="191"/>
                      <a:pt x="1218" y="191"/>
                    </a:cubicBezTo>
                    <a:cubicBezTo>
                      <a:pt x="1236" y="154"/>
                      <a:pt x="1254" y="117"/>
                      <a:pt x="1279" y="83"/>
                    </a:cubicBezTo>
                    <a:cubicBezTo>
                      <a:pt x="1284" y="76"/>
                      <a:pt x="1289" y="70"/>
                      <a:pt x="1294" y="64"/>
                    </a:cubicBezTo>
                    <a:cubicBezTo>
                      <a:pt x="1299" y="57"/>
                      <a:pt x="1304" y="51"/>
                      <a:pt x="1309" y="43"/>
                    </a:cubicBezTo>
                    <a:cubicBezTo>
                      <a:pt x="1315" y="47"/>
                      <a:pt x="1321" y="52"/>
                      <a:pt x="1328" y="56"/>
                    </a:cubicBezTo>
                    <a:close/>
                    <a:moveTo>
                      <a:pt x="1137" y="10"/>
                    </a:moveTo>
                    <a:cubicBezTo>
                      <a:pt x="1153" y="8"/>
                      <a:pt x="1169" y="6"/>
                      <a:pt x="1186" y="7"/>
                    </a:cubicBezTo>
                    <a:cubicBezTo>
                      <a:pt x="1185" y="17"/>
                      <a:pt x="1181" y="25"/>
                      <a:pt x="1175" y="32"/>
                    </a:cubicBezTo>
                    <a:cubicBezTo>
                      <a:pt x="1161" y="48"/>
                      <a:pt x="1155" y="67"/>
                      <a:pt x="1152" y="87"/>
                    </a:cubicBezTo>
                    <a:cubicBezTo>
                      <a:pt x="1149" y="99"/>
                      <a:pt x="1145" y="111"/>
                      <a:pt x="1141" y="122"/>
                    </a:cubicBezTo>
                    <a:cubicBezTo>
                      <a:pt x="1137" y="132"/>
                      <a:pt x="1134" y="143"/>
                      <a:pt x="1130" y="153"/>
                    </a:cubicBezTo>
                    <a:cubicBezTo>
                      <a:pt x="1127" y="161"/>
                      <a:pt x="1124" y="169"/>
                      <a:pt x="1120" y="177"/>
                    </a:cubicBezTo>
                    <a:cubicBezTo>
                      <a:pt x="1120" y="177"/>
                      <a:pt x="1119" y="177"/>
                      <a:pt x="1119" y="176"/>
                    </a:cubicBezTo>
                    <a:cubicBezTo>
                      <a:pt x="1118" y="157"/>
                      <a:pt x="1120" y="137"/>
                      <a:pt x="1123" y="117"/>
                    </a:cubicBezTo>
                    <a:cubicBezTo>
                      <a:pt x="1125" y="99"/>
                      <a:pt x="1127" y="80"/>
                      <a:pt x="1130" y="61"/>
                    </a:cubicBezTo>
                    <a:cubicBezTo>
                      <a:pt x="1132" y="49"/>
                      <a:pt x="1134" y="38"/>
                      <a:pt x="1136" y="27"/>
                    </a:cubicBezTo>
                    <a:cubicBezTo>
                      <a:pt x="1137" y="22"/>
                      <a:pt x="1137" y="16"/>
                      <a:pt x="1137" y="10"/>
                    </a:cubicBezTo>
                    <a:close/>
                    <a:moveTo>
                      <a:pt x="1000" y="44"/>
                    </a:moveTo>
                    <a:cubicBezTo>
                      <a:pt x="1001" y="49"/>
                      <a:pt x="1001" y="54"/>
                      <a:pt x="1001" y="58"/>
                    </a:cubicBezTo>
                    <a:cubicBezTo>
                      <a:pt x="1002" y="74"/>
                      <a:pt x="1003" y="89"/>
                      <a:pt x="1004" y="105"/>
                    </a:cubicBezTo>
                    <a:cubicBezTo>
                      <a:pt x="1005" y="124"/>
                      <a:pt x="1012" y="141"/>
                      <a:pt x="1019" y="159"/>
                    </a:cubicBezTo>
                    <a:cubicBezTo>
                      <a:pt x="1022" y="167"/>
                      <a:pt x="1023" y="175"/>
                      <a:pt x="1025" y="183"/>
                    </a:cubicBezTo>
                    <a:cubicBezTo>
                      <a:pt x="1025" y="184"/>
                      <a:pt x="1025" y="186"/>
                      <a:pt x="1025" y="187"/>
                    </a:cubicBezTo>
                    <a:cubicBezTo>
                      <a:pt x="1008" y="156"/>
                      <a:pt x="988" y="126"/>
                      <a:pt x="982" y="90"/>
                    </a:cubicBezTo>
                    <a:cubicBezTo>
                      <a:pt x="981" y="84"/>
                      <a:pt x="980" y="77"/>
                      <a:pt x="980" y="70"/>
                    </a:cubicBezTo>
                    <a:cubicBezTo>
                      <a:pt x="979" y="63"/>
                      <a:pt x="979" y="56"/>
                      <a:pt x="978" y="49"/>
                    </a:cubicBezTo>
                    <a:cubicBezTo>
                      <a:pt x="985" y="48"/>
                      <a:pt x="992" y="46"/>
                      <a:pt x="1000" y="44"/>
                    </a:cubicBezTo>
                    <a:close/>
                    <a:moveTo>
                      <a:pt x="869" y="60"/>
                    </a:moveTo>
                    <a:cubicBezTo>
                      <a:pt x="872" y="60"/>
                      <a:pt x="873" y="61"/>
                      <a:pt x="874" y="64"/>
                    </a:cubicBezTo>
                    <a:cubicBezTo>
                      <a:pt x="877" y="84"/>
                      <a:pt x="879" y="105"/>
                      <a:pt x="878" y="126"/>
                    </a:cubicBezTo>
                    <a:cubicBezTo>
                      <a:pt x="877" y="139"/>
                      <a:pt x="879" y="152"/>
                      <a:pt x="884" y="165"/>
                    </a:cubicBezTo>
                    <a:cubicBezTo>
                      <a:pt x="888" y="178"/>
                      <a:pt x="891" y="190"/>
                      <a:pt x="895" y="203"/>
                    </a:cubicBezTo>
                    <a:cubicBezTo>
                      <a:pt x="895" y="204"/>
                      <a:pt x="895" y="205"/>
                      <a:pt x="895" y="207"/>
                    </a:cubicBezTo>
                    <a:cubicBezTo>
                      <a:pt x="876" y="182"/>
                      <a:pt x="859" y="157"/>
                      <a:pt x="852" y="127"/>
                    </a:cubicBezTo>
                    <a:cubicBezTo>
                      <a:pt x="851" y="118"/>
                      <a:pt x="850" y="110"/>
                      <a:pt x="849" y="102"/>
                    </a:cubicBezTo>
                    <a:cubicBezTo>
                      <a:pt x="849" y="95"/>
                      <a:pt x="849" y="88"/>
                      <a:pt x="848" y="82"/>
                    </a:cubicBezTo>
                    <a:cubicBezTo>
                      <a:pt x="847" y="75"/>
                      <a:pt x="845" y="69"/>
                      <a:pt x="844" y="62"/>
                    </a:cubicBezTo>
                    <a:cubicBezTo>
                      <a:pt x="852" y="62"/>
                      <a:pt x="861" y="61"/>
                      <a:pt x="869" y="60"/>
                    </a:cubicBezTo>
                    <a:close/>
                    <a:moveTo>
                      <a:pt x="746" y="91"/>
                    </a:moveTo>
                    <a:cubicBezTo>
                      <a:pt x="747" y="84"/>
                      <a:pt x="747" y="77"/>
                      <a:pt x="747" y="70"/>
                    </a:cubicBezTo>
                    <a:cubicBezTo>
                      <a:pt x="755" y="69"/>
                      <a:pt x="764" y="68"/>
                      <a:pt x="774" y="68"/>
                    </a:cubicBezTo>
                    <a:cubicBezTo>
                      <a:pt x="774" y="76"/>
                      <a:pt x="774" y="84"/>
                      <a:pt x="773" y="92"/>
                    </a:cubicBezTo>
                    <a:cubicBezTo>
                      <a:pt x="771" y="120"/>
                      <a:pt x="768" y="147"/>
                      <a:pt x="766" y="175"/>
                    </a:cubicBezTo>
                    <a:cubicBezTo>
                      <a:pt x="765" y="193"/>
                      <a:pt x="767" y="212"/>
                      <a:pt x="767" y="230"/>
                    </a:cubicBezTo>
                    <a:cubicBezTo>
                      <a:pt x="767" y="232"/>
                      <a:pt x="767" y="234"/>
                      <a:pt x="767" y="236"/>
                    </a:cubicBezTo>
                    <a:cubicBezTo>
                      <a:pt x="767" y="236"/>
                      <a:pt x="766" y="236"/>
                      <a:pt x="766" y="236"/>
                    </a:cubicBezTo>
                    <a:cubicBezTo>
                      <a:pt x="765" y="232"/>
                      <a:pt x="763" y="227"/>
                      <a:pt x="763" y="223"/>
                    </a:cubicBezTo>
                    <a:cubicBezTo>
                      <a:pt x="761" y="194"/>
                      <a:pt x="754" y="167"/>
                      <a:pt x="750" y="138"/>
                    </a:cubicBezTo>
                    <a:cubicBezTo>
                      <a:pt x="747" y="123"/>
                      <a:pt x="745" y="107"/>
                      <a:pt x="746" y="91"/>
                    </a:cubicBezTo>
                    <a:close/>
                    <a:moveTo>
                      <a:pt x="649" y="76"/>
                    </a:moveTo>
                    <a:cubicBezTo>
                      <a:pt x="662" y="75"/>
                      <a:pt x="674" y="74"/>
                      <a:pt x="688" y="72"/>
                    </a:cubicBezTo>
                    <a:cubicBezTo>
                      <a:pt x="686" y="79"/>
                      <a:pt x="686" y="84"/>
                      <a:pt x="684" y="90"/>
                    </a:cubicBezTo>
                    <a:cubicBezTo>
                      <a:pt x="682" y="98"/>
                      <a:pt x="679" y="105"/>
                      <a:pt x="676" y="113"/>
                    </a:cubicBezTo>
                    <a:cubicBezTo>
                      <a:pt x="672" y="124"/>
                      <a:pt x="670" y="137"/>
                      <a:pt x="672" y="149"/>
                    </a:cubicBezTo>
                    <a:cubicBezTo>
                      <a:pt x="674" y="164"/>
                      <a:pt x="671" y="179"/>
                      <a:pt x="669" y="193"/>
                    </a:cubicBezTo>
                    <a:cubicBezTo>
                      <a:pt x="667" y="212"/>
                      <a:pt x="664" y="231"/>
                      <a:pt x="662" y="250"/>
                    </a:cubicBezTo>
                    <a:cubicBezTo>
                      <a:pt x="662" y="254"/>
                      <a:pt x="662" y="258"/>
                      <a:pt x="663" y="262"/>
                    </a:cubicBezTo>
                    <a:cubicBezTo>
                      <a:pt x="658" y="254"/>
                      <a:pt x="656" y="244"/>
                      <a:pt x="655" y="235"/>
                    </a:cubicBezTo>
                    <a:cubicBezTo>
                      <a:pt x="655" y="223"/>
                      <a:pt x="654" y="211"/>
                      <a:pt x="654" y="199"/>
                    </a:cubicBezTo>
                    <a:cubicBezTo>
                      <a:pt x="653" y="178"/>
                      <a:pt x="649" y="156"/>
                      <a:pt x="645" y="135"/>
                    </a:cubicBezTo>
                    <a:cubicBezTo>
                      <a:pt x="643" y="120"/>
                      <a:pt x="642" y="104"/>
                      <a:pt x="647" y="88"/>
                    </a:cubicBezTo>
                    <a:cubicBezTo>
                      <a:pt x="648" y="85"/>
                      <a:pt x="649" y="81"/>
                      <a:pt x="649" y="76"/>
                    </a:cubicBezTo>
                    <a:close/>
                    <a:moveTo>
                      <a:pt x="490" y="99"/>
                    </a:moveTo>
                    <a:cubicBezTo>
                      <a:pt x="490" y="108"/>
                      <a:pt x="490" y="117"/>
                      <a:pt x="484" y="125"/>
                    </a:cubicBezTo>
                    <a:cubicBezTo>
                      <a:pt x="480" y="133"/>
                      <a:pt x="475" y="140"/>
                      <a:pt x="470" y="147"/>
                    </a:cubicBezTo>
                    <a:cubicBezTo>
                      <a:pt x="458" y="163"/>
                      <a:pt x="450" y="180"/>
                      <a:pt x="448" y="200"/>
                    </a:cubicBezTo>
                    <a:cubicBezTo>
                      <a:pt x="448" y="207"/>
                      <a:pt x="449" y="213"/>
                      <a:pt x="449" y="220"/>
                    </a:cubicBezTo>
                    <a:cubicBezTo>
                      <a:pt x="449" y="229"/>
                      <a:pt x="448" y="237"/>
                      <a:pt x="448" y="246"/>
                    </a:cubicBezTo>
                    <a:cubicBezTo>
                      <a:pt x="448" y="247"/>
                      <a:pt x="447" y="248"/>
                      <a:pt x="447" y="249"/>
                    </a:cubicBezTo>
                    <a:cubicBezTo>
                      <a:pt x="446" y="249"/>
                      <a:pt x="446" y="249"/>
                      <a:pt x="446" y="249"/>
                    </a:cubicBezTo>
                    <a:cubicBezTo>
                      <a:pt x="444" y="239"/>
                      <a:pt x="442" y="229"/>
                      <a:pt x="440" y="219"/>
                    </a:cubicBezTo>
                    <a:cubicBezTo>
                      <a:pt x="438" y="202"/>
                      <a:pt x="435" y="184"/>
                      <a:pt x="437" y="166"/>
                    </a:cubicBezTo>
                    <a:cubicBezTo>
                      <a:pt x="438" y="159"/>
                      <a:pt x="440" y="152"/>
                      <a:pt x="442" y="145"/>
                    </a:cubicBezTo>
                    <a:cubicBezTo>
                      <a:pt x="447" y="130"/>
                      <a:pt x="451" y="115"/>
                      <a:pt x="452" y="99"/>
                    </a:cubicBezTo>
                    <a:cubicBezTo>
                      <a:pt x="464" y="99"/>
                      <a:pt x="477" y="99"/>
                      <a:pt x="490" y="99"/>
                    </a:cubicBezTo>
                    <a:close/>
                    <a:moveTo>
                      <a:pt x="385" y="85"/>
                    </a:moveTo>
                    <a:cubicBezTo>
                      <a:pt x="382" y="94"/>
                      <a:pt x="380" y="103"/>
                      <a:pt x="377" y="112"/>
                    </a:cubicBezTo>
                    <a:cubicBezTo>
                      <a:pt x="375" y="118"/>
                      <a:pt x="373" y="124"/>
                      <a:pt x="369" y="130"/>
                    </a:cubicBezTo>
                    <a:cubicBezTo>
                      <a:pt x="362" y="142"/>
                      <a:pt x="358" y="155"/>
                      <a:pt x="354" y="169"/>
                    </a:cubicBezTo>
                    <a:cubicBezTo>
                      <a:pt x="352" y="177"/>
                      <a:pt x="349" y="185"/>
                      <a:pt x="346" y="193"/>
                    </a:cubicBezTo>
                    <a:cubicBezTo>
                      <a:pt x="344" y="174"/>
                      <a:pt x="343" y="155"/>
                      <a:pt x="345" y="135"/>
                    </a:cubicBezTo>
                    <a:cubicBezTo>
                      <a:pt x="347" y="115"/>
                      <a:pt x="356" y="99"/>
                      <a:pt x="365" y="81"/>
                    </a:cubicBezTo>
                    <a:cubicBezTo>
                      <a:pt x="371" y="82"/>
                      <a:pt x="377" y="83"/>
                      <a:pt x="385" y="85"/>
                    </a:cubicBezTo>
                    <a:close/>
                    <a:moveTo>
                      <a:pt x="274" y="66"/>
                    </a:moveTo>
                    <a:cubicBezTo>
                      <a:pt x="280" y="67"/>
                      <a:pt x="285" y="67"/>
                      <a:pt x="291" y="68"/>
                    </a:cubicBezTo>
                    <a:cubicBezTo>
                      <a:pt x="290" y="70"/>
                      <a:pt x="289" y="72"/>
                      <a:pt x="288" y="73"/>
                    </a:cubicBezTo>
                    <a:cubicBezTo>
                      <a:pt x="271" y="96"/>
                      <a:pt x="260" y="122"/>
                      <a:pt x="253" y="150"/>
                    </a:cubicBezTo>
                    <a:cubicBezTo>
                      <a:pt x="251" y="158"/>
                      <a:pt x="250" y="166"/>
                      <a:pt x="248" y="175"/>
                    </a:cubicBezTo>
                    <a:cubicBezTo>
                      <a:pt x="248" y="178"/>
                      <a:pt x="246" y="181"/>
                      <a:pt x="245" y="185"/>
                    </a:cubicBezTo>
                    <a:cubicBezTo>
                      <a:pt x="244" y="184"/>
                      <a:pt x="244" y="184"/>
                      <a:pt x="244" y="184"/>
                    </a:cubicBezTo>
                    <a:cubicBezTo>
                      <a:pt x="244" y="165"/>
                      <a:pt x="244" y="147"/>
                      <a:pt x="245" y="128"/>
                    </a:cubicBezTo>
                    <a:cubicBezTo>
                      <a:pt x="247" y="110"/>
                      <a:pt x="254" y="92"/>
                      <a:pt x="264" y="77"/>
                    </a:cubicBezTo>
                    <a:cubicBezTo>
                      <a:pt x="266" y="74"/>
                      <a:pt x="268" y="72"/>
                      <a:pt x="269" y="69"/>
                    </a:cubicBezTo>
                    <a:cubicBezTo>
                      <a:pt x="270" y="66"/>
                      <a:pt x="271" y="65"/>
                      <a:pt x="274" y="66"/>
                    </a:cubicBezTo>
                    <a:close/>
                    <a:moveTo>
                      <a:pt x="166" y="73"/>
                    </a:moveTo>
                    <a:cubicBezTo>
                      <a:pt x="170" y="72"/>
                      <a:pt x="173" y="71"/>
                      <a:pt x="177" y="69"/>
                    </a:cubicBezTo>
                    <a:cubicBezTo>
                      <a:pt x="178" y="70"/>
                      <a:pt x="178" y="70"/>
                      <a:pt x="178" y="70"/>
                    </a:cubicBezTo>
                    <a:cubicBezTo>
                      <a:pt x="176" y="74"/>
                      <a:pt x="175" y="78"/>
                      <a:pt x="172" y="81"/>
                    </a:cubicBezTo>
                    <a:cubicBezTo>
                      <a:pt x="167" y="88"/>
                      <a:pt x="161" y="95"/>
                      <a:pt x="156" y="102"/>
                    </a:cubicBezTo>
                    <a:cubicBezTo>
                      <a:pt x="143" y="119"/>
                      <a:pt x="137" y="138"/>
                      <a:pt x="134" y="159"/>
                    </a:cubicBezTo>
                    <a:cubicBezTo>
                      <a:pt x="133" y="160"/>
                      <a:pt x="133" y="161"/>
                      <a:pt x="133" y="162"/>
                    </a:cubicBezTo>
                    <a:cubicBezTo>
                      <a:pt x="133" y="163"/>
                      <a:pt x="132" y="164"/>
                      <a:pt x="132" y="165"/>
                    </a:cubicBezTo>
                    <a:cubicBezTo>
                      <a:pt x="135" y="146"/>
                      <a:pt x="129" y="126"/>
                      <a:pt x="135" y="107"/>
                    </a:cubicBezTo>
                    <a:cubicBezTo>
                      <a:pt x="135" y="106"/>
                      <a:pt x="135" y="106"/>
                      <a:pt x="136" y="105"/>
                    </a:cubicBezTo>
                    <a:cubicBezTo>
                      <a:pt x="142" y="82"/>
                      <a:pt x="143" y="81"/>
                      <a:pt x="166" y="73"/>
                    </a:cubicBezTo>
                    <a:close/>
                    <a:moveTo>
                      <a:pt x="80" y="130"/>
                    </a:moveTo>
                    <a:cubicBezTo>
                      <a:pt x="93" y="140"/>
                      <a:pt x="98" y="154"/>
                      <a:pt x="98" y="169"/>
                    </a:cubicBezTo>
                    <a:cubicBezTo>
                      <a:pt x="98" y="180"/>
                      <a:pt x="98" y="190"/>
                      <a:pt x="98" y="200"/>
                    </a:cubicBezTo>
                    <a:cubicBezTo>
                      <a:pt x="97" y="200"/>
                      <a:pt x="97" y="200"/>
                      <a:pt x="96" y="200"/>
                    </a:cubicBezTo>
                    <a:cubicBezTo>
                      <a:pt x="92" y="191"/>
                      <a:pt x="89" y="181"/>
                      <a:pt x="84" y="172"/>
                    </a:cubicBezTo>
                    <a:cubicBezTo>
                      <a:pt x="78" y="164"/>
                      <a:pt x="70" y="157"/>
                      <a:pt x="63" y="149"/>
                    </a:cubicBezTo>
                    <a:cubicBezTo>
                      <a:pt x="69" y="142"/>
                      <a:pt x="74" y="136"/>
                      <a:pt x="80" y="130"/>
                    </a:cubicBezTo>
                    <a:close/>
                    <a:moveTo>
                      <a:pt x="23" y="209"/>
                    </a:moveTo>
                    <a:cubicBezTo>
                      <a:pt x="35" y="190"/>
                      <a:pt x="47" y="172"/>
                      <a:pt x="59" y="154"/>
                    </a:cubicBezTo>
                    <a:cubicBezTo>
                      <a:pt x="60" y="153"/>
                      <a:pt x="60" y="153"/>
                      <a:pt x="61" y="152"/>
                    </a:cubicBezTo>
                    <a:cubicBezTo>
                      <a:pt x="72" y="163"/>
                      <a:pt x="85" y="173"/>
                      <a:pt x="89" y="190"/>
                    </a:cubicBezTo>
                    <a:cubicBezTo>
                      <a:pt x="90" y="193"/>
                      <a:pt x="91" y="196"/>
                      <a:pt x="92" y="198"/>
                    </a:cubicBezTo>
                    <a:cubicBezTo>
                      <a:pt x="93" y="200"/>
                      <a:pt x="95" y="201"/>
                      <a:pt x="97" y="203"/>
                    </a:cubicBezTo>
                    <a:cubicBezTo>
                      <a:pt x="98" y="201"/>
                      <a:pt x="100" y="199"/>
                      <a:pt x="100" y="197"/>
                    </a:cubicBezTo>
                    <a:cubicBezTo>
                      <a:pt x="101" y="188"/>
                      <a:pt x="101" y="179"/>
                      <a:pt x="101" y="169"/>
                    </a:cubicBezTo>
                    <a:cubicBezTo>
                      <a:pt x="101" y="165"/>
                      <a:pt x="100" y="161"/>
                      <a:pt x="99" y="157"/>
                    </a:cubicBezTo>
                    <a:cubicBezTo>
                      <a:pt x="98" y="148"/>
                      <a:pt x="95" y="140"/>
                      <a:pt x="88" y="134"/>
                    </a:cubicBezTo>
                    <a:cubicBezTo>
                      <a:pt x="86" y="132"/>
                      <a:pt x="84" y="130"/>
                      <a:pt x="82" y="128"/>
                    </a:cubicBezTo>
                    <a:cubicBezTo>
                      <a:pt x="100" y="110"/>
                      <a:pt x="119" y="95"/>
                      <a:pt x="141" y="83"/>
                    </a:cubicBezTo>
                    <a:cubicBezTo>
                      <a:pt x="141" y="85"/>
                      <a:pt x="140" y="86"/>
                      <a:pt x="140" y="87"/>
                    </a:cubicBezTo>
                    <a:cubicBezTo>
                      <a:pt x="133" y="101"/>
                      <a:pt x="129" y="116"/>
                      <a:pt x="129" y="132"/>
                    </a:cubicBezTo>
                    <a:cubicBezTo>
                      <a:pt x="130" y="147"/>
                      <a:pt x="130" y="162"/>
                      <a:pt x="128" y="177"/>
                    </a:cubicBezTo>
                    <a:cubicBezTo>
                      <a:pt x="124" y="199"/>
                      <a:pt x="129" y="219"/>
                      <a:pt x="132" y="240"/>
                    </a:cubicBezTo>
                    <a:cubicBezTo>
                      <a:pt x="133" y="245"/>
                      <a:pt x="133" y="249"/>
                      <a:pt x="134" y="254"/>
                    </a:cubicBezTo>
                    <a:cubicBezTo>
                      <a:pt x="135" y="259"/>
                      <a:pt x="132" y="260"/>
                      <a:pt x="128" y="261"/>
                    </a:cubicBezTo>
                    <a:cubicBezTo>
                      <a:pt x="110" y="264"/>
                      <a:pt x="92" y="263"/>
                      <a:pt x="74" y="257"/>
                    </a:cubicBezTo>
                    <a:cubicBezTo>
                      <a:pt x="62" y="253"/>
                      <a:pt x="50" y="248"/>
                      <a:pt x="40" y="240"/>
                    </a:cubicBezTo>
                    <a:cubicBezTo>
                      <a:pt x="30" y="233"/>
                      <a:pt x="25" y="223"/>
                      <a:pt x="22" y="211"/>
                    </a:cubicBezTo>
                    <a:cubicBezTo>
                      <a:pt x="22" y="211"/>
                      <a:pt x="22" y="210"/>
                      <a:pt x="23" y="209"/>
                    </a:cubicBezTo>
                    <a:close/>
                    <a:moveTo>
                      <a:pt x="155" y="263"/>
                    </a:moveTo>
                    <a:cubicBezTo>
                      <a:pt x="134" y="269"/>
                      <a:pt x="112" y="274"/>
                      <a:pt x="89" y="272"/>
                    </a:cubicBezTo>
                    <a:cubicBezTo>
                      <a:pt x="67" y="270"/>
                      <a:pt x="45" y="267"/>
                      <a:pt x="25" y="258"/>
                    </a:cubicBezTo>
                    <a:cubicBezTo>
                      <a:pt x="7" y="250"/>
                      <a:pt x="3" y="238"/>
                      <a:pt x="13" y="222"/>
                    </a:cubicBezTo>
                    <a:cubicBezTo>
                      <a:pt x="15" y="218"/>
                      <a:pt x="17" y="216"/>
                      <a:pt x="19" y="212"/>
                    </a:cubicBezTo>
                    <a:cubicBezTo>
                      <a:pt x="20" y="213"/>
                      <a:pt x="20" y="213"/>
                      <a:pt x="21" y="213"/>
                    </a:cubicBezTo>
                    <a:cubicBezTo>
                      <a:pt x="22" y="234"/>
                      <a:pt x="37" y="244"/>
                      <a:pt x="54" y="252"/>
                    </a:cubicBezTo>
                    <a:cubicBezTo>
                      <a:pt x="71" y="261"/>
                      <a:pt x="90" y="267"/>
                      <a:pt x="110" y="266"/>
                    </a:cubicBezTo>
                    <a:cubicBezTo>
                      <a:pt x="119" y="265"/>
                      <a:pt x="129" y="263"/>
                      <a:pt x="138" y="261"/>
                    </a:cubicBezTo>
                    <a:cubicBezTo>
                      <a:pt x="146" y="259"/>
                      <a:pt x="154" y="256"/>
                      <a:pt x="162" y="253"/>
                    </a:cubicBezTo>
                    <a:cubicBezTo>
                      <a:pt x="167" y="252"/>
                      <a:pt x="172" y="253"/>
                      <a:pt x="178" y="257"/>
                    </a:cubicBezTo>
                    <a:cubicBezTo>
                      <a:pt x="170" y="259"/>
                      <a:pt x="162" y="261"/>
                      <a:pt x="155" y="263"/>
                    </a:cubicBezTo>
                    <a:close/>
                    <a:moveTo>
                      <a:pt x="179" y="254"/>
                    </a:moveTo>
                    <a:cubicBezTo>
                      <a:pt x="164" y="246"/>
                      <a:pt x="151" y="254"/>
                      <a:pt x="137" y="257"/>
                    </a:cubicBezTo>
                    <a:cubicBezTo>
                      <a:pt x="135" y="241"/>
                      <a:pt x="132" y="225"/>
                      <a:pt x="130" y="208"/>
                    </a:cubicBezTo>
                    <a:cubicBezTo>
                      <a:pt x="129" y="197"/>
                      <a:pt x="129" y="185"/>
                      <a:pt x="133" y="173"/>
                    </a:cubicBezTo>
                    <a:cubicBezTo>
                      <a:pt x="137" y="161"/>
                      <a:pt x="139" y="148"/>
                      <a:pt x="142" y="136"/>
                    </a:cubicBezTo>
                    <a:cubicBezTo>
                      <a:pt x="146" y="120"/>
                      <a:pt x="155" y="106"/>
                      <a:pt x="166" y="94"/>
                    </a:cubicBezTo>
                    <a:cubicBezTo>
                      <a:pt x="173" y="86"/>
                      <a:pt x="179" y="79"/>
                      <a:pt x="181" y="69"/>
                    </a:cubicBezTo>
                    <a:cubicBezTo>
                      <a:pt x="182" y="68"/>
                      <a:pt x="182" y="68"/>
                      <a:pt x="183" y="67"/>
                    </a:cubicBezTo>
                    <a:cubicBezTo>
                      <a:pt x="189" y="66"/>
                      <a:pt x="194" y="65"/>
                      <a:pt x="201" y="63"/>
                    </a:cubicBezTo>
                    <a:cubicBezTo>
                      <a:pt x="200" y="65"/>
                      <a:pt x="200" y="65"/>
                      <a:pt x="200" y="66"/>
                    </a:cubicBezTo>
                    <a:cubicBezTo>
                      <a:pt x="189" y="86"/>
                      <a:pt x="186" y="109"/>
                      <a:pt x="182" y="132"/>
                    </a:cubicBezTo>
                    <a:cubicBezTo>
                      <a:pt x="177" y="157"/>
                      <a:pt x="177" y="183"/>
                      <a:pt x="178" y="209"/>
                    </a:cubicBezTo>
                    <a:cubicBezTo>
                      <a:pt x="179" y="222"/>
                      <a:pt x="179" y="236"/>
                      <a:pt x="179" y="250"/>
                    </a:cubicBezTo>
                    <a:cubicBezTo>
                      <a:pt x="179" y="251"/>
                      <a:pt x="179" y="252"/>
                      <a:pt x="179" y="254"/>
                    </a:cubicBezTo>
                    <a:close/>
                    <a:moveTo>
                      <a:pt x="190" y="103"/>
                    </a:moveTo>
                    <a:cubicBezTo>
                      <a:pt x="193" y="91"/>
                      <a:pt x="197" y="78"/>
                      <a:pt x="203" y="67"/>
                    </a:cubicBezTo>
                    <a:cubicBezTo>
                      <a:pt x="204" y="64"/>
                      <a:pt x="206" y="63"/>
                      <a:pt x="209" y="63"/>
                    </a:cubicBezTo>
                    <a:cubicBezTo>
                      <a:pt x="213" y="63"/>
                      <a:pt x="217" y="63"/>
                      <a:pt x="223" y="63"/>
                    </a:cubicBezTo>
                    <a:cubicBezTo>
                      <a:pt x="220" y="70"/>
                      <a:pt x="218" y="77"/>
                      <a:pt x="215" y="83"/>
                    </a:cubicBezTo>
                    <a:cubicBezTo>
                      <a:pt x="209" y="95"/>
                      <a:pt x="202" y="107"/>
                      <a:pt x="196" y="119"/>
                    </a:cubicBezTo>
                    <a:cubicBezTo>
                      <a:pt x="191" y="131"/>
                      <a:pt x="186" y="143"/>
                      <a:pt x="181" y="155"/>
                    </a:cubicBezTo>
                    <a:cubicBezTo>
                      <a:pt x="181" y="154"/>
                      <a:pt x="181" y="154"/>
                      <a:pt x="180" y="154"/>
                    </a:cubicBezTo>
                    <a:cubicBezTo>
                      <a:pt x="184" y="137"/>
                      <a:pt x="187" y="120"/>
                      <a:pt x="190" y="103"/>
                    </a:cubicBezTo>
                    <a:close/>
                    <a:moveTo>
                      <a:pt x="252" y="274"/>
                    </a:moveTo>
                    <a:cubicBezTo>
                      <a:pt x="232" y="274"/>
                      <a:pt x="213" y="274"/>
                      <a:pt x="194" y="267"/>
                    </a:cubicBezTo>
                    <a:cubicBezTo>
                      <a:pt x="193" y="267"/>
                      <a:pt x="191" y="266"/>
                      <a:pt x="190" y="266"/>
                    </a:cubicBezTo>
                    <a:cubicBezTo>
                      <a:pt x="182" y="262"/>
                      <a:pt x="181" y="261"/>
                      <a:pt x="181" y="253"/>
                    </a:cubicBezTo>
                    <a:cubicBezTo>
                      <a:pt x="181" y="236"/>
                      <a:pt x="181" y="219"/>
                      <a:pt x="181" y="203"/>
                    </a:cubicBezTo>
                    <a:cubicBezTo>
                      <a:pt x="180" y="174"/>
                      <a:pt x="186" y="147"/>
                      <a:pt x="199" y="121"/>
                    </a:cubicBezTo>
                    <a:cubicBezTo>
                      <a:pt x="207" y="106"/>
                      <a:pt x="214" y="90"/>
                      <a:pt x="221" y="74"/>
                    </a:cubicBezTo>
                    <a:cubicBezTo>
                      <a:pt x="223" y="71"/>
                      <a:pt x="224" y="67"/>
                      <a:pt x="225" y="63"/>
                    </a:cubicBezTo>
                    <a:cubicBezTo>
                      <a:pt x="239" y="63"/>
                      <a:pt x="253" y="64"/>
                      <a:pt x="268" y="65"/>
                    </a:cubicBezTo>
                    <a:cubicBezTo>
                      <a:pt x="266" y="68"/>
                      <a:pt x="265" y="71"/>
                      <a:pt x="263" y="74"/>
                    </a:cubicBezTo>
                    <a:cubicBezTo>
                      <a:pt x="248" y="95"/>
                      <a:pt x="241" y="119"/>
                      <a:pt x="241" y="146"/>
                    </a:cubicBezTo>
                    <a:cubicBezTo>
                      <a:pt x="240" y="162"/>
                      <a:pt x="240" y="179"/>
                      <a:pt x="241" y="196"/>
                    </a:cubicBezTo>
                    <a:cubicBezTo>
                      <a:pt x="241" y="206"/>
                      <a:pt x="244" y="215"/>
                      <a:pt x="245" y="225"/>
                    </a:cubicBezTo>
                    <a:cubicBezTo>
                      <a:pt x="246" y="237"/>
                      <a:pt x="248" y="249"/>
                      <a:pt x="250" y="261"/>
                    </a:cubicBezTo>
                    <a:cubicBezTo>
                      <a:pt x="240" y="258"/>
                      <a:pt x="229" y="255"/>
                      <a:pt x="220" y="252"/>
                    </a:cubicBezTo>
                    <a:cubicBezTo>
                      <a:pt x="211" y="248"/>
                      <a:pt x="202" y="250"/>
                      <a:pt x="193" y="251"/>
                    </a:cubicBezTo>
                    <a:cubicBezTo>
                      <a:pt x="191" y="251"/>
                      <a:pt x="189" y="254"/>
                      <a:pt x="188" y="256"/>
                    </a:cubicBezTo>
                    <a:cubicBezTo>
                      <a:pt x="188" y="257"/>
                      <a:pt x="191" y="260"/>
                      <a:pt x="193" y="261"/>
                    </a:cubicBezTo>
                    <a:cubicBezTo>
                      <a:pt x="209" y="264"/>
                      <a:pt x="226" y="268"/>
                      <a:pt x="243" y="271"/>
                    </a:cubicBezTo>
                    <a:cubicBezTo>
                      <a:pt x="245" y="271"/>
                      <a:pt x="248" y="270"/>
                      <a:pt x="252" y="270"/>
                    </a:cubicBezTo>
                    <a:cubicBezTo>
                      <a:pt x="252" y="271"/>
                      <a:pt x="252" y="272"/>
                      <a:pt x="252" y="274"/>
                    </a:cubicBezTo>
                    <a:close/>
                    <a:moveTo>
                      <a:pt x="250" y="265"/>
                    </a:moveTo>
                    <a:cubicBezTo>
                      <a:pt x="249" y="266"/>
                      <a:pt x="249" y="267"/>
                      <a:pt x="249" y="268"/>
                    </a:cubicBezTo>
                    <a:cubicBezTo>
                      <a:pt x="246" y="268"/>
                      <a:pt x="243" y="268"/>
                      <a:pt x="239" y="268"/>
                    </a:cubicBezTo>
                    <a:cubicBezTo>
                      <a:pt x="229" y="266"/>
                      <a:pt x="218" y="263"/>
                      <a:pt x="207" y="261"/>
                    </a:cubicBezTo>
                    <a:cubicBezTo>
                      <a:pt x="203" y="260"/>
                      <a:pt x="199" y="260"/>
                      <a:pt x="196" y="259"/>
                    </a:cubicBezTo>
                    <a:cubicBezTo>
                      <a:pt x="194" y="258"/>
                      <a:pt x="192" y="257"/>
                      <a:pt x="191" y="256"/>
                    </a:cubicBezTo>
                    <a:cubicBezTo>
                      <a:pt x="198" y="253"/>
                      <a:pt x="206" y="251"/>
                      <a:pt x="214" y="253"/>
                    </a:cubicBezTo>
                    <a:cubicBezTo>
                      <a:pt x="224" y="256"/>
                      <a:pt x="235" y="260"/>
                      <a:pt x="246" y="263"/>
                    </a:cubicBezTo>
                    <a:cubicBezTo>
                      <a:pt x="247" y="264"/>
                      <a:pt x="248" y="265"/>
                      <a:pt x="250" y="265"/>
                    </a:cubicBezTo>
                    <a:close/>
                    <a:moveTo>
                      <a:pt x="349" y="312"/>
                    </a:moveTo>
                    <a:cubicBezTo>
                      <a:pt x="332" y="311"/>
                      <a:pt x="317" y="306"/>
                      <a:pt x="303" y="299"/>
                    </a:cubicBezTo>
                    <a:cubicBezTo>
                      <a:pt x="293" y="295"/>
                      <a:pt x="283" y="289"/>
                      <a:pt x="273" y="283"/>
                    </a:cubicBezTo>
                    <a:cubicBezTo>
                      <a:pt x="268" y="281"/>
                      <a:pt x="262" y="279"/>
                      <a:pt x="258" y="276"/>
                    </a:cubicBezTo>
                    <a:cubicBezTo>
                      <a:pt x="256" y="275"/>
                      <a:pt x="255" y="274"/>
                      <a:pt x="255" y="273"/>
                    </a:cubicBezTo>
                    <a:cubicBezTo>
                      <a:pt x="253" y="262"/>
                      <a:pt x="251" y="251"/>
                      <a:pt x="250" y="240"/>
                    </a:cubicBezTo>
                    <a:cubicBezTo>
                      <a:pt x="247" y="226"/>
                      <a:pt x="245" y="213"/>
                      <a:pt x="244" y="199"/>
                    </a:cubicBezTo>
                    <a:cubicBezTo>
                      <a:pt x="243" y="197"/>
                      <a:pt x="244" y="193"/>
                      <a:pt x="245" y="191"/>
                    </a:cubicBezTo>
                    <a:cubicBezTo>
                      <a:pt x="251" y="180"/>
                      <a:pt x="252" y="169"/>
                      <a:pt x="254" y="157"/>
                    </a:cubicBezTo>
                    <a:cubicBezTo>
                      <a:pt x="260" y="128"/>
                      <a:pt x="271" y="102"/>
                      <a:pt x="288" y="78"/>
                    </a:cubicBezTo>
                    <a:cubicBezTo>
                      <a:pt x="293" y="71"/>
                      <a:pt x="297" y="68"/>
                      <a:pt x="306" y="70"/>
                    </a:cubicBezTo>
                    <a:cubicBezTo>
                      <a:pt x="323" y="74"/>
                      <a:pt x="341" y="76"/>
                      <a:pt x="358" y="79"/>
                    </a:cubicBezTo>
                    <a:cubicBezTo>
                      <a:pt x="359" y="79"/>
                      <a:pt x="360" y="80"/>
                      <a:pt x="362" y="80"/>
                    </a:cubicBezTo>
                    <a:cubicBezTo>
                      <a:pt x="360" y="83"/>
                      <a:pt x="359" y="87"/>
                      <a:pt x="358" y="90"/>
                    </a:cubicBezTo>
                    <a:cubicBezTo>
                      <a:pt x="343" y="113"/>
                      <a:pt x="340" y="139"/>
                      <a:pt x="341" y="166"/>
                    </a:cubicBezTo>
                    <a:cubicBezTo>
                      <a:pt x="342" y="184"/>
                      <a:pt x="342" y="202"/>
                      <a:pt x="343" y="220"/>
                    </a:cubicBezTo>
                    <a:cubicBezTo>
                      <a:pt x="344" y="234"/>
                      <a:pt x="347" y="247"/>
                      <a:pt x="349" y="261"/>
                    </a:cubicBezTo>
                    <a:cubicBezTo>
                      <a:pt x="351" y="278"/>
                      <a:pt x="351" y="295"/>
                      <a:pt x="349" y="312"/>
                    </a:cubicBezTo>
                    <a:close/>
                    <a:moveTo>
                      <a:pt x="419" y="322"/>
                    </a:moveTo>
                    <a:cubicBezTo>
                      <a:pt x="396" y="319"/>
                      <a:pt x="374" y="315"/>
                      <a:pt x="352" y="312"/>
                    </a:cubicBezTo>
                    <a:cubicBezTo>
                      <a:pt x="353" y="300"/>
                      <a:pt x="354" y="289"/>
                      <a:pt x="353" y="277"/>
                    </a:cubicBezTo>
                    <a:cubicBezTo>
                      <a:pt x="352" y="265"/>
                      <a:pt x="350" y="252"/>
                      <a:pt x="348" y="240"/>
                    </a:cubicBezTo>
                    <a:cubicBezTo>
                      <a:pt x="347" y="227"/>
                      <a:pt x="347" y="215"/>
                      <a:pt x="346" y="203"/>
                    </a:cubicBezTo>
                    <a:cubicBezTo>
                      <a:pt x="346" y="202"/>
                      <a:pt x="346" y="201"/>
                      <a:pt x="346" y="200"/>
                    </a:cubicBezTo>
                    <a:cubicBezTo>
                      <a:pt x="351" y="186"/>
                      <a:pt x="355" y="172"/>
                      <a:pt x="360" y="159"/>
                    </a:cubicBezTo>
                    <a:cubicBezTo>
                      <a:pt x="363" y="152"/>
                      <a:pt x="365" y="145"/>
                      <a:pt x="369" y="138"/>
                    </a:cubicBezTo>
                    <a:cubicBezTo>
                      <a:pt x="377" y="123"/>
                      <a:pt x="383" y="107"/>
                      <a:pt x="386" y="91"/>
                    </a:cubicBezTo>
                    <a:cubicBezTo>
                      <a:pt x="387" y="89"/>
                      <a:pt x="387" y="88"/>
                      <a:pt x="387" y="86"/>
                    </a:cubicBezTo>
                    <a:cubicBezTo>
                      <a:pt x="408" y="91"/>
                      <a:pt x="429" y="95"/>
                      <a:pt x="450" y="100"/>
                    </a:cubicBezTo>
                    <a:cubicBezTo>
                      <a:pt x="449" y="107"/>
                      <a:pt x="448" y="114"/>
                      <a:pt x="446" y="122"/>
                    </a:cubicBezTo>
                    <a:cubicBezTo>
                      <a:pt x="445" y="128"/>
                      <a:pt x="443" y="134"/>
                      <a:pt x="441" y="140"/>
                    </a:cubicBezTo>
                    <a:cubicBezTo>
                      <a:pt x="433" y="160"/>
                      <a:pt x="432" y="180"/>
                      <a:pt x="435" y="201"/>
                    </a:cubicBezTo>
                    <a:cubicBezTo>
                      <a:pt x="437" y="217"/>
                      <a:pt x="440" y="233"/>
                      <a:pt x="443" y="249"/>
                    </a:cubicBezTo>
                    <a:cubicBezTo>
                      <a:pt x="443" y="251"/>
                      <a:pt x="443" y="253"/>
                      <a:pt x="442" y="255"/>
                    </a:cubicBezTo>
                    <a:cubicBezTo>
                      <a:pt x="436" y="270"/>
                      <a:pt x="431" y="284"/>
                      <a:pt x="428" y="299"/>
                    </a:cubicBezTo>
                    <a:cubicBezTo>
                      <a:pt x="426" y="307"/>
                      <a:pt x="422" y="314"/>
                      <a:pt x="419" y="322"/>
                    </a:cubicBezTo>
                    <a:close/>
                    <a:moveTo>
                      <a:pt x="461" y="361"/>
                    </a:moveTo>
                    <a:cubicBezTo>
                      <a:pt x="458" y="360"/>
                      <a:pt x="454" y="362"/>
                      <a:pt x="454" y="357"/>
                    </a:cubicBezTo>
                    <a:cubicBezTo>
                      <a:pt x="454" y="354"/>
                      <a:pt x="457" y="350"/>
                      <a:pt x="461" y="350"/>
                    </a:cubicBezTo>
                    <a:cubicBezTo>
                      <a:pt x="464" y="351"/>
                      <a:pt x="466" y="353"/>
                      <a:pt x="466" y="356"/>
                    </a:cubicBezTo>
                    <a:cubicBezTo>
                      <a:pt x="466" y="359"/>
                      <a:pt x="465" y="362"/>
                      <a:pt x="461" y="361"/>
                    </a:cubicBezTo>
                    <a:close/>
                    <a:moveTo>
                      <a:pt x="546" y="282"/>
                    </a:moveTo>
                    <a:cubicBezTo>
                      <a:pt x="546" y="296"/>
                      <a:pt x="545" y="309"/>
                      <a:pt x="544" y="323"/>
                    </a:cubicBezTo>
                    <a:cubicBezTo>
                      <a:pt x="544" y="324"/>
                      <a:pt x="544" y="326"/>
                      <a:pt x="544" y="328"/>
                    </a:cubicBezTo>
                    <a:cubicBezTo>
                      <a:pt x="539" y="327"/>
                      <a:pt x="534" y="325"/>
                      <a:pt x="529" y="325"/>
                    </a:cubicBezTo>
                    <a:cubicBezTo>
                      <a:pt x="522" y="325"/>
                      <a:pt x="516" y="326"/>
                      <a:pt x="509" y="326"/>
                    </a:cubicBezTo>
                    <a:cubicBezTo>
                      <a:pt x="508" y="327"/>
                      <a:pt x="506" y="326"/>
                      <a:pt x="504" y="326"/>
                    </a:cubicBezTo>
                    <a:cubicBezTo>
                      <a:pt x="501" y="325"/>
                      <a:pt x="497" y="323"/>
                      <a:pt x="493" y="323"/>
                    </a:cubicBezTo>
                    <a:cubicBezTo>
                      <a:pt x="491" y="323"/>
                      <a:pt x="488" y="325"/>
                      <a:pt x="488" y="326"/>
                    </a:cubicBezTo>
                    <a:cubicBezTo>
                      <a:pt x="487" y="328"/>
                      <a:pt x="489" y="331"/>
                      <a:pt x="490" y="332"/>
                    </a:cubicBezTo>
                    <a:cubicBezTo>
                      <a:pt x="493" y="334"/>
                      <a:pt x="496" y="334"/>
                      <a:pt x="499" y="336"/>
                    </a:cubicBezTo>
                    <a:cubicBezTo>
                      <a:pt x="492" y="348"/>
                      <a:pt x="485" y="359"/>
                      <a:pt x="470" y="361"/>
                    </a:cubicBezTo>
                    <a:cubicBezTo>
                      <a:pt x="469" y="357"/>
                      <a:pt x="468" y="353"/>
                      <a:pt x="466" y="350"/>
                    </a:cubicBezTo>
                    <a:cubicBezTo>
                      <a:pt x="465" y="348"/>
                      <a:pt x="463" y="348"/>
                      <a:pt x="461" y="347"/>
                    </a:cubicBezTo>
                    <a:cubicBezTo>
                      <a:pt x="456" y="347"/>
                      <a:pt x="452" y="351"/>
                      <a:pt x="451" y="359"/>
                    </a:cubicBezTo>
                    <a:cubicBezTo>
                      <a:pt x="438" y="355"/>
                      <a:pt x="430" y="347"/>
                      <a:pt x="426" y="335"/>
                    </a:cubicBezTo>
                    <a:cubicBezTo>
                      <a:pt x="429" y="333"/>
                      <a:pt x="432" y="333"/>
                      <a:pt x="435" y="331"/>
                    </a:cubicBezTo>
                    <a:cubicBezTo>
                      <a:pt x="438" y="330"/>
                      <a:pt x="440" y="327"/>
                      <a:pt x="438" y="323"/>
                    </a:cubicBezTo>
                    <a:cubicBezTo>
                      <a:pt x="437" y="320"/>
                      <a:pt x="434" y="320"/>
                      <a:pt x="431" y="321"/>
                    </a:cubicBezTo>
                    <a:cubicBezTo>
                      <a:pt x="429" y="321"/>
                      <a:pt x="426" y="322"/>
                      <a:pt x="422" y="323"/>
                    </a:cubicBezTo>
                    <a:cubicBezTo>
                      <a:pt x="423" y="320"/>
                      <a:pt x="423" y="318"/>
                      <a:pt x="424" y="317"/>
                    </a:cubicBezTo>
                    <a:cubicBezTo>
                      <a:pt x="430" y="307"/>
                      <a:pt x="432" y="295"/>
                      <a:pt x="435" y="284"/>
                    </a:cubicBezTo>
                    <a:cubicBezTo>
                      <a:pt x="438" y="274"/>
                      <a:pt x="441" y="264"/>
                      <a:pt x="446" y="255"/>
                    </a:cubicBezTo>
                    <a:cubicBezTo>
                      <a:pt x="452" y="244"/>
                      <a:pt x="452" y="233"/>
                      <a:pt x="452" y="222"/>
                    </a:cubicBezTo>
                    <a:cubicBezTo>
                      <a:pt x="451" y="209"/>
                      <a:pt x="450" y="197"/>
                      <a:pt x="454" y="184"/>
                    </a:cubicBezTo>
                    <a:cubicBezTo>
                      <a:pt x="458" y="171"/>
                      <a:pt x="464" y="159"/>
                      <a:pt x="473" y="148"/>
                    </a:cubicBezTo>
                    <a:cubicBezTo>
                      <a:pt x="476" y="143"/>
                      <a:pt x="479" y="139"/>
                      <a:pt x="483" y="134"/>
                    </a:cubicBezTo>
                    <a:cubicBezTo>
                      <a:pt x="490" y="124"/>
                      <a:pt x="494" y="113"/>
                      <a:pt x="493" y="101"/>
                    </a:cubicBezTo>
                    <a:cubicBezTo>
                      <a:pt x="492" y="98"/>
                      <a:pt x="493" y="97"/>
                      <a:pt x="496" y="97"/>
                    </a:cubicBezTo>
                    <a:cubicBezTo>
                      <a:pt x="516" y="95"/>
                      <a:pt x="535" y="94"/>
                      <a:pt x="555" y="92"/>
                    </a:cubicBezTo>
                    <a:cubicBezTo>
                      <a:pt x="554" y="97"/>
                      <a:pt x="553" y="102"/>
                      <a:pt x="551" y="108"/>
                    </a:cubicBezTo>
                    <a:cubicBezTo>
                      <a:pt x="548" y="119"/>
                      <a:pt x="544" y="130"/>
                      <a:pt x="543" y="142"/>
                    </a:cubicBezTo>
                    <a:cubicBezTo>
                      <a:pt x="541" y="152"/>
                      <a:pt x="542" y="164"/>
                      <a:pt x="543" y="174"/>
                    </a:cubicBezTo>
                    <a:cubicBezTo>
                      <a:pt x="543" y="183"/>
                      <a:pt x="544" y="191"/>
                      <a:pt x="544" y="199"/>
                    </a:cubicBezTo>
                    <a:cubicBezTo>
                      <a:pt x="545" y="212"/>
                      <a:pt x="546" y="224"/>
                      <a:pt x="546" y="237"/>
                    </a:cubicBezTo>
                    <a:cubicBezTo>
                      <a:pt x="546" y="252"/>
                      <a:pt x="546" y="267"/>
                      <a:pt x="546" y="282"/>
                    </a:cubicBezTo>
                    <a:close/>
                    <a:moveTo>
                      <a:pt x="505" y="328"/>
                    </a:moveTo>
                    <a:cubicBezTo>
                      <a:pt x="501" y="332"/>
                      <a:pt x="493" y="332"/>
                      <a:pt x="491" y="329"/>
                    </a:cubicBezTo>
                    <a:cubicBezTo>
                      <a:pt x="491" y="328"/>
                      <a:pt x="492" y="326"/>
                      <a:pt x="493" y="326"/>
                    </a:cubicBezTo>
                    <a:cubicBezTo>
                      <a:pt x="497" y="326"/>
                      <a:pt x="500" y="327"/>
                      <a:pt x="505" y="328"/>
                    </a:cubicBezTo>
                    <a:close/>
                    <a:moveTo>
                      <a:pt x="423" y="326"/>
                    </a:moveTo>
                    <a:cubicBezTo>
                      <a:pt x="424" y="326"/>
                      <a:pt x="424" y="325"/>
                      <a:pt x="424" y="325"/>
                    </a:cubicBezTo>
                    <a:cubicBezTo>
                      <a:pt x="427" y="324"/>
                      <a:pt x="430" y="324"/>
                      <a:pt x="433" y="324"/>
                    </a:cubicBezTo>
                    <a:cubicBezTo>
                      <a:pt x="434" y="324"/>
                      <a:pt x="435" y="326"/>
                      <a:pt x="435" y="327"/>
                    </a:cubicBezTo>
                    <a:cubicBezTo>
                      <a:pt x="433" y="328"/>
                      <a:pt x="430" y="330"/>
                      <a:pt x="427" y="331"/>
                    </a:cubicBezTo>
                    <a:cubicBezTo>
                      <a:pt x="426" y="331"/>
                      <a:pt x="425" y="328"/>
                      <a:pt x="423" y="326"/>
                    </a:cubicBezTo>
                    <a:close/>
                    <a:moveTo>
                      <a:pt x="547" y="221"/>
                    </a:moveTo>
                    <a:cubicBezTo>
                      <a:pt x="547" y="206"/>
                      <a:pt x="547" y="192"/>
                      <a:pt x="546" y="177"/>
                    </a:cubicBezTo>
                    <a:cubicBezTo>
                      <a:pt x="545" y="164"/>
                      <a:pt x="543" y="150"/>
                      <a:pt x="546" y="136"/>
                    </a:cubicBezTo>
                    <a:cubicBezTo>
                      <a:pt x="548" y="129"/>
                      <a:pt x="550" y="122"/>
                      <a:pt x="552" y="114"/>
                    </a:cubicBezTo>
                    <a:cubicBezTo>
                      <a:pt x="554" y="107"/>
                      <a:pt x="555" y="100"/>
                      <a:pt x="556" y="94"/>
                    </a:cubicBezTo>
                    <a:cubicBezTo>
                      <a:pt x="557" y="92"/>
                      <a:pt x="558" y="91"/>
                      <a:pt x="558" y="91"/>
                    </a:cubicBezTo>
                    <a:cubicBezTo>
                      <a:pt x="568" y="88"/>
                      <a:pt x="577" y="87"/>
                      <a:pt x="587" y="85"/>
                    </a:cubicBezTo>
                    <a:cubicBezTo>
                      <a:pt x="587" y="85"/>
                      <a:pt x="587" y="85"/>
                      <a:pt x="588" y="85"/>
                    </a:cubicBezTo>
                    <a:cubicBezTo>
                      <a:pt x="585" y="98"/>
                      <a:pt x="583" y="111"/>
                      <a:pt x="576" y="122"/>
                    </a:cubicBezTo>
                    <a:cubicBezTo>
                      <a:pt x="560" y="149"/>
                      <a:pt x="554" y="179"/>
                      <a:pt x="551" y="209"/>
                    </a:cubicBezTo>
                    <a:cubicBezTo>
                      <a:pt x="550" y="215"/>
                      <a:pt x="550" y="221"/>
                      <a:pt x="549" y="227"/>
                    </a:cubicBezTo>
                    <a:cubicBezTo>
                      <a:pt x="549" y="228"/>
                      <a:pt x="549" y="228"/>
                      <a:pt x="548" y="229"/>
                    </a:cubicBezTo>
                    <a:cubicBezTo>
                      <a:pt x="548" y="226"/>
                      <a:pt x="547" y="223"/>
                      <a:pt x="547" y="221"/>
                    </a:cubicBezTo>
                    <a:close/>
                    <a:moveTo>
                      <a:pt x="554" y="330"/>
                    </a:moveTo>
                    <a:cubicBezTo>
                      <a:pt x="558" y="329"/>
                      <a:pt x="561" y="328"/>
                      <a:pt x="565" y="328"/>
                    </a:cubicBezTo>
                    <a:cubicBezTo>
                      <a:pt x="566" y="328"/>
                      <a:pt x="567" y="328"/>
                      <a:pt x="568" y="328"/>
                    </a:cubicBezTo>
                    <a:cubicBezTo>
                      <a:pt x="568" y="330"/>
                      <a:pt x="568" y="332"/>
                      <a:pt x="567" y="332"/>
                    </a:cubicBezTo>
                    <a:cubicBezTo>
                      <a:pt x="564" y="334"/>
                      <a:pt x="561" y="336"/>
                      <a:pt x="557" y="338"/>
                    </a:cubicBezTo>
                    <a:cubicBezTo>
                      <a:pt x="556" y="335"/>
                      <a:pt x="555" y="333"/>
                      <a:pt x="554" y="330"/>
                    </a:cubicBezTo>
                    <a:close/>
                    <a:moveTo>
                      <a:pt x="593" y="367"/>
                    </a:moveTo>
                    <a:cubicBezTo>
                      <a:pt x="589" y="368"/>
                      <a:pt x="588" y="365"/>
                      <a:pt x="588" y="361"/>
                    </a:cubicBezTo>
                    <a:cubicBezTo>
                      <a:pt x="588" y="358"/>
                      <a:pt x="591" y="354"/>
                      <a:pt x="595" y="355"/>
                    </a:cubicBezTo>
                    <a:cubicBezTo>
                      <a:pt x="600" y="355"/>
                      <a:pt x="598" y="360"/>
                      <a:pt x="599" y="364"/>
                    </a:cubicBezTo>
                    <a:cubicBezTo>
                      <a:pt x="599" y="368"/>
                      <a:pt x="596" y="367"/>
                      <a:pt x="593" y="367"/>
                    </a:cubicBezTo>
                    <a:close/>
                    <a:moveTo>
                      <a:pt x="632" y="338"/>
                    </a:moveTo>
                    <a:cubicBezTo>
                      <a:pt x="629" y="336"/>
                      <a:pt x="626" y="334"/>
                      <a:pt x="623" y="332"/>
                    </a:cubicBezTo>
                    <a:cubicBezTo>
                      <a:pt x="628" y="328"/>
                      <a:pt x="632" y="330"/>
                      <a:pt x="636" y="332"/>
                    </a:cubicBezTo>
                    <a:cubicBezTo>
                      <a:pt x="635" y="334"/>
                      <a:pt x="634" y="336"/>
                      <a:pt x="632" y="338"/>
                    </a:cubicBezTo>
                    <a:close/>
                    <a:moveTo>
                      <a:pt x="665" y="330"/>
                    </a:moveTo>
                    <a:cubicBezTo>
                      <a:pt x="655" y="330"/>
                      <a:pt x="647" y="331"/>
                      <a:pt x="639" y="330"/>
                    </a:cubicBezTo>
                    <a:cubicBezTo>
                      <a:pt x="638" y="330"/>
                      <a:pt x="637" y="329"/>
                      <a:pt x="636" y="329"/>
                    </a:cubicBezTo>
                    <a:cubicBezTo>
                      <a:pt x="633" y="328"/>
                      <a:pt x="629" y="327"/>
                      <a:pt x="626" y="327"/>
                    </a:cubicBezTo>
                    <a:cubicBezTo>
                      <a:pt x="624" y="326"/>
                      <a:pt x="622" y="328"/>
                      <a:pt x="621" y="329"/>
                    </a:cubicBezTo>
                    <a:cubicBezTo>
                      <a:pt x="620" y="331"/>
                      <a:pt x="621" y="334"/>
                      <a:pt x="622" y="335"/>
                    </a:cubicBezTo>
                    <a:cubicBezTo>
                      <a:pt x="625" y="337"/>
                      <a:pt x="628" y="339"/>
                      <a:pt x="631" y="341"/>
                    </a:cubicBezTo>
                    <a:cubicBezTo>
                      <a:pt x="630" y="352"/>
                      <a:pt x="616" y="364"/>
                      <a:pt x="602" y="366"/>
                    </a:cubicBezTo>
                    <a:cubicBezTo>
                      <a:pt x="602" y="364"/>
                      <a:pt x="602" y="361"/>
                      <a:pt x="601" y="359"/>
                    </a:cubicBezTo>
                    <a:cubicBezTo>
                      <a:pt x="600" y="355"/>
                      <a:pt x="600" y="351"/>
                      <a:pt x="595" y="351"/>
                    </a:cubicBezTo>
                    <a:cubicBezTo>
                      <a:pt x="590" y="351"/>
                      <a:pt x="585" y="356"/>
                      <a:pt x="585" y="361"/>
                    </a:cubicBezTo>
                    <a:cubicBezTo>
                      <a:pt x="585" y="362"/>
                      <a:pt x="585" y="364"/>
                      <a:pt x="585" y="366"/>
                    </a:cubicBezTo>
                    <a:cubicBezTo>
                      <a:pt x="572" y="365"/>
                      <a:pt x="558" y="353"/>
                      <a:pt x="557" y="341"/>
                    </a:cubicBezTo>
                    <a:cubicBezTo>
                      <a:pt x="561" y="340"/>
                      <a:pt x="564" y="338"/>
                      <a:pt x="568" y="336"/>
                    </a:cubicBezTo>
                    <a:cubicBezTo>
                      <a:pt x="570" y="334"/>
                      <a:pt x="572" y="331"/>
                      <a:pt x="571" y="327"/>
                    </a:cubicBezTo>
                    <a:cubicBezTo>
                      <a:pt x="569" y="323"/>
                      <a:pt x="566" y="324"/>
                      <a:pt x="563" y="325"/>
                    </a:cubicBezTo>
                    <a:cubicBezTo>
                      <a:pt x="559" y="326"/>
                      <a:pt x="556" y="327"/>
                      <a:pt x="552" y="328"/>
                    </a:cubicBezTo>
                    <a:cubicBezTo>
                      <a:pt x="551" y="328"/>
                      <a:pt x="549" y="328"/>
                      <a:pt x="548" y="328"/>
                    </a:cubicBezTo>
                    <a:cubicBezTo>
                      <a:pt x="548" y="315"/>
                      <a:pt x="548" y="303"/>
                      <a:pt x="548" y="290"/>
                    </a:cubicBezTo>
                    <a:cubicBezTo>
                      <a:pt x="549" y="276"/>
                      <a:pt x="549" y="261"/>
                      <a:pt x="549" y="247"/>
                    </a:cubicBezTo>
                    <a:cubicBezTo>
                      <a:pt x="550" y="237"/>
                      <a:pt x="552" y="227"/>
                      <a:pt x="553" y="216"/>
                    </a:cubicBezTo>
                    <a:cubicBezTo>
                      <a:pt x="555" y="196"/>
                      <a:pt x="558" y="176"/>
                      <a:pt x="564" y="156"/>
                    </a:cubicBezTo>
                    <a:cubicBezTo>
                      <a:pt x="567" y="148"/>
                      <a:pt x="570" y="140"/>
                      <a:pt x="574" y="133"/>
                    </a:cubicBezTo>
                    <a:cubicBezTo>
                      <a:pt x="582" y="119"/>
                      <a:pt x="587" y="104"/>
                      <a:pt x="591" y="88"/>
                    </a:cubicBezTo>
                    <a:cubicBezTo>
                      <a:pt x="591" y="85"/>
                      <a:pt x="592" y="83"/>
                      <a:pt x="595" y="83"/>
                    </a:cubicBezTo>
                    <a:cubicBezTo>
                      <a:pt x="612" y="81"/>
                      <a:pt x="629" y="79"/>
                      <a:pt x="647" y="76"/>
                    </a:cubicBezTo>
                    <a:cubicBezTo>
                      <a:pt x="646" y="81"/>
                      <a:pt x="645" y="85"/>
                      <a:pt x="644" y="88"/>
                    </a:cubicBezTo>
                    <a:cubicBezTo>
                      <a:pt x="638" y="106"/>
                      <a:pt x="640" y="124"/>
                      <a:pt x="643" y="142"/>
                    </a:cubicBezTo>
                    <a:cubicBezTo>
                      <a:pt x="649" y="169"/>
                      <a:pt x="651" y="195"/>
                      <a:pt x="651" y="222"/>
                    </a:cubicBezTo>
                    <a:cubicBezTo>
                      <a:pt x="652" y="240"/>
                      <a:pt x="654" y="257"/>
                      <a:pt x="664" y="272"/>
                    </a:cubicBezTo>
                    <a:cubicBezTo>
                      <a:pt x="665" y="274"/>
                      <a:pt x="666" y="277"/>
                      <a:pt x="666" y="279"/>
                    </a:cubicBezTo>
                    <a:cubicBezTo>
                      <a:pt x="665" y="296"/>
                      <a:pt x="665" y="313"/>
                      <a:pt x="665" y="330"/>
                    </a:cubicBezTo>
                    <a:close/>
                    <a:moveTo>
                      <a:pt x="689" y="333"/>
                    </a:moveTo>
                    <a:cubicBezTo>
                      <a:pt x="692" y="333"/>
                      <a:pt x="695" y="333"/>
                      <a:pt x="698" y="333"/>
                    </a:cubicBezTo>
                    <a:cubicBezTo>
                      <a:pt x="697" y="335"/>
                      <a:pt x="697" y="337"/>
                      <a:pt x="695" y="338"/>
                    </a:cubicBezTo>
                    <a:cubicBezTo>
                      <a:pt x="692" y="340"/>
                      <a:pt x="690" y="337"/>
                      <a:pt x="689" y="333"/>
                    </a:cubicBezTo>
                    <a:close/>
                    <a:moveTo>
                      <a:pt x="730" y="367"/>
                    </a:moveTo>
                    <a:cubicBezTo>
                      <a:pt x="729" y="366"/>
                      <a:pt x="726" y="365"/>
                      <a:pt x="726" y="363"/>
                    </a:cubicBezTo>
                    <a:cubicBezTo>
                      <a:pt x="726" y="361"/>
                      <a:pt x="726" y="358"/>
                      <a:pt x="727" y="355"/>
                    </a:cubicBezTo>
                    <a:cubicBezTo>
                      <a:pt x="727" y="355"/>
                      <a:pt x="729" y="354"/>
                      <a:pt x="729" y="355"/>
                    </a:cubicBezTo>
                    <a:cubicBezTo>
                      <a:pt x="731" y="357"/>
                      <a:pt x="732" y="360"/>
                      <a:pt x="733" y="362"/>
                    </a:cubicBezTo>
                    <a:cubicBezTo>
                      <a:pt x="732" y="364"/>
                      <a:pt x="731" y="366"/>
                      <a:pt x="730" y="367"/>
                    </a:cubicBezTo>
                    <a:close/>
                    <a:moveTo>
                      <a:pt x="773" y="328"/>
                    </a:moveTo>
                    <a:cubicBezTo>
                      <a:pt x="770" y="327"/>
                      <a:pt x="766" y="327"/>
                      <a:pt x="762" y="326"/>
                    </a:cubicBezTo>
                    <a:cubicBezTo>
                      <a:pt x="760" y="326"/>
                      <a:pt x="758" y="325"/>
                      <a:pt x="756" y="325"/>
                    </a:cubicBezTo>
                    <a:cubicBezTo>
                      <a:pt x="753" y="326"/>
                      <a:pt x="750" y="328"/>
                      <a:pt x="749" y="331"/>
                    </a:cubicBezTo>
                    <a:cubicBezTo>
                      <a:pt x="749" y="335"/>
                      <a:pt x="752" y="337"/>
                      <a:pt x="756" y="337"/>
                    </a:cubicBezTo>
                    <a:cubicBezTo>
                      <a:pt x="758" y="338"/>
                      <a:pt x="760" y="338"/>
                      <a:pt x="763" y="338"/>
                    </a:cubicBezTo>
                    <a:cubicBezTo>
                      <a:pt x="759" y="356"/>
                      <a:pt x="751" y="364"/>
                      <a:pt x="736" y="366"/>
                    </a:cubicBezTo>
                    <a:cubicBezTo>
                      <a:pt x="735" y="363"/>
                      <a:pt x="735" y="360"/>
                      <a:pt x="734" y="357"/>
                    </a:cubicBezTo>
                    <a:cubicBezTo>
                      <a:pt x="734" y="354"/>
                      <a:pt x="732" y="351"/>
                      <a:pt x="728" y="351"/>
                    </a:cubicBezTo>
                    <a:cubicBezTo>
                      <a:pt x="724" y="351"/>
                      <a:pt x="723" y="355"/>
                      <a:pt x="722" y="358"/>
                    </a:cubicBezTo>
                    <a:cubicBezTo>
                      <a:pt x="722" y="361"/>
                      <a:pt x="723" y="364"/>
                      <a:pt x="723" y="366"/>
                    </a:cubicBezTo>
                    <a:cubicBezTo>
                      <a:pt x="713" y="368"/>
                      <a:pt x="699" y="360"/>
                      <a:pt x="693" y="342"/>
                    </a:cubicBezTo>
                    <a:cubicBezTo>
                      <a:pt x="695" y="342"/>
                      <a:pt x="697" y="341"/>
                      <a:pt x="698" y="340"/>
                    </a:cubicBezTo>
                    <a:cubicBezTo>
                      <a:pt x="701" y="338"/>
                      <a:pt x="703" y="334"/>
                      <a:pt x="700" y="332"/>
                    </a:cubicBezTo>
                    <a:cubicBezTo>
                      <a:pt x="699" y="330"/>
                      <a:pt x="695" y="328"/>
                      <a:pt x="694" y="329"/>
                    </a:cubicBezTo>
                    <a:cubicBezTo>
                      <a:pt x="685" y="334"/>
                      <a:pt x="677" y="330"/>
                      <a:pt x="668" y="331"/>
                    </a:cubicBezTo>
                    <a:cubicBezTo>
                      <a:pt x="668" y="326"/>
                      <a:pt x="668" y="321"/>
                      <a:pt x="668" y="316"/>
                    </a:cubicBezTo>
                    <a:cubicBezTo>
                      <a:pt x="668" y="304"/>
                      <a:pt x="668" y="292"/>
                      <a:pt x="668" y="280"/>
                    </a:cubicBezTo>
                    <a:cubicBezTo>
                      <a:pt x="668" y="274"/>
                      <a:pt x="666" y="267"/>
                      <a:pt x="666" y="260"/>
                    </a:cubicBezTo>
                    <a:cubicBezTo>
                      <a:pt x="664" y="245"/>
                      <a:pt x="667" y="229"/>
                      <a:pt x="669" y="214"/>
                    </a:cubicBezTo>
                    <a:cubicBezTo>
                      <a:pt x="671" y="195"/>
                      <a:pt x="675" y="176"/>
                      <a:pt x="674" y="158"/>
                    </a:cubicBezTo>
                    <a:cubicBezTo>
                      <a:pt x="674" y="138"/>
                      <a:pt x="676" y="120"/>
                      <a:pt x="683" y="101"/>
                    </a:cubicBezTo>
                    <a:cubicBezTo>
                      <a:pt x="687" y="92"/>
                      <a:pt x="689" y="83"/>
                      <a:pt x="692" y="72"/>
                    </a:cubicBezTo>
                    <a:cubicBezTo>
                      <a:pt x="708" y="71"/>
                      <a:pt x="726" y="71"/>
                      <a:pt x="744" y="70"/>
                    </a:cubicBezTo>
                    <a:cubicBezTo>
                      <a:pt x="744" y="78"/>
                      <a:pt x="744" y="87"/>
                      <a:pt x="744" y="95"/>
                    </a:cubicBezTo>
                    <a:cubicBezTo>
                      <a:pt x="742" y="108"/>
                      <a:pt x="744" y="121"/>
                      <a:pt x="746" y="134"/>
                    </a:cubicBezTo>
                    <a:cubicBezTo>
                      <a:pt x="750" y="158"/>
                      <a:pt x="754" y="182"/>
                      <a:pt x="758" y="206"/>
                    </a:cubicBezTo>
                    <a:cubicBezTo>
                      <a:pt x="759" y="213"/>
                      <a:pt x="759" y="220"/>
                      <a:pt x="761" y="227"/>
                    </a:cubicBezTo>
                    <a:cubicBezTo>
                      <a:pt x="762" y="232"/>
                      <a:pt x="765" y="237"/>
                      <a:pt x="767" y="242"/>
                    </a:cubicBezTo>
                    <a:cubicBezTo>
                      <a:pt x="769" y="249"/>
                      <a:pt x="771" y="255"/>
                      <a:pt x="772" y="262"/>
                    </a:cubicBezTo>
                    <a:cubicBezTo>
                      <a:pt x="774" y="273"/>
                      <a:pt x="775" y="283"/>
                      <a:pt x="776" y="294"/>
                    </a:cubicBezTo>
                    <a:cubicBezTo>
                      <a:pt x="777" y="298"/>
                      <a:pt x="777" y="303"/>
                      <a:pt x="776" y="308"/>
                    </a:cubicBezTo>
                    <a:cubicBezTo>
                      <a:pt x="775" y="314"/>
                      <a:pt x="774" y="320"/>
                      <a:pt x="773" y="328"/>
                    </a:cubicBezTo>
                    <a:close/>
                    <a:moveTo>
                      <a:pt x="764" y="332"/>
                    </a:moveTo>
                    <a:cubicBezTo>
                      <a:pt x="763" y="333"/>
                      <a:pt x="762" y="334"/>
                      <a:pt x="761" y="335"/>
                    </a:cubicBezTo>
                    <a:cubicBezTo>
                      <a:pt x="760" y="335"/>
                      <a:pt x="760" y="335"/>
                      <a:pt x="760" y="335"/>
                    </a:cubicBezTo>
                    <a:cubicBezTo>
                      <a:pt x="759" y="335"/>
                      <a:pt x="759" y="335"/>
                      <a:pt x="758" y="334"/>
                    </a:cubicBezTo>
                    <a:cubicBezTo>
                      <a:pt x="756" y="334"/>
                      <a:pt x="754" y="333"/>
                      <a:pt x="753" y="332"/>
                    </a:cubicBezTo>
                    <a:cubicBezTo>
                      <a:pt x="754" y="330"/>
                      <a:pt x="756" y="328"/>
                      <a:pt x="758" y="328"/>
                    </a:cubicBezTo>
                    <a:cubicBezTo>
                      <a:pt x="760" y="329"/>
                      <a:pt x="762" y="331"/>
                      <a:pt x="764" y="332"/>
                    </a:cubicBezTo>
                    <a:close/>
                    <a:moveTo>
                      <a:pt x="865" y="353"/>
                    </a:moveTo>
                    <a:cubicBezTo>
                      <a:pt x="865" y="350"/>
                      <a:pt x="865" y="348"/>
                      <a:pt x="865" y="345"/>
                    </a:cubicBezTo>
                    <a:cubicBezTo>
                      <a:pt x="865" y="345"/>
                      <a:pt x="867" y="344"/>
                      <a:pt x="867" y="344"/>
                    </a:cubicBezTo>
                    <a:cubicBezTo>
                      <a:pt x="869" y="346"/>
                      <a:pt x="870" y="348"/>
                      <a:pt x="873" y="351"/>
                    </a:cubicBezTo>
                    <a:cubicBezTo>
                      <a:pt x="869" y="352"/>
                      <a:pt x="868" y="352"/>
                      <a:pt x="865" y="353"/>
                    </a:cubicBezTo>
                    <a:close/>
                    <a:moveTo>
                      <a:pt x="900" y="306"/>
                    </a:moveTo>
                    <a:cubicBezTo>
                      <a:pt x="897" y="304"/>
                      <a:pt x="893" y="305"/>
                      <a:pt x="891" y="308"/>
                    </a:cubicBezTo>
                    <a:cubicBezTo>
                      <a:pt x="887" y="311"/>
                      <a:pt x="888" y="315"/>
                      <a:pt x="893" y="317"/>
                    </a:cubicBezTo>
                    <a:cubicBezTo>
                      <a:pt x="895" y="317"/>
                      <a:pt x="898" y="318"/>
                      <a:pt x="900" y="318"/>
                    </a:cubicBezTo>
                    <a:cubicBezTo>
                      <a:pt x="901" y="331"/>
                      <a:pt x="891" y="349"/>
                      <a:pt x="875" y="351"/>
                    </a:cubicBezTo>
                    <a:cubicBezTo>
                      <a:pt x="873" y="346"/>
                      <a:pt x="872" y="340"/>
                      <a:pt x="865" y="342"/>
                    </a:cubicBezTo>
                    <a:cubicBezTo>
                      <a:pt x="859" y="343"/>
                      <a:pt x="862" y="349"/>
                      <a:pt x="861" y="353"/>
                    </a:cubicBezTo>
                    <a:cubicBezTo>
                      <a:pt x="841" y="355"/>
                      <a:pt x="824" y="351"/>
                      <a:pt x="816" y="334"/>
                    </a:cubicBezTo>
                    <a:cubicBezTo>
                      <a:pt x="819" y="333"/>
                      <a:pt x="822" y="332"/>
                      <a:pt x="824" y="330"/>
                    </a:cubicBezTo>
                    <a:cubicBezTo>
                      <a:pt x="828" y="328"/>
                      <a:pt x="829" y="325"/>
                      <a:pt x="827" y="322"/>
                    </a:cubicBezTo>
                    <a:cubicBezTo>
                      <a:pt x="825" y="318"/>
                      <a:pt x="821" y="319"/>
                      <a:pt x="819" y="321"/>
                    </a:cubicBezTo>
                    <a:cubicBezTo>
                      <a:pt x="813" y="326"/>
                      <a:pt x="807" y="325"/>
                      <a:pt x="800" y="326"/>
                    </a:cubicBezTo>
                    <a:cubicBezTo>
                      <a:pt x="794" y="327"/>
                      <a:pt x="788" y="326"/>
                      <a:pt x="781" y="327"/>
                    </a:cubicBezTo>
                    <a:cubicBezTo>
                      <a:pt x="777" y="327"/>
                      <a:pt x="776" y="325"/>
                      <a:pt x="777" y="322"/>
                    </a:cubicBezTo>
                    <a:cubicBezTo>
                      <a:pt x="777" y="318"/>
                      <a:pt x="778" y="314"/>
                      <a:pt x="778" y="311"/>
                    </a:cubicBezTo>
                    <a:cubicBezTo>
                      <a:pt x="780" y="301"/>
                      <a:pt x="779" y="291"/>
                      <a:pt x="777" y="281"/>
                    </a:cubicBezTo>
                    <a:cubicBezTo>
                      <a:pt x="775" y="267"/>
                      <a:pt x="772" y="254"/>
                      <a:pt x="770" y="241"/>
                    </a:cubicBezTo>
                    <a:cubicBezTo>
                      <a:pt x="769" y="240"/>
                      <a:pt x="769" y="239"/>
                      <a:pt x="769" y="238"/>
                    </a:cubicBezTo>
                    <a:cubicBezTo>
                      <a:pt x="769" y="223"/>
                      <a:pt x="769" y="207"/>
                      <a:pt x="769" y="191"/>
                    </a:cubicBezTo>
                    <a:cubicBezTo>
                      <a:pt x="770" y="172"/>
                      <a:pt x="771" y="152"/>
                      <a:pt x="772" y="132"/>
                    </a:cubicBezTo>
                    <a:cubicBezTo>
                      <a:pt x="774" y="117"/>
                      <a:pt x="776" y="102"/>
                      <a:pt x="777" y="86"/>
                    </a:cubicBezTo>
                    <a:cubicBezTo>
                      <a:pt x="778" y="80"/>
                      <a:pt x="777" y="74"/>
                      <a:pt x="777" y="67"/>
                    </a:cubicBezTo>
                    <a:cubicBezTo>
                      <a:pt x="785" y="67"/>
                      <a:pt x="793" y="67"/>
                      <a:pt x="801" y="67"/>
                    </a:cubicBezTo>
                    <a:cubicBezTo>
                      <a:pt x="811" y="66"/>
                      <a:pt x="821" y="65"/>
                      <a:pt x="831" y="63"/>
                    </a:cubicBezTo>
                    <a:cubicBezTo>
                      <a:pt x="842" y="62"/>
                      <a:pt x="842" y="62"/>
                      <a:pt x="844" y="72"/>
                    </a:cubicBezTo>
                    <a:cubicBezTo>
                      <a:pt x="845" y="79"/>
                      <a:pt x="846" y="87"/>
                      <a:pt x="846" y="94"/>
                    </a:cubicBezTo>
                    <a:cubicBezTo>
                      <a:pt x="845" y="130"/>
                      <a:pt x="858" y="160"/>
                      <a:pt x="878" y="188"/>
                    </a:cubicBezTo>
                    <a:cubicBezTo>
                      <a:pt x="884" y="197"/>
                      <a:pt x="892" y="206"/>
                      <a:pt x="895" y="217"/>
                    </a:cubicBezTo>
                    <a:cubicBezTo>
                      <a:pt x="896" y="221"/>
                      <a:pt x="897" y="226"/>
                      <a:pt x="897" y="230"/>
                    </a:cubicBezTo>
                    <a:cubicBezTo>
                      <a:pt x="901" y="245"/>
                      <a:pt x="904" y="261"/>
                      <a:pt x="907" y="277"/>
                    </a:cubicBezTo>
                    <a:cubicBezTo>
                      <a:pt x="908" y="281"/>
                      <a:pt x="908" y="286"/>
                      <a:pt x="908" y="291"/>
                    </a:cubicBezTo>
                    <a:cubicBezTo>
                      <a:pt x="909" y="297"/>
                      <a:pt x="910" y="302"/>
                      <a:pt x="911" y="307"/>
                    </a:cubicBezTo>
                    <a:cubicBezTo>
                      <a:pt x="908" y="307"/>
                      <a:pt x="904" y="309"/>
                      <a:pt x="900" y="306"/>
                    </a:cubicBezTo>
                    <a:close/>
                    <a:moveTo>
                      <a:pt x="902" y="312"/>
                    </a:moveTo>
                    <a:cubicBezTo>
                      <a:pt x="901" y="313"/>
                      <a:pt x="899" y="314"/>
                      <a:pt x="897" y="316"/>
                    </a:cubicBezTo>
                    <a:cubicBezTo>
                      <a:pt x="895" y="314"/>
                      <a:pt x="894" y="313"/>
                      <a:pt x="892" y="311"/>
                    </a:cubicBezTo>
                    <a:cubicBezTo>
                      <a:pt x="894" y="310"/>
                      <a:pt x="895" y="308"/>
                      <a:pt x="897" y="309"/>
                    </a:cubicBezTo>
                    <a:cubicBezTo>
                      <a:pt x="899" y="309"/>
                      <a:pt x="900" y="311"/>
                      <a:pt x="902" y="312"/>
                    </a:cubicBezTo>
                    <a:close/>
                    <a:moveTo>
                      <a:pt x="814" y="328"/>
                    </a:moveTo>
                    <a:cubicBezTo>
                      <a:pt x="817" y="326"/>
                      <a:pt x="819" y="324"/>
                      <a:pt x="821" y="323"/>
                    </a:cubicBezTo>
                    <a:cubicBezTo>
                      <a:pt x="822" y="322"/>
                      <a:pt x="824" y="323"/>
                      <a:pt x="825" y="323"/>
                    </a:cubicBezTo>
                    <a:cubicBezTo>
                      <a:pt x="825" y="325"/>
                      <a:pt x="825" y="326"/>
                      <a:pt x="824" y="327"/>
                    </a:cubicBezTo>
                    <a:cubicBezTo>
                      <a:pt x="822" y="330"/>
                      <a:pt x="817" y="330"/>
                      <a:pt x="814" y="328"/>
                    </a:cubicBezTo>
                    <a:close/>
                    <a:moveTo>
                      <a:pt x="1037" y="268"/>
                    </a:moveTo>
                    <a:cubicBezTo>
                      <a:pt x="1027" y="274"/>
                      <a:pt x="1017" y="279"/>
                      <a:pt x="1005" y="278"/>
                    </a:cubicBezTo>
                    <a:cubicBezTo>
                      <a:pt x="1001" y="278"/>
                      <a:pt x="998" y="278"/>
                      <a:pt x="995" y="277"/>
                    </a:cubicBezTo>
                    <a:cubicBezTo>
                      <a:pt x="984" y="275"/>
                      <a:pt x="976" y="278"/>
                      <a:pt x="968" y="285"/>
                    </a:cubicBezTo>
                    <a:cubicBezTo>
                      <a:pt x="963" y="290"/>
                      <a:pt x="958" y="295"/>
                      <a:pt x="953" y="299"/>
                    </a:cubicBezTo>
                    <a:cubicBezTo>
                      <a:pt x="942" y="308"/>
                      <a:pt x="930" y="308"/>
                      <a:pt x="917" y="307"/>
                    </a:cubicBezTo>
                    <a:cubicBezTo>
                      <a:pt x="916" y="307"/>
                      <a:pt x="915" y="306"/>
                      <a:pt x="915" y="305"/>
                    </a:cubicBezTo>
                    <a:cubicBezTo>
                      <a:pt x="913" y="301"/>
                      <a:pt x="912" y="296"/>
                      <a:pt x="911" y="292"/>
                    </a:cubicBezTo>
                    <a:cubicBezTo>
                      <a:pt x="909" y="279"/>
                      <a:pt x="907" y="267"/>
                      <a:pt x="904" y="254"/>
                    </a:cubicBezTo>
                    <a:cubicBezTo>
                      <a:pt x="903" y="244"/>
                      <a:pt x="899" y="233"/>
                      <a:pt x="900" y="223"/>
                    </a:cubicBezTo>
                    <a:cubicBezTo>
                      <a:pt x="900" y="202"/>
                      <a:pt x="891" y="183"/>
                      <a:pt x="886" y="163"/>
                    </a:cubicBezTo>
                    <a:cubicBezTo>
                      <a:pt x="883" y="152"/>
                      <a:pt x="880" y="141"/>
                      <a:pt x="881" y="129"/>
                    </a:cubicBezTo>
                    <a:cubicBezTo>
                      <a:pt x="882" y="106"/>
                      <a:pt x="881" y="83"/>
                      <a:pt x="876" y="60"/>
                    </a:cubicBezTo>
                    <a:cubicBezTo>
                      <a:pt x="909" y="56"/>
                      <a:pt x="942" y="53"/>
                      <a:pt x="975" y="50"/>
                    </a:cubicBezTo>
                    <a:cubicBezTo>
                      <a:pt x="976" y="54"/>
                      <a:pt x="977" y="58"/>
                      <a:pt x="976" y="62"/>
                    </a:cubicBezTo>
                    <a:cubicBezTo>
                      <a:pt x="976" y="92"/>
                      <a:pt x="986" y="120"/>
                      <a:pt x="999" y="146"/>
                    </a:cubicBezTo>
                    <a:cubicBezTo>
                      <a:pt x="1006" y="161"/>
                      <a:pt x="1013" y="176"/>
                      <a:pt x="1022" y="190"/>
                    </a:cubicBezTo>
                    <a:cubicBezTo>
                      <a:pt x="1029" y="201"/>
                      <a:pt x="1032" y="213"/>
                      <a:pt x="1032" y="226"/>
                    </a:cubicBezTo>
                    <a:cubicBezTo>
                      <a:pt x="1032" y="230"/>
                      <a:pt x="1032" y="235"/>
                      <a:pt x="1033" y="239"/>
                    </a:cubicBezTo>
                    <a:cubicBezTo>
                      <a:pt x="1035" y="247"/>
                      <a:pt x="1037" y="255"/>
                      <a:pt x="1039" y="262"/>
                    </a:cubicBezTo>
                    <a:cubicBezTo>
                      <a:pt x="1040" y="265"/>
                      <a:pt x="1040" y="267"/>
                      <a:pt x="1037" y="268"/>
                    </a:cubicBezTo>
                    <a:close/>
                    <a:moveTo>
                      <a:pt x="1094" y="274"/>
                    </a:moveTo>
                    <a:cubicBezTo>
                      <a:pt x="1094" y="279"/>
                      <a:pt x="1091" y="280"/>
                      <a:pt x="1086" y="280"/>
                    </a:cubicBezTo>
                    <a:cubicBezTo>
                      <a:pt x="1076" y="279"/>
                      <a:pt x="1066" y="275"/>
                      <a:pt x="1057" y="268"/>
                    </a:cubicBezTo>
                    <a:cubicBezTo>
                      <a:pt x="1053" y="265"/>
                      <a:pt x="1050" y="261"/>
                      <a:pt x="1044" y="265"/>
                    </a:cubicBezTo>
                    <a:cubicBezTo>
                      <a:pt x="1038" y="251"/>
                      <a:pt x="1035" y="237"/>
                      <a:pt x="1035" y="223"/>
                    </a:cubicBezTo>
                    <a:cubicBezTo>
                      <a:pt x="1035" y="213"/>
                      <a:pt x="1033" y="203"/>
                      <a:pt x="1028" y="194"/>
                    </a:cubicBezTo>
                    <a:cubicBezTo>
                      <a:pt x="1028" y="193"/>
                      <a:pt x="1027" y="192"/>
                      <a:pt x="1028" y="191"/>
                    </a:cubicBezTo>
                    <a:cubicBezTo>
                      <a:pt x="1029" y="180"/>
                      <a:pt x="1026" y="171"/>
                      <a:pt x="1023" y="161"/>
                    </a:cubicBezTo>
                    <a:cubicBezTo>
                      <a:pt x="1018" y="146"/>
                      <a:pt x="1012" y="131"/>
                      <a:pt x="1009" y="116"/>
                    </a:cubicBezTo>
                    <a:cubicBezTo>
                      <a:pt x="1006" y="106"/>
                      <a:pt x="1006" y="96"/>
                      <a:pt x="1006" y="85"/>
                    </a:cubicBezTo>
                    <a:cubicBezTo>
                      <a:pt x="1005" y="72"/>
                      <a:pt x="1004" y="58"/>
                      <a:pt x="1004" y="44"/>
                    </a:cubicBezTo>
                    <a:cubicBezTo>
                      <a:pt x="1047" y="32"/>
                      <a:pt x="1089" y="21"/>
                      <a:pt x="1134" y="9"/>
                    </a:cubicBezTo>
                    <a:cubicBezTo>
                      <a:pt x="1133" y="16"/>
                      <a:pt x="1134" y="22"/>
                      <a:pt x="1133" y="28"/>
                    </a:cubicBezTo>
                    <a:cubicBezTo>
                      <a:pt x="1128" y="61"/>
                      <a:pt x="1123" y="94"/>
                      <a:pt x="1118" y="127"/>
                    </a:cubicBezTo>
                    <a:cubicBezTo>
                      <a:pt x="1116" y="145"/>
                      <a:pt x="1114" y="164"/>
                      <a:pt x="1117" y="182"/>
                    </a:cubicBezTo>
                    <a:cubicBezTo>
                      <a:pt x="1117" y="183"/>
                      <a:pt x="1117" y="184"/>
                      <a:pt x="1116" y="185"/>
                    </a:cubicBezTo>
                    <a:cubicBezTo>
                      <a:pt x="1114" y="196"/>
                      <a:pt x="1111" y="208"/>
                      <a:pt x="1108" y="220"/>
                    </a:cubicBezTo>
                    <a:cubicBezTo>
                      <a:pt x="1107" y="226"/>
                      <a:pt x="1105" y="232"/>
                      <a:pt x="1103" y="237"/>
                    </a:cubicBezTo>
                    <a:cubicBezTo>
                      <a:pt x="1099" y="246"/>
                      <a:pt x="1097" y="255"/>
                      <a:pt x="1096" y="264"/>
                    </a:cubicBezTo>
                    <a:cubicBezTo>
                      <a:pt x="1096" y="268"/>
                      <a:pt x="1095" y="271"/>
                      <a:pt x="1094" y="274"/>
                    </a:cubicBezTo>
                    <a:close/>
                    <a:moveTo>
                      <a:pt x="1141" y="293"/>
                    </a:moveTo>
                    <a:cubicBezTo>
                      <a:pt x="1139" y="296"/>
                      <a:pt x="1135" y="298"/>
                      <a:pt x="1133" y="301"/>
                    </a:cubicBezTo>
                    <a:cubicBezTo>
                      <a:pt x="1131" y="304"/>
                      <a:pt x="1131" y="307"/>
                      <a:pt x="1129" y="311"/>
                    </a:cubicBezTo>
                    <a:cubicBezTo>
                      <a:pt x="1123" y="307"/>
                      <a:pt x="1121" y="301"/>
                      <a:pt x="1119" y="295"/>
                    </a:cubicBezTo>
                    <a:cubicBezTo>
                      <a:pt x="1118" y="292"/>
                      <a:pt x="1117" y="287"/>
                      <a:pt x="1113" y="289"/>
                    </a:cubicBezTo>
                    <a:cubicBezTo>
                      <a:pt x="1111" y="290"/>
                      <a:pt x="1109" y="293"/>
                      <a:pt x="1108" y="296"/>
                    </a:cubicBezTo>
                    <a:cubicBezTo>
                      <a:pt x="1107" y="299"/>
                      <a:pt x="1108" y="303"/>
                      <a:pt x="1108" y="307"/>
                    </a:cubicBezTo>
                    <a:cubicBezTo>
                      <a:pt x="1102" y="305"/>
                      <a:pt x="1097" y="298"/>
                      <a:pt x="1097" y="291"/>
                    </a:cubicBezTo>
                    <a:cubicBezTo>
                      <a:pt x="1098" y="280"/>
                      <a:pt x="1099" y="269"/>
                      <a:pt x="1101" y="257"/>
                    </a:cubicBezTo>
                    <a:cubicBezTo>
                      <a:pt x="1102" y="251"/>
                      <a:pt x="1103" y="245"/>
                      <a:pt x="1106" y="239"/>
                    </a:cubicBezTo>
                    <a:cubicBezTo>
                      <a:pt x="1111" y="228"/>
                      <a:pt x="1112" y="216"/>
                      <a:pt x="1114" y="204"/>
                    </a:cubicBezTo>
                    <a:cubicBezTo>
                      <a:pt x="1116" y="194"/>
                      <a:pt x="1119" y="184"/>
                      <a:pt x="1124" y="175"/>
                    </a:cubicBezTo>
                    <a:cubicBezTo>
                      <a:pt x="1129" y="165"/>
                      <a:pt x="1132" y="155"/>
                      <a:pt x="1136" y="145"/>
                    </a:cubicBezTo>
                    <a:cubicBezTo>
                      <a:pt x="1137" y="140"/>
                      <a:pt x="1138" y="135"/>
                      <a:pt x="1140" y="131"/>
                    </a:cubicBezTo>
                    <a:cubicBezTo>
                      <a:pt x="1149" y="113"/>
                      <a:pt x="1154" y="95"/>
                      <a:pt x="1157" y="76"/>
                    </a:cubicBezTo>
                    <a:cubicBezTo>
                      <a:pt x="1160" y="61"/>
                      <a:pt x="1166" y="48"/>
                      <a:pt x="1175" y="37"/>
                    </a:cubicBezTo>
                    <a:cubicBezTo>
                      <a:pt x="1182" y="29"/>
                      <a:pt x="1187" y="19"/>
                      <a:pt x="1189" y="8"/>
                    </a:cubicBezTo>
                    <a:cubicBezTo>
                      <a:pt x="1231" y="7"/>
                      <a:pt x="1269" y="21"/>
                      <a:pt x="1306" y="42"/>
                    </a:cubicBezTo>
                    <a:cubicBezTo>
                      <a:pt x="1302" y="48"/>
                      <a:pt x="1299" y="54"/>
                      <a:pt x="1295" y="58"/>
                    </a:cubicBezTo>
                    <a:cubicBezTo>
                      <a:pt x="1263" y="94"/>
                      <a:pt x="1241" y="135"/>
                      <a:pt x="1221" y="178"/>
                    </a:cubicBezTo>
                    <a:cubicBezTo>
                      <a:pt x="1217" y="187"/>
                      <a:pt x="1214" y="197"/>
                      <a:pt x="1210" y="206"/>
                    </a:cubicBezTo>
                    <a:cubicBezTo>
                      <a:pt x="1207" y="212"/>
                      <a:pt x="1202" y="217"/>
                      <a:pt x="1198" y="222"/>
                    </a:cubicBezTo>
                    <a:cubicBezTo>
                      <a:pt x="1186" y="236"/>
                      <a:pt x="1173" y="248"/>
                      <a:pt x="1162" y="262"/>
                    </a:cubicBezTo>
                    <a:cubicBezTo>
                      <a:pt x="1154" y="271"/>
                      <a:pt x="1149" y="282"/>
                      <a:pt x="1142" y="292"/>
                    </a:cubicBezTo>
                    <a:cubicBezTo>
                      <a:pt x="1142" y="292"/>
                      <a:pt x="1142" y="293"/>
                      <a:pt x="1141" y="293"/>
                    </a:cubicBezTo>
                    <a:close/>
                    <a:moveTo>
                      <a:pt x="1165" y="298"/>
                    </a:moveTo>
                    <a:cubicBezTo>
                      <a:pt x="1160" y="303"/>
                      <a:pt x="1161" y="309"/>
                      <a:pt x="1163" y="316"/>
                    </a:cubicBezTo>
                    <a:cubicBezTo>
                      <a:pt x="1161" y="316"/>
                      <a:pt x="1160" y="316"/>
                      <a:pt x="1158" y="316"/>
                    </a:cubicBezTo>
                    <a:cubicBezTo>
                      <a:pt x="1148" y="312"/>
                      <a:pt x="1141" y="297"/>
                      <a:pt x="1147" y="288"/>
                    </a:cubicBezTo>
                    <a:cubicBezTo>
                      <a:pt x="1154" y="277"/>
                      <a:pt x="1161" y="267"/>
                      <a:pt x="1169" y="257"/>
                    </a:cubicBezTo>
                    <a:cubicBezTo>
                      <a:pt x="1181" y="244"/>
                      <a:pt x="1193" y="231"/>
                      <a:pt x="1205" y="218"/>
                    </a:cubicBezTo>
                    <a:cubicBezTo>
                      <a:pt x="1208" y="215"/>
                      <a:pt x="1210" y="210"/>
                      <a:pt x="1213" y="207"/>
                    </a:cubicBezTo>
                    <a:cubicBezTo>
                      <a:pt x="1218" y="199"/>
                      <a:pt x="1223" y="192"/>
                      <a:pt x="1228" y="184"/>
                    </a:cubicBezTo>
                    <a:cubicBezTo>
                      <a:pt x="1235" y="176"/>
                      <a:pt x="1241" y="168"/>
                      <a:pt x="1247" y="160"/>
                    </a:cubicBezTo>
                    <a:cubicBezTo>
                      <a:pt x="1251" y="156"/>
                      <a:pt x="1254" y="151"/>
                      <a:pt x="1258" y="148"/>
                    </a:cubicBezTo>
                    <a:cubicBezTo>
                      <a:pt x="1271" y="137"/>
                      <a:pt x="1282" y="124"/>
                      <a:pt x="1293" y="111"/>
                    </a:cubicBezTo>
                    <a:cubicBezTo>
                      <a:pt x="1295" y="107"/>
                      <a:pt x="1298" y="104"/>
                      <a:pt x="1301" y="101"/>
                    </a:cubicBezTo>
                    <a:cubicBezTo>
                      <a:pt x="1314" y="90"/>
                      <a:pt x="1326" y="78"/>
                      <a:pt x="1333" y="60"/>
                    </a:cubicBezTo>
                    <a:cubicBezTo>
                      <a:pt x="1359" y="79"/>
                      <a:pt x="1380" y="102"/>
                      <a:pt x="1399" y="127"/>
                    </a:cubicBezTo>
                    <a:cubicBezTo>
                      <a:pt x="1395" y="132"/>
                      <a:pt x="1390" y="138"/>
                      <a:pt x="1386" y="144"/>
                    </a:cubicBezTo>
                    <a:cubicBezTo>
                      <a:pt x="1377" y="155"/>
                      <a:pt x="1368" y="166"/>
                      <a:pt x="1359" y="177"/>
                    </a:cubicBezTo>
                    <a:cubicBezTo>
                      <a:pt x="1350" y="189"/>
                      <a:pt x="1338" y="198"/>
                      <a:pt x="1325" y="207"/>
                    </a:cubicBezTo>
                    <a:cubicBezTo>
                      <a:pt x="1306" y="221"/>
                      <a:pt x="1288" y="236"/>
                      <a:pt x="1269" y="250"/>
                    </a:cubicBezTo>
                    <a:cubicBezTo>
                      <a:pt x="1253" y="260"/>
                      <a:pt x="1236" y="269"/>
                      <a:pt x="1220" y="278"/>
                    </a:cubicBezTo>
                    <a:cubicBezTo>
                      <a:pt x="1206" y="285"/>
                      <a:pt x="1192" y="290"/>
                      <a:pt x="1180" y="300"/>
                    </a:cubicBezTo>
                    <a:cubicBezTo>
                      <a:pt x="1175" y="298"/>
                      <a:pt x="1170" y="295"/>
                      <a:pt x="1165" y="298"/>
                    </a:cubicBezTo>
                    <a:close/>
                    <a:moveTo>
                      <a:pt x="1273" y="337"/>
                    </a:moveTo>
                    <a:cubicBezTo>
                      <a:pt x="1266" y="335"/>
                      <a:pt x="1259" y="332"/>
                      <a:pt x="1257" y="324"/>
                    </a:cubicBezTo>
                    <a:cubicBezTo>
                      <a:pt x="1255" y="320"/>
                      <a:pt x="1244" y="315"/>
                      <a:pt x="1240" y="317"/>
                    </a:cubicBezTo>
                    <a:cubicBezTo>
                      <a:pt x="1239" y="318"/>
                      <a:pt x="1238" y="320"/>
                      <a:pt x="1237" y="321"/>
                    </a:cubicBezTo>
                    <a:cubicBezTo>
                      <a:pt x="1237" y="324"/>
                      <a:pt x="1238" y="327"/>
                      <a:pt x="1238" y="330"/>
                    </a:cubicBezTo>
                    <a:cubicBezTo>
                      <a:pt x="1228" y="327"/>
                      <a:pt x="1220" y="322"/>
                      <a:pt x="1214" y="314"/>
                    </a:cubicBezTo>
                    <a:cubicBezTo>
                      <a:pt x="1212" y="311"/>
                      <a:pt x="1210" y="308"/>
                      <a:pt x="1206" y="309"/>
                    </a:cubicBezTo>
                    <a:cubicBezTo>
                      <a:pt x="1201" y="311"/>
                      <a:pt x="1198" y="314"/>
                      <a:pt x="1198" y="319"/>
                    </a:cubicBezTo>
                    <a:cubicBezTo>
                      <a:pt x="1198" y="321"/>
                      <a:pt x="1198" y="323"/>
                      <a:pt x="1198" y="325"/>
                    </a:cubicBezTo>
                    <a:cubicBezTo>
                      <a:pt x="1190" y="320"/>
                      <a:pt x="1184" y="314"/>
                      <a:pt x="1181" y="305"/>
                    </a:cubicBezTo>
                    <a:cubicBezTo>
                      <a:pt x="1181" y="304"/>
                      <a:pt x="1182" y="302"/>
                      <a:pt x="1183" y="301"/>
                    </a:cubicBezTo>
                    <a:cubicBezTo>
                      <a:pt x="1191" y="296"/>
                      <a:pt x="1198" y="291"/>
                      <a:pt x="1206" y="287"/>
                    </a:cubicBezTo>
                    <a:cubicBezTo>
                      <a:pt x="1227" y="279"/>
                      <a:pt x="1246" y="267"/>
                      <a:pt x="1266" y="256"/>
                    </a:cubicBezTo>
                    <a:cubicBezTo>
                      <a:pt x="1266" y="255"/>
                      <a:pt x="1267" y="255"/>
                      <a:pt x="1267" y="255"/>
                    </a:cubicBezTo>
                    <a:cubicBezTo>
                      <a:pt x="1282" y="251"/>
                      <a:pt x="1293" y="240"/>
                      <a:pt x="1306" y="233"/>
                    </a:cubicBezTo>
                    <a:cubicBezTo>
                      <a:pt x="1325" y="224"/>
                      <a:pt x="1342" y="213"/>
                      <a:pt x="1361" y="203"/>
                    </a:cubicBezTo>
                    <a:cubicBezTo>
                      <a:pt x="1381" y="191"/>
                      <a:pt x="1403" y="182"/>
                      <a:pt x="1424" y="172"/>
                    </a:cubicBezTo>
                    <a:cubicBezTo>
                      <a:pt x="1424" y="172"/>
                      <a:pt x="1425" y="171"/>
                      <a:pt x="1426" y="171"/>
                    </a:cubicBezTo>
                    <a:cubicBezTo>
                      <a:pt x="1429" y="182"/>
                      <a:pt x="1432" y="193"/>
                      <a:pt x="1435" y="204"/>
                    </a:cubicBezTo>
                    <a:cubicBezTo>
                      <a:pt x="1435" y="205"/>
                      <a:pt x="1434" y="206"/>
                      <a:pt x="1433" y="207"/>
                    </a:cubicBezTo>
                    <a:cubicBezTo>
                      <a:pt x="1425" y="220"/>
                      <a:pt x="1413" y="229"/>
                      <a:pt x="1399" y="236"/>
                    </a:cubicBezTo>
                    <a:cubicBezTo>
                      <a:pt x="1390" y="241"/>
                      <a:pt x="1380" y="247"/>
                      <a:pt x="1371" y="254"/>
                    </a:cubicBezTo>
                    <a:cubicBezTo>
                      <a:pt x="1362" y="260"/>
                      <a:pt x="1353" y="266"/>
                      <a:pt x="1344" y="273"/>
                    </a:cubicBezTo>
                    <a:cubicBezTo>
                      <a:pt x="1336" y="279"/>
                      <a:pt x="1330" y="285"/>
                      <a:pt x="1322" y="292"/>
                    </a:cubicBezTo>
                    <a:cubicBezTo>
                      <a:pt x="1310" y="303"/>
                      <a:pt x="1296" y="313"/>
                      <a:pt x="1287" y="328"/>
                    </a:cubicBezTo>
                    <a:cubicBezTo>
                      <a:pt x="1279" y="325"/>
                      <a:pt x="1275" y="327"/>
                      <a:pt x="1273" y="337"/>
                    </a:cubicBezTo>
                    <a:close/>
                    <a:moveTo>
                      <a:pt x="1438" y="286"/>
                    </a:moveTo>
                    <a:cubicBezTo>
                      <a:pt x="1438" y="287"/>
                      <a:pt x="1437" y="289"/>
                      <a:pt x="1436" y="289"/>
                    </a:cubicBezTo>
                    <a:cubicBezTo>
                      <a:pt x="1429" y="295"/>
                      <a:pt x="1423" y="300"/>
                      <a:pt x="1416" y="305"/>
                    </a:cubicBezTo>
                    <a:cubicBezTo>
                      <a:pt x="1412" y="308"/>
                      <a:pt x="1407" y="311"/>
                      <a:pt x="1402" y="313"/>
                    </a:cubicBezTo>
                    <a:cubicBezTo>
                      <a:pt x="1395" y="316"/>
                      <a:pt x="1387" y="318"/>
                      <a:pt x="1380" y="320"/>
                    </a:cubicBezTo>
                    <a:cubicBezTo>
                      <a:pt x="1370" y="324"/>
                      <a:pt x="1369" y="326"/>
                      <a:pt x="1369" y="337"/>
                    </a:cubicBezTo>
                    <a:cubicBezTo>
                      <a:pt x="1369" y="338"/>
                      <a:pt x="1369" y="339"/>
                      <a:pt x="1369" y="341"/>
                    </a:cubicBezTo>
                    <a:cubicBezTo>
                      <a:pt x="1356" y="341"/>
                      <a:pt x="1348" y="329"/>
                      <a:pt x="1336" y="326"/>
                    </a:cubicBezTo>
                    <a:cubicBezTo>
                      <a:pt x="1341" y="322"/>
                      <a:pt x="1345" y="318"/>
                      <a:pt x="1351" y="314"/>
                    </a:cubicBezTo>
                    <a:cubicBezTo>
                      <a:pt x="1364" y="304"/>
                      <a:pt x="1379" y="295"/>
                      <a:pt x="1392" y="285"/>
                    </a:cubicBezTo>
                    <a:cubicBezTo>
                      <a:pt x="1403" y="276"/>
                      <a:pt x="1415" y="271"/>
                      <a:pt x="1429" y="269"/>
                    </a:cubicBezTo>
                    <a:cubicBezTo>
                      <a:pt x="1432" y="268"/>
                      <a:pt x="1436" y="267"/>
                      <a:pt x="1440" y="267"/>
                    </a:cubicBezTo>
                    <a:cubicBezTo>
                      <a:pt x="1439" y="273"/>
                      <a:pt x="1439" y="280"/>
                      <a:pt x="1438" y="286"/>
                    </a:cubicBezTo>
                    <a:close/>
                    <a:moveTo>
                      <a:pt x="1436" y="264"/>
                    </a:moveTo>
                    <a:cubicBezTo>
                      <a:pt x="1431" y="265"/>
                      <a:pt x="1426" y="266"/>
                      <a:pt x="1421" y="267"/>
                    </a:cubicBezTo>
                    <a:cubicBezTo>
                      <a:pt x="1410" y="270"/>
                      <a:pt x="1401" y="275"/>
                      <a:pt x="1392" y="281"/>
                    </a:cubicBezTo>
                    <a:cubicBezTo>
                      <a:pt x="1378" y="292"/>
                      <a:pt x="1364" y="301"/>
                      <a:pt x="1349" y="312"/>
                    </a:cubicBezTo>
                    <a:cubicBezTo>
                      <a:pt x="1344" y="315"/>
                      <a:pt x="1339" y="320"/>
                      <a:pt x="1335" y="324"/>
                    </a:cubicBezTo>
                    <a:cubicBezTo>
                      <a:pt x="1331" y="328"/>
                      <a:pt x="1327" y="328"/>
                      <a:pt x="1323" y="328"/>
                    </a:cubicBezTo>
                    <a:cubicBezTo>
                      <a:pt x="1320" y="328"/>
                      <a:pt x="1317" y="329"/>
                      <a:pt x="1314" y="330"/>
                    </a:cubicBezTo>
                    <a:cubicBezTo>
                      <a:pt x="1314" y="333"/>
                      <a:pt x="1315" y="336"/>
                      <a:pt x="1316" y="339"/>
                    </a:cubicBezTo>
                    <a:cubicBezTo>
                      <a:pt x="1316" y="339"/>
                      <a:pt x="1317" y="340"/>
                      <a:pt x="1318" y="341"/>
                    </a:cubicBezTo>
                    <a:cubicBezTo>
                      <a:pt x="1305" y="343"/>
                      <a:pt x="1297" y="336"/>
                      <a:pt x="1288" y="329"/>
                    </a:cubicBezTo>
                    <a:cubicBezTo>
                      <a:pt x="1295" y="322"/>
                      <a:pt x="1301" y="315"/>
                      <a:pt x="1308" y="308"/>
                    </a:cubicBezTo>
                    <a:cubicBezTo>
                      <a:pt x="1316" y="301"/>
                      <a:pt x="1324" y="294"/>
                      <a:pt x="1332" y="287"/>
                    </a:cubicBezTo>
                    <a:cubicBezTo>
                      <a:pt x="1335" y="284"/>
                      <a:pt x="1340" y="282"/>
                      <a:pt x="1344" y="280"/>
                    </a:cubicBezTo>
                    <a:cubicBezTo>
                      <a:pt x="1354" y="273"/>
                      <a:pt x="1365" y="267"/>
                      <a:pt x="1376" y="261"/>
                    </a:cubicBezTo>
                    <a:cubicBezTo>
                      <a:pt x="1377" y="260"/>
                      <a:pt x="1378" y="259"/>
                      <a:pt x="1380" y="259"/>
                    </a:cubicBezTo>
                    <a:cubicBezTo>
                      <a:pt x="1399" y="249"/>
                      <a:pt x="1418" y="239"/>
                      <a:pt x="1439" y="228"/>
                    </a:cubicBezTo>
                    <a:cubicBezTo>
                      <a:pt x="1439" y="239"/>
                      <a:pt x="1440" y="249"/>
                      <a:pt x="1440" y="259"/>
                    </a:cubicBezTo>
                    <a:cubicBezTo>
                      <a:pt x="1440" y="262"/>
                      <a:pt x="1439" y="264"/>
                      <a:pt x="1436" y="264"/>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3" name="Arc 52">
              <a:extLst>
                <a:ext uri="{FF2B5EF4-FFF2-40B4-BE49-F238E27FC236}">
                  <a16:creationId xmlns:a16="http://schemas.microsoft.com/office/drawing/2014/main" id="{9147D199-5006-4340-BF12-4E21CB031925}"/>
                </a:ext>
              </a:extLst>
            </p:cNvPr>
            <p:cNvSpPr/>
            <p:nvPr/>
          </p:nvSpPr>
          <p:spPr>
            <a:xfrm>
              <a:off x="4856924" y="2390015"/>
              <a:ext cx="2256154" cy="2256154"/>
            </a:xfrm>
            <a:prstGeom prst="arc">
              <a:avLst>
                <a:gd name="adj1" fmla="val 10802877"/>
                <a:gd name="adj2" fmla="val 17121052"/>
              </a:avLst>
            </a:prstGeom>
            <a:noFill/>
            <a:ln w="6350">
              <a:solidFill>
                <a:srgbClr val="ACAFB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grpSp>
        <p:nvGrpSpPr>
          <p:cNvPr id="57" name="Group 56">
            <a:extLst>
              <a:ext uri="{FF2B5EF4-FFF2-40B4-BE49-F238E27FC236}">
                <a16:creationId xmlns:a16="http://schemas.microsoft.com/office/drawing/2014/main" id="{BCD4C9F1-D7FD-4176-B22E-E7B4ED1C4C0A}"/>
              </a:ext>
            </a:extLst>
          </p:cNvPr>
          <p:cNvGrpSpPr/>
          <p:nvPr/>
        </p:nvGrpSpPr>
        <p:grpSpPr>
          <a:xfrm>
            <a:off x="7657075" y="1581400"/>
            <a:ext cx="1847600" cy="1847600"/>
            <a:chOff x="7452798" y="1503397"/>
            <a:chExt cx="2256154" cy="2256154"/>
          </a:xfrm>
        </p:grpSpPr>
        <p:sp>
          <p:nvSpPr>
            <p:cNvPr id="51" name="Oval 50">
              <a:extLst>
                <a:ext uri="{FF2B5EF4-FFF2-40B4-BE49-F238E27FC236}">
                  <a16:creationId xmlns:a16="http://schemas.microsoft.com/office/drawing/2014/main" id="{74802ADE-B73F-4DF4-8352-D38205D33219}"/>
                </a:ext>
              </a:extLst>
            </p:cNvPr>
            <p:cNvSpPr/>
            <p:nvPr/>
          </p:nvSpPr>
          <p:spPr>
            <a:xfrm>
              <a:off x="7581965" y="1632564"/>
              <a:ext cx="1997821" cy="1997821"/>
            </a:xfrm>
            <a:prstGeom prst="ellips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nvGrpSpPr>
            <p:cNvPr id="6" name="Group 4">
              <a:extLst>
                <a:ext uri="{FF2B5EF4-FFF2-40B4-BE49-F238E27FC236}">
                  <a16:creationId xmlns:a16="http://schemas.microsoft.com/office/drawing/2014/main" id="{DDC3F0C2-43FD-4E5F-A2F6-141760DAB2ED}"/>
                </a:ext>
              </a:extLst>
            </p:cNvPr>
            <p:cNvGrpSpPr>
              <a:grpSpLocks noChangeAspect="1"/>
            </p:cNvGrpSpPr>
            <p:nvPr/>
          </p:nvGrpSpPr>
          <p:grpSpPr bwMode="auto">
            <a:xfrm>
              <a:off x="7778102" y="2177938"/>
              <a:ext cx="1605547" cy="907073"/>
              <a:chOff x="-9" y="-3"/>
              <a:chExt cx="3733" cy="2109"/>
            </a:xfrm>
          </p:grpSpPr>
          <p:sp>
            <p:nvSpPr>
              <p:cNvPr id="11" name="Freeform 5">
                <a:extLst>
                  <a:ext uri="{FF2B5EF4-FFF2-40B4-BE49-F238E27FC236}">
                    <a16:creationId xmlns:a16="http://schemas.microsoft.com/office/drawing/2014/main" id="{7D7D5602-EB4A-4520-9E7B-E465E2A8035F}"/>
                  </a:ext>
                </a:extLst>
              </p:cNvPr>
              <p:cNvSpPr>
                <a:spLocks/>
              </p:cNvSpPr>
              <p:nvPr/>
            </p:nvSpPr>
            <p:spPr bwMode="auto">
              <a:xfrm>
                <a:off x="-9" y="22"/>
                <a:ext cx="3690" cy="2084"/>
              </a:xfrm>
              <a:custGeom>
                <a:avLst/>
                <a:gdLst>
                  <a:gd name="T0" fmla="*/ 989 w 1962"/>
                  <a:gd name="T1" fmla="*/ 263 h 1108"/>
                  <a:gd name="T2" fmla="*/ 1064 w 1962"/>
                  <a:gd name="T3" fmla="*/ 120 h 1108"/>
                  <a:gd name="T4" fmla="*/ 1132 w 1962"/>
                  <a:gd name="T5" fmla="*/ 80 h 1108"/>
                  <a:gd name="T6" fmla="*/ 1136 w 1962"/>
                  <a:gd name="T7" fmla="*/ 92 h 1108"/>
                  <a:gd name="T8" fmla="*/ 994 w 1962"/>
                  <a:gd name="T9" fmla="*/ 264 h 1108"/>
                  <a:gd name="T10" fmla="*/ 1000 w 1962"/>
                  <a:gd name="T11" fmla="*/ 302 h 1108"/>
                  <a:gd name="T12" fmla="*/ 1006 w 1962"/>
                  <a:gd name="T13" fmla="*/ 301 h 1108"/>
                  <a:gd name="T14" fmla="*/ 1450 w 1962"/>
                  <a:gd name="T15" fmla="*/ 7 h 1108"/>
                  <a:gd name="T16" fmla="*/ 1721 w 1962"/>
                  <a:gd name="T17" fmla="*/ 17 h 1108"/>
                  <a:gd name="T18" fmla="*/ 1938 w 1962"/>
                  <a:gd name="T19" fmla="*/ 101 h 1108"/>
                  <a:gd name="T20" fmla="*/ 1917 w 1962"/>
                  <a:gd name="T21" fmla="*/ 190 h 1108"/>
                  <a:gd name="T22" fmla="*/ 1901 w 1962"/>
                  <a:gd name="T23" fmla="*/ 231 h 1108"/>
                  <a:gd name="T24" fmla="*/ 1856 w 1962"/>
                  <a:gd name="T25" fmla="*/ 274 h 1108"/>
                  <a:gd name="T26" fmla="*/ 1807 w 1962"/>
                  <a:gd name="T27" fmla="*/ 331 h 1108"/>
                  <a:gd name="T28" fmla="*/ 1776 w 1962"/>
                  <a:gd name="T29" fmla="*/ 361 h 1108"/>
                  <a:gd name="T30" fmla="*/ 1734 w 1962"/>
                  <a:gd name="T31" fmla="*/ 391 h 1108"/>
                  <a:gd name="T32" fmla="*/ 1699 w 1962"/>
                  <a:gd name="T33" fmla="*/ 432 h 1108"/>
                  <a:gd name="T34" fmla="*/ 1647 w 1962"/>
                  <a:gd name="T35" fmla="*/ 496 h 1108"/>
                  <a:gd name="T36" fmla="*/ 1555 w 1962"/>
                  <a:gd name="T37" fmla="*/ 565 h 1108"/>
                  <a:gd name="T38" fmla="*/ 1456 w 1962"/>
                  <a:gd name="T39" fmla="*/ 619 h 1108"/>
                  <a:gd name="T40" fmla="*/ 1388 w 1962"/>
                  <a:gd name="T41" fmla="*/ 628 h 1108"/>
                  <a:gd name="T42" fmla="*/ 1454 w 1962"/>
                  <a:gd name="T43" fmla="*/ 760 h 1108"/>
                  <a:gd name="T44" fmla="*/ 1447 w 1962"/>
                  <a:gd name="T45" fmla="*/ 835 h 1108"/>
                  <a:gd name="T46" fmla="*/ 1424 w 1962"/>
                  <a:gd name="T47" fmla="*/ 945 h 1108"/>
                  <a:gd name="T48" fmla="*/ 1389 w 1962"/>
                  <a:gd name="T49" fmla="*/ 1028 h 1108"/>
                  <a:gd name="T50" fmla="*/ 1350 w 1962"/>
                  <a:gd name="T51" fmla="*/ 1094 h 1108"/>
                  <a:gd name="T52" fmla="*/ 1271 w 1962"/>
                  <a:gd name="T53" fmla="*/ 1080 h 1108"/>
                  <a:gd name="T54" fmla="*/ 1179 w 1962"/>
                  <a:gd name="T55" fmla="*/ 994 h 1108"/>
                  <a:gd name="T56" fmla="*/ 1039 w 1962"/>
                  <a:gd name="T57" fmla="*/ 798 h 1108"/>
                  <a:gd name="T58" fmla="*/ 989 w 1962"/>
                  <a:gd name="T59" fmla="*/ 606 h 1108"/>
                  <a:gd name="T60" fmla="*/ 968 w 1962"/>
                  <a:gd name="T61" fmla="*/ 644 h 1108"/>
                  <a:gd name="T62" fmla="*/ 869 w 1962"/>
                  <a:gd name="T63" fmla="*/ 911 h 1108"/>
                  <a:gd name="T64" fmla="*/ 730 w 1962"/>
                  <a:gd name="T65" fmla="*/ 1047 h 1108"/>
                  <a:gd name="T66" fmla="*/ 611 w 1962"/>
                  <a:gd name="T67" fmla="*/ 1095 h 1108"/>
                  <a:gd name="T68" fmla="*/ 569 w 1962"/>
                  <a:gd name="T69" fmla="*/ 1022 h 1108"/>
                  <a:gd name="T70" fmla="*/ 536 w 1962"/>
                  <a:gd name="T71" fmla="*/ 939 h 1108"/>
                  <a:gd name="T72" fmla="*/ 514 w 1962"/>
                  <a:gd name="T73" fmla="*/ 856 h 1108"/>
                  <a:gd name="T74" fmla="*/ 528 w 1962"/>
                  <a:gd name="T75" fmla="*/ 702 h 1108"/>
                  <a:gd name="T76" fmla="*/ 575 w 1962"/>
                  <a:gd name="T77" fmla="*/ 637 h 1108"/>
                  <a:gd name="T78" fmla="*/ 495 w 1962"/>
                  <a:gd name="T79" fmla="*/ 622 h 1108"/>
                  <a:gd name="T80" fmla="*/ 429 w 1962"/>
                  <a:gd name="T81" fmla="*/ 587 h 1108"/>
                  <a:gd name="T82" fmla="*/ 308 w 1962"/>
                  <a:gd name="T83" fmla="*/ 495 h 1108"/>
                  <a:gd name="T84" fmla="*/ 267 w 1962"/>
                  <a:gd name="T85" fmla="*/ 447 h 1108"/>
                  <a:gd name="T86" fmla="*/ 229 w 1962"/>
                  <a:gd name="T87" fmla="*/ 397 h 1108"/>
                  <a:gd name="T88" fmla="*/ 187 w 1962"/>
                  <a:gd name="T89" fmla="*/ 365 h 1108"/>
                  <a:gd name="T90" fmla="*/ 113 w 1962"/>
                  <a:gd name="T91" fmla="*/ 292 h 1108"/>
                  <a:gd name="T92" fmla="*/ 84 w 1962"/>
                  <a:gd name="T93" fmla="*/ 262 h 1108"/>
                  <a:gd name="T94" fmla="*/ 51 w 1962"/>
                  <a:gd name="T95" fmla="*/ 204 h 1108"/>
                  <a:gd name="T96" fmla="*/ 22 w 1962"/>
                  <a:gd name="T97" fmla="*/ 178 h 1108"/>
                  <a:gd name="T98" fmla="*/ 49 w 1962"/>
                  <a:gd name="T99" fmla="*/ 90 h 1108"/>
                  <a:gd name="T100" fmla="*/ 302 w 1962"/>
                  <a:gd name="T101" fmla="*/ 14 h 1108"/>
                  <a:gd name="T102" fmla="*/ 632 w 1962"/>
                  <a:gd name="T103" fmla="*/ 48 h 1108"/>
                  <a:gd name="T104" fmla="*/ 883 w 1962"/>
                  <a:gd name="T105" fmla="*/ 239 h 1108"/>
                  <a:gd name="T106" fmla="*/ 963 w 1962"/>
                  <a:gd name="T107" fmla="*/ 314 h 1108"/>
                  <a:gd name="T108" fmla="*/ 958 w 1962"/>
                  <a:gd name="T109" fmla="*/ 300 h 1108"/>
                  <a:gd name="T110" fmla="*/ 960 w 1962"/>
                  <a:gd name="T111" fmla="*/ 267 h 1108"/>
                  <a:gd name="T112" fmla="*/ 824 w 1962"/>
                  <a:gd name="T113" fmla="*/ 100 h 1108"/>
                  <a:gd name="T114" fmla="*/ 787 w 1962"/>
                  <a:gd name="T115" fmla="*/ 80 h 1108"/>
                  <a:gd name="T116" fmla="*/ 916 w 1962"/>
                  <a:gd name="T117" fmla="*/ 173 h 1108"/>
                  <a:gd name="T118" fmla="*/ 965 w 1962"/>
                  <a:gd name="T119" fmla="*/ 263 h 1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62" h="1108">
                    <a:moveTo>
                      <a:pt x="965" y="263"/>
                    </a:moveTo>
                    <a:cubicBezTo>
                      <a:pt x="974" y="263"/>
                      <a:pt x="981" y="263"/>
                      <a:pt x="989" y="263"/>
                    </a:cubicBezTo>
                    <a:cubicBezTo>
                      <a:pt x="993" y="252"/>
                      <a:pt x="996" y="239"/>
                      <a:pt x="1002" y="227"/>
                    </a:cubicBezTo>
                    <a:cubicBezTo>
                      <a:pt x="1018" y="189"/>
                      <a:pt x="1038" y="153"/>
                      <a:pt x="1064" y="120"/>
                    </a:cubicBezTo>
                    <a:cubicBezTo>
                      <a:pt x="1070" y="114"/>
                      <a:pt x="1076" y="108"/>
                      <a:pt x="1083" y="104"/>
                    </a:cubicBezTo>
                    <a:cubicBezTo>
                      <a:pt x="1099" y="95"/>
                      <a:pt x="1116" y="87"/>
                      <a:pt x="1132" y="80"/>
                    </a:cubicBezTo>
                    <a:cubicBezTo>
                      <a:pt x="1136" y="78"/>
                      <a:pt x="1142" y="77"/>
                      <a:pt x="1144" y="83"/>
                    </a:cubicBezTo>
                    <a:cubicBezTo>
                      <a:pt x="1146" y="89"/>
                      <a:pt x="1140" y="91"/>
                      <a:pt x="1136" y="92"/>
                    </a:cubicBezTo>
                    <a:cubicBezTo>
                      <a:pt x="1100" y="95"/>
                      <a:pt x="1077" y="116"/>
                      <a:pt x="1057" y="143"/>
                    </a:cubicBezTo>
                    <a:cubicBezTo>
                      <a:pt x="1030" y="180"/>
                      <a:pt x="1008" y="220"/>
                      <a:pt x="994" y="264"/>
                    </a:cubicBezTo>
                    <a:cubicBezTo>
                      <a:pt x="993" y="267"/>
                      <a:pt x="993" y="270"/>
                      <a:pt x="996" y="273"/>
                    </a:cubicBezTo>
                    <a:cubicBezTo>
                      <a:pt x="1002" y="282"/>
                      <a:pt x="1003" y="291"/>
                      <a:pt x="1000" y="302"/>
                    </a:cubicBezTo>
                    <a:cubicBezTo>
                      <a:pt x="999" y="305"/>
                      <a:pt x="997" y="307"/>
                      <a:pt x="997" y="311"/>
                    </a:cubicBezTo>
                    <a:cubicBezTo>
                      <a:pt x="1000" y="308"/>
                      <a:pt x="1003" y="304"/>
                      <a:pt x="1006" y="301"/>
                    </a:cubicBezTo>
                    <a:cubicBezTo>
                      <a:pt x="1087" y="225"/>
                      <a:pt x="1166" y="147"/>
                      <a:pt x="1258" y="82"/>
                    </a:cubicBezTo>
                    <a:cubicBezTo>
                      <a:pt x="1316" y="41"/>
                      <a:pt x="1380" y="17"/>
                      <a:pt x="1450" y="7"/>
                    </a:cubicBezTo>
                    <a:cubicBezTo>
                      <a:pt x="1500" y="1"/>
                      <a:pt x="1551" y="0"/>
                      <a:pt x="1601" y="4"/>
                    </a:cubicBezTo>
                    <a:cubicBezTo>
                      <a:pt x="1641" y="7"/>
                      <a:pt x="1682" y="11"/>
                      <a:pt x="1721" y="17"/>
                    </a:cubicBezTo>
                    <a:cubicBezTo>
                      <a:pt x="1778" y="27"/>
                      <a:pt x="1833" y="41"/>
                      <a:pt x="1884" y="70"/>
                    </a:cubicBezTo>
                    <a:cubicBezTo>
                      <a:pt x="1902" y="80"/>
                      <a:pt x="1921" y="88"/>
                      <a:pt x="1938" y="101"/>
                    </a:cubicBezTo>
                    <a:cubicBezTo>
                      <a:pt x="1962" y="121"/>
                      <a:pt x="1960" y="155"/>
                      <a:pt x="1939" y="173"/>
                    </a:cubicBezTo>
                    <a:cubicBezTo>
                      <a:pt x="1932" y="179"/>
                      <a:pt x="1924" y="184"/>
                      <a:pt x="1917" y="190"/>
                    </a:cubicBezTo>
                    <a:cubicBezTo>
                      <a:pt x="1914" y="192"/>
                      <a:pt x="1912" y="195"/>
                      <a:pt x="1911" y="199"/>
                    </a:cubicBezTo>
                    <a:cubicBezTo>
                      <a:pt x="1908" y="209"/>
                      <a:pt x="1905" y="220"/>
                      <a:pt x="1901" y="231"/>
                    </a:cubicBezTo>
                    <a:cubicBezTo>
                      <a:pt x="1897" y="242"/>
                      <a:pt x="1888" y="250"/>
                      <a:pt x="1877" y="255"/>
                    </a:cubicBezTo>
                    <a:cubicBezTo>
                      <a:pt x="1868" y="259"/>
                      <a:pt x="1861" y="266"/>
                      <a:pt x="1856" y="274"/>
                    </a:cubicBezTo>
                    <a:cubicBezTo>
                      <a:pt x="1850" y="285"/>
                      <a:pt x="1844" y="295"/>
                      <a:pt x="1837" y="305"/>
                    </a:cubicBezTo>
                    <a:cubicBezTo>
                      <a:pt x="1829" y="316"/>
                      <a:pt x="1819" y="325"/>
                      <a:pt x="1807" y="331"/>
                    </a:cubicBezTo>
                    <a:cubicBezTo>
                      <a:pt x="1803" y="333"/>
                      <a:pt x="1799" y="336"/>
                      <a:pt x="1796" y="340"/>
                    </a:cubicBezTo>
                    <a:cubicBezTo>
                      <a:pt x="1789" y="347"/>
                      <a:pt x="1783" y="354"/>
                      <a:pt x="1776" y="361"/>
                    </a:cubicBezTo>
                    <a:cubicBezTo>
                      <a:pt x="1767" y="370"/>
                      <a:pt x="1757" y="377"/>
                      <a:pt x="1745" y="380"/>
                    </a:cubicBezTo>
                    <a:cubicBezTo>
                      <a:pt x="1739" y="382"/>
                      <a:pt x="1735" y="385"/>
                      <a:pt x="1734" y="391"/>
                    </a:cubicBezTo>
                    <a:cubicBezTo>
                      <a:pt x="1731" y="404"/>
                      <a:pt x="1723" y="412"/>
                      <a:pt x="1711" y="419"/>
                    </a:cubicBezTo>
                    <a:cubicBezTo>
                      <a:pt x="1706" y="422"/>
                      <a:pt x="1701" y="427"/>
                      <a:pt x="1699" y="432"/>
                    </a:cubicBezTo>
                    <a:cubicBezTo>
                      <a:pt x="1691" y="451"/>
                      <a:pt x="1679" y="467"/>
                      <a:pt x="1662" y="480"/>
                    </a:cubicBezTo>
                    <a:cubicBezTo>
                      <a:pt x="1656" y="484"/>
                      <a:pt x="1651" y="490"/>
                      <a:pt x="1647" y="496"/>
                    </a:cubicBezTo>
                    <a:cubicBezTo>
                      <a:pt x="1635" y="516"/>
                      <a:pt x="1617" y="529"/>
                      <a:pt x="1596" y="538"/>
                    </a:cubicBezTo>
                    <a:cubicBezTo>
                      <a:pt x="1581" y="545"/>
                      <a:pt x="1567" y="553"/>
                      <a:pt x="1555" y="565"/>
                    </a:cubicBezTo>
                    <a:cubicBezTo>
                      <a:pt x="1539" y="579"/>
                      <a:pt x="1520" y="587"/>
                      <a:pt x="1501" y="596"/>
                    </a:cubicBezTo>
                    <a:cubicBezTo>
                      <a:pt x="1486" y="603"/>
                      <a:pt x="1470" y="610"/>
                      <a:pt x="1456" y="619"/>
                    </a:cubicBezTo>
                    <a:cubicBezTo>
                      <a:pt x="1440" y="632"/>
                      <a:pt x="1423" y="633"/>
                      <a:pt x="1404" y="630"/>
                    </a:cubicBezTo>
                    <a:cubicBezTo>
                      <a:pt x="1399" y="629"/>
                      <a:pt x="1394" y="629"/>
                      <a:pt x="1388" y="628"/>
                    </a:cubicBezTo>
                    <a:cubicBezTo>
                      <a:pt x="1397" y="640"/>
                      <a:pt x="1406" y="651"/>
                      <a:pt x="1413" y="663"/>
                    </a:cubicBezTo>
                    <a:cubicBezTo>
                      <a:pt x="1433" y="693"/>
                      <a:pt x="1449" y="724"/>
                      <a:pt x="1454" y="760"/>
                    </a:cubicBezTo>
                    <a:cubicBezTo>
                      <a:pt x="1456" y="779"/>
                      <a:pt x="1455" y="798"/>
                      <a:pt x="1450" y="817"/>
                    </a:cubicBezTo>
                    <a:cubicBezTo>
                      <a:pt x="1448" y="823"/>
                      <a:pt x="1447" y="829"/>
                      <a:pt x="1447" y="835"/>
                    </a:cubicBezTo>
                    <a:cubicBezTo>
                      <a:pt x="1449" y="864"/>
                      <a:pt x="1442" y="891"/>
                      <a:pt x="1431" y="917"/>
                    </a:cubicBezTo>
                    <a:cubicBezTo>
                      <a:pt x="1427" y="926"/>
                      <a:pt x="1426" y="936"/>
                      <a:pt x="1424" y="945"/>
                    </a:cubicBezTo>
                    <a:cubicBezTo>
                      <a:pt x="1421" y="962"/>
                      <a:pt x="1416" y="978"/>
                      <a:pt x="1404" y="991"/>
                    </a:cubicBezTo>
                    <a:cubicBezTo>
                      <a:pt x="1395" y="1002"/>
                      <a:pt x="1392" y="1015"/>
                      <a:pt x="1389" y="1028"/>
                    </a:cubicBezTo>
                    <a:cubicBezTo>
                      <a:pt x="1386" y="1039"/>
                      <a:pt x="1380" y="1049"/>
                      <a:pt x="1372" y="1056"/>
                    </a:cubicBezTo>
                    <a:cubicBezTo>
                      <a:pt x="1362" y="1067"/>
                      <a:pt x="1353" y="1078"/>
                      <a:pt x="1350" y="1094"/>
                    </a:cubicBezTo>
                    <a:cubicBezTo>
                      <a:pt x="1348" y="1102"/>
                      <a:pt x="1339" y="1103"/>
                      <a:pt x="1332" y="1103"/>
                    </a:cubicBezTo>
                    <a:cubicBezTo>
                      <a:pt x="1309" y="1101"/>
                      <a:pt x="1288" y="1096"/>
                      <a:pt x="1271" y="1080"/>
                    </a:cubicBezTo>
                    <a:cubicBezTo>
                      <a:pt x="1258" y="1067"/>
                      <a:pt x="1245" y="1054"/>
                      <a:pt x="1233" y="1041"/>
                    </a:cubicBezTo>
                    <a:cubicBezTo>
                      <a:pt x="1216" y="1024"/>
                      <a:pt x="1199" y="1008"/>
                      <a:pt x="1179" y="994"/>
                    </a:cubicBezTo>
                    <a:cubicBezTo>
                      <a:pt x="1138" y="966"/>
                      <a:pt x="1103" y="931"/>
                      <a:pt x="1077" y="888"/>
                    </a:cubicBezTo>
                    <a:cubicBezTo>
                      <a:pt x="1060" y="860"/>
                      <a:pt x="1050" y="829"/>
                      <a:pt x="1039" y="798"/>
                    </a:cubicBezTo>
                    <a:cubicBezTo>
                      <a:pt x="1018" y="741"/>
                      <a:pt x="1004" y="682"/>
                      <a:pt x="993" y="623"/>
                    </a:cubicBezTo>
                    <a:cubicBezTo>
                      <a:pt x="991" y="617"/>
                      <a:pt x="990" y="611"/>
                      <a:pt x="989" y="606"/>
                    </a:cubicBezTo>
                    <a:cubicBezTo>
                      <a:pt x="983" y="614"/>
                      <a:pt x="976" y="622"/>
                      <a:pt x="971" y="630"/>
                    </a:cubicBezTo>
                    <a:cubicBezTo>
                      <a:pt x="969" y="634"/>
                      <a:pt x="969" y="639"/>
                      <a:pt x="968" y="644"/>
                    </a:cubicBezTo>
                    <a:cubicBezTo>
                      <a:pt x="958" y="696"/>
                      <a:pt x="943" y="746"/>
                      <a:pt x="925" y="796"/>
                    </a:cubicBezTo>
                    <a:cubicBezTo>
                      <a:pt x="909" y="836"/>
                      <a:pt x="895" y="876"/>
                      <a:pt x="869" y="911"/>
                    </a:cubicBezTo>
                    <a:cubicBezTo>
                      <a:pt x="839" y="953"/>
                      <a:pt x="802" y="989"/>
                      <a:pt x="759" y="1017"/>
                    </a:cubicBezTo>
                    <a:cubicBezTo>
                      <a:pt x="747" y="1025"/>
                      <a:pt x="738" y="1035"/>
                      <a:pt x="730" y="1047"/>
                    </a:cubicBezTo>
                    <a:cubicBezTo>
                      <a:pt x="706" y="1083"/>
                      <a:pt x="673" y="1106"/>
                      <a:pt x="628" y="1108"/>
                    </a:cubicBezTo>
                    <a:cubicBezTo>
                      <a:pt x="618" y="1108"/>
                      <a:pt x="615" y="1104"/>
                      <a:pt x="611" y="1095"/>
                    </a:cubicBezTo>
                    <a:cubicBezTo>
                      <a:pt x="608" y="1088"/>
                      <a:pt x="604" y="1080"/>
                      <a:pt x="598" y="1075"/>
                    </a:cubicBezTo>
                    <a:cubicBezTo>
                      <a:pt x="583" y="1060"/>
                      <a:pt x="573" y="1043"/>
                      <a:pt x="569" y="1022"/>
                    </a:cubicBezTo>
                    <a:cubicBezTo>
                      <a:pt x="568" y="1012"/>
                      <a:pt x="563" y="1004"/>
                      <a:pt x="557" y="997"/>
                    </a:cubicBezTo>
                    <a:cubicBezTo>
                      <a:pt x="544" y="980"/>
                      <a:pt x="535" y="962"/>
                      <a:pt x="536" y="939"/>
                    </a:cubicBezTo>
                    <a:cubicBezTo>
                      <a:pt x="536" y="931"/>
                      <a:pt x="531" y="923"/>
                      <a:pt x="528" y="914"/>
                    </a:cubicBezTo>
                    <a:cubicBezTo>
                      <a:pt x="521" y="895"/>
                      <a:pt x="514" y="876"/>
                      <a:pt x="514" y="856"/>
                    </a:cubicBezTo>
                    <a:cubicBezTo>
                      <a:pt x="514" y="840"/>
                      <a:pt x="510" y="825"/>
                      <a:pt x="507" y="809"/>
                    </a:cubicBezTo>
                    <a:cubicBezTo>
                      <a:pt x="501" y="771"/>
                      <a:pt x="508" y="735"/>
                      <a:pt x="528" y="702"/>
                    </a:cubicBezTo>
                    <a:cubicBezTo>
                      <a:pt x="541" y="682"/>
                      <a:pt x="556" y="663"/>
                      <a:pt x="570" y="643"/>
                    </a:cubicBezTo>
                    <a:cubicBezTo>
                      <a:pt x="572" y="641"/>
                      <a:pt x="574" y="639"/>
                      <a:pt x="575" y="637"/>
                    </a:cubicBezTo>
                    <a:cubicBezTo>
                      <a:pt x="565" y="637"/>
                      <a:pt x="555" y="637"/>
                      <a:pt x="545" y="637"/>
                    </a:cubicBezTo>
                    <a:cubicBezTo>
                      <a:pt x="527" y="636"/>
                      <a:pt x="511" y="631"/>
                      <a:pt x="495" y="622"/>
                    </a:cubicBezTo>
                    <a:cubicBezTo>
                      <a:pt x="477" y="612"/>
                      <a:pt x="459" y="603"/>
                      <a:pt x="440" y="593"/>
                    </a:cubicBezTo>
                    <a:cubicBezTo>
                      <a:pt x="437" y="591"/>
                      <a:pt x="433" y="590"/>
                      <a:pt x="429" y="587"/>
                    </a:cubicBezTo>
                    <a:cubicBezTo>
                      <a:pt x="408" y="570"/>
                      <a:pt x="385" y="555"/>
                      <a:pt x="361" y="542"/>
                    </a:cubicBezTo>
                    <a:cubicBezTo>
                      <a:pt x="339" y="531"/>
                      <a:pt x="321" y="515"/>
                      <a:pt x="308" y="495"/>
                    </a:cubicBezTo>
                    <a:cubicBezTo>
                      <a:pt x="304" y="490"/>
                      <a:pt x="300" y="486"/>
                      <a:pt x="295" y="482"/>
                    </a:cubicBezTo>
                    <a:cubicBezTo>
                      <a:pt x="283" y="473"/>
                      <a:pt x="273" y="461"/>
                      <a:pt x="267" y="447"/>
                    </a:cubicBezTo>
                    <a:cubicBezTo>
                      <a:pt x="263" y="436"/>
                      <a:pt x="256" y="428"/>
                      <a:pt x="246" y="422"/>
                    </a:cubicBezTo>
                    <a:cubicBezTo>
                      <a:pt x="237" y="416"/>
                      <a:pt x="231" y="408"/>
                      <a:pt x="229" y="397"/>
                    </a:cubicBezTo>
                    <a:cubicBezTo>
                      <a:pt x="228" y="393"/>
                      <a:pt x="226" y="391"/>
                      <a:pt x="221" y="390"/>
                    </a:cubicBezTo>
                    <a:cubicBezTo>
                      <a:pt x="207" y="387"/>
                      <a:pt x="196" y="377"/>
                      <a:pt x="187" y="365"/>
                    </a:cubicBezTo>
                    <a:cubicBezTo>
                      <a:pt x="178" y="354"/>
                      <a:pt x="167" y="344"/>
                      <a:pt x="155" y="336"/>
                    </a:cubicBezTo>
                    <a:cubicBezTo>
                      <a:pt x="137" y="325"/>
                      <a:pt x="124" y="310"/>
                      <a:pt x="113" y="292"/>
                    </a:cubicBezTo>
                    <a:cubicBezTo>
                      <a:pt x="111" y="289"/>
                      <a:pt x="109" y="285"/>
                      <a:pt x="107" y="282"/>
                    </a:cubicBezTo>
                    <a:cubicBezTo>
                      <a:pt x="101" y="272"/>
                      <a:pt x="95" y="265"/>
                      <a:pt x="84" y="262"/>
                    </a:cubicBezTo>
                    <a:cubicBezTo>
                      <a:pt x="73" y="260"/>
                      <a:pt x="66" y="252"/>
                      <a:pt x="62" y="242"/>
                    </a:cubicBezTo>
                    <a:cubicBezTo>
                      <a:pt x="58" y="229"/>
                      <a:pt x="55" y="216"/>
                      <a:pt x="51" y="204"/>
                    </a:cubicBezTo>
                    <a:cubicBezTo>
                      <a:pt x="50" y="201"/>
                      <a:pt x="48" y="198"/>
                      <a:pt x="46" y="196"/>
                    </a:cubicBezTo>
                    <a:cubicBezTo>
                      <a:pt x="38" y="190"/>
                      <a:pt x="30" y="185"/>
                      <a:pt x="22" y="178"/>
                    </a:cubicBezTo>
                    <a:cubicBezTo>
                      <a:pt x="2" y="162"/>
                      <a:pt x="0" y="137"/>
                      <a:pt x="16" y="117"/>
                    </a:cubicBezTo>
                    <a:cubicBezTo>
                      <a:pt x="25" y="106"/>
                      <a:pt x="36" y="97"/>
                      <a:pt x="49" y="90"/>
                    </a:cubicBezTo>
                    <a:cubicBezTo>
                      <a:pt x="105" y="63"/>
                      <a:pt x="161" y="39"/>
                      <a:pt x="222" y="27"/>
                    </a:cubicBezTo>
                    <a:cubicBezTo>
                      <a:pt x="248" y="22"/>
                      <a:pt x="275" y="18"/>
                      <a:pt x="302" y="14"/>
                    </a:cubicBezTo>
                    <a:cubicBezTo>
                      <a:pt x="356" y="7"/>
                      <a:pt x="410" y="8"/>
                      <a:pt x="464" y="10"/>
                    </a:cubicBezTo>
                    <a:cubicBezTo>
                      <a:pt x="522" y="12"/>
                      <a:pt x="579" y="23"/>
                      <a:pt x="632" y="48"/>
                    </a:cubicBezTo>
                    <a:cubicBezTo>
                      <a:pt x="672" y="68"/>
                      <a:pt x="709" y="94"/>
                      <a:pt x="745" y="121"/>
                    </a:cubicBezTo>
                    <a:cubicBezTo>
                      <a:pt x="794" y="157"/>
                      <a:pt x="838" y="198"/>
                      <a:pt x="883" y="239"/>
                    </a:cubicBezTo>
                    <a:cubicBezTo>
                      <a:pt x="905" y="259"/>
                      <a:pt x="927" y="279"/>
                      <a:pt x="949" y="299"/>
                    </a:cubicBezTo>
                    <a:cubicBezTo>
                      <a:pt x="954" y="304"/>
                      <a:pt x="958" y="309"/>
                      <a:pt x="963" y="314"/>
                    </a:cubicBezTo>
                    <a:cubicBezTo>
                      <a:pt x="964" y="314"/>
                      <a:pt x="964" y="314"/>
                      <a:pt x="965" y="313"/>
                    </a:cubicBezTo>
                    <a:cubicBezTo>
                      <a:pt x="962" y="309"/>
                      <a:pt x="960" y="305"/>
                      <a:pt x="958" y="300"/>
                    </a:cubicBezTo>
                    <a:cubicBezTo>
                      <a:pt x="953" y="291"/>
                      <a:pt x="953" y="282"/>
                      <a:pt x="960" y="273"/>
                    </a:cubicBezTo>
                    <a:cubicBezTo>
                      <a:pt x="961" y="272"/>
                      <a:pt x="961" y="268"/>
                      <a:pt x="960" y="267"/>
                    </a:cubicBezTo>
                    <a:cubicBezTo>
                      <a:pt x="942" y="235"/>
                      <a:pt x="928" y="201"/>
                      <a:pt x="906" y="171"/>
                    </a:cubicBezTo>
                    <a:cubicBezTo>
                      <a:pt x="883" y="142"/>
                      <a:pt x="855" y="119"/>
                      <a:pt x="824" y="100"/>
                    </a:cubicBezTo>
                    <a:cubicBezTo>
                      <a:pt x="815" y="95"/>
                      <a:pt x="805" y="92"/>
                      <a:pt x="795" y="88"/>
                    </a:cubicBezTo>
                    <a:cubicBezTo>
                      <a:pt x="791" y="87"/>
                      <a:pt x="785" y="86"/>
                      <a:pt x="787" y="80"/>
                    </a:cubicBezTo>
                    <a:cubicBezTo>
                      <a:pt x="789" y="74"/>
                      <a:pt x="795" y="78"/>
                      <a:pt x="799" y="80"/>
                    </a:cubicBezTo>
                    <a:cubicBezTo>
                      <a:pt x="847" y="100"/>
                      <a:pt x="886" y="130"/>
                      <a:pt x="916" y="173"/>
                    </a:cubicBezTo>
                    <a:cubicBezTo>
                      <a:pt x="935" y="201"/>
                      <a:pt x="948" y="231"/>
                      <a:pt x="963" y="260"/>
                    </a:cubicBezTo>
                    <a:cubicBezTo>
                      <a:pt x="964" y="262"/>
                      <a:pt x="965" y="263"/>
                      <a:pt x="965" y="263"/>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6">
                <a:extLst>
                  <a:ext uri="{FF2B5EF4-FFF2-40B4-BE49-F238E27FC236}">
                    <a16:creationId xmlns:a16="http://schemas.microsoft.com/office/drawing/2014/main" id="{E9539203-E44A-491C-908F-CCC6AE7FE010}"/>
                  </a:ext>
                </a:extLst>
              </p:cNvPr>
              <p:cNvSpPr>
                <a:spLocks noEditPoints="1"/>
              </p:cNvSpPr>
              <p:nvPr/>
            </p:nvSpPr>
            <p:spPr bwMode="auto">
              <a:xfrm>
                <a:off x="36" y="-3"/>
                <a:ext cx="3688" cy="2083"/>
              </a:xfrm>
              <a:custGeom>
                <a:avLst/>
                <a:gdLst>
                  <a:gd name="T0" fmla="*/ 1257 w 1961"/>
                  <a:gd name="T1" fmla="*/ 82 h 1107"/>
                  <a:gd name="T2" fmla="*/ 1775 w 1961"/>
                  <a:gd name="T3" fmla="*/ 360 h 1107"/>
                  <a:gd name="T4" fmla="*/ 1449 w 1961"/>
                  <a:gd name="T5" fmla="*/ 816 h 1107"/>
                  <a:gd name="T6" fmla="*/ 988 w 1961"/>
                  <a:gd name="T7" fmla="*/ 606 h 1107"/>
                  <a:gd name="T8" fmla="*/ 507 w 1961"/>
                  <a:gd name="T9" fmla="*/ 809 h 1107"/>
                  <a:gd name="T10" fmla="*/ 187 w 1961"/>
                  <a:gd name="T11" fmla="*/ 365 h 1107"/>
                  <a:gd name="T12" fmla="*/ 745 w 1961"/>
                  <a:gd name="T13" fmla="*/ 120 h 1107"/>
                  <a:gd name="T14" fmla="*/ 965 w 1961"/>
                  <a:gd name="T15" fmla="*/ 263 h 1107"/>
                  <a:gd name="T16" fmla="*/ 1764 w 1961"/>
                  <a:gd name="T17" fmla="*/ 271 h 1107"/>
                  <a:gd name="T18" fmla="*/ 684 w 1961"/>
                  <a:gd name="T19" fmla="*/ 290 h 1107"/>
                  <a:gd name="T20" fmla="*/ 1110 w 1961"/>
                  <a:gd name="T21" fmla="*/ 320 h 1107"/>
                  <a:gd name="T22" fmla="*/ 489 w 1961"/>
                  <a:gd name="T23" fmla="*/ 520 h 1107"/>
                  <a:gd name="T24" fmla="*/ 419 w 1961"/>
                  <a:gd name="T25" fmla="*/ 466 h 1107"/>
                  <a:gd name="T26" fmla="*/ 1197 w 1961"/>
                  <a:gd name="T27" fmla="*/ 326 h 1107"/>
                  <a:gd name="T28" fmla="*/ 367 w 1961"/>
                  <a:gd name="T29" fmla="*/ 427 h 1107"/>
                  <a:gd name="T30" fmla="*/ 1268 w 1961"/>
                  <a:gd name="T31" fmla="*/ 930 h 1107"/>
                  <a:gd name="T32" fmla="*/ 954 w 1961"/>
                  <a:gd name="T33" fmla="*/ 564 h 1107"/>
                  <a:gd name="T34" fmla="*/ 1003 w 1961"/>
                  <a:gd name="T35" fmla="*/ 459 h 1107"/>
                  <a:gd name="T36" fmla="*/ 671 w 1961"/>
                  <a:gd name="T37" fmla="*/ 952 h 1107"/>
                  <a:gd name="T38" fmla="*/ 1225 w 1961"/>
                  <a:gd name="T39" fmla="*/ 671 h 1107"/>
                  <a:gd name="T40" fmla="*/ 608 w 1961"/>
                  <a:gd name="T41" fmla="*/ 815 h 1107"/>
                  <a:gd name="T42" fmla="*/ 1821 w 1961"/>
                  <a:gd name="T43" fmla="*/ 170 h 1107"/>
                  <a:gd name="T44" fmla="*/ 1004 w 1961"/>
                  <a:gd name="T45" fmla="*/ 407 h 1107"/>
                  <a:gd name="T46" fmla="*/ 960 w 1961"/>
                  <a:gd name="T47" fmla="*/ 402 h 1107"/>
                  <a:gd name="T48" fmla="*/ 628 w 1961"/>
                  <a:gd name="T49" fmla="*/ 230 h 1107"/>
                  <a:gd name="T50" fmla="*/ 1164 w 1961"/>
                  <a:gd name="T51" fmla="*/ 222 h 1107"/>
                  <a:gd name="T52" fmla="*/ 528 w 1961"/>
                  <a:gd name="T53" fmla="*/ 126 h 1107"/>
                  <a:gd name="T54" fmla="*/ 660 w 1961"/>
                  <a:gd name="T55" fmla="*/ 234 h 1107"/>
                  <a:gd name="T56" fmla="*/ 1296 w 1961"/>
                  <a:gd name="T57" fmla="*/ 229 h 1107"/>
                  <a:gd name="T58" fmla="*/ 584 w 1961"/>
                  <a:gd name="T59" fmla="*/ 723 h 1107"/>
                  <a:gd name="T60" fmla="*/ 1345 w 1961"/>
                  <a:gd name="T61" fmla="*/ 910 h 1107"/>
                  <a:gd name="T62" fmla="*/ 647 w 1961"/>
                  <a:gd name="T63" fmla="*/ 936 h 1107"/>
                  <a:gd name="T64" fmla="*/ 1417 w 1961"/>
                  <a:gd name="T65" fmla="*/ 910 h 1107"/>
                  <a:gd name="T66" fmla="*/ 1123 w 1961"/>
                  <a:gd name="T67" fmla="*/ 204 h 1107"/>
                  <a:gd name="T68" fmla="*/ 725 w 1961"/>
                  <a:gd name="T69" fmla="*/ 1040 h 1107"/>
                  <a:gd name="T70" fmla="*/ 821 w 1961"/>
                  <a:gd name="T71" fmla="*/ 194 h 1107"/>
                  <a:gd name="T72" fmla="*/ 1437 w 1961"/>
                  <a:gd name="T73" fmla="*/ 808 h 1107"/>
                  <a:gd name="T74" fmla="*/ 591 w 1961"/>
                  <a:gd name="T75" fmla="*/ 766 h 1107"/>
                  <a:gd name="T76" fmla="*/ 1829 w 1961"/>
                  <a:gd name="T77" fmla="*/ 92 h 1107"/>
                  <a:gd name="T78" fmla="*/ 960 w 1961"/>
                  <a:gd name="T79" fmla="*/ 428 h 1107"/>
                  <a:gd name="T80" fmla="*/ 72 w 1961"/>
                  <a:gd name="T81" fmla="*/ 123 h 1107"/>
                  <a:gd name="T82" fmla="*/ 1823 w 1961"/>
                  <a:gd name="T83" fmla="*/ 203 h 1107"/>
                  <a:gd name="T84" fmla="*/ 1886 w 1961"/>
                  <a:gd name="T85" fmla="*/ 167 h 1107"/>
                  <a:gd name="T86" fmla="*/ 1850 w 1961"/>
                  <a:gd name="T87" fmla="*/ 142 h 1107"/>
                  <a:gd name="T88" fmla="*/ 172 w 1961"/>
                  <a:gd name="T89" fmla="*/ 88 h 1107"/>
                  <a:gd name="T90" fmla="*/ 77 w 1961"/>
                  <a:gd name="T91" fmla="*/ 155 h 1107"/>
                  <a:gd name="T92" fmla="*/ 1392 w 1961"/>
                  <a:gd name="T93" fmla="*/ 559 h 1107"/>
                  <a:gd name="T94" fmla="*/ 316 w 1961"/>
                  <a:gd name="T95" fmla="*/ 397 h 1107"/>
                  <a:gd name="T96" fmla="*/ 1647 w 1961"/>
                  <a:gd name="T97" fmla="*/ 481 h 1107"/>
                  <a:gd name="T98" fmla="*/ 365 w 1961"/>
                  <a:gd name="T99" fmla="*/ 536 h 1107"/>
                  <a:gd name="T100" fmla="*/ 1176 w 1961"/>
                  <a:gd name="T101" fmla="*/ 981 h 1107"/>
                  <a:gd name="T102" fmla="*/ 794 w 1961"/>
                  <a:gd name="T103" fmla="*/ 981 h 1107"/>
                  <a:gd name="T104" fmla="*/ 169 w 1961"/>
                  <a:gd name="T105" fmla="*/ 338 h 1107"/>
                  <a:gd name="T106" fmla="*/ 1494 w 1961"/>
                  <a:gd name="T107" fmla="*/ 507 h 1107"/>
                  <a:gd name="T108" fmla="*/ 234 w 1961"/>
                  <a:gd name="T109" fmla="*/ 392 h 1107"/>
                  <a:gd name="T110" fmla="*/ 610 w 1961"/>
                  <a:gd name="T111" fmla="*/ 610 h 1107"/>
                  <a:gd name="T112" fmla="*/ 1396 w 1961"/>
                  <a:gd name="T113" fmla="*/ 566 h 1107"/>
                  <a:gd name="T114" fmla="*/ 1000 w 1961"/>
                  <a:gd name="T115" fmla="*/ 349 h 1107"/>
                  <a:gd name="T116" fmla="*/ 198 w 1961"/>
                  <a:gd name="T117" fmla="*/ 56 h 1107"/>
                  <a:gd name="T118" fmla="*/ 1011 w 1961"/>
                  <a:gd name="T119" fmla="*/ 669 h 1107"/>
                  <a:gd name="T120" fmla="*/ 904 w 1961"/>
                  <a:gd name="T121" fmla="*/ 268 h 1107"/>
                  <a:gd name="T122" fmla="*/ 99 w 1961"/>
                  <a:gd name="T123" fmla="*/ 165 h 1107"/>
                  <a:gd name="T124" fmla="*/ 1860 w 1961"/>
                  <a:gd name="T125" fmla="*/ 111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961" h="1107">
                    <a:moveTo>
                      <a:pt x="965" y="263"/>
                    </a:moveTo>
                    <a:cubicBezTo>
                      <a:pt x="973" y="263"/>
                      <a:pt x="980" y="263"/>
                      <a:pt x="988" y="263"/>
                    </a:cubicBezTo>
                    <a:cubicBezTo>
                      <a:pt x="992" y="252"/>
                      <a:pt x="996" y="239"/>
                      <a:pt x="1001" y="226"/>
                    </a:cubicBezTo>
                    <a:cubicBezTo>
                      <a:pt x="1017" y="188"/>
                      <a:pt x="1037" y="152"/>
                      <a:pt x="1064" y="120"/>
                    </a:cubicBezTo>
                    <a:cubicBezTo>
                      <a:pt x="1069" y="114"/>
                      <a:pt x="1075" y="107"/>
                      <a:pt x="1082" y="103"/>
                    </a:cubicBezTo>
                    <a:cubicBezTo>
                      <a:pt x="1098" y="94"/>
                      <a:pt x="1115" y="87"/>
                      <a:pt x="1132" y="79"/>
                    </a:cubicBezTo>
                    <a:cubicBezTo>
                      <a:pt x="1136" y="77"/>
                      <a:pt x="1142" y="76"/>
                      <a:pt x="1143" y="82"/>
                    </a:cubicBezTo>
                    <a:cubicBezTo>
                      <a:pt x="1145" y="88"/>
                      <a:pt x="1140" y="91"/>
                      <a:pt x="1135" y="91"/>
                    </a:cubicBezTo>
                    <a:cubicBezTo>
                      <a:pt x="1100" y="94"/>
                      <a:pt x="1076" y="115"/>
                      <a:pt x="1056" y="142"/>
                    </a:cubicBezTo>
                    <a:cubicBezTo>
                      <a:pt x="1029" y="179"/>
                      <a:pt x="1008" y="219"/>
                      <a:pt x="994" y="263"/>
                    </a:cubicBezTo>
                    <a:cubicBezTo>
                      <a:pt x="993" y="267"/>
                      <a:pt x="993" y="269"/>
                      <a:pt x="995" y="273"/>
                    </a:cubicBezTo>
                    <a:cubicBezTo>
                      <a:pt x="1002" y="281"/>
                      <a:pt x="1003" y="291"/>
                      <a:pt x="999" y="301"/>
                    </a:cubicBezTo>
                    <a:cubicBezTo>
                      <a:pt x="998" y="304"/>
                      <a:pt x="997" y="307"/>
                      <a:pt x="996" y="310"/>
                    </a:cubicBezTo>
                    <a:cubicBezTo>
                      <a:pt x="999" y="307"/>
                      <a:pt x="1002" y="304"/>
                      <a:pt x="1005" y="301"/>
                    </a:cubicBezTo>
                    <a:cubicBezTo>
                      <a:pt x="1086" y="224"/>
                      <a:pt x="1166" y="146"/>
                      <a:pt x="1257" y="82"/>
                    </a:cubicBezTo>
                    <a:cubicBezTo>
                      <a:pt x="1315" y="41"/>
                      <a:pt x="1379" y="16"/>
                      <a:pt x="1449" y="7"/>
                    </a:cubicBezTo>
                    <a:cubicBezTo>
                      <a:pt x="1500" y="0"/>
                      <a:pt x="1550" y="0"/>
                      <a:pt x="1601" y="3"/>
                    </a:cubicBezTo>
                    <a:cubicBezTo>
                      <a:pt x="1641" y="6"/>
                      <a:pt x="1681" y="10"/>
                      <a:pt x="1721" y="17"/>
                    </a:cubicBezTo>
                    <a:cubicBezTo>
                      <a:pt x="1777" y="26"/>
                      <a:pt x="1833" y="41"/>
                      <a:pt x="1883" y="69"/>
                    </a:cubicBezTo>
                    <a:cubicBezTo>
                      <a:pt x="1902" y="79"/>
                      <a:pt x="1921" y="87"/>
                      <a:pt x="1938" y="101"/>
                    </a:cubicBezTo>
                    <a:cubicBezTo>
                      <a:pt x="1961" y="120"/>
                      <a:pt x="1960" y="154"/>
                      <a:pt x="1939" y="172"/>
                    </a:cubicBezTo>
                    <a:cubicBezTo>
                      <a:pt x="1932" y="178"/>
                      <a:pt x="1924" y="183"/>
                      <a:pt x="1917" y="189"/>
                    </a:cubicBezTo>
                    <a:cubicBezTo>
                      <a:pt x="1914" y="191"/>
                      <a:pt x="1912" y="195"/>
                      <a:pt x="1911" y="198"/>
                    </a:cubicBezTo>
                    <a:cubicBezTo>
                      <a:pt x="1907" y="209"/>
                      <a:pt x="1905" y="220"/>
                      <a:pt x="1901" y="230"/>
                    </a:cubicBezTo>
                    <a:cubicBezTo>
                      <a:pt x="1896" y="242"/>
                      <a:pt x="1888" y="250"/>
                      <a:pt x="1876" y="255"/>
                    </a:cubicBezTo>
                    <a:cubicBezTo>
                      <a:pt x="1867" y="259"/>
                      <a:pt x="1861" y="265"/>
                      <a:pt x="1856" y="274"/>
                    </a:cubicBezTo>
                    <a:cubicBezTo>
                      <a:pt x="1850" y="284"/>
                      <a:pt x="1843" y="295"/>
                      <a:pt x="1836" y="305"/>
                    </a:cubicBezTo>
                    <a:cubicBezTo>
                      <a:pt x="1828" y="316"/>
                      <a:pt x="1819" y="324"/>
                      <a:pt x="1806" y="330"/>
                    </a:cubicBezTo>
                    <a:cubicBezTo>
                      <a:pt x="1802" y="332"/>
                      <a:pt x="1799" y="336"/>
                      <a:pt x="1795" y="339"/>
                    </a:cubicBezTo>
                    <a:cubicBezTo>
                      <a:pt x="1788" y="346"/>
                      <a:pt x="1782" y="353"/>
                      <a:pt x="1775" y="360"/>
                    </a:cubicBezTo>
                    <a:cubicBezTo>
                      <a:pt x="1767" y="369"/>
                      <a:pt x="1757" y="377"/>
                      <a:pt x="1744" y="380"/>
                    </a:cubicBezTo>
                    <a:cubicBezTo>
                      <a:pt x="1738" y="381"/>
                      <a:pt x="1735" y="384"/>
                      <a:pt x="1733" y="390"/>
                    </a:cubicBezTo>
                    <a:cubicBezTo>
                      <a:pt x="1730" y="403"/>
                      <a:pt x="1722" y="412"/>
                      <a:pt x="1711" y="418"/>
                    </a:cubicBezTo>
                    <a:cubicBezTo>
                      <a:pt x="1706" y="421"/>
                      <a:pt x="1701" y="426"/>
                      <a:pt x="1699" y="431"/>
                    </a:cubicBezTo>
                    <a:cubicBezTo>
                      <a:pt x="1691" y="451"/>
                      <a:pt x="1678" y="467"/>
                      <a:pt x="1661" y="479"/>
                    </a:cubicBezTo>
                    <a:cubicBezTo>
                      <a:pt x="1656" y="484"/>
                      <a:pt x="1650" y="489"/>
                      <a:pt x="1646" y="495"/>
                    </a:cubicBezTo>
                    <a:cubicBezTo>
                      <a:pt x="1634" y="515"/>
                      <a:pt x="1617" y="528"/>
                      <a:pt x="1596" y="537"/>
                    </a:cubicBezTo>
                    <a:cubicBezTo>
                      <a:pt x="1580" y="544"/>
                      <a:pt x="1566" y="553"/>
                      <a:pt x="1554" y="564"/>
                    </a:cubicBezTo>
                    <a:cubicBezTo>
                      <a:pt x="1538" y="579"/>
                      <a:pt x="1519" y="587"/>
                      <a:pt x="1500" y="595"/>
                    </a:cubicBezTo>
                    <a:cubicBezTo>
                      <a:pt x="1485" y="602"/>
                      <a:pt x="1469" y="609"/>
                      <a:pt x="1456" y="619"/>
                    </a:cubicBezTo>
                    <a:cubicBezTo>
                      <a:pt x="1439" y="631"/>
                      <a:pt x="1422" y="633"/>
                      <a:pt x="1403" y="630"/>
                    </a:cubicBezTo>
                    <a:cubicBezTo>
                      <a:pt x="1398" y="629"/>
                      <a:pt x="1393" y="628"/>
                      <a:pt x="1387" y="628"/>
                    </a:cubicBezTo>
                    <a:cubicBezTo>
                      <a:pt x="1396" y="640"/>
                      <a:pt x="1405" y="650"/>
                      <a:pt x="1413" y="662"/>
                    </a:cubicBezTo>
                    <a:cubicBezTo>
                      <a:pt x="1432" y="692"/>
                      <a:pt x="1448" y="724"/>
                      <a:pt x="1453" y="760"/>
                    </a:cubicBezTo>
                    <a:cubicBezTo>
                      <a:pt x="1456" y="779"/>
                      <a:pt x="1454" y="798"/>
                      <a:pt x="1449" y="816"/>
                    </a:cubicBezTo>
                    <a:cubicBezTo>
                      <a:pt x="1448" y="822"/>
                      <a:pt x="1447" y="829"/>
                      <a:pt x="1447" y="835"/>
                    </a:cubicBezTo>
                    <a:cubicBezTo>
                      <a:pt x="1449" y="864"/>
                      <a:pt x="1442" y="891"/>
                      <a:pt x="1430" y="917"/>
                    </a:cubicBezTo>
                    <a:cubicBezTo>
                      <a:pt x="1427" y="925"/>
                      <a:pt x="1425" y="935"/>
                      <a:pt x="1424" y="944"/>
                    </a:cubicBezTo>
                    <a:cubicBezTo>
                      <a:pt x="1421" y="961"/>
                      <a:pt x="1415" y="978"/>
                      <a:pt x="1404" y="991"/>
                    </a:cubicBezTo>
                    <a:cubicBezTo>
                      <a:pt x="1395" y="1001"/>
                      <a:pt x="1391" y="1015"/>
                      <a:pt x="1388" y="1028"/>
                    </a:cubicBezTo>
                    <a:cubicBezTo>
                      <a:pt x="1385" y="1039"/>
                      <a:pt x="1380" y="1048"/>
                      <a:pt x="1372" y="1056"/>
                    </a:cubicBezTo>
                    <a:cubicBezTo>
                      <a:pt x="1361" y="1067"/>
                      <a:pt x="1352" y="1078"/>
                      <a:pt x="1349" y="1094"/>
                    </a:cubicBezTo>
                    <a:cubicBezTo>
                      <a:pt x="1348" y="1101"/>
                      <a:pt x="1339" y="1103"/>
                      <a:pt x="1332" y="1102"/>
                    </a:cubicBezTo>
                    <a:cubicBezTo>
                      <a:pt x="1309" y="1101"/>
                      <a:pt x="1287" y="1095"/>
                      <a:pt x="1270" y="1079"/>
                    </a:cubicBezTo>
                    <a:cubicBezTo>
                      <a:pt x="1257" y="1067"/>
                      <a:pt x="1245" y="1054"/>
                      <a:pt x="1232" y="1041"/>
                    </a:cubicBezTo>
                    <a:cubicBezTo>
                      <a:pt x="1216" y="1023"/>
                      <a:pt x="1198" y="1007"/>
                      <a:pt x="1178" y="993"/>
                    </a:cubicBezTo>
                    <a:cubicBezTo>
                      <a:pt x="1137" y="965"/>
                      <a:pt x="1103" y="931"/>
                      <a:pt x="1077" y="887"/>
                    </a:cubicBezTo>
                    <a:cubicBezTo>
                      <a:pt x="1060" y="859"/>
                      <a:pt x="1049" y="828"/>
                      <a:pt x="1038" y="797"/>
                    </a:cubicBezTo>
                    <a:cubicBezTo>
                      <a:pt x="1017" y="740"/>
                      <a:pt x="1003" y="682"/>
                      <a:pt x="992" y="623"/>
                    </a:cubicBezTo>
                    <a:cubicBezTo>
                      <a:pt x="991" y="617"/>
                      <a:pt x="989" y="611"/>
                      <a:pt x="988" y="606"/>
                    </a:cubicBezTo>
                    <a:cubicBezTo>
                      <a:pt x="982" y="613"/>
                      <a:pt x="976" y="621"/>
                      <a:pt x="971" y="629"/>
                    </a:cubicBezTo>
                    <a:cubicBezTo>
                      <a:pt x="968" y="633"/>
                      <a:pt x="969" y="639"/>
                      <a:pt x="968" y="644"/>
                    </a:cubicBezTo>
                    <a:cubicBezTo>
                      <a:pt x="958" y="695"/>
                      <a:pt x="943" y="746"/>
                      <a:pt x="924" y="795"/>
                    </a:cubicBezTo>
                    <a:cubicBezTo>
                      <a:pt x="909" y="835"/>
                      <a:pt x="894" y="875"/>
                      <a:pt x="869" y="911"/>
                    </a:cubicBezTo>
                    <a:cubicBezTo>
                      <a:pt x="838" y="953"/>
                      <a:pt x="802" y="988"/>
                      <a:pt x="758" y="1017"/>
                    </a:cubicBezTo>
                    <a:cubicBezTo>
                      <a:pt x="746" y="1024"/>
                      <a:pt x="738" y="1035"/>
                      <a:pt x="730" y="1047"/>
                    </a:cubicBezTo>
                    <a:cubicBezTo>
                      <a:pt x="705" y="1083"/>
                      <a:pt x="672" y="1106"/>
                      <a:pt x="627" y="1107"/>
                    </a:cubicBezTo>
                    <a:cubicBezTo>
                      <a:pt x="617" y="1107"/>
                      <a:pt x="615" y="1104"/>
                      <a:pt x="611" y="1095"/>
                    </a:cubicBezTo>
                    <a:cubicBezTo>
                      <a:pt x="607" y="1087"/>
                      <a:pt x="603" y="1080"/>
                      <a:pt x="597" y="1074"/>
                    </a:cubicBezTo>
                    <a:cubicBezTo>
                      <a:pt x="582" y="1060"/>
                      <a:pt x="572" y="1042"/>
                      <a:pt x="569" y="1021"/>
                    </a:cubicBezTo>
                    <a:cubicBezTo>
                      <a:pt x="567" y="1012"/>
                      <a:pt x="563" y="1004"/>
                      <a:pt x="557" y="996"/>
                    </a:cubicBezTo>
                    <a:cubicBezTo>
                      <a:pt x="543" y="979"/>
                      <a:pt x="535" y="961"/>
                      <a:pt x="535" y="939"/>
                    </a:cubicBezTo>
                    <a:cubicBezTo>
                      <a:pt x="535" y="931"/>
                      <a:pt x="531" y="922"/>
                      <a:pt x="528" y="914"/>
                    </a:cubicBezTo>
                    <a:cubicBezTo>
                      <a:pt x="520" y="895"/>
                      <a:pt x="513" y="876"/>
                      <a:pt x="513" y="855"/>
                    </a:cubicBezTo>
                    <a:cubicBezTo>
                      <a:pt x="513" y="839"/>
                      <a:pt x="510" y="824"/>
                      <a:pt x="507" y="809"/>
                    </a:cubicBezTo>
                    <a:cubicBezTo>
                      <a:pt x="500" y="771"/>
                      <a:pt x="507" y="734"/>
                      <a:pt x="528" y="701"/>
                    </a:cubicBezTo>
                    <a:cubicBezTo>
                      <a:pt x="540" y="681"/>
                      <a:pt x="555" y="662"/>
                      <a:pt x="569" y="643"/>
                    </a:cubicBezTo>
                    <a:cubicBezTo>
                      <a:pt x="571" y="640"/>
                      <a:pt x="573" y="638"/>
                      <a:pt x="575" y="636"/>
                    </a:cubicBezTo>
                    <a:cubicBezTo>
                      <a:pt x="565" y="636"/>
                      <a:pt x="554" y="636"/>
                      <a:pt x="544" y="636"/>
                    </a:cubicBezTo>
                    <a:cubicBezTo>
                      <a:pt x="527" y="636"/>
                      <a:pt x="510" y="631"/>
                      <a:pt x="495" y="622"/>
                    </a:cubicBezTo>
                    <a:cubicBezTo>
                      <a:pt x="477" y="611"/>
                      <a:pt x="458" y="602"/>
                      <a:pt x="440" y="593"/>
                    </a:cubicBezTo>
                    <a:cubicBezTo>
                      <a:pt x="436" y="591"/>
                      <a:pt x="432" y="589"/>
                      <a:pt x="429" y="587"/>
                    </a:cubicBezTo>
                    <a:cubicBezTo>
                      <a:pt x="407" y="570"/>
                      <a:pt x="385" y="554"/>
                      <a:pt x="360" y="542"/>
                    </a:cubicBezTo>
                    <a:cubicBezTo>
                      <a:pt x="339" y="530"/>
                      <a:pt x="321" y="515"/>
                      <a:pt x="307" y="494"/>
                    </a:cubicBezTo>
                    <a:cubicBezTo>
                      <a:pt x="304" y="490"/>
                      <a:pt x="300" y="485"/>
                      <a:pt x="295" y="482"/>
                    </a:cubicBezTo>
                    <a:cubicBezTo>
                      <a:pt x="282" y="473"/>
                      <a:pt x="273" y="461"/>
                      <a:pt x="267" y="446"/>
                    </a:cubicBezTo>
                    <a:cubicBezTo>
                      <a:pt x="262" y="436"/>
                      <a:pt x="256" y="427"/>
                      <a:pt x="246" y="421"/>
                    </a:cubicBezTo>
                    <a:cubicBezTo>
                      <a:pt x="237" y="415"/>
                      <a:pt x="231" y="407"/>
                      <a:pt x="228" y="397"/>
                    </a:cubicBezTo>
                    <a:cubicBezTo>
                      <a:pt x="227" y="393"/>
                      <a:pt x="225" y="391"/>
                      <a:pt x="220" y="390"/>
                    </a:cubicBezTo>
                    <a:cubicBezTo>
                      <a:pt x="206" y="386"/>
                      <a:pt x="196" y="376"/>
                      <a:pt x="187" y="365"/>
                    </a:cubicBezTo>
                    <a:cubicBezTo>
                      <a:pt x="177" y="353"/>
                      <a:pt x="167" y="343"/>
                      <a:pt x="154" y="336"/>
                    </a:cubicBezTo>
                    <a:cubicBezTo>
                      <a:pt x="136" y="325"/>
                      <a:pt x="124" y="309"/>
                      <a:pt x="112" y="292"/>
                    </a:cubicBezTo>
                    <a:cubicBezTo>
                      <a:pt x="110" y="288"/>
                      <a:pt x="108" y="285"/>
                      <a:pt x="106" y="281"/>
                    </a:cubicBezTo>
                    <a:cubicBezTo>
                      <a:pt x="101" y="272"/>
                      <a:pt x="94" y="265"/>
                      <a:pt x="83" y="262"/>
                    </a:cubicBezTo>
                    <a:cubicBezTo>
                      <a:pt x="73" y="259"/>
                      <a:pt x="65" y="251"/>
                      <a:pt x="62" y="241"/>
                    </a:cubicBezTo>
                    <a:cubicBezTo>
                      <a:pt x="58" y="229"/>
                      <a:pt x="54" y="216"/>
                      <a:pt x="50" y="203"/>
                    </a:cubicBezTo>
                    <a:cubicBezTo>
                      <a:pt x="49" y="201"/>
                      <a:pt x="48" y="198"/>
                      <a:pt x="46" y="196"/>
                    </a:cubicBezTo>
                    <a:cubicBezTo>
                      <a:pt x="38" y="190"/>
                      <a:pt x="29" y="184"/>
                      <a:pt x="22" y="178"/>
                    </a:cubicBezTo>
                    <a:cubicBezTo>
                      <a:pt x="2" y="161"/>
                      <a:pt x="0" y="136"/>
                      <a:pt x="16" y="116"/>
                    </a:cubicBezTo>
                    <a:cubicBezTo>
                      <a:pt x="25" y="105"/>
                      <a:pt x="36" y="96"/>
                      <a:pt x="49" y="90"/>
                    </a:cubicBezTo>
                    <a:cubicBezTo>
                      <a:pt x="104" y="63"/>
                      <a:pt x="160" y="38"/>
                      <a:pt x="221" y="26"/>
                    </a:cubicBezTo>
                    <a:cubicBezTo>
                      <a:pt x="248" y="21"/>
                      <a:pt x="274" y="17"/>
                      <a:pt x="301" y="14"/>
                    </a:cubicBezTo>
                    <a:cubicBezTo>
                      <a:pt x="355" y="6"/>
                      <a:pt x="409" y="7"/>
                      <a:pt x="463" y="9"/>
                    </a:cubicBezTo>
                    <a:cubicBezTo>
                      <a:pt x="522" y="12"/>
                      <a:pt x="578" y="22"/>
                      <a:pt x="631" y="48"/>
                    </a:cubicBezTo>
                    <a:cubicBezTo>
                      <a:pt x="672" y="67"/>
                      <a:pt x="709" y="93"/>
                      <a:pt x="745" y="120"/>
                    </a:cubicBezTo>
                    <a:cubicBezTo>
                      <a:pt x="793" y="156"/>
                      <a:pt x="838" y="198"/>
                      <a:pt x="882" y="239"/>
                    </a:cubicBezTo>
                    <a:cubicBezTo>
                      <a:pt x="904" y="259"/>
                      <a:pt x="926" y="278"/>
                      <a:pt x="948" y="299"/>
                    </a:cubicBezTo>
                    <a:cubicBezTo>
                      <a:pt x="953" y="303"/>
                      <a:pt x="958" y="309"/>
                      <a:pt x="963" y="314"/>
                    </a:cubicBezTo>
                    <a:cubicBezTo>
                      <a:pt x="963" y="314"/>
                      <a:pt x="964" y="313"/>
                      <a:pt x="964" y="313"/>
                    </a:cubicBezTo>
                    <a:cubicBezTo>
                      <a:pt x="962" y="308"/>
                      <a:pt x="959" y="304"/>
                      <a:pt x="957" y="300"/>
                    </a:cubicBezTo>
                    <a:cubicBezTo>
                      <a:pt x="953" y="290"/>
                      <a:pt x="953" y="281"/>
                      <a:pt x="959" y="273"/>
                    </a:cubicBezTo>
                    <a:cubicBezTo>
                      <a:pt x="960" y="271"/>
                      <a:pt x="961" y="268"/>
                      <a:pt x="960" y="266"/>
                    </a:cubicBezTo>
                    <a:cubicBezTo>
                      <a:pt x="942" y="234"/>
                      <a:pt x="928" y="200"/>
                      <a:pt x="905" y="171"/>
                    </a:cubicBezTo>
                    <a:cubicBezTo>
                      <a:pt x="883" y="141"/>
                      <a:pt x="855" y="118"/>
                      <a:pt x="823" y="99"/>
                    </a:cubicBezTo>
                    <a:cubicBezTo>
                      <a:pt x="814" y="94"/>
                      <a:pt x="804" y="91"/>
                      <a:pt x="795" y="88"/>
                    </a:cubicBezTo>
                    <a:cubicBezTo>
                      <a:pt x="791" y="86"/>
                      <a:pt x="784" y="85"/>
                      <a:pt x="786" y="80"/>
                    </a:cubicBezTo>
                    <a:cubicBezTo>
                      <a:pt x="789" y="74"/>
                      <a:pt x="794" y="77"/>
                      <a:pt x="798" y="79"/>
                    </a:cubicBezTo>
                    <a:cubicBezTo>
                      <a:pt x="846" y="99"/>
                      <a:pt x="886" y="130"/>
                      <a:pt x="916" y="173"/>
                    </a:cubicBezTo>
                    <a:cubicBezTo>
                      <a:pt x="935" y="200"/>
                      <a:pt x="947" y="231"/>
                      <a:pt x="963" y="260"/>
                    </a:cubicBezTo>
                    <a:cubicBezTo>
                      <a:pt x="964" y="261"/>
                      <a:pt x="964" y="262"/>
                      <a:pt x="965" y="263"/>
                    </a:cubicBezTo>
                    <a:close/>
                    <a:moveTo>
                      <a:pt x="1465" y="130"/>
                    </a:moveTo>
                    <a:cubicBezTo>
                      <a:pt x="1475" y="138"/>
                      <a:pt x="1486" y="146"/>
                      <a:pt x="1496" y="155"/>
                    </a:cubicBezTo>
                    <a:cubicBezTo>
                      <a:pt x="1502" y="161"/>
                      <a:pt x="1507" y="168"/>
                      <a:pt x="1506" y="178"/>
                    </a:cubicBezTo>
                    <a:cubicBezTo>
                      <a:pt x="1504" y="194"/>
                      <a:pt x="1496" y="206"/>
                      <a:pt x="1485" y="216"/>
                    </a:cubicBezTo>
                    <a:cubicBezTo>
                      <a:pt x="1456" y="241"/>
                      <a:pt x="1424" y="257"/>
                      <a:pt x="1388" y="266"/>
                    </a:cubicBezTo>
                    <a:cubicBezTo>
                      <a:pt x="1356" y="274"/>
                      <a:pt x="1323" y="277"/>
                      <a:pt x="1291" y="283"/>
                    </a:cubicBezTo>
                    <a:cubicBezTo>
                      <a:pt x="1285" y="284"/>
                      <a:pt x="1279" y="285"/>
                      <a:pt x="1272" y="285"/>
                    </a:cubicBezTo>
                    <a:cubicBezTo>
                      <a:pt x="1272" y="286"/>
                      <a:pt x="1272" y="287"/>
                      <a:pt x="1272" y="287"/>
                    </a:cubicBezTo>
                    <a:cubicBezTo>
                      <a:pt x="1300" y="289"/>
                      <a:pt x="1328" y="290"/>
                      <a:pt x="1356" y="292"/>
                    </a:cubicBezTo>
                    <a:cubicBezTo>
                      <a:pt x="1379" y="293"/>
                      <a:pt x="1401" y="293"/>
                      <a:pt x="1424" y="295"/>
                    </a:cubicBezTo>
                    <a:cubicBezTo>
                      <a:pt x="1457" y="299"/>
                      <a:pt x="1491" y="302"/>
                      <a:pt x="1525" y="308"/>
                    </a:cubicBezTo>
                    <a:cubicBezTo>
                      <a:pt x="1564" y="315"/>
                      <a:pt x="1602" y="324"/>
                      <a:pt x="1641" y="334"/>
                    </a:cubicBezTo>
                    <a:cubicBezTo>
                      <a:pt x="1650" y="336"/>
                      <a:pt x="1657" y="337"/>
                      <a:pt x="1666" y="335"/>
                    </a:cubicBezTo>
                    <a:cubicBezTo>
                      <a:pt x="1684" y="330"/>
                      <a:pt x="1701" y="323"/>
                      <a:pt x="1716" y="310"/>
                    </a:cubicBezTo>
                    <a:cubicBezTo>
                      <a:pt x="1732" y="297"/>
                      <a:pt x="1745" y="281"/>
                      <a:pt x="1764" y="271"/>
                    </a:cubicBezTo>
                    <a:cubicBezTo>
                      <a:pt x="1765" y="270"/>
                      <a:pt x="1766" y="269"/>
                      <a:pt x="1767" y="268"/>
                    </a:cubicBezTo>
                    <a:cubicBezTo>
                      <a:pt x="1785" y="253"/>
                      <a:pt x="1795" y="233"/>
                      <a:pt x="1803" y="212"/>
                    </a:cubicBezTo>
                    <a:cubicBezTo>
                      <a:pt x="1806" y="205"/>
                      <a:pt x="1807" y="197"/>
                      <a:pt x="1800" y="190"/>
                    </a:cubicBezTo>
                    <a:cubicBezTo>
                      <a:pt x="1808" y="187"/>
                      <a:pt x="1817" y="186"/>
                      <a:pt x="1819" y="176"/>
                    </a:cubicBezTo>
                    <a:cubicBezTo>
                      <a:pt x="1789" y="151"/>
                      <a:pt x="1550" y="120"/>
                      <a:pt x="1465" y="130"/>
                    </a:cubicBezTo>
                    <a:close/>
                    <a:moveTo>
                      <a:pt x="159" y="195"/>
                    </a:moveTo>
                    <a:cubicBezTo>
                      <a:pt x="157" y="201"/>
                      <a:pt x="154" y="206"/>
                      <a:pt x="155" y="210"/>
                    </a:cubicBezTo>
                    <a:cubicBezTo>
                      <a:pt x="165" y="243"/>
                      <a:pt x="181" y="271"/>
                      <a:pt x="214" y="287"/>
                    </a:cubicBezTo>
                    <a:cubicBezTo>
                      <a:pt x="215" y="288"/>
                      <a:pt x="216" y="288"/>
                      <a:pt x="217" y="289"/>
                    </a:cubicBezTo>
                    <a:cubicBezTo>
                      <a:pt x="231" y="302"/>
                      <a:pt x="244" y="316"/>
                      <a:pt x="260" y="326"/>
                    </a:cubicBezTo>
                    <a:cubicBezTo>
                      <a:pt x="279" y="338"/>
                      <a:pt x="299" y="346"/>
                      <a:pt x="324" y="339"/>
                    </a:cubicBezTo>
                    <a:cubicBezTo>
                      <a:pt x="417" y="312"/>
                      <a:pt x="512" y="300"/>
                      <a:pt x="608" y="297"/>
                    </a:cubicBezTo>
                    <a:cubicBezTo>
                      <a:pt x="627" y="297"/>
                      <a:pt x="647" y="296"/>
                      <a:pt x="666" y="294"/>
                    </a:cubicBezTo>
                    <a:cubicBezTo>
                      <a:pt x="674" y="294"/>
                      <a:pt x="681" y="293"/>
                      <a:pt x="688" y="292"/>
                    </a:cubicBezTo>
                    <a:cubicBezTo>
                      <a:pt x="687" y="291"/>
                      <a:pt x="685" y="290"/>
                      <a:pt x="684" y="290"/>
                    </a:cubicBezTo>
                    <a:cubicBezTo>
                      <a:pt x="658" y="287"/>
                      <a:pt x="632" y="284"/>
                      <a:pt x="606" y="280"/>
                    </a:cubicBezTo>
                    <a:cubicBezTo>
                      <a:pt x="566" y="273"/>
                      <a:pt x="528" y="259"/>
                      <a:pt x="494" y="236"/>
                    </a:cubicBezTo>
                    <a:cubicBezTo>
                      <a:pt x="485" y="230"/>
                      <a:pt x="477" y="224"/>
                      <a:pt x="470" y="216"/>
                    </a:cubicBezTo>
                    <a:cubicBezTo>
                      <a:pt x="449" y="192"/>
                      <a:pt x="450" y="172"/>
                      <a:pt x="472" y="153"/>
                    </a:cubicBezTo>
                    <a:cubicBezTo>
                      <a:pt x="474" y="152"/>
                      <a:pt x="476" y="150"/>
                      <a:pt x="478" y="149"/>
                    </a:cubicBezTo>
                    <a:cubicBezTo>
                      <a:pt x="484" y="145"/>
                      <a:pt x="491" y="141"/>
                      <a:pt x="497" y="136"/>
                    </a:cubicBezTo>
                    <a:cubicBezTo>
                      <a:pt x="496" y="136"/>
                      <a:pt x="496" y="136"/>
                      <a:pt x="496" y="136"/>
                    </a:cubicBezTo>
                    <a:cubicBezTo>
                      <a:pt x="433" y="134"/>
                      <a:pt x="371" y="136"/>
                      <a:pt x="309" y="144"/>
                    </a:cubicBezTo>
                    <a:cubicBezTo>
                      <a:pt x="258" y="151"/>
                      <a:pt x="209" y="161"/>
                      <a:pt x="160" y="174"/>
                    </a:cubicBezTo>
                    <a:cubicBezTo>
                      <a:pt x="153" y="176"/>
                      <a:pt x="147" y="178"/>
                      <a:pt x="141" y="181"/>
                    </a:cubicBezTo>
                    <a:cubicBezTo>
                      <a:pt x="143" y="192"/>
                      <a:pt x="153" y="192"/>
                      <a:pt x="159" y="195"/>
                    </a:cubicBezTo>
                    <a:close/>
                    <a:moveTo>
                      <a:pt x="1542" y="461"/>
                    </a:moveTo>
                    <a:cubicBezTo>
                      <a:pt x="1541" y="460"/>
                      <a:pt x="1539" y="459"/>
                      <a:pt x="1537" y="458"/>
                    </a:cubicBezTo>
                    <a:cubicBezTo>
                      <a:pt x="1492" y="429"/>
                      <a:pt x="1443" y="408"/>
                      <a:pt x="1393" y="389"/>
                    </a:cubicBezTo>
                    <a:cubicBezTo>
                      <a:pt x="1301" y="355"/>
                      <a:pt x="1209" y="324"/>
                      <a:pt x="1110" y="320"/>
                    </a:cubicBezTo>
                    <a:cubicBezTo>
                      <a:pt x="1079" y="319"/>
                      <a:pt x="1048" y="317"/>
                      <a:pt x="1017" y="322"/>
                    </a:cubicBezTo>
                    <a:cubicBezTo>
                      <a:pt x="1011" y="324"/>
                      <a:pt x="1002" y="336"/>
                      <a:pt x="1003" y="342"/>
                    </a:cubicBezTo>
                    <a:cubicBezTo>
                      <a:pt x="1003" y="347"/>
                      <a:pt x="1004" y="352"/>
                      <a:pt x="1004" y="358"/>
                    </a:cubicBezTo>
                    <a:cubicBezTo>
                      <a:pt x="1003" y="363"/>
                      <a:pt x="1005" y="365"/>
                      <a:pt x="1010" y="365"/>
                    </a:cubicBezTo>
                    <a:cubicBezTo>
                      <a:pt x="1034" y="370"/>
                      <a:pt x="1058" y="375"/>
                      <a:pt x="1082" y="380"/>
                    </a:cubicBezTo>
                    <a:cubicBezTo>
                      <a:pt x="1168" y="400"/>
                      <a:pt x="1250" y="433"/>
                      <a:pt x="1323" y="483"/>
                    </a:cubicBezTo>
                    <a:cubicBezTo>
                      <a:pt x="1348" y="501"/>
                      <a:pt x="1374" y="517"/>
                      <a:pt x="1393" y="541"/>
                    </a:cubicBezTo>
                    <a:cubicBezTo>
                      <a:pt x="1394" y="542"/>
                      <a:pt x="1396" y="543"/>
                      <a:pt x="1397" y="543"/>
                    </a:cubicBezTo>
                    <a:cubicBezTo>
                      <a:pt x="1420" y="549"/>
                      <a:pt x="1440" y="542"/>
                      <a:pt x="1459" y="530"/>
                    </a:cubicBezTo>
                    <a:cubicBezTo>
                      <a:pt x="1464" y="527"/>
                      <a:pt x="1468" y="521"/>
                      <a:pt x="1471" y="516"/>
                    </a:cubicBezTo>
                    <a:cubicBezTo>
                      <a:pt x="1475" y="508"/>
                      <a:pt x="1480" y="505"/>
                      <a:pt x="1488" y="503"/>
                    </a:cubicBezTo>
                    <a:cubicBezTo>
                      <a:pt x="1513" y="499"/>
                      <a:pt x="1534" y="489"/>
                      <a:pt x="1542" y="461"/>
                    </a:cubicBezTo>
                    <a:close/>
                    <a:moveTo>
                      <a:pt x="419" y="466"/>
                    </a:moveTo>
                    <a:cubicBezTo>
                      <a:pt x="426" y="495"/>
                      <a:pt x="448" y="505"/>
                      <a:pt x="473" y="509"/>
                    </a:cubicBezTo>
                    <a:cubicBezTo>
                      <a:pt x="481" y="510"/>
                      <a:pt x="486" y="514"/>
                      <a:pt x="489" y="520"/>
                    </a:cubicBezTo>
                    <a:cubicBezTo>
                      <a:pt x="492" y="529"/>
                      <a:pt x="498" y="535"/>
                      <a:pt x="506" y="539"/>
                    </a:cubicBezTo>
                    <a:cubicBezTo>
                      <a:pt x="516" y="543"/>
                      <a:pt x="527" y="548"/>
                      <a:pt x="538" y="550"/>
                    </a:cubicBezTo>
                    <a:cubicBezTo>
                      <a:pt x="552" y="553"/>
                      <a:pt x="567" y="553"/>
                      <a:pt x="576" y="538"/>
                    </a:cubicBezTo>
                    <a:cubicBezTo>
                      <a:pt x="577" y="535"/>
                      <a:pt x="580" y="533"/>
                      <a:pt x="583" y="531"/>
                    </a:cubicBezTo>
                    <a:cubicBezTo>
                      <a:pt x="615" y="504"/>
                      <a:pt x="648" y="480"/>
                      <a:pt x="685" y="460"/>
                    </a:cubicBezTo>
                    <a:cubicBezTo>
                      <a:pt x="763" y="416"/>
                      <a:pt x="848" y="389"/>
                      <a:pt x="936" y="374"/>
                    </a:cubicBezTo>
                    <a:cubicBezTo>
                      <a:pt x="942" y="373"/>
                      <a:pt x="949" y="374"/>
                      <a:pt x="953" y="370"/>
                    </a:cubicBezTo>
                    <a:cubicBezTo>
                      <a:pt x="956" y="367"/>
                      <a:pt x="955" y="359"/>
                      <a:pt x="956" y="353"/>
                    </a:cubicBezTo>
                    <a:cubicBezTo>
                      <a:pt x="956" y="353"/>
                      <a:pt x="956" y="352"/>
                      <a:pt x="956" y="352"/>
                    </a:cubicBezTo>
                    <a:cubicBezTo>
                      <a:pt x="958" y="337"/>
                      <a:pt x="952" y="328"/>
                      <a:pt x="936" y="327"/>
                    </a:cubicBezTo>
                    <a:cubicBezTo>
                      <a:pt x="914" y="326"/>
                      <a:pt x="892" y="325"/>
                      <a:pt x="870" y="326"/>
                    </a:cubicBezTo>
                    <a:cubicBezTo>
                      <a:pt x="835" y="326"/>
                      <a:pt x="799" y="330"/>
                      <a:pt x="764" y="336"/>
                    </a:cubicBezTo>
                    <a:cubicBezTo>
                      <a:pt x="710" y="346"/>
                      <a:pt x="657" y="363"/>
                      <a:pt x="605" y="381"/>
                    </a:cubicBezTo>
                    <a:cubicBezTo>
                      <a:pt x="547" y="403"/>
                      <a:pt x="489" y="424"/>
                      <a:pt x="435" y="456"/>
                    </a:cubicBezTo>
                    <a:cubicBezTo>
                      <a:pt x="430" y="460"/>
                      <a:pt x="424" y="463"/>
                      <a:pt x="419" y="466"/>
                    </a:cubicBezTo>
                    <a:close/>
                    <a:moveTo>
                      <a:pt x="1542" y="458"/>
                    </a:moveTo>
                    <a:cubicBezTo>
                      <a:pt x="1549" y="454"/>
                      <a:pt x="1555" y="451"/>
                      <a:pt x="1562" y="449"/>
                    </a:cubicBezTo>
                    <a:cubicBezTo>
                      <a:pt x="1574" y="445"/>
                      <a:pt x="1585" y="440"/>
                      <a:pt x="1590" y="428"/>
                    </a:cubicBezTo>
                    <a:cubicBezTo>
                      <a:pt x="1595" y="417"/>
                      <a:pt x="1603" y="411"/>
                      <a:pt x="1614" y="406"/>
                    </a:cubicBezTo>
                    <a:cubicBezTo>
                      <a:pt x="1636" y="397"/>
                      <a:pt x="1650" y="381"/>
                      <a:pt x="1655" y="357"/>
                    </a:cubicBezTo>
                    <a:cubicBezTo>
                      <a:pt x="1657" y="346"/>
                      <a:pt x="1654" y="340"/>
                      <a:pt x="1644" y="338"/>
                    </a:cubicBezTo>
                    <a:cubicBezTo>
                      <a:pt x="1581" y="321"/>
                      <a:pt x="1518" y="309"/>
                      <a:pt x="1454" y="302"/>
                    </a:cubicBezTo>
                    <a:cubicBezTo>
                      <a:pt x="1419" y="299"/>
                      <a:pt x="1385" y="298"/>
                      <a:pt x="1350" y="296"/>
                    </a:cubicBezTo>
                    <a:cubicBezTo>
                      <a:pt x="1331" y="295"/>
                      <a:pt x="1312" y="293"/>
                      <a:pt x="1293" y="292"/>
                    </a:cubicBezTo>
                    <a:cubicBezTo>
                      <a:pt x="1276" y="290"/>
                      <a:pt x="1258" y="287"/>
                      <a:pt x="1240" y="288"/>
                    </a:cubicBezTo>
                    <a:cubicBezTo>
                      <a:pt x="1217" y="288"/>
                      <a:pt x="1194" y="291"/>
                      <a:pt x="1171" y="293"/>
                    </a:cubicBezTo>
                    <a:cubicBezTo>
                      <a:pt x="1135" y="297"/>
                      <a:pt x="1100" y="301"/>
                      <a:pt x="1064" y="305"/>
                    </a:cubicBezTo>
                    <a:cubicBezTo>
                      <a:pt x="1050" y="307"/>
                      <a:pt x="1035" y="309"/>
                      <a:pt x="1021" y="318"/>
                    </a:cubicBezTo>
                    <a:cubicBezTo>
                      <a:pt x="1028" y="317"/>
                      <a:pt x="1033" y="316"/>
                      <a:pt x="1038" y="315"/>
                    </a:cubicBezTo>
                    <a:cubicBezTo>
                      <a:pt x="1092" y="314"/>
                      <a:pt x="1145" y="316"/>
                      <a:pt x="1197" y="326"/>
                    </a:cubicBezTo>
                    <a:cubicBezTo>
                      <a:pt x="1252" y="336"/>
                      <a:pt x="1304" y="352"/>
                      <a:pt x="1356" y="371"/>
                    </a:cubicBezTo>
                    <a:cubicBezTo>
                      <a:pt x="1421" y="395"/>
                      <a:pt x="1486" y="419"/>
                      <a:pt x="1542" y="458"/>
                    </a:cubicBezTo>
                    <a:close/>
                    <a:moveTo>
                      <a:pt x="938" y="322"/>
                    </a:moveTo>
                    <a:cubicBezTo>
                      <a:pt x="934" y="320"/>
                      <a:pt x="930" y="318"/>
                      <a:pt x="925" y="317"/>
                    </a:cubicBezTo>
                    <a:cubicBezTo>
                      <a:pt x="907" y="313"/>
                      <a:pt x="888" y="310"/>
                      <a:pt x="870" y="308"/>
                    </a:cubicBezTo>
                    <a:cubicBezTo>
                      <a:pt x="834" y="304"/>
                      <a:pt x="798" y="301"/>
                      <a:pt x="762" y="297"/>
                    </a:cubicBezTo>
                    <a:cubicBezTo>
                      <a:pt x="736" y="294"/>
                      <a:pt x="711" y="294"/>
                      <a:pt x="685" y="296"/>
                    </a:cubicBezTo>
                    <a:cubicBezTo>
                      <a:pt x="655" y="298"/>
                      <a:pt x="625" y="300"/>
                      <a:pt x="595" y="302"/>
                    </a:cubicBezTo>
                    <a:cubicBezTo>
                      <a:pt x="565" y="304"/>
                      <a:pt x="535" y="305"/>
                      <a:pt x="506" y="308"/>
                    </a:cubicBezTo>
                    <a:cubicBezTo>
                      <a:pt x="471" y="312"/>
                      <a:pt x="437" y="318"/>
                      <a:pt x="403" y="324"/>
                    </a:cubicBezTo>
                    <a:cubicBezTo>
                      <a:pt x="374" y="330"/>
                      <a:pt x="346" y="337"/>
                      <a:pt x="317" y="343"/>
                    </a:cubicBezTo>
                    <a:cubicBezTo>
                      <a:pt x="308" y="346"/>
                      <a:pt x="304" y="352"/>
                      <a:pt x="305" y="360"/>
                    </a:cubicBezTo>
                    <a:cubicBezTo>
                      <a:pt x="308" y="375"/>
                      <a:pt x="313" y="389"/>
                      <a:pt x="326" y="399"/>
                    </a:cubicBezTo>
                    <a:cubicBezTo>
                      <a:pt x="334" y="405"/>
                      <a:pt x="344" y="409"/>
                      <a:pt x="353" y="415"/>
                    </a:cubicBezTo>
                    <a:cubicBezTo>
                      <a:pt x="358" y="419"/>
                      <a:pt x="364" y="422"/>
                      <a:pt x="367" y="427"/>
                    </a:cubicBezTo>
                    <a:cubicBezTo>
                      <a:pt x="373" y="442"/>
                      <a:pt x="384" y="450"/>
                      <a:pt x="399" y="455"/>
                    </a:cubicBezTo>
                    <a:cubicBezTo>
                      <a:pt x="405" y="457"/>
                      <a:pt x="411" y="460"/>
                      <a:pt x="419" y="464"/>
                    </a:cubicBezTo>
                    <a:cubicBezTo>
                      <a:pt x="418" y="464"/>
                      <a:pt x="418" y="464"/>
                      <a:pt x="419" y="464"/>
                    </a:cubicBezTo>
                    <a:cubicBezTo>
                      <a:pt x="466" y="432"/>
                      <a:pt x="518" y="409"/>
                      <a:pt x="571" y="389"/>
                    </a:cubicBezTo>
                    <a:cubicBezTo>
                      <a:pt x="662" y="355"/>
                      <a:pt x="753" y="326"/>
                      <a:pt x="851" y="322"/>
                    </a:cubicBezTo>
                    <a:cubicBezTo>
                      <a:pt x="880" y="321"/>
                      <a:pt x="909" y="322"/>
                      <a:pt x="938" y="322"/>
                    </a:cubicBezTo>
                    <a:close/>
                    <a:moveTo>
                      <a:pt x="999" y="549"/>
                    </a:moveTo>
                    <a:cubicBezTo>
                      <a:pt x="995" y="564"/>
                      <a:pt x="993" y="578"/>
                      <a:pt x="998" y="592"/>
                    </a:cubicBezTo>
                    <a:cubicBezTo>
                      <a:pt x="1001" y="599"/>
                      <a:pt x="1003" y="606"/>
                      <a:pt x="1005" y="613"/>
                    </a:cubicBezTo>
                    <a:cubicBezTo>
                      <a:pt x="1020" y="667"/>
                      <a:pt x="1043" y="718"/>
                      <a:pt x="1064" y="769"/>
                    </a:cubicBezTo>
                    <a:cubicBezTo>
                      <a:pt x="1074" y="795"/>
                      <a:pt x="1084" y="820"/>
                      <a:pt x="1097" y="845"/>
                    </a:cubicBezTo>
                    <a:cubicBezTo>
                      <a:pt x="1121" y="889"/>
                      <a:pt x="1155" y="926"/>
                      <a:pt x="1185" y="966"/>
                    </a:cubicBezTo>
                    <a:cubicBezTo>
                      <a:pt x="1204" y="991"/>
                      <a:pt x="1250" y="992"/>
                      <a:pt x="1273" y="978"/>
                    </a:cubicBezTo>
                    <a:cubicBezTo>
                      <a:pt x="1282" y="973"/>
                      <a:pt x="1283" y="969"/>
                      <a:pt x="1280" y="960"/>
                    </a:cubicBezTo>
                    <a:cubicBezTo>
                      <a:pt x="1276" y="950"/>
                      <a:pt x="1272" y="940"/>
                      <a:pt x="1268" y="930"/>
                    </a:cubicBezTo>
                    <a:cubicBezTo>
                      <a:pt x="1214" y="803"/>
                      <a:pt x="1137" y="692"/>
                      <a:pt x="1042" y="593"/>
                    </a:cubicBezTo>
                    <a:cubicBezTo>
                      <a:pt x="1027" y="579"/>
                      <a:pt x="1013" y="564"/>
                      <a:pt x="999" y="549"/>
                    </a:cubicBezTo>
                    <a:close/>
                    <a:moveTo>
                      <a:pt x="954" y="564"/>
                    </a:moveTo>
                    <a:cubicBezTo>
                      <a:pt x="953" y="565"/>
                      <a:pt x="952" y="565"/>
                      <a:pt x="951" y="566"/>
                    </a:cubicBezTo>
                    <a:cubicBezTo>
                      <a:pt x="924" y="596"/>
                      <a:pt x="896" y="625"/>
                      <a:pt x="869" y="656"/>
                    </a:cubicBezTo>
                    <a:cubicBezTo>
                      <a:pt x="817" y="715"/>
                      <a:pt x="771" y="779"/>
                      <a:pt x="734" y="849"/>
                    </a:cubicBezTo>
                    <a:cubicBezTo>
                      <a:pt x="715" y="887"/>
                      <a:pt x="695" y="925"/>
                      <a:pt x="681" y="965"/>
                    </a:cubicBezTo>
                    <a:cubicBezTo>
                      <a:pt x="678" y="976"/>
                      <a:pt x="679" y="980"/>
                      <a:pt x="689" y="984"/>
                    </a:cubicBezTo>
                    <a:cubicBezTo>
                      <a:pt x="700" y="988"/>
                      <a:pt x="711" y="992"/>
                      <a:pt x="723" y="993"/>
                    </a:cubicBezTo>
                    <a:cubicBezTo>
                      <a:pt x="745" y="994"/>
                      <a:pt x="765" y="988"/>
                      <a:pt x="779" y="968"/>
                    </a:cubicBezTo>
                    <a:cubicBezTo>
                      <a:pt x="785" y="959"/>
                      <a:pt x="793" y="950"/>
                      <a:pt x="800" y="941"/>
                    </a:cubicBezTo>
                    <a:cubicBezTo>
                      <a:pt x="829" y="905"/>
                      <a:pt x="858" y="869"/>
                      <a:pt x="875" y="825"/>
                    </a:cubicBezTo>
                    <a:cubicBezTo>
                      <a:pt x="883" y="804"/>
                      <a:pt x="893" y="784"/>
                      <a:pt x="902" y="764"/>
                    </a:cubicBezTo>
                    <a:cubicBezTo>
                      <a:pt x="922" y="715"/>
                      <a:pt x="942" y="666"/>
                      <a:pt x="958" y="615"/>
                    </a:cubicBezTo>
                    <a:cubicBezTo>
                      <a:pt x="964" y="597"/>
                      <a:pt x="957" y="581"/>
                      <a:pt x="954" y="564"/>
                    </a:cubicBezTo>
                    <a:close/>
                    <a:moveTo>
                      <a:pt x="1003" y="459"/>
                    </a:moveTo>
                    <a:cubicBezTo>
                      <a:pt x="1003" y="478"/>
                      <a:pt x="1004" y="499"/>
                      <a:pt x="1002" y="518"/>
                    </a:cubicBezTo>
                    <a:cubicBezTo>
                      <a:pt x="1000" y="536"/>
                      <a:pt x="1004" y="548"/>
                      <a:pt x="1017" y="561"/>
                    </a:cubicBezTo>
                    <a:cubicBezTo>
                      <a:pt x="1048" y="594"/>
                      <a:pt x="1079" y="627"/>
                      <a:pt x="1109" y="661"/>
                    </a:cubicBezTo>
                    <a:cubicBezTo>
                      <a:pt x="1174" y="738"/>
                      <a:pt x="1226" y="824"/>
                      <a:pt x="1267" y="917"/>
                    </a:cubicBezTo>
                    <a:cubicBezTo>
                      <a:pt x="1274" y="932"/>
                      <a:pt x="1279" y="947"/>
                      <a:pt x="1286" y="964"/>
                    </a:cubicBezTo>
                    <a:cubicBezTo>
                      <a:pt x="1287" y="956"/>
                      <a:pt x="1289" y="950"/>
                      <a:pt x="1289" y="943"/>
                    </a:cubicBezTo>
                    <a:cubicBezTo>
                      <a:pt x="1290" y="936"/>
                      <a:pt x="1294" y="931"/>
                      <a:pt x="1301" y="929"/>
                    </a:cubicBezTo>
                    <a:cubicBezTo>
                      <a:pt x="1304" y="928"/>
                      <a:pt x="1308" y="927"/>
                      <a:pt x="1311" y="926"/>
                    </a:cubicBezTo>
                    <a:cubicBezTo>
                      <a:pt x="1325" y="921"/>
                      <a:pt x="1333" y="910"/>
                      <a:pt x="1334" y="895"/>
                    </a:cubicBezTo>
                    <a:cubicBezTo>
                      <a:pt x="1334" y="886"/>
                      <a:pt x="1333" y="877"/>
                      <a:pt x="1334" y="869"/>
                    </a:cubicBezTo>
                    <a:cubicBezTo>
                      <a:pt x="1335" y="849"/>
                      <a:pt x="1329" y="832"/>
                      <a:pt x="1320" y="816"/>
                    </a:cubicBezTo>
                    <a:cubicBezTo>
                      <a:pt x="1281" y="747"/>
                      <a:pt x="1236" y="684"/>
                      <a:pt x="1180" y="629"/>
                    </a:cubicBezTo>
                    <a:cubicBezTo>
                      <a:pt x="1132" y="581"/>
                      <a:pt x="1082" y="535"/>
                      <a:pt x="1033" y="488"/>
                    </a:cubicBezTo>
                    <a:cubicBezTo>
                      <a:pt x="1023" y="478"/>
                      <a:pt x="1013" y="469"/>
                      <a:pt x="1003" y="459"/>
                    </a:cubicBezTo>
                    <a:close/>
                    <a:moveTo>
                      <a:pt x="675" y="968"/>
                    </a:moveTo>
                    <a:cubicBezTo>
                      <a:pt x="684" y="947"/>
                      <a:pt x="692" y="927"/>
                      <a:pt x="701" y="907"/>
                    </a:cubicBezTo>
                    <a:cubicBezTo>
                      <a:pt x="749" y="799"/>
                      <a:pt x="816" y="703"/>
                      <a:pt x="896" y="616"/>
                    </a:cubicBezTo>
                    <a:cubicBezTo>
                      <a:pt x="914" y="598"/>
                      <a:pt x="931" y="580"/>
                      <a:pt x="948" y="561"/>
                    </a:cubicBezTo>
                    <a:cubicBezTo>
                      <a:pt x="950" y="559"/>
                      <a:pt x="952" y="555"/>
                      <a:pt x="952" y="552"/>
                    </a:cubicBezTo>
                    <a:cubicBezTo>
                      <a:pt x="948" y="530"/>
                      <a:pt x="947" y="507"/>
                      <a:pt x="949" y="484"/>
                    </a:cubicBezTo>
                    <a:cubicBezTo>
                      <a:pt x="950" y="481"/>
                      <a:pt x="949" y="478"/>
                      <a:pt x="949" y="474"/>
                    </a:cubicBezTo>
                    <a:cubicBezTo>
                      <a:pt x="948" y="474"/>
                      <a:pt x="948" y="473"/>
                      <a:pt x="947" y="473"/>
                    </a:cubicBezTo>
                    <a:cubicBezTo>
                      <a:pt x="941" y="480"/>
                      <a:pt x="935" y="487"/>
                      <a:pt x="928" y="494"/>
                    </a:cubicBezTo>
                    <a:cubicBezTo>
                      <a:pt x="884" y="536"/>
                      <a:pt x="840" y="577"/>
                      <a:pt x="796" y="619"/>
                    </a:cubicBezTo>
                    <a:cubicBezTo>
                      <a:pt x="735" y="678"/>
                      <a:pt x="684" y="745"/>
                      <a:pt x="642" y="819"/>
                    </a:cubicBezTo>
                    <a:cubicBezTo>
                      <a:pt x="634" y="834"/>
                      <a:pt x="626" y="849"/>
                      <a:pt x="627" y="867"/>
                    </a:cubicBezTo>
                    <a:cubicBezTo>
                      <a:pt x="628" y="877"/>
                      <a:pt x="627" y="887"/>
                      <a:pt x="627" y="897"/>
                    </a:cubicBezTo>
                    <a:cubicBezTo>
                      <a:pt x="626" y="918"/>
                      <a:pt x="640" y="930"/>
                      <a:pt x="656" y="934"/>
                    </a:cubicBezTo>
                    <a:cubicBezTo>
                      <a:pt x="667" y="936"/>
                      <a:pt x="670" y="940"/>
                      <a:pt x="671" y="952"/>
                    </a:cubicBezTo>
                    <a:cubicBezTo>
                      <a:pt x="672" y="957"/>
                      <a:pt x="674" y="962"/>
                      <a:pt x="675" y="968"/>
                    </a:cubicBezTo>
                    <a:close/>
                    <a:moveTo>
                      <a:pt x="1335" y="834"/>
                    </a:moveTo>
                    <a:cubicBezTo>
                      <a:pt x="1339" y="829"/>
                      <a:pt x="1341" y="823"/>
                      <a:pt x="1346" y="818"/>
                    </a:cubicBezTo>
                    <a:cubicBezTo>
                      <a:pt x="1360" y="802"/>
                      <a:pt x="1367" y="784"/>
                      <a:pt x="1365" y="763"/>
                    </a:cubicBezTo>
                    <a:cubicBezTo>
                      <a:pt x="1363" y="751"/>
                      <a:pt x="1365" y="739"/>
                      <a:pt x="1372" y="729"/>
                    </a:cubicBezTo>
                    <a:cubicBezTo>
                      <a:pt x="1373" y="727"/>
                      <a:pt x="1374" y="723"/>
                      <a:pt x="1373" y="721"/>
                    </a:cubicBezTo>
                    <a:cubicBezTo>
                      <a:pt x="1370" y="714"/>
                      <a:pt x="1367" y="705"/>
                      <a:pt x="1361" y="699"/>
                    </a:cubicBezTo>
                    <a:cubicBezTo>
                      <a:pt x="1349" y="683"/>
                      <a:pt x="1336" y="668"/>
                      <a:pt x="1321" y="654"/>
                    </a:cubicBezTo>
                    <a:cubicBezTo>
                      <a:pt x="1285" y="621"/>
                      <a:pt x="1249" y="588"/>
                      <a:pt x="1212" y="556"/>
                    </a:cubicBezTo>
                    <a:cubicBezTo>
                      <a:pt x="1156" y="508"/>
                      <a:pt x="1095" y="466"/>
                      <a:pt x="1028" y="434"/>
                    </a:cubicBezTo>
                    <a:cubicBezTo>
                      <a:pt x="1017" y="428"/>
                      <a:pt x="1006" y="423"/>
                      <a:pt x="994" y="417"/>
                    </a:cubicBezTo>
                    <a:cubicBezTo>
                      <a:pt x="996" y="425"/>
                      <a:pt x="1000" y="433"/>
                      <a:pt x="1000" y="440"/>
                    </a:cubicBezTo>
                    <a:cubicBezTo>
                      <a:pt x="1001" y="449"/>
                      <a:pt x="1005" y="454"/>
                      <a:pt x="1011" y="460"/>
                    </a:cubicBezTo>
                    <a:cubicBezTo>
                      <a:pt x="1024" y="473"/>
                      <a:pt x="1038" y="486"/>
                      <a:pt x="1052" y="499"/>
                    </a:cubicBezTo>
                    <a:cubicBezTo>
                      <a:pt x="1112" y="553"/>
                      <a:pt x="1171" y="609"/>
                      <a:pt x="1225" y="671"/>
                    </a:cubicBezTo>
                    <a:cubicBezTo>
                      <a:pt x="1268" y="721"/>
                      <a:pt x="1304" y="775"/>
                      <a:pt x="1335" y="834"/>
                    </a:cubicBezTo>
                    <a:close/>
                    <a:moveTo>
                      <a:pt x="626" y="840"/>
                    </a:moveTo>
                    <a:cubicBezTo>
                      <a:pt x="654" y="786"/>
                      <a:pt x="688" y="735"/>
                      <a:pt x="726" y="688"/>
                    </a:cubicBezTo>
                    <a:cubicBezTo>
                      <a:pt x="771" y="635"/>
                      <a:pt x="821" y="587"/>
                      <a:pt x="871" y="539"/>
                    </a:cubicBezTo>
                    <a:cubicBezTo>
                      <a:pt x="896" y="516"/>
                      <a:pt x="921" y="493"/>
                      <a:pt x="945" y="470"/>
                    </a:cubicBezTo>
                    <a:cubicBezTo>
                      <a:pt x="947" y="468"/>
                      <a:pt x="950" y="465"/>
                      <a:pt x="950" y="462"/>
                    </a:cubicBezTo>
                    <a:cubicBezTo>
                      <a:pt x="952" y="452"/>
                      <a:pt x="952" y="441"/>
                      <a:pt x="953" y="430"/>
                    </a:cubicBezTo>
                    <a:cubicBezTo>
                      <a:pt x="894" y="457"/>
                      <a:pt x="839" y="490"/>
                      <a:pt x="789" y="530"/>
                    </a:cubicBezTo>
                    <a:cubicBezTo>
                      <a:pt x="754" y="558"/>
                      <a:pt x="720" y="587"/>
                      <a:pt x="687" y="617"/>
                    </a:cubicBezTo>
                    <a:cubicBezTo>
                      <a:pt x="664" y="637"/>
                      <a:pt x="642" y="658"/>
                      <a:pt x="620" y="680"/>
                    </a:cubicBezTo>
                    <a:cubicBezTo>
                      <a:pt x="607" y="693"/>
                      <a:pt x="595" y="706"/>
                      <a:pt x="588" y="724"/>
                    </a:cubicBezTo>
                    <a:cubicBezTo>
                      <a:pt x="587" y="729"/>
                      <a:pt x="587" y="732"/>
                      <a:pt x="589" y="736"/>
                    </a:cubicBezTo>
                    <a:cubicBezTo>
                      <a:pt x="595" y="745"/>
                      <a:pt x="597" y="755"/>
                      <a:pt x="596" y="766"/>
                    </a:cubicBezTo>
                    <a:cubicBezTo>
                      <a:pt x="596" y="770"/>
                      <a:pt x="596" y="775"/>
                      <a:pt x="596" y="779"/>
                    </a:cubicBezTo>
                    <a:cubicBezTo>
                      <a:pt x="595" y="793"/>
                      <a:pt x="600" y="804"/>
                      <a:pt x="608" y="815"/>
                    </a:cubicBezTo>
                    <a:cubicBezTo>
                      <a:pt x="614" y="823"/>
                      <a:pt x="620" y="831"/>
                      <a:pt x="626" y="840"/>
                    </a:cubicBezTo>
                    <a:close/>
                    <a:moveTo>
                      <a:pt x="1821" y="170"/>
                    </a:moveTo>
                    <a:cubicBezTo>
                      <a:pt x="1819" y="149"/>
                      <a:pt x="1814" y="129"/>
                      <a:pt x="1797" y="116"/>
                    </a:cubicBezTo>
                    <a:cubicBezTo>
                      <a:pt x="1784" y="106"/>
                      <a:pt x="1771" y="97"/>
                      <a:pt x="1758" y="88"/>
                    </a:cubicBezTo>
                    <a:cubicBezTo>
                      <a:pt x="1741" y="76"/>
                      <a:pt x="1722" y="64"/>
                      <a:pt x="1701" y="58"/>
                    </a:cubicBezTo>
                    <a:cubicBezTo>
                      <a:pt x="1660" y="46"/>
                      <a:pt x="1618" y="37"/>
                      <a:pt x="1575" y="34"/>
                    </a:cubicBezTo>
                    <a:cubicBezTo>
                      <a:pt x="1543" y="31"/>
                      <a:pt x="1512" y="32"/>
                      <a:pt x="1480" y="36"/>
                    </a:cubicBezTo>
                    <a:cubicBezTo>
                      <a:pt x="1445" y="41"/>
                      <a:pt x="1411" y="51"/>
                      <a:pt x="1378" y="65"/>
                    </a:cubicBezTo>
                    <a:cubicBezTo>
                      <a:pt x="1376" y="65"/>
                      <a:pt x="1374" y="66"/>
                      <a:pt x="1374" y="66"/>
                    </a:cubicBezTo>
                    <a:cubicBezTo>
                      <a:pt x="1391" y="70"/>
                      <a:pt x="1409" y="72"/>
                      <a:pt x="1426" y="77"/>
                    </a:cubicBezTo>
                    <a:cubicBezTo>
                      <a:pt x="1448" y="85"/>
                      <a:pt x="1450" y="105"/>
                      <a:pt x="1439" y="117"/>
                    </a:cubicBezTo>
                    <a:cubicBezTo>
                      <a:pt x="1449" y="127"/>
                      <a:pt x="1462" y="127"/>
                      <a:pt x="1475" y="127"/>
                    </a:cubicBezTo>
                    <a:cubicBezTo>
                      <a:pt x="1497" y="125"/>
                      <a:pt x="1519" y="123"/>
                      <a:pt x="1541" y="125"/>
                    </a:cubicBezTo>
                    <a:cubicBezTo>
                      <a:pt x="1582" y="127"/>
                      <a:pt x="1624" y="131"/>
                      <a:pt x="1666" y="136"/>
                    </a:cubicBezTo>
                    <a:cubicBezTo>
                      <a:pt x="1718" y="141"/>
                      <a:pt x="1770" y="154"/>
                      <a:pt x="1821" y="170"/>
                    </a:cubicBezTo>
                    <a:close/>
                    <a:moveTo>
                      <a:pt x="140" y="174"/>
                    </a:moveTo>
                    <a:cubicBezTo>
                      <a:pt x="170" y="167"/>
                      <a:pt x="200" y="158"/>
                      <a:pt x="231" y="152"/>
                    </a:cubicBezTo>
                    <a:cubicBezTo>
                      <a:pt x="274" y="145"/>
                      <a:pt x="317" y="139"/>
                      <a:pt x="361" y="134"/>
                    </a:cubicBezTo>
                    <a:cubicBezTo>
                      <a:pt x="403" y="129"/>
                      <a:pt x="445" y="129"/>
                      <a:pt x="488" y="133"/>
                    </a:cubicBezTo>
                    <a:cubicBezTo>
                      <a:pt x="501" y="134"/>
                      <a:pt x="512" y="132"/>
                      <a:pt x="522" y="123"/>
                    </a:cubicBezTo>
                    <a:cubicBezTo>
                      <a:pt x="514" y="113"/>
                      <a:pt x="512" y="102"/>
                      <a:pt x="520" y="94"/>
                    </a:cubicBezTo>
                    <a:cubicBezTo>
                      <a:pt x="525" y="89"/>
                      <a:pt x="533" y="84"/>
                      <a:pt x="541" y="82"/>
                    </a:cubicBezTo>
                    <a:cubicBezTo>
                      <a:pt x="556" y="77"/>
                      <a:pt x="572" y="75"/>
                      <a:pt x="588" y="73"/>
                    </a:cubicBezTo>
                    <a:cubicBezTo>
                      <a:pt x="542" y="53"/>
                      <a:pt x="495" y="41"/>
                      <a:pt x="445" y="38"/>
                    </a:cubicBezTo>
                    <a:cubicBezTo>
                      <a:pt x="395" y="36"/>
                      <a:pt x="347" y="43"/>
                      <a:pt x="298" y="53"/>
                    </a:cubicBezTo>
                    <a:cubicBezTo>
                      <a:pt x="246" y="63"/>
                      <a:pt x="203" y="91"/>
                      <a:pt x="162" y="123"/>
                    </a:cubicBezTo>
                    <a:cubicBezTo>
                      <a:pt x="146" y="136"/>
                      <a:pt x="141" y="155"/>
                      <a:pt x="140" y="174"/>
                    </a:cubicBezTo>
                    <a:close/>
                    <a:moveTo>
                      <a:pt x="1003" y="368"/>
                    </a:moveTo>
                    <a:cubicBezTo>
                      <a:pt x="1002" y="378"/>
                      <a:pt x="1001" y="387"/>
                      <a:pt x="999" y="396"/>
                    </a:cubicBezTo>
                    <a:cubicBezTo>
                      <a:pt x="997" y="402"/>
                      <a:pt x="999" y="404"/>
                      <a:pt x="1004" y="407"/>
                    </a:cubicBezTo>
                    <a:cubicBezTo>
                      <a:pt x="1052" y="430"/>
                      <a:pt x="1100" y="454"/>
                      <a:pt x="1149" y="477"/>
                    </a:cubicBezTo>
                    <a:cubicBezTo>
                      <a:pt x="1204" y="505"/>
                      <a:pt x="1259" y="532"/>
                      <a:pt x="1310" y="567"/>
                    </a:cubicBezTo>
                    <a:cubicBezTo>
                      <a:pt x="1323" y="575"/>
                      <a:pt x="1335" y="579"/>
                      <a:pt x="1349" y="577"/>
                    </a:cubicBezTo>
                    <a:cubicBezTo>
                      <a:pt x="1362" y="576"/>
                      <a:pt x="1375" y="573"/>
                      <a:pt x="1384" y="562"/>
                    </a:cubicBezTo>
                    <a:cubicBezTo>
                      <a:pt x="1393" y="550"/>
                      <a:pt x="1393" y="544"/>
                      <a:pt x="1383" y="534"/>
                    </a:cubicBezTo>
                    <a:cubicBezTo>
                      <a:pt x="1379" y="530"/>
                      <a:pt x="1375" y="527"/>
                      <a:pt x="1371" y="523"/>
                    </a:cubicBezTo>
                    <a:cubicBezTo>
                      <a:pt x="1312" y="476"/>
                      <a:pt x="1246" y="439"/>
                      <a:pt x="1175" y="412"/>
                    </a:cubicBezTo>
                    <a:cubicBezTo>
                      <a:pt x="1119" y="391"/>
                      <a:pt x="1061" y="379"/>
                      <a:pt x="1003" y="368"/>
                    </a:cubicBezTo>
                    <a:close/>
                    <a:moveTo>
                      <a:pt x="569" y="550"/>
                    </a:moveTo>
                    <a:cubicBezTo>
                      <a:pt x="574" y="572"/>
                      <a:pt x="589" y="581"/>
                      <a:pt x="609" y="583"/>
                    </a:cubicBezTo>
                    <a:cubicBezTo>
                      <a:pt x="623" y="584"/>
                      <a:pt x="637" y="584"/>
                      <a:pt x="649" y="574"/>
                    </a:cubicBezTo>
                    <a:cubicBezTo>
                      <a:pt x="654" y="569"/>
                      <a:pt x="660" y="566"/>
                      <a:pt x="666" y="562"/>
                    </a:cubicBezTo>
                    <a:cubicBezTo>
                      <a:pt x="722" y="527"/>
                      <a:pt x="782" y="498"/>
                      <a:pt x="842" y="468"/>
                    </a:cubicBezTo>
                    <a:cubicBezTo>
                      <a:pt x="879" y="450"/>
                      <a:pt x="916" y="432"/>
                      <a:pt x="954" y="414"/>
                    </a:cubicBezTo>
                    <a:cubicBezTo>
                      <a:pt x="959" y="411"/>
                      <a:pt x="961" y="407"/>
                      <a:pt x="960" y="402"/>
                    </a:cubicBezTo>
                    <a:cubicBezTo>
                      <a:pt x="959" y="393"/>
                      <a:pt x="956" y="385"/>
                      <a:pt x="954" y="376"/>
                    </a:cubicBezTo>
                    <a:cubicBezTo>
                      <a:pt x="953" y="376"/>
                      <a:pt x="951" y="375"/>
                      <a:pt x="949" y="376"/>
                    </a:cubicBezTo>
                    <a:cubicBezTo>
                      <a:pt x="928" y="380"/>
                      <a:pt x="907" y="384"/>
                      <a:pt x="886" y="389"/>
                    </a:cubicBezTo>
                    <a:cubicBezTo>
                      <a:pt x="793" y="410"/>
                      <a:pt x="707" y="445"/>
                      <a:pt x="629" y="500"/>
                    </a:cubicBezTo>
                    <a:cubicBezTo>
                      <a:pt x="608" y="515"/>
                      <a:pt x="586" y="529"/>
                      <a:pt x="569" y="550"/>
                    </a:cubicBezTo>
                    <a:close/>
                    <a:moveTo>
                      <a:pt x="853" y="261"/>
                    </a:moveTo>
                    <a:cubicBezTo>
                      <a:pt x="852" y="260"/>
                      <a:pt x="849" y="259"/>
                      <a:pt x="846" y="257"/>
                    </a:cubicBezTo>
                    <a:cubicBezTo>
                      <a:pt x="784" y="218"/>
                      <a:pt x="719" y="185"/>
                      <a:pt x="650" y="161"/>
                    </a:cubicBezTo>
                    <a:cubicBezTo>
                      <a:pt x="610" y="147"/>
                      <a:pt x="570" y="132"/>
                      <a:pt x="527" y="132"/>
                    </a:cubicBezTo>
                    <a:cubicBezTo>
                      <a:pt x="523" y="132"/>
                      <a:pt x="518" y="131"/>
                      <a:pt x="514" y="133"/>
                    </a:cubicBezTo>
                    <a:cubicBezTo>
                      <a:pt x="502" y="140"/>
                      <a:pt x="490" y="147"/>
                      <a:pt x="479" y="155"/>
                    </a:cubicBezTo>
                    <a:cubicBezTo>
                      <a:pt x="457" y="171"/>
                      <a:pt x="454" y="185"/>
                      <a:pt x="470" y="208"/>
                    </a:cubicBezTo>
                    <a:cubicBezTo>
                      <a:pt x="482" y="225"/>
                      <a:pt x="500" y="235"/>
                      <a:pt x="518" y="244"/>
                    </a:cubicBezTo>
                    <a:cubicBezTo>
                      <a:pt x="519" y="245"/>
                      <a:pt x="522" y="245"/>
                      <a:pt x="523" y="244"/>
                    </a:cubicBezTo>
                    <a:cubicBezTo>
                      <a:pt x="557" y="234"/>
                      <a:pt x="593" y="231"/>
                      <a:pt x="628" y="230"/>
                    </a:cubicBezTo>
                    <a:cubicBezTo>
                      <a:pt x="647" y="230"/>
                      <a:pt x="666" y="231"/>
                      <a:pt x="684" y="233"/>
                    </a:cubicBezTo>
                    <a:cubicBezTo>
                      <a:pt x="716" y="236"/>
                      <a:pt x="747" y="240"/>
                      <a:pt x="779" y="246"/>
                    </a:cubicBezTo>
                    <a:cubicBezTo>
                      <a:pt x="804" y="250"/>
                      <a:pt x="829" y="256"/>
                      <a:pt x="853" y="261"/>
                    </a:cubicBezTo>
                    <a:close/>
                    <a:moveTo>
                      <a:pt x="1106" y="256"/>
                    </a:moveTo>
                    <a:cubicBezTo>
                      <a:pt x="1106" y="256"/>
                      <a:pt x="1106" y="257"/>
                      <a:pt x="1106" y="257"/>
                    </a:cubicBezTo>
                    <a:cubicBezTo>
                      <a:pt x="1116" y="255"/>
                      <a:pt x="1125" y="251"/>
                      <a:pt x="1134" y="249"/>
                    </a:cubicBezTo>
                    <a:cubicBezTo>
                      <a:pt x="1187" y="237"/>
                      <a:pt x="1240" y="230"/>
                      <a:pt x="1293" y="225"/>
                    </a:cubicBezTo>
                    <a:cubicBezTo>
                      <a:pt x="1337" y="222"/>
                      <a:pt x="1380" y="224"/>
                      <a:pt x="1422" y="235"/>
                    </a:cubicBezTo>
                    <a:cubicBezTo>
                      <a:pt x="1439" y="239"/>
                      <a:pt x="1451" y="235"/>
                      <a:pt x="1464" y="227"/>
                    </a:cubicBezTo>
                    <a:cubicBezTo>
                      <a:pt x="1478" y="217"/>
                      <a:pt x="1491" y="205"/>
                      <a:pt x="1498" y="189"/>
                    </a:cubicBezTo>
                    <a:cubicBezTo>
                      <a:pt x="1503" y="177"/>
                      <a:pt x="1501" y="167"/>
                      <a:pt x="1492" y="157"/>
                    </a:cubicBezTo>
                    <a:cubicBezTo>
                      <a:pt x="1478" y="144"/>
                      <a:pt x="1461" y="135"/>
                      <a:pt x="1444" y="126"/>
                    </a:cubicBezTo>
                    <a:cubicBezTo>
                      <a:pt x="1443" y="125"/>
                      <a:pt x="1441" y="125"/>
                      <a:pt x="1440" y="125"/>
                    </a:cubicBezTo>
                    <a:cubicBezTo>
                      <a:pt x="1418" y="128"/>
                      <a:pt x="1396" y="128"/>
                      <a:pt x="1376" y="134"/>
                    </a:cubicBezTo>
                    <a:cubicBezTo>
                      <a:pt x="1302" y="155"/>
                      <a:pt x="1231" y="183"/>
                      <a:pt x="1164" y="222"/>
                    </a:cubicBezTo>
                    <a:cubicBezTo>
                      <a:pt x="1145" y="233"/>
                      <a:pt x="1125" y="245"/>
                      <a:pt x="1106" y="256"/>
                    </a:cubicBezTo>
                    <a:close/>
                    <a:moveTo>
                      <a:pt x="1432" y="122"/>
                    </a:moveTo>
                    <a:cubicBezTo>
                      <a:pt x="1433" y="119"/>
                      <a:pt x="1434" y="116"/>
                      <a:pt x="1435" y="114"/>
                    </a:cubicBezTo>
                    <a:cubicBezTo>
                      <a:pt x="1444" y="104"/>
                      <a:pt x="1442" y="92"/>
                      <a:pt x="1430" y="85"/>
                    </a:cubicBezTo>
                    <a:cubicBezTo>
                      <a:pt x="1427" y="83"/>
                      <a:pt x="1425" y="82"/>
                      <a:pt x="1421" y="81"/>
                    </a:cubicBezTo>
                    <a:cubicBezTo>
                      <a:pt x="1408" y="78"/>
                      <a:pt x="1395" y="76"/>
                      <a:pt x="1381" y="74"/>
                    </a:cubicBezTo>
                    <a:cubicBezTo>
                      <a:pt x="1366" y="70"/>
                      <a:pt x="1352" y="74"/>
                      <a:pt x="1338" y="81"/>
                    </a:cubicBezTo>
                    <a:cubicBezTo>
                      <a:pt x="1331" y="85"/>
                      <a:pt x="1323" y="88"/>
                      <a:pt x="1315" y="92"/>
                    </a:cubicBezTo>
                    <a:cubicBezTo>
                      <a:pt x="1208" y="137"/>
                      <a:pt x="1117" y="205"/>
                      <a:pt x="1039" y="291"/>
                    </a:cubicBezTo>
                    <a:cubicBezTo>
                      <a:pt x="1036" y="294"/>
                      <a:pt x="1034" y="297"/>
                      <a:pt x="1031" y="301"/>
                    </a:cubicBezTo>
                    <a:cubicBezTo>
                      <a:pt x="1033" y="300"/>
                      <a:pt x="1033" y="300"/>
                      <a:pt x="1034" y="300"/>
                    </a:cubicBezTo>
                    <a:cubicBezTo>
                      <a:pt x="1041" y="295"/>
                      <a:pt x="1048" y="290"/>
                      <a:pt x="1056" y="285"/>
                    </a:cubicBezTo>
                    <a:cubicBezTo>
                      <a:pt x="1120" y="240"/>
                      <a:pt x="1187" y="199"/>
                      <a:pt x="1259" y="170"/>
                    </a:cubicBezTo>
                    <a:cubicBezTo>
                      <a:pt x="1316" y="148"/>
                      <a:pt x="1371" y="122"/>
                      <a:pt x="1432" y="122"/>
                    </a:cubicBezTo>
                    <a:close/>
                    <a:moveTo>
                      <a:pt x="528" y="126"/>
                    </a:moveTo>
                    <a:cubicBezTo>
                      <a:pt x="548" y="129"/>
                      <a:pt x="570" y="131"/>
                      <a:pt x="591" y="137"/>
                    </a:cubicBezTo>
                    <a:cubicBezTo>
                      <a:pt x="703" y="169"/>
                      <a:pt x="805" y="221"/>
                      <a:pt x="899" y="287"/>
                    </a:cubicBezTo>
                    <a:cubicBezTo>
                      <a:pt x="909" y="293"/>
                      <a:pt x="918" y="300"/>
                      <a:pt x="928" y="307"/>
                    </a:cubicBezTo>
                    <a:cubicBezTo>
                      <a:pt x="927" y="303"/>
                      <a:pt x="925" y="301"/>
                      <a:pt x="924" y="299"/>
                    </a:cubicBezTo>
                    <a:cubicBezTo>
                      <a:pt x="881" y="251"/>
                      <a:pt x="833" y="209"/>
                      <a:pt x="781" y="172"/>
                    </a:cubicBezTo>
                    <a:cubicBezTo>
                      <a:pt x="729" y="135"/>
                      <a:pt x="670" y="108"/>
                      <a:pt x="612" y="82"/>
                    </a:cubicBezTo>
                    <a:cubicBezTo>
                      <a:pt x="603" y="78"/>
                      <a:pt x="595" y="78"/>
                      <a:pt x="586" y="79"/>
                    </a:cubicBezTo>
                    <a:cubicBezTo>
                      <a:pt x="579" y="79"/>
                      <a:pt x="572" y="80"/>
                      <a:pt x="565" y="81"/>
                    </a:cubicBezTo>
                    <a:cubicBezTo>
                      <a:pt x="554" y="84"/>
                      <a:pt x="543" y="86"/>
                      <a:pt x="533" y="90"/>
                    </a:cubicBezTo>
                    <a:cubicBezTo>
                      <a:pt x="519" y="96"/>
                      <a:pt x="517" y="109"/>
                      <a:pt x="526" y="121"/>
                    </a:cubicBezTo>
                    <a:cubicBezTo>
                      <a:pt x="527" y="122"/>
                      <a:pt x="527" y="125"/>
                      <a:pt x="528" y="126"/>
                    </a:cubicBezTo>
                    <a:close/>
                    <a:moveTo>
                      <a:pt x="931" y="314"/>
                    </a:moveTo>
                    <a:cubicBezTo>
                      <a:pt x="928" y="312"/>
                      <a:pt x="925" y="309"/>
                      <a:pt x="922" y="307"/>
                    </a:cubicBezTo>
                    <a:cubicBezTo>
                      <a:pt x="898" y="291"/>
                      <a:pt x="875" y="273"/>
                      <a:pt x="846" y="265"/>
                    </a:cubicBezTo>
                    <a:cubicBezTo>
                      <a:pt x="785" y="247"/>
                      <a:pt x="723" y="240"/>
                      <a:pt x="660" y="234"/>
                    </a:cubicBezTo>
                    <a:cubicBezTo>
                      <a:pt x="625" y="231"/>
                      <a:pt x="590" y="235"/>
                      <a:pt x="555" y="240"/>
                    </a:cubicBezTo>
                    <a:cubicBezTo>
                      <a:pt x="545" y="242"/>
                      <a:pt x="535" y="244"/>
                      <a:pt x="526" y="247"/>
                    </a:cubicBezTo>
                    <a:cubicBezTo>
                      <a:pt x="527" y="249"/>
                      <a:pt x="529" y="250"/>
                      <a:pt x="530" y="251"/>
                    </a:cubicBezTo>
                    <a:cubicBezTo>
                      <a:pt x="572" y="271"/>
                      <a:pt x="617" y="277"/>
                      <a:pt x="663" y="283"/>
                    </a:cubicBezTo>
                    <a:cubicBezTo>
                      <a:pt x="687" y="285"/>
                      <a:pt x="711" y="287"/>
                      <a:pt x="735" y="289"/>
                    </a:cubicBezTo>
                    <a:cubicBezTo>
                      <a:pt x="767" y="292"/>
                      <a:pt x="799" y="295"/>
                      <a:pt x="831" y="299"/>
                    </a:cubicBezTo>
                    <a:cubicBezTo>
                      <a:pt x="865" y="303"/>
                      <a:pt x="899" y="303"/>
                      <a:pt x="931" y="314"/>
                    </a:cubicBezTo>
                    <a:close/>
                    <a:moveTo>
                      <a:pt x="1032" y="307"/>
                    </a:moveTo>
                    <a:cubicBezTo>
                      <a:pt x="1050" y="304"/>
                      <a:pt x="1070" y="300"/>
                      <a:pt x="1090" y="297"/>
                    </a:cubicBezTo>
                    <a:cubicBezTo>
                      <a:pt x="1119" y="294"/>
                      <a:pt x="1148" y="290"/>
                      <a:pt x="1177" y="287"/>
                    </a:cubicBezTo>
                    <a:cubicBezTo>
                      <a:pt x="1217" y="284"/>
                      <a:pt x="1256" y="282"/>
                      <a:pt x="1295" y="277"/>
                    </a:cubicBezTo>
                    <a:cubicBezTo>
                      <a:pt x="1326" y="273"/>
                      <a:pt x="1358" y="267"/>
                      <a:pt x="1389" y="260"/>
                    </a:cubicBezTo>
                    <a:cubicBezTo>
                      <a:pt x="1405" y="257"/>
                      <a:pt x="1420" y="249"/>
                      <a:pt x="1435" y="244"/>
                    </a:cubicBezTo>
                    <a:cubicBezTo>
                      <a:pt x="1434" y="241"/>
                      <a:pt x="1433" y="240"/>
                      <a:pt x="1432" y="240"/>
                    </a:cubicBezTo>
                    <a:cubicBezTo>
                      <a:pt x="1387" y="229"/>
                      <a:pt x="1342" y="224"/>
                      <a:pt x="1296" y="229"/>
                    </a:cubicBezTo>
                    <a:cubicBezTo>
                      <a:pt x="1245" y="234"/>
                      <a:pt x="1196" y="243"/>
                      <a:pt x="1146" y="251"/>
                    </a:cubicBezTo>
                    <a:cubicBezTo>
                      <a:pt x="1101" y="258"/>
                      <a:pt x="1064" y="281"/>
                      <a:pt x="1032" y="307"/>
                    </a:cubicBezTo>
                    <a:close/>
                    <a:moveTo>
                      <a:pt x="993" y="413"/>
                    </a:moveTo>
                    <a:cubicBezTo>
                      <a:pt x="1001" y="416"/>
                      <a:pt x="1007" y="420"/>
                      <a:pt x="1014" y="423"/>
                    </a:cubicBezTo>
                    <a:cubicBezTo>
                      <a:pt x="1074" y="450"/>
                      <a:pt x="1130" y="484"/>
                      <a:pt x="1181" y="525"/>
                    </a:cubicBezTo>
                    <a:cubicBezTo>
                      <a:pt x="1223" y="560"/>
                      <a:pt x="1264" y="597"/>
                      <a:pt x="1305" y="633"/>
                    </a:cubicBezTo>
                    <a:cubicBezTo>
                      <a:pt x="1326" y="652"/>
                      <a:pt x="1347" y="672"/>
                      <a:pt x="1364" y="696"/>
                    </a:cubicBezTo>
                    <a:cubicBezTo>
                      <a:pt x="1369" y="702"/>
                      <a:pt x="1372" y="709"/>
                      <a:pt x="1377" y="716"/>
                    </a:cubicBezTo>
                    <a:cubicBezTo>
                      <a:pt x="1380" y="700"/>
                      <a:pt x="1382" y="685"/>
                      <a:pt x="1378" y="670"/>
                    </a:cubicBezTo>
                    <a:cubicBezTo>
                      <a:pt x="1367" y="629"/>
                      <a:pt x="1343" y="597"/>
                      <a:pt x="1309" y="573"/>
                    </a:cubicBezTo>
                    <a:cubicBezTo>
                      <a:pt x="1256" y="535"/>
                      <a:pt x="1198" y="507"/>
                      <a:pt x="1139" y="478"/>
                    </a:cubicBezTo>
                    <a:cubicBezTo>
                      <a:pt x="1092" y="455"/>
                      <a:pt x="1045" y="431"/>
                      <a:pt x="997" y="408"/>
                    </a:cubicBezTo>
                    <a:cubicBezTo>
                      <a:pt x="997" y="407"/>
                      <a:pt x="996" y="408"/>
                      <a:pt x="996" y="408"/>
                    </a:cubicBezTo>
                    <a:cubicBezTo>
                      <a:pt x="995" y="409"/>
                      <a:pt x="994" y="410"/>
                      <a:pt x="993" y="413"/>
                    </a:cubicBezTo>
                    <a:close/>
                    <a:moveTo>
                      <a:pt x="584" y="723"/>
                    </a:moveTo>
                    <a:cubicBezTo>
                      <a:pt x="593" y="702"/>
                      <a:pt x="608" y="686"/>
                      <a:pt x="622" y="671"/>
                    </a:cubicBezTo>
                    <a:cubicBezTo>
                      <a:pt x="643" y="651"/>
                      <a:pt x="665" y="631"/>
                      <a:pt x="686" y="612"/>
                    </a:cubicBezTo>
                    <a:cubicBezTo>
                      <a:pt x="719" y="583"/>
                      <a:pt x="751" y="554"/>
                      <a:pt x="785" y="527"/>
                    </a:cubicBezTo>
                    <a:cubicBezTo>
                      <a:pt x="835" y="487"/>
                      <a:pt x="890" y="454"/>
                      <a:pt x="949" y="427"/>
                    </a:cubicBezTo>
                    <a:cubicBezTo>
                      <a:pt x="952" y="426"/>
                      <a:pt x="954" y="423"/>
                      <a:pt x="957" y="420"/>
                    </a:cubicBezTo>
                    <a:cubicBezTo>
                      <a:pt x="955" y="419"/>
                      <a:pt x="955" y="419"/>
                      <a:pt x="954" y="419"/>
                    </a:cubicBezTo>
                    <a:cubicBezTo>
                      <a:pt x="917" y="437"/>
                      <a:pt x="880" y="456"/>
                      <a:pt x="842" y="474"/>
                    </a:cubicBezTo>
                    <a:cubicBezTo>
                      <a:pt x="786" y="502"/>
                      <a:pt x="730" y="529"/>
                      <a:pt x="676" y="562"/>
                    </a:cubicBezTo>
                    <a:cubicBezTo>
                      <a:pt x="662" y="571"/>
                      <a:pt x="647" y="579"/>
                      <a:pt x="636" y="591"/>
                    </a:cubicBezTo>
                    <a:cubicBezTo>
                      <a:pt x="621" y="606"/>
                      <a:pt x="609" y="623"/>
                      <a:pt x="597" y="641"/>
                    </a:cubicBezTo>
                    <a:cubicBezTo>
                      <a:pt x="580" y="665"/>
                      <a:pt x="577" y="693"/>
                      <a:pt x="584" y="723"/>
                    </a:cubicBezTo>
                    <a:close/>
                    <a:moveTo>
                      <a:pt x="1344" y="1089"/>
                    </a:moveTo>
                    <a:cubicBezTo>
                      <a:pt x="1348" y="1070"/>
                      <a:pt x="1362" y="1059"/>
                      <a:pt x="1372" y="1045"/>
                    </a:cubicBezTo>
                    <a:cubicBezTo>
                      <a:pt x="1383" y="1031"/>
                      <a:pt x="1389" y="1015"/>
                      <a:pt x="1384" y="996"/>
                    </a:cubicBezTo>
                    <a:cubicBezTo>
                      <a:pt x="1375" y="965"/>
                      <a:pt x="1364" y="936"/>
                      <a:pt x="1345" y="910"/>
                    </a:cubicBezTo>
                    <a:cubicBezTo>
                      <a:pt x="1343" y="907"/>
                      <a:pt x="1341" y="905"/>
                      <a:pt x="1339" y="902"/>
                    </a:cubicBezTo>
                    <a:cubicBezTo>
                      <a:pt x="1334" y="920"/>
                      <a:pt x="1322" y="929"/>
                      <a:pt x="1305" y="933"/>
                    </a:cubicBezTo>
                    <a:cubicBezTo>
                      <a:pt x="1299" y="934"/>
                      <a:pt x="1296" y="938"/>
                      <a:pt x="1294" y="944"/>
                    </a:cubicBezTo>
                    <a:cubicBezTo>
                      <a:pt x="1293" y="952"/>
                      <a:pt x="1290" y="960"/>
                      <a:pt x="1289" y="968"/>
                    </a:cubicBezTo>
                    <a:cubicBezTo>
                      <a:pt x="1288" y="969"/>
                      <a:pt x="1290" y="972"/>
                      <a:pt x="1291" y="974"/>
                    </a:cubicBezTo>
                    <a:cubicBezTo>
                      <a:pt x="1295" y="980"/>
                      <a:pt x="1301" y="986"/>
                      <a:pt x="1305" y="993"/>
                    </a:cubicBezTo>
                    <a:cubicBezTo>
                      <a:pt x="1313" y="1008"/>
                      <a:pt x="1320" y="1023"/>
                      <a:pt x="1326" y="1038"/>
                    </a:cubicBezTo>
                    <a:cubicBezTo>
                      <a:pt x="1333" y="1054"/>
                      <a:pt x="1338" y="1071"/>
                      <a:pt x="1344" y="1089"/>
                    </a:cubicBezTo>
                    <a:close/>
                    <a:moveTo>
                      <a:pt x="618" y="1087"/>
                    </a:moveTo>
                    <a:cubicBezTo>
                      <a:pt x="626" y="1068"/>
                      <a:pt x="633" y="1047"/>
                      <a:pt x="642" y="1027"/>
                    </a:cubicBezTo>
                    <a:cubicBezTo>
                      <a:pt x="650" y="1009"/>
                      <a:pt x="656" y="991"/>
                      <a:pt x="671" y="978"/>
                    </a:cubicBezTo>
                    <a:cubicBezTo>
                      <a:pt x="672" y="977"/>
                      <a:pt x="672" y="975"/>
                      <a:pt x="672" y="973"/>
                    </a:cubicBezTo>
                    <a:cubicBezTo>
                      <a:pt x="670" y="967"/>
                      <a:pt x="668" y="961"/>
                      <a:pt x="667" y="955"/>
                    </a:cubicBezTo>
                    <a:cubicBezTo>
                      <a:pt x="665" y="942"/>
                      <a:pt x="665" y="941"/>
                      <a:pt x="652" y="938"/>
                    </a:cubicBezTo>
                    <a:cubicBezTo>
                      <a:pt x="650" y="937"/>
                      <a:pt x="648" y="937"/>
                      <a:pt x="647" y="936"/>
                    </a:cubicBezTo>
                    <a:cubicBezTo>
                      <a:pt x="634" y="931"/>
                      <a:pt x="626" y="921"/>
                      <a:pt x="622" y="908"/>
                    </a:cubicBezTo>
                    <a:cubicBezTo>
                      <a:pt x="620" y="911"/>
                      <a:pt x="618" y="912"/>
                      <a:pt x="617" y="914"/>
                    </a:cubicBezTo>
                    <a:cubicBezTo>
                      <a:pt x="597" y="941"/>
                      <a:pt x="585" y="971"/>
                      <a:pt x="577" y="1003"/>
                    </a:cubicBezTo>
                    <a:cubicBezTo>
                      <a:pt x="576" y="1007"/>
                      <a:pt x="575" y="1012"/>
                      <a:pt x="576" y="1016"/>
                    </a:cubicBezTo>
                    <a:cubicBezTo>
                      <a:pt x="579" y="1034"/>
                      <a:pt x="585" y="1049"/>
                      <a:pt x="598" y="1062"/>
                    </a:cubicBezTo>
                    <a:cubicBezTo>
                      <a:pt x="605" y="1070"/>
                      <a:pt x="612" y="1079"/>
                      <a:pt x="618" y="1087"/>
                    </a:cubicBezTo>
                    <a:close/>
                    <a:moveTo>
                      <a:pt x="1367" y="797"/>
                    </a:moveTo>
                    <a:cubicBezTo>
                      <a:pt x="1362" y="805"/>
                      <a:pt x="1356" y="814"/>
                      <a:pt x="1350" y="821"/>
                    </a:cubicBezTo>
                    <a:cubicBezTo>
                      <a:pt x="1341" y="832"/>
                      <a:pt x="1337" y="844"/>
                      <a:pt x="1338" y="858"/>
                    </a:cubicBezTo>
                    <a:cubicBezTo>
                      <a:pt x="1339" y="870"/>
                      <a:pt x="1339" y="882"/>
                      <a:pt x="1340" y="894"/>
                    </a:cubicBezTo>
                    <a:cubicBezTo>
                      <a:pt x="1340" y="896"/>
                      <a:pt x="1341" y="898"/>
                      <a:pt x="1342" y="900"/>
                    </a:cubicBezTo>
                    <a:cubicBezTo>
                      <a:pt x="1356" y="917"/>
                      <a:pt x="1367" y="936"/>
                      <a:pt x="1375" y="957"/>
                    </a:cubicBezTo>
                    <a:cubicBezTo>
                      <a:pt x="1380" y="971"/>
                      <a:pt x="1385" y="985"/>
                      <a:pt x="1389" y="999"/>
                    </a:cubicBezTo>
                    <a:cubicBezTo>
                      <a:pt x="1392" y="994"/>
                      <a:pt x="1394" y="989"/>
                      <a:pt x="1398" y="985"/>
                    </a:cubicBezTo>
                    <a:cubicBezTo>
                      <a:pt x="1416" y="963"/>
                      <a:pt x="1421" y="937"/>
                      <a:pt x="1417" y="910"/>
                    </a:cubicBezTo>
                    <a:cubicBezTo>
                      <a:pt x="1416" y="900"/>
                      <a:pt x="1412" y="891"/>
                      <a:pt x="1409" y="882"/>
                    </a:cubicBezTo>
                    <a:cubicBezTo>
                      <a:pt x="1398" y="852"/>
                      <a:pt x="1386" y="822"/>
                      <a:pt x="1367" y="797"/>
                    </a:cubicBezTo>
                    <a:close/>
                    <a:moveTo>
                      <a:pt x="572" y="1004"/>
                    </a:moveTo>
                    <a:cubicBezTo>
                      <a:pt x="573" y="1001"/>
                      <a:pt x="574" y="997"/>
                      <a:pt x="575" y="994"/>
                    </a:cubicBezTo>
                    <a:cubicBezTo>
                      <a:pt x="585" y="962"/>
                      <a:pt x="597" y="931"/>
                      <a:pt x="620" y="905"/>
                    </a:cubicBezTo>
                    <a:cubicBezTo>
                      <a:pt x="621" y="903"/>
                      <a:pt x="621" y="901"/>
                      <a:pt x="621" y="899"/>
                    </a:cubicBezTo>
                    <a:cubicBezTo>
                      <a:pt x="622" y="888"/>
                      <a:pt x="622" y="877"/>
                      <a:pt x="623" y="866"/>
                    </a:cubicBezTo>
                    <a:cubicBezTo>
                      <a:pt x="623" y="855"/>
                      <a:pt x="623" y="844"/>
                      <a:pt x="616" y="834"/>
                    </a:cubicBezTo>
                    <a:cubicBezTo>
                      <a:pt x="608" y="824"/>
                      <a:pt x="601" y="813"/>
                      <a:pt x="592" y="801"/>
                    </a:cubicBezTo>
                    <a:cubicBezTo>
                      <a:pt x="582" y="822"/>
                      <a:pt x="570" y="842"/>
                      <a:pt x="562" y="863"/>
                    </a:cubicBezTo>
                    <a:cubicBezTo>
                      <a:pt x="552" y="887"/>
                      <a:pt x="540" y="911"/>
                      <a:pt x="543" y="939"/>
                    </a:cubicBezTo>
                    <a:cubicBezTo>
                      <a:pt x="544" y="954"/>
                      <a:pt x="547" y="968"/>
                      <a:pt x="555" y="980"/>
                    </a:cubicBezTo>
                    <a:cubicBezTo>
                      <a:pt x="560" y="988"/>
                      <a:pt x="566" y="996"/>
                      <a:pt x="572" y="1004"/>
                    </a:cubicBezTo>
                    <a:close/>
                    <a:moveTo>
                      <a:pt x="1121" y="202"/>
                    </a:moveTo>
                    <a:cubicBezTo>
                      <a:pt x="1122" y="203"/>
                      <a:pt x="1122" y="203"/>
                      <a:pt x="1123" y="204"/>
                    </a:cubicBezTo>
                    <a:cubicBezTo>
                      <a:pt x="1124" y="202"/>
                      <a:pt x="1126" y="201"/>
                      <a:pt x="1128" y="200"/>
                    </a:cubicBezTo>
                    <a:cubicBezTo>
                      <a:pt x="1146" y="186"/>
                      <a:pt x="1164" y="171"/>
                      <a:pt x="1183" y="158"/>
                    </a:cubicBezTo>
                    <a:cubicBezTo>
                      <a:pt x="1248" y="114"/>
                      <a:pt x="1320" y="82"/>
                      <a:pt x="1394" y="53"/>
                    </a:cubicBezTo>
                    <a:cubicBezTo>
                      <a:pt x="1448" y="32"/>
                      <a:pt x="1504" y="24"/>
                      <a:pt x="1563" y="28"/>
                    </a:cubicBezTo>
                    <a:cubicBezTo>
                      <a:pt x="1572" y="29"/>
                      <a:pt x="1582" y="29"/>
                      <a:pt x="1593" y="30"/>
                    </a:cubicBezTo>
                    <a:cubicBezTo>
                      <a:pt x="1580" y="22"/>
                      <a:pt x="1580" y="22"/>
                      <a:pt x="1597" y="10"/>
                    </a:cubicBezTo>
                    <a:cubicBezTo>
                      <a:pt x="1596" y="9"/>
                      <a:pt x="1595" y="9"/>
                      <a:pt x="1595" y="9"/>
                    </a:cubicBezTo>
                    <a:cubicBezTo>
                      <a:pt x="1546" y="8"/>
                      <a:pt x="1496" y="9"/>
                      <a:pt x="1448" y="16"/>
                    </a:cubicBezTo>
                    <a:cubicBezTo>
                      <a:pt x="1389" y="24"/>
                      <a:pt x="1335" y="44"/>
                      <a:pt x="1285" y="74"/>
                    </a:cubicBezTo>
                    <a:cubicBezTo>
                      <a:pt x="1243" y="100"/>
                      <a:pt x="1204" y="130"/>
                      <a:pt x="1167" y="162"/>
                    </a:cubicBezTo>
                    <a:cubicBezTo>
                      <a:pt x="1152" y="175"/>
                      <a:pt x="1136" y="189"/>
                      <a:pt x="1121" y="202"/>
                    </a:cubicBezTo>
                    <a:close/>
                    <a:moveTo>
                      <a:pt x="674" y="979"/>
                    </a:moveTo>
                    <a:cubicBezTo>
                      <a:pt x="649" y="1015"/>
                      <a:pt x="633" y="1055"/>
                      <a:pt x="621" y="1099"/>
                    </a:cubicBezTo>
                    <a:cubicBezTo>
                      <a:pt x="626" y="1099"/>
                      <a:pt x="631" y="1100"/>
                      <a:pt x="635" y="1099"/>
                    </a:cubicBezTo>
                    <a:cubicBezTo>
                      <a:pt x="675" y="1094"/>
                      <a:pt x="702" y="1071"/>
                      <a:pt x="725" y="1040"/>
                    </a:cubicBezTo>
                    <a:cubicBezTo>
                      <a:pt x="734" y="1028"/>
                      <a:pt x="743" y="1016"/>
                      <a:pt x="757" y="1009"/>
                    </a:cubicBezTo>
                    <a:cubicBezTo>
                      <a:pt x="779" y="997"/>
                      <a:pt x="785" y="974"/>
                      <a:pt x="796" y="955"/>
                    </a:cubicBezTo>
                    <a:cubicBezTo>
                      <a:pt x="780" y="972"/>
                      <a:pt x="768" y="994"/>
                      <a:pt x="741" y="997"/>
                    </a:cubicBezTo>
                    <a:cubicBezTo>
                      <a:pt x="717" y="1000"/>
                      <a:pt x="694" y="998"/>
                      <a:pt x="674" y="979"/>
                    </a:cubicBezTo>
                    <a:close/>
                    <a:moveTo>
                      <a:pt x="1287" y="973"/>
                    </a:moveTo>
                    <a:cubicBezTo>
                      <a:pt x="1267" y="992"/>
                      <a:pt x="1244" y="994"/>
                      <a:pt x="1220" y="991"/>
                    </a:cubicBezTo>
                    <a:cubicBezTo>
                      <a:pt x="1193" y="988"/>
                      <a:pt x="1181" y="966"/>
                      <a:pt x="1165" y="949"/>
                    </a:cubicBezTo>
                    <a:cubicBezTo>
                      <a:pt x="1172" y="963"/>
                      <a:pt x="1180" y="977"/>
                      <a:pt x="1188" y="990"/>
                    </a:cubicBezTo>
                    <a:cubicBezTo>
                      <a:pt x="1189" y="992"/>
                      <a:pt x="1191" y="994"/>
                      <a:pt x="1194" y="996"/>
                    </a:cubicBezTo>
                    <a:cubicBezTo>
                      <a:pt x="1216" y="1010"/>
                      <a:pt x="1232" y="1029"/>
                      <a:pt x="1249" y="1048"/>
                    </a:cubicBezTo>
                    <a:cubicBezTo>
                      <a:pt x="1270" y="1072"/>
                      <a:pt x="1294" y="1091"/>
                      <a:pt x="1327" y="1094"/>
                    </a:cubicBezTo>
                    <a:cubicBezTo>
                      <a:pt x="1331" y="1095"/>
                      <a:pt x="1336" y="1094"/>
                      <a:pt x="1340" y="1094"/>
                    </a:cubicBezTo>
                    <a:cubicBezTo>
                      <a:pt x="1328" y="1050"/>
                      <a:pt x="1312" y="1009"/>
                      <a:pt x="1287" y="973"/>
                    </a:cubicBezTo>
                    <a:close/>
                    <a:moveTo>
                      <a:pt x="820" y="195"/>
                    </a:moveTo>
                    <a:cubicBezTo>
                      <a:pt x="821" y="194"/>
                      <a:pt x="821" y="194"/>
                      <a:pt x="821" y="194"/>
                    </a:cubicBezTo>
                    <a:cubicBezTo>
                      <a:pt x="820" y="192"/>
                      <a:pt x="818" y="190"/>
                      <a:pt x="816" y="189"/>
                    </a:cubicBezTo>
                    <a:cubicBezTo>
                      <a:pt x="783" y="163"/>
                      <a:pt x="751" y="137"/>
                      <a:pt x="718" y="112"/>
                    </a:cubicBezTo>
                    <a:cubicBezTo>
                      <a:pt x="692" y="93"/>
                      <a:pt x="665" y="75"/>
                      <a:pt x="637" y="60"/>
                    </a:cubicBezTo>
                    <a:cubicBezTo>
                      <a:pt x="591" y="35"/>
                      <a:pt x="542" y="24"/>
                      <a:pt x="491" y="19"/>
                    </a:cubicBezTo>
                    <a:cubicBezTo>
                      <a:pt x="451" y="15"/>
                      <a:pt x="411" y="14"/>
                      <a:pt x="371" y="16"/>
                    </a:cubicBezTo>
                    <a:cubicBezTo>
                      <a:pt x="370" y="16"/>
                      <a:pt x="368" y="16"/>
                      <a:pt x="366" y="17"/>
                    </a:cubicBezTo>
                    <a:cubicBezTo>
                      <a:pt x="370" y="20"/>
                      <a:pt x="375" y="22"/>
                      <a:pt x="376" y="25"/>
                    </a:cubicBezTo>
                    <a:cubicBezTo>
                      <a:pt x="377" y="28"/>
                      <a:pt x="373" y="32"/>
                      <a:pt x="371" y="35"/>
                    </a:cubicBezTo>
                    <a:cubicBezTo>
                      <a:pt x="380" y="35"/>
                      <a:pt x="390" y="35"/>
                      <a:pt x="400" y="34"/>
                    </a:cubicBezTo>
                    <a:cubicBezTo>
                      <a:pt x="444" y="31"/>
                      <a:pt x="487" y="35"/>
                      <a:pt x="530" y="47"/>
                    </a:cubicBezTo>
                    <a:cubicBezTo>
                      <a:pt x="571" y="58"/>
                      <a:pt x="610" y="75"/>
                      <a:pt x="648" y="93"/>
                    </a:cubicBezTo>
                    <a:cubicBezTo>
                      <a:pt x="701" y="117"/>
                      <a:pt x="753" y="144"/>
                      <a:pt x="800" y="179"/>
                    </a:cubicBezTo>
                    <a:cubicBezTo>
                      <a:pt x="807" y="184"/>
                      <a:pt x="814" y="190"/>
                      <a:pt x="820" y="195"/>
                    </a:cubicBezTo>
                    <a:close/>
                    <a:moveTo>
                      <a:pt x="1424" y="913"/>
                    </a:moveTo>
                    <a:cubicBezTo>
                      <a:pt x="1442" y="878"/>
                      <a:pt x="1443" y="845"/>
                      <a:pt x="1437" y="808"/>
                    </a:cubicBezTo>
                    <a:cubicBezTo>
                      <a:pt x="1432" y="776"/>
                      <a:pt x="1417" y="747"/>
                      <a:pt x="1401" y="719"/>
                    </a:cubicBezTo>
                    <a:cubicBezTo>
                      <a:pt x="1396" y="711"/>
                      <a:pt x="1391" y="705"/>
                      <a:pt x="1387" y="699"/>
                    </a:cubicBezTo>
                    <a:cubicBezTo>
                      <a:pt x="1383" y="712"/>
                      <a:pt x="1378" y="724"/>
                      <a:pt x="1374" y="736"/>
                    </a:cubicBezTo>
                    <a:cubicBezTo>
                      <a:pt x="1372" y="744"/>
                      <a:pt x="1371" y="753"/>
                      <a:pt x="1370" y="761"/>
                    </a:cubicBezTo>
                    <a:cubicBezTo>
                      <a:pt x="1369" y="768"/>
                      <a:pt x="1371" y="775"/>
                      <a:pt x="1370" y="782"/>
                    </a:cubicBezTo>
                    <a:cubicBezTo>
                      <a:pt x="1368" y="789"/>
                      <a:pt x="1371" y="794"/>
                      <a:pt x="1374" y="800"/>
                    </a:cubicBezTo>
                    <a:cubicBezTo>
                      <a:pt x="1383" y="816"/>
                      <a:pt x="1393" y="831"/>
                      <a:pt x="1400" y="847"/>
                    </a:cubicBezTo>
                    <a:cubicBezTo>
                      <a:pt x="1409" y="869"/>
                      <a:pt x="1416" y="891"/>
                      <a:pt x="1424" y="913"/>
                    </a:cubicBezTo>
                    <a:close/>
                    <a:moveTo>
                      <a:pt x="574" y="704"/>
                    </a:moveTo>
                    <a:cubicBezTo>
                      <a:pt x="548" y="742"/>
                      <a:pt x="529" y="781"/>
                      <a:pt x="522" y="827"/>
                    </a:cubicBezTo>
                    <a:cubicBezTo>
                      <a:pt x="517" y="860"/>
                      <a:pt x="527" y="888"/>
                      <a:pt x="538" y="919"/>
                    </a:cubicBezTo>
                    <a:cubicBezTo>
                      <a:pt x="540" y="913"/>
                      <a:pt x="541" y="908"/>
                      <a:pt x="542" y="903"/>
                    </a:cubicBezTo>
                    <a:cubicBezTo>
                      <a:pt x="554" y="868"/>
                      <a:pt x="566" y="833"/>
                      <a:pt x="589" y="802"/>
                    </a:cubicBezTo>
                    <a:cubicBezTo>
                      <a:pt x="591" y="800"/>
                      <a:pt x="591" y="796"/>
                      <a:pt x="592" y="792"/>
                    </a:cubicBezTo>
                    <a:cubicBezTo>
                      <a:pt x="592" y="784"/>
                      <a:pt x="592" y="775"/>
                      <a:pt x="591" y="766"/>
                    </a:cubicBezTo>
                    <a:cubicBezTo>
                      <a:pt x="590" y="759"/>
                      <a:pt x="590" y="751"/>
                      <a:pt x="587" y="744"/>
                    </a:cubicBezTo>
                    <a:cubicBezTo>
                      <a:pt x="581" y="731"/>
                      <a:pt x="576" y="719"/>
                      <a:pt x="574" y="704"/>
                    </a:cubicBezTo>
                    <a:close/>
                    <a:moveTo>
                      <a:pt x="1721" y="24"/>
                    </a:moveTo>
                    <a:cubicBezTo>
                      <a:pt x="1721" y="25"/>
                      <a:pt x="1721" y="25"/>
                      <a:pt x="1720" y="26"/>
                    </a:cubicBezTo>
                    <a:cubicBezTo>
                      <a:pt x="1736" y="32"/>
                      <a:pt x="1751" y="38"/>
                      <a:pt x="1766" y="45"/>
                    </a:cubicBezTo>
                    <a:cubicBezTo>
                      <a:pt x="1769" y="46"/>
                      <a:pt x="1771" y="49"/>
                      <a:pt x="1773" y="51"/>
                    </a:cubicBezTo>
                    <a:cubicBezTo>
                      <a:pt x="1771" y="52"/>
                      <a:pt x="1768" y="53"/>
                      <a:pt x="1765" y="53"/>
                    </a:cubicBezTo>
                    <a:cubicBezTo>
                      <a:pt x="1746" y="51"/>
                      <a:pt x="1727" y="50"/>
                      <a:pt x="1709" y="48"/>
                    </a:cubicBezTo>
                    <a:cubicBezTo>
                      <a:pt x="1695" y="46"/>
                      <a:pt x="1682" y="44"/>
                      <a:pt x="1668" y="42"/>
                    </a:cubicBezTo>
                    <a:cubicBezTo>
                      <a:pt x="1669" y="44"/>
                      <a:pt x="1670" y="44"/>
                      <a:pt x="1670" y="44"/>
                    </a:cubicBezTo>
                    <a:cubicBezTo>
                      <a:pt x="1689" y="48"/>
                      <a:pt x="1707" y="50"/>
                      <a:pt x="1725" y="55"/>
                    </a:cubicBezTo>
                    <a:cubicBezTo>
                      <a:pt x="1744" y="61"/>
                      <a:pt x="1763" y="69"/>
                      <a:pt x="1783" y="76"/>
                    </a:cubicBezTo>
                    <a:cubicBezTo>
                      <a:pt x="1787" y="77"/>
                      <a:pt x="1792" y="77"/>
                      <a:pt x="1796" y="76"/>
                    </a:cubicBezTo>
                    <a:cubicBezTo>
                      <a:pt x="1810" y="72"/>
                      <a:pt x="1820" y="76"/>
                      <a:pt x="1825" y="89"/>
                    </a:cubicBezTo>
                    <a:cubicBezTo>
                      <a:pt x="1826" y="90"/>
                      <a:pt x="1828" y="92"/>
                      <a:pt x="1829" y="92"/>
                    </a:cubicBezTo>
                    <a:cubicBezTo>
                      <a:pt x="1838" y="96"/>
                      <a:pt x="1846" y="100"/>
                      <a:pt x="1855" y="104"/>
                    </a:cubicBezTo>
                    <a:cubicBezTo>
                      <a:pt x="1857" y="105"/>
                      <a:pt x="1860" y="104"/>
                      <a:pt x="1862" y="104"/>
                    </a:cubicBezTo>
                    <a:cubicBezTo>
                      <a:pt x="1870" y="103"/>
                      <a:pt x="1877" y="101"/>
                      <a:pt x="1885" y="101"/>
                    </a:cubicBezTo>
                    <a:cubicBezTo>
                      <a:pt x="1888" y="100"/>
                      <a:pt x="1893" y="103"/>
                      <a:pt x="1894" y="106"/>
                    </a:cubicBezTo>
                    <a:cubicBezTo>
                      <a:pt x="1895" y="108"/>
                      <a:pt x="1891" y="111"/>
                      <a:pt x="1890" y="114"/>
                    </a:cubicBezTo>
                    <a:cubicBezTo>
                      <a:pt x="1889" y="115"/>
                      <a:pt x="1888" y="115"/>
                      <a:pt x="1887" y="116"/>
                    </a:cubicBezTo>
                    <a:cubicBezTo>
                      <a:pt x="1908" y="126"/>
                      <a:pt x="1927" y="135"/>
                      <a:pt x="1948" y="144"/>
                    </a:cubicBezTo>
                    <a:cubicBezTo>
                      <a:pt x="1951" y="135"/>
                      <a:pt x="1949" y="127"/>
                      <a:pt x="1944" y="120"/>
                    </a:cubicBezTo>
                    <a:cubicBezTo>
                      <a:pt x="1936" y="107"/>
                      <a:pt x="1923" y="98"/>
                      <a:pt x="1910" y="91"/>
                    </a:cubicBezTo>
                    <a:cubicBezTo>
                      <a:pt x="1865" y="67"/>
                      <a:pt x="1819" y="46"/>
                      <a:pt x="1769" y="34"/>
                    </a:cubicBezTo>
                    <a:cubicBezTo>
                      <a:pt x="1753" y="31"/>
                      <a:pt x="1737" y="28"/>
                      <a:pt x="1721" y="24"/>
                    </a:cubicBezTo>
                    <a:close/>
                    <a:moveTo>
                      <a:pt x="973" y="613"/>
                    </a:moveTo>
                    <a:cubicBezTo>
                      <a:pt x="997" y="580"/>
                      <a:pt x="1008" y="460"/>
                      <a:pt x="988" y="418"/>
                    </a:cubicBezTo>
                    <a:cubicBezTo>
                      <a:pt x="978" y="422"/>
                      <a:pt x="978" y="421"/>
                      <a:pt x="965" y="412"/>
                    </a:cubicBezTo>
                    <a:cubicBezTo>
                      <a:pt x="963" y="418"/>
                      <a:pt x="961" y="423"/>
                      <a:pt x="960" y="428"/>
                    </a:cubicBezTo>
                    <a:cubicBezTo>
                      <a:pt x="950" y="491"/>
                      <a:pt x="950" y="553"/>
                      <a:pt x="973" y="613"/>
                    </a:cubicBezTo>
                    <a:close/>
                    <a:moveTo>
                      <a:pt x="293" y="50"/>
                    </a:moveTo>
                    <a:cubicBezTo>
                      <a:pt x="293" y="50"/>
                      <a:pt x="292" y="49"/>
                      <a:pt x="292" y="48"/>
                    </a:cubicBezTo>
                    <a:cubicBezTo>
                      <a:pt x="282" y="50"/>
                      <a:pt x="272" y="51"/>
                      <a:pt x="262" y="52"/>
                    </a:cubicBezTo>
                    <a:cubicBezTo>
                      <a:pt x="239" y="55"/>
                      <a:pt x="217" y="57"/>
                      <a:pt x="194" y="59"/>
                    </a:cubicBezTo>
                    <a:cubicBezTo>
                      <a:pt x="192" y="59"/>
                      <a:pt x="190" y="57"/>
                      <a:pt x="187" y="57"/>
                    </a:cubicBezTo>
                    <a:cubicBezTo>
                      <a:pt x="189" y="55"/>
                      <a:pt x="190" y="53"/>
                      <a:pt x="192" y="52"/>
                    </a:cubicBezTo>
                    <a:cubicBezTo>
                      <a:pt x="207" y="46"/>
                      <a:pt x="221" y="40"/>
                      <a:pt x="236" y="34"/>
                    </a:cubicBezTo>
                    <a:cubicBezTo>
                      <a:pt x="239" y="33"/>
                      <a:pt x="242" y="32"/>
                      <a:pt x="245" y="31"/>
                    </a:cubicBezTo>
                    <a:cubicBezTo>
                      <a:pt x="245" y="30"/>
                      <a:pt x="244" y="29"/>
                      <a:pt x="244" y="29"/>
                    </a:cubicBezTo>
                    <a:cubicBezTo>
                      <a:pt x="226" y="33"/>
                      <a:pt x="207" y="37"/>
                      <a:pt x="189" y="42"/>
                    </a:cubicBezTo>
                    <a:cubicBezTo>
                      <a:pt x="141" y="55"/>
                      <a:pt x="96" y="77"/>
                      <a:pt x="51" y="97"/>
                    </a:cubicBezTo>
                    <a:cubicBezTo>
                      <a:pt x="38" y="103"/>
                      <a:pt x="26" y="113"/>
                      <a:pt x="18" y="125"/>
                    </a:cubicBezTo>
                    <a:cubicBezTo>
                      <a:pt x="13" y="133"/>
                      <a:pt x="11" y="141"/>
                      <a:pt x="13" y="150"/>
                    </a:cubicBezTo>
                    <a:cubicBezTo>
                      <a:pt x="33" y="140"/>
                      <a:pt x="53" y="131"/>
                      <a:pt x="72" y="123"/>
                    </a:cubicBezTo>
                    <a:cubicBezTo>
                      <a:pt x="70" y="119"/>
                      <a:pt x="68" y="115"/>
                      <a:pt x="66" y="111"/>
                    </a:cubicBezTo>
                    <a:cubicBezTo>
                      <a:pt x="71" y="109"/>
                      <a:pt x="75" y="107"/>
                      <a:pt x="79" y="106"/>
                    </a:cubicBezTo>
                    <a:cubicBezTo>
                      <a:pt x="83" y="106"/>
                      <a:pt x="88" y="105"/>
                      <a:pt x="91" y="107"/>
                    </a:cubicBezTo>
                    <a:cubicBezTo>
                      <a:pt x="101" y="114"/>
                      <a:pt x="109" y="108"/>
                      <a:pt x="118" y="104"/>
                    </a:cubicBezTo>
                    <a:cubicBezTo>
                      <a:pt x="122" y="102"/>
                      <a:pt x="127" y="100"/>
                      <a:pt x="131" y="98"/>
                    </a:cubicBezTo>
                    <a:cubicBezTo>
                      <a:pt x="133" y="98"/>
                      <a:pt x="135" y="96"/>
                      <a:pt x="135" y="95"/>
                    </a:cubicBezTo>
                    <a:cubicBezTo>
                      <a:pt x="140" y="83"/>
                      <a:pt x="150" y="77"/>
                      <a:pt x="162" y="82"/>
                    </a:cubicBezTo>
                    <a:cubicBezTo>
                      <a:pt x="170" y="85"/>
                      <a:pt x="176" y="83"/>
                      <a:pt x="182" y="80"/>
                    </a:cubicBezTo>
                    <a:cubicBezTo>
                      <a:pt x="201" y="74"/>
                      <a:pt x="219" y="66"/>
                      <a:pt x="238" y="61"/>
                    </a:cubicBezTo>
                    <a:cubicBezTo>
                      <a:pt x="256" y="56"/>
                      <a:pt x="274" y="54"/>
                      <a:pt x="293" y="50"/>
                    </a:cubicBezTo>
                    <a:close/>
                    <a:moveTo>
                      <a:pt x="1800" y="324"/>
                    </a:moveTo>
                    <a:cubicBezTo>
                      <a:pt x="1813" y="321"/>
                      <a:pt x="1821" y="313"/>
                      <a:pt x="1828" y="303"/>
                    </a:cubicBezTo>
                    <a:cubicBezTo>
                      <a:pt x="1837" y="291"/>
                      <a:pt x="1845" y="277"/>
                      <a:pt x="1855" y="265"/>
                    </a:cubicBezTo>
                    <a:cubicBezTo>
                      <a:pt x="1863" y="254"/>
                      <a:pt x="1862" y="244"/>
                      <a:pt x="1855" y="235"/>
                    </a:cubicBezTo>
                    <a:cubicBezTo>
                      <a:pt x="1845" y="224"/>
                      <a:pt x="1834" y="213"/>
                      <a:pt x="1823" y="203"/>
                    </a:cubicBezTo>
                    <a:cubicBezTo>
                      <a:pt x="1819" y="199"/>
                      <a:pt x="1814" y="196"/>
                      <a:pt x="1811" y="193"/>
                    </a:cubicBezTo>
                    <a:cubicBezTo>
                      <a:pt x="1810" y="200"/>
                      <a:pt x="1810" y="206"/>
                      <a:pt x="1808" y="212"/>
                    </a:cubicBezTo>
                    <a:cubicBezTo>
                      <a:pt x="1805" y="222"/>
                      <a:pt x="1801" y="232"/>
                      <a:pt x="1795" y="241"/>
                    </a:cubicBezTo>
                    <a:cubicBezTo>
                      <a:pt x="1786" y="254"/>
                      <a:pt x="1776" y="266"/>
                      <a:pt x="1767" y="278"/>
                    </a:cubicBezTo>
                    <a:cubicBezTo>
                      <a:pt x="1783" y="289"/>
                      <a:pt x="1796" y="304"/>
                      <a:pt x="1800" y="324"/>
                    </a:cubicBezTo>
                    <a:close/>
                    <a:moveTo>
                      <a:pt x="150" y="199"/>
                    </a:moveTo>
                    <a:cubicBezTo>
                      <a:pt x="132" y="213"/>
                      <a:pt x="113" y="226"/>
                      <a:pt x="102" y="247"/>
                    </a:cubicBezTo>
                    <a:cubicBezTo>
                      <a:pt x="101" y="250"/>
                      <a:pt x="100" y="253"/>
                      <a:pt x="100" y="257"/>
                    </a:cubicBezTo>
                    <a:cubicBezTo>
                      <a:pt x="100" y="258"/>
                      <a:pt x="100" y="260"/>
                      <a:pt x="101" y="262"/>
                    </a:cubicBezTo>
                    <a:cubicBezTo>
                      <a:pt x="108" y="273"/>
                      <a:pt x="115" y="283"/>
                      <a:pt x="122" y="293"/>
                    </a:cubicBezTo>
                    <a:cubicBezTo>
                      <a:pt x="132" y="308"/>
                      <a:pt x="144" y="322"/>
                      <a:pt x="160" y="331"/>
                    </a:cubicBezTo>
                    <a:cubicBezTo>
                      <a:pt x="164" y="309"/>
                      <a:pt x="178" y="295"/>
                      <a:pt x="196" y="282"/>
                    </a:cubicBezTo>
                    <a:cubicBezTo>
                      <a:pt x="175" y="265"/>
                      <a:pt x="161" y="244"/>
                      <a:pt x="153" y="220"/>
                    </a:cubicBezTo>
                    <a:cubicBezTo>
                      <a:pt x="151" y="214"/>
                      <a:pt x="151" y="207"/>
                      <a:pt x="150" y="199"/>
                    </a:cubicBezTo>
                    <a:close/>
                    <a:moveTo>
                      <a:pt x="1886" y="167"/>
                    </a:moveTo>
                    <a:cubicBezTo>
                      <a:pt x="1886" y="167"/>
                      <a:pt x="1887" y="166"/>
                      <a:pt x="1888" y="165"/>
                    </a:cubicBezTo>
                    <a:cubicBezTo>
                      <a:pt x="1894" y="172"/>
                      <a:pt x="1901" y="179"/>
                      <a:pt x="1908" y="187"/>
                    </a:cubicBezTo>
                    <a:cubicBezTo>
                      <a:pt x="1923" y="177"/>
                      <a:pt x="1940" y="168"/>
                      <a:pt x="1947" y="147"/>
                    </a:cubicBezTo>
                    <a:cubicBezTo>
                      <a:pt x="1944" y="145"/>
                      <a:pt x="1941" y="144"/>
                      <a:pt x="1938" y="143"/>
                    </a:cubicBezTo>
                    <a:cubicBezTo>
                      <a:pt x="1921" y="135"/>
                      <a:pt x="1904" y="127"/>
                      <a:pt x="1887" y="120"/>
                    </a:cubicBezTo>
                    <a:cubicBezTo>
                      <a:pt x="1883" y="119"/>
                      <a:pt x="1879" y="119"/>
                      <a:pt x="1875" y="119"/>
                    </a:cubicBezTo>
                    <a:cubicBezTo>
                      <a:pt x="1865" y="120"/>
                      <a:pt x="1861" y="118"/>
                      <a:pt x="1856" y="109"/>
                    </a:cubicBezTo>
                    <a:cubicBezTo>
                      <a:pt x="1855" y="108"/>
                      <a:pt x="1854" y="107"/>
                      <a:pt x="1853" y="107"/>
                    </a:cubicBezTo>
                    <a:cubicBezTo>
                      <a:pt x="1845" y="103"/>
                      <a:pt x="1836" y="99"/>
                      <a:pt x="1828" y="96"/>
                    </a:cubicBezTo>
                    <a:cubicBezTo>
                      <a:pt x="1825" y="95"/>
                      <a:pt x="1822" y="95"/>
                      <a:pt x="1819" y="95"/>
                    </a:cubicBezTo>
                    <a:cubicBezTo>
                      <a:pt x="1806" y="99"/>
                      <a:pt x="1792" y="92"/>
                      <a:pt x="1789" y="82"/>
                    </a:cubicBezTo>
                    <a:cubicBezTo>
                      <a:pt x="1765" y="75"/>
                      <a:pt x="1743" y="61"/>
                      <a:pt x="1716" y="58"/>
                    </a:cubicBezTo>
                    <a:cubicBezTo>
                      <a:pt x="1726" y="63"/>
                      <a:pt x="1736" y="68"/>
                      <a:pt x="1744" y="73"/>
                    </a:cubicBezTo>
                    <a:cubicBezTo>
                      <a:pt x="1762" y="85"/>
                      <a:pt x="1781" y="95"/>
                      <a:pt x="1796" y="110"/>
                    </a:cubicBezTo>
                    <a:cubicBezTo>
                      <a:pt x="1812" y="125"/>
                      <a:pt x="1832" y="131"/>
                      <a:pt x="1850" y="142"/>
                    </a:cubicBezTo>
                    <a:cubicBezTo>
                      <a:pt x="1854" y="145"/>
                      <a:pt x="1857" y="147"/>
                      <a:pt x="1861" y="149"/>
                    </a:cubicBezTo>
                    <a:cubicBezTo>
                      <a:pt x="1862" y="150"/>
                      <a:pt x="1864" y="150"/>
                      <a:pt x="1866" y="150"/>
                    </a:cubicBezTo>
                    <a:cubicBezTo>
                      <a:pt x="1871" y="150"/>
                      <a:pt x="1876" y="149"/>
                      <a:pt x="1882" y="149"/>
                    </a:cubicBezTo>
                    <a:cubicBezTo>
                      <a:pt x="1887" y="148"/>
                      <a:pt x="1892" y="150"/>
                      <a:pt x="1894" y="155"/>
                    </a:cubicBezTo>
                    <a:cubicBezTo>
                      <a:pt x="1896" y="162"/>
                      <a:pt x="1891" y="164"/>
                      <a:pt x="1887" y="166"/>
                    </a:cubicBezTo>
                    <a:cubicBezTo>
                      <a:pt x="1886" y="166"/>
                      <a:pt x="1886" y="167"/>
                      <a:pt x="1886" y="167"/>
                    </a:cubicBezTo>
                    <a:close/>
                    <a:moveTo>
                      <a:pt x="430" y="578"/>
                    </a:moveTo>
                    <a:cubicBezTo>
                      <a:pt x="458" y="593"/>
                      <a:pt x="485" y="607"/>
                      <a:pt x="512" y="621"/>
                    </a:cubicBezTo>
                    <a:cubicBezTo>
                      <a:pt x="528" y="598"/>
                      <a:pt x="544" y="578"/>
                      <a:pt x="569" y="565"/>
                    </a:cubicBezTo>
                    <a:cubicBezTo>
                      <a:pt x="568" y="563"/>
                      <a:pt x="567" y="561"/>
                      <a:pt x="567" y="559"/>
                    </a:cubicBezTo>
                    <a:cubicBezTo>
                      <a:pt x="566" y="557"/>
                      <a:pt x="565" y="556"/>
                      <a:pt x="565" y="554"/>
                    </a:cubicBezTo>
                    <a:cubicBezTo>
                      <a:pt x="539" y="560"/>
                      <a:pt x="517" y="552"/>
                      <a:pt x="496" y="538"/>
                    </a:cubicBezTo>
                    <a:cubicBezTo>
                      <a:pt x="494" y="537"/>
                      <a:pt x="490" y="535"/>
                      <a:pt x="488" y="536"/>
                    </a:cubicBezTo>
                    <a:cubicBezTo>
                      <a:pt x="464" y="544"/>
                      <a:pt x="447" y="560"/>
                      <a:pt x="430" y="578"/>
                    </a:cubicBezTo>
                    <a:close/>
                    <a:moveTo>
                      <a:pt x="172" y="88"/>
                    </a:moveTo>
                    <a:cubicBezTo>
                      <a:pt x="173" y="88"/>
                      <a:pt x="173" y="89"/>
                      <a:pt x="173" y="90"/>
                    </a:cubicBezTo>
                    <a:cubicBezTo>
                      <a:pt x="169" y="93"/>
                      <a:pt x="166" y="97"/>
                      <a:pt x="161" y="99"/>
                    </a:cubicBezTo>
                    <a:cubicBezTo>
                      <a:pt x="156" y="101"/>
                      <a:pt x="150" y="103"/>
                      <a:pt x="145" y="101"/>
                    </a:cubicBezTo>
                    <a:cubicBezTo>
                      <a:pt x="137" y="99"/>
                      <a:pt x="130" y="103"/>
                      <a:pt x="124" y="106"/>
                    </a:cubicBezTo>
                    <a:cubicBezTo>
                      <a:pt x="119" y="108"/>
                      <a:pt x="114" y="110"/>
                      <a:pt x="109" y="112"/>
                    </a:cubicBezTo>
                    <a:cubicBezTo>
                      <a:pt x="107" y="113"/>
                      <a:pt x="106" y="113"/>
                      <a:pt x="105" y="115"/>
                    </a:cubicBezTo>
                    <a:cubicBezTo>
                      <a:pt x="100" y="123"/>
                      <a:pt x="96" y="126"/>
                      <a:pt x="87" y="125"/>
                    </a:cubicBezTo>
                    <a:cubicBezTo>
                      <a:pt x="82" y="125"/>
                      <a:pt x="76" y="125"/>
                      <a:pt x="72" y="127"/>
                    </a:cubicBezTo>
                    <a:cubicBezTo>
                      <a:pt x="56" y="134"/>
                      <a:pt x="39" y="141"/>
                      <a:pt x="23" y="148"/>
                    </a:cubicBezTo>
                    <a:cubicBezTo>
                      <a:pt x="20" y="149"/>
                      <a:pt x="17" y="152"/>
                      <a:pt x="13" y="154"/>
                    </a:cubicBezTo>
                    <a:cubicBezTo>
                      <a:pt x="20" y="174"/>
                      <a:pt x="42" y="180"/>
                      <a:pt x="52" y="192"/>
                    </a:cubicBezTo>
                    <a:cubicBezTo>
                      <a:pt x="59" y="185"/>
                      <a:pt x="66" y="178"/>
                      <a:pt x="73" y="172"/>
                    </a:cubicBezTo>
                    <a:cubicBezTo>
                      <a:pt x="74" y="172"/>
                      <a:pt x="74" y="172"/>
                      <a:pt x="73" y="171"/>
                    </a:cubicBezTo>
                    <a:cubicBezTo>
                      <a:pt x="69" y="169"/>
                      <a:pt x="64" y="166"/>
                      <a:pt x="67" y="162"/>
                    </a:cubicBezTo>
                    <a:cubicBezTo>
                      <a:pt x="68" y="158"/>
                      <a:pt x="73" y="155"/>
                      <a:pt x="77" y="155"/>
                    </a:cubicBezTo>
                    <a:cubicBezTo>
                      <a:pt x="83" y="154"/>
                      <a:pt x="89" y="156"/>
                      <a:pt x="95" y="156"/>
                    </a:cubicBezTo>
                    <a:cubicBezTo>
                      <a:pt x="97" y="156"/>
                      <a:pt x="99" y="156"/>
                      <a:pt x="100" y="155"/>
                    </a:cubicBezTo>
                    <a:cubicBezTo>
                      <a:pt x="115" y="148"/>
                      <a:pt x="129" y="140"/>
                      <a:pt x="144" y="132"/>
                    </a:cubicBezTo>
                    <a:cubicBezTo>
                      <a:pt x="146" y="131"/>
                      <a:pt x="149" y="129"/>
                      <a:pt x="151" y="127"/>
                    </a:cubicBezTo>
                    <a:cubicBezTo>
                      <a:pt x="157" y="122"/>
                      <a:pt x="163" y="116"/>
                      <a:pt x="169" y="111"/>
                    </a:cubicBezTo>
                    <a:cubicBezTo>
                      <a:pt x="194" y="95"/>
                      <a:pt x="218" y="79"/>
                      <a:pt x="244" y="61"/>
                    </a:cubicBezTo>
                    <a:cubicBezTo>
                      <a:pt x="219" y="71"/>
                      <a:pt x="196" y="79"/>
                      <a:pt x="172" y="88"/>
                    </a:cubicBezTo>
                    <a:close/>
                    <a:moveTo>
                      <a:pt x="1392" y="559"/>
                    </a:moveTo>
                    <a:cubicBezTo>
                      <a:pt x="1417" y="572"/>
                      <a:pt x="1433" y="592"/>
                      <a:pt x="1447" y="614"/>
                    </a:cubicBezTo>
                    <a:cubicBezTo>
                      <a:pt x="1475" y="600"/>
                      <a:pt x="1503" y="586"/>
                      <a:pt x="1531" y="572"/>
                    </a:cubicBezTo>
                    <a:cubicBezTo>
                      <a:pt x="1514" y="555"/>
                      <a:pt x="1497" y="539"/>
                      <a:pt x="1475" y="531"/>
                    </a:cubicBezTo>
                    <a:cubicBezTo>
                      <a:pt x="1472" y="530"/>
                      <a:pt x="1468" y="530"/>
                      <a:pt x="1466" y="531"/>
                    </a:cubicBezTo>
                    <a:cubicBezTo>
                      <a:pt x="1445" y="546"/>
                      <a:pt x="1422" y="554"/>
                      <a:pt x="1396" y="548"/>
                    </a:cubicBezTo>
                    <a:cubicBezTo>
                      <a:pt x="1396" y="548"/>
                      <a:pt x="1396" y="549"/>
                      <a:pt x="1396" y="549"/>
                    </a:cubicBezTo>
                    <a:cubicBezTo>
                      <a:pt x="1394" y="552"/>
                      <a:pt x="1393" y="555"/>
                      <a:pt x="1392" y="559"/>
                    </a:cubicBezTo>
                    <a:close/>
                    <a:moveTo>
                      <a:pt x="95" y="259"/>
                    </a:moveTo>
                    <a:cubicBezTo>
                      <a:pt x="102" y="229"/>
                      <a:pt x="126" y="214"/>
                      <a:pt x="147" y="197"/>
                    </a:cubicBezTo>
                    <a:cubicBezTo>
                      <a:pt x="136" y="189"/>
                      <a:pt x="132" y="179"/>
                      <a:pt x="135" y="166"/>
                    </a:cubicBezTo>
                    <a:cubicBezTo>
                      <a:pt x="138" y="156"/>
                      <a:pt x="141" y="147"/>
                      <a:pt x="144" y="136"/>
                    </a:cubicBezTo>
                    <a:cubicBezTo>
                      <a:pt x="129" y="143"/>
                      <a:pt x="115" y="151"/>
                      <a:pt x="101" y="158"/>
                    </a:cubicBezTo>
                    <a:cubicBezTo>
                      <a:pt x="104" y="167"/>
                      <a:pt x="102" y="171"/>
                      <a:pt x="93" y="173"/>
                    </a:cubicBezTo>
                    <a:cubicBezTo>
                      <a:pt x="90" y="173"/>
                      <a:pt x="88" y="174"/>
                      <a:pt x="85" y="174"/>
                    </a:cubicBezTo>
                    <a:cubicBezTo>
                      <a:pt x="77" y="174"/>
                      <a:pt x="58" y="190"/>
                      <a:pt x="56" y="198"/>
                    </a:cubicBezTo>
                    <a:cubicBezTo>
                      <a:pt x="56" y="199"/>
                      <a:pt x="56" y="200"/>
                      <a:pt x="57" y="200"/>
                    </a:cubicBezTo>
                    <a:cubicBezTo>
                      <a:pt x="60" y="211"/>
                      <a:pt x="63" y="222"/>
                      <a:pt x="66" y="233"/>
                    </a:cubicBezTo>
                    <a:cubicBezTo>
                      <a:pt x="70" y="248"/>
                      <a:pt x="81" y="255"/>
                      <a:pt x="95" y="259"/>
                    </a:cubicBezTo>
                    <a:close/>
                    <a:moveTo>
                      <a:pt x="376" y="451"/>
                    </a:moveTo>
                    <a:cubicBezTo>
                      <a:pt x="371" y="444"/>
                      <a:pt x="368" y="437"/>
                      <a:pt x="363" y="431"/>
                    </a:cubicBezTo>
                    <a:cubicBezTo>
                      <a:pt x="360" y="427"/>
                      <a:pt x="356" y="422"/>
                      <a:pt x="351" y="420"/>
                    </a:cubicBezTo>
                    <a:cubicBezTo>
                      <a:pt x="338" y="414"/>
                      <a:pt x="326" y="408"/>
                      <a:pt x="316" y="397"/>
                    </a:cubicBezTo>
                    <a:cubicBezTo>
                      <a:pt x="315" y="396"/>
                      <a:pt x="312" y="396"/>
                      <a:pt x="310" y="396"/>
                    </a:cubicBezTo>
                    <a:cubicBezTo>
                      <a:pt x="292" y="400"/>
                      <a:pt x="278" y="410"/>
                      <a:pt x="267" y="425"/>
                    </a:cubicBezTo>
                    <a:cubicBezTo>
                      <a:pt x="266" y="426"/>
                      <a:pt x="266" y="430"/>
                      <a:pt x="266" y="431"/>
                    </a:cubicBezTo>
                    <a:cubicBezTo>
                      <a:pt x="276" y="455"/>
                      <a:pt x="293" y="473"/>
                      <a:pt x="314" y="488"/>
                    </a:cubicBezTo>
                    <a:cubicBezTo>
                      <a:pt x="327" y="464"/>
                      <a:pt x="350" y="454"/>
                      <a:pt x="376" y="451"/>
                    </a:cubicBezTo>
                    <a:close/>
                    <a:moveTo>
                      <a:pt x="1813" y="191"/>
                    </a:moveTo>
                    <a:cubicBezTo>
                      <a:pt x="1835" y="208"/>
                      <a:pt x="1859" y="223"/>
                      <a:pt x="1866" y="252"/>
                    </a:cubicBezTo>
                    <a:cubicBezTo>
                      <a:pt x="1881" y="247"/>
                      <a:pt x="1892" y="237"/>
                      <a:pt x="1897" y="221"/>
                    </a:cubicBezTo>
                    <a:cubicBezTo>
                      <a:pt x="1899" y="213"/>
                      <a:pt x="1902" y="205"/>
                      <a:pt x="1903" y="197"/>
                    </a:cubicBezTo>
                    <a:cubicBezTo>
                      <a:pt x="1904" y="195"/>
                      <a:pt x="1904" y="191"/>
                      <a:pt x="1902" y="189"/>
                    </a:cubicBezTo>
                    <a:cubicBezTo>
                      <a:pt x="1894" y="178"/>
                      <a:pt x="1887" y="167"/>
                      <a:pt x="1870" y="167"/>
                    </a:cubicBezTo>
                    <a:cubicBezTo>
                      <a:pt x="1860" y="167"/>
                      <a:pt x="1857" y="162"/>
                      <a:pt x="1860" y="152"/>
                    </a:cubicBezTo>
                    <a:cubicBezTo>
                      <a:pt x="1846" y="145"/>
                      <a:pt x="1832" y="137"/>
                      <a:pt x="1818" y="130"/>
                    </a:cubicBezTo>
                    <a:cubicBezTo>
                      <a:pt x="1830" y="164"/>
                      <a:pt x="1830" y="179"/>
                      <a:pt x="1813" y="191"/>
                    </a:cubicBezTo>
                    <a:close/>
                    <a:moveTo>
                      <a:pt x="1647" y="481"/>
                    </a:moveTo>
                    <a:cubicBezTo>
                      <a:pt x="1651" y="478"/>
                      <a:pt x="1654" y="474"/>
                      <a:pt x="1658" y="472"/>
                    </a:cubicBezTo>
                    <a:cubicBezTo>
                      <a:pt x="1675" y="461"/>
                      <a:pt x="1685" y="446"/>
                      <a:pt x="1693" y="428"/>
                    </a:cubicBezTo>
                    <a:cubicBezTo>
                      <a:pt x="1695" y="425"/>
                      <a:pt x="1695" y="421"/>
                      <a:pt x="1694" y="419"/>
                    </a:cubicBezTo>
                    <a:cubicBezTo>
                      <a:pt x="1683" y="404"/>
                      <a:pt x="1669" y="394"/>
                      <a:pt x="1650" y="390"/>
                    </a:cubicBezTo>
                    <a:cubicBezTo>
                      <a:pt x="1648" y="390"/>
                      <a:pt x="1646" y="390"/>
                      <a:pt x="1645" y="391"/>
                    </a:cubicBezTo>
                    <a:cubicBezTo>
                      <a:pt x="1635" y="402"/>
                      <a:pt x="1622" y="409"/>
                      <a:pt x="1608" y="415"/>
                    </a:cubicBezTo>
                    <a:cubicBezTo>
                      <a:pt x="1605" y="416"/>
                      <a:pt x="1602" y="419"/>
                      <a:pt x="1600" y="422"/>
                    </a:cubicBezTo>
                    <a:cubicBezTo>
                      <a:pt x="1594" y="429"/>
                      <a:pt x="1590" y="437"/>
                      <a:pt x="1585" y="445"/>
                    </a:cubicBezTo>
                    <a:cubicBezTo>
                      <a:pt x="1610" y="449"/>
                      <a:pt x="1632" y="458"/>
                      <a:pt x="1647" y="481"/>
                    </a:cubicBezTo>
                    <a:close/>
                    <a:moveTo>
                      <a:pt x="428" y="496"/>
                    </a:moveTo>
                    <a:cubicBezTo>
                      <a:pt x="424" y="489"/>
                      <a:pt x="419" y="484"/>
                      <a:pt x="417" y="478"/>
                    </a:cubicBezTo>
                    <a:cubicBezTo>
                      <a:pt x="412" y="459"/>
                      <a:pt x="396" y="456"/>
                      <a:pt x="382" y="455"/>
                    </a:cubicBezTo>
                    <a:cubicBezTo>
                      <a:pt x="356" y="454"/>
                      <a:pt x="334" y="465"/>
                      <a:pt x="319" y="488"/>
                    </a:cubicBezTo>
                    <a:cubicBezTo>
                      <a:pt x="316" y="492"/>
                      <a:pt x="317" y="494"/>
                      <a:pt x="319" y="498"/>
                    </a:cubicBezTo>
                    <a:cubicBezTo>
                      <a:pt x="331" y="515"/>
                      <a:pt x="348" y="525"/>
                      <a:pt x="365" y="536"/>
                    </a:cubicBezTo>
                    <a:cubicBezTo>
                      <a:pt x="383" y="518"/>
                      <a:pt x="402" y="502"/>
                      <a:pt x="428" y="496"/>
                    </a:cubicBezTo>
                    <a:close/>
                    <a:moveTo>
                      <a:pt x="1534" y="490"/>
                    </a:moveTo>
                    <a:cubicBezTo>
                      <a:pt x="1556" y="495"/>
                      <a:pt x="1575" y="509"/>
                      <a:pt x="1591" y="525"/>
                    </a:cubicBezTo>
                    <a:cubicBezTo>
                      <a:pt x="1595" y="529"/>
                      <a:pt x="1597" y="529"/>
                      <a:pt x="1602" y="527"/>
                    </a:cubicBezTo>
                    <a:cubicBezTo>
                      <a:pt x="1620" y="517"/>
                      <a:pt x="1634" y="503"/>
                      <a:pt x="1645" y="484"/>
                    </a:cubicBezTo>
                    <a:cubicBezTo>
                      <a:pt x="1638" y="477"/>
                      <a:pt x="1632" y="469"/>
                      <a:pt x="1624" y="463"/>
                    </a:cubicBezTo>
                    <a:cubicBezTo>
                      <a:pt x="1602" y="447"/>
                      <a:pt x="1579" y="445"/>
                      <a:pt x="1554" y="457"/>
                    </a:cubicBezTo>
                    <a:cubicBezTo>
                      <a:pt x="1551" y="458"/>
                      <a:pt x="1549" y="461"/>
                      <a:pt x="1547" y="464"/>
                    </a:cubicBezTo>
                    <a:cubicBezTo>
                      <a:pt x="1542" y="472"/>
                      <a:pt x="1538" y="481"/>
                      <a:pt x="1534" y="490"/>
                    </a:cubicBezTo>
                    <a:close/>
                    <a:moveTo>
                      <a:pt x="1023" y="724"/>
                    </a:moveTo>
                    <a:cubicBezTo>
                      <a:pt x="1023" y="726"/>
                      <a:pt x="1023" y="728"/>
                      <a:pt x="1024" y="729"/>
                    </a:cubicBezTo>
                    <a:cubicBezTo>
                      <a:pt x="1031" y="750"/>
                      <a:pt x="1039" y="772"/>
                      <a:pt x="1045" y="794"/>
                    </a:cubicBezTo>
                    <a:cubicBezTo>
                      <a:pt x="1064" y="858"/>
                      <a:pt x="1099" y="912"/>
                      <a:pt x="1147" y="958"/>
                    </a:cubicBezTo>
                    <a:cubicBezTo>
                      <a:pt x="1156" y="967"/>
                      <a:pt x="1166" y="974"/>
                      <a:pt x="1175" y="983"/>
                    </a:cubicBezTo>
                    <a:cubicBezTo>
                      <a:pt x="1175" y="982"/>
                      <a:pt x="1176" y="982"/>
                      <a:pt x="1176" y="981"/>
                    </a:cubicBezTo>
                    <a:cubicBezTo>
                      <a:pt x="1175" y="978"/>
                      <a:pt x="1173" y="975"/>
                      <a:pt x="1172" y="973"/>
                    </a:cubicBezTo>
                    <a:cubicBezTo>
                      <a:pt x="1160" y="953"/>
                      <a:pt x="1153" y="932"/>
                      <a:pt x="1138" y="914"/>
                    </a:cubicBezTo>
                    <a:cubicBezTo>
                      <a:pt x="1107" y="875"/>
                      <a:pt x="1083" y="831"/>
                      <a:pt x="1059" y="788"/>
                    </a:cubicBezTo>
                    <a:cubicBezTo>
                      <a:pt x="1047" y="767"/>
                      <a:pt x="1035" y="746"/>
                      <a:pt x="1023" y="724"/>
                    </a:cubicBezTo>
                    <a:close/>
                    <a:moveTo>
                      <a:pt x="1734" y="375"/>
                    </a:moveTo>
                    <a:cubicBezTo>
                      <a:pt x="1751" y="372"/>
                      <a:pt x="1763" y="363"/>
                      <a:pt x="1773" y="352"/>
                    </a:cubicBezTo>
                    <a:cubicBezTo>
                      <a:pt x="1779" y="345"/>
                      <a:pt x="1785" y="340"/>
                      <a:pt x="1791" y="334"/>
                    </a:cubicBezTo>
                    <a:cubicBezTo>
                      <a:pt x="1796" y="330"/>
                      <a:pt x="1797" y="326"/>
                      <a:pt x="1795" y="321"/>
                    </a:cubicBezTo>
                    <a:cubicBezTo>
                      <a:pt x="1790" y="304"/>
                      <a:pt x="1780" y="292"/>
                      <a:pt x="1767" y="283"/>
                    </a:cubicBezTo>
                    <a:cubicBezTo>
                      <a:pt x="1762" y="279"/>
                      <a:pt x="1750" y="282"/>
                      <a:pt x="1747" y="287"/>
                    </a:cubicBezTo>
                    <a:cubicBezTo>
                      <a:pt x="1745" y="291"/>
                      <a:pt x="1742" y="294"/>
                      <a:pt x="1739" y="297"/>
                    </a:cubicBezTo>
                    <a:cubicBezTo>
                      <a:pt x="1725" y="308"/>
                      <a:pt x="1712" y="319"/>
                      <a:pt x="1698" y="330"/>
                    </a:cubicBezTo>
                    <a:cubicBezTo>
                      <a:pt x="1718" y="338"/>
                      <a:pt x="1728" y="356"/>
                      <a:pt x="1734" y="375"/>
                    </a:cubicBezTo>
                    <a:close/>
                    <a:moveTo>
                      <a:pt x="783" y="991"/>
                    </a:moveTo>
                    <a:cubicBezTo>
                      <a:pt x="788" y="987"/>
                      <a:pt x="791" y="984"/>
                      <a:pt x="794" y="981"/>
                    </a:cubicBezTo>
                    <a:cubicBezTo>
                      <a:pt x="834" y="947"/>
                      <a:pt x="869" y="907"/>
                      <a:pt x="890" y="858"/>
                    </a:cubicBezTo>
                    <a:cubicBezTo>
                      <a:pt x="906" y="824"/>
                      <a:pt x="918" y="788"/>
                      <a:pt x="932" y="753"/>
                    </a:cubicBezTo>
                    <a:cubicBezTo>
                      <a:pt x="935" y="744"/>
                      <a:pt x="938" y="735"/>
                      <a:pt x="941" y="726"/>
                    </a:cubicBezTo>
                    <a:cubicBezTo>
                      <a:pt x="931" y="741"/>
                      <a:pt x="923" y="757"/>
                      <a:pt x="914" y="773"/>
                    </a:cubicBezTo>
                    <a:cubicBezTo>
                      <a:pt x="888" y="819"/>
                      <a:pt x="862" y="866"/>
                      <a:pt x="831" y="909"/>
                    </a:cubicBezTo>
                    <a:cubicBezTo>
                      <a:pt x="824" y="919"/>
                      <a:pt x="816" y="927"/>
                      <a:pt x="810" y="938"/>
                    </a:cubicBezTo>
                    <a:cubicBezTo>
                      <a:pt x="800" y="954"/>
                      <a:pt x="792" y="972"/>
                      <a:pt x="783" y="991"/>
                    </a:cubicBezTo>
                    <a:close/>
                    <a:moveTo>
                      <a:pt x="225" y="382"/>
                    </a:moveTo>
                    <a:cubicBezTo>
                      <a:pt x="230" y="373"/>
                      <a:pt x="233" y="363"/>
                      <a:pt x="240" y="355"/>
                    </a:cubicBezTo>
                    <a:cubicBezTo>
                      <a:pt x="246" y="347"/>
                      <a:pt x="255" y="341"/>
                      <a:pt x="262" y="334"/>
                    </a:cubicBezTo>
                    <a:cubicBezTo>
                      <a:pt x="263" y="335"/>
                      <a:pt x="262" y="334"/>
                      <a:pt x="262" y="334"/>
                    </a:cubicBezTo>
                    <a:cubicBezTo>
                      <a:pt x="243" y="323"/>
                      <a:pt x="227" y="309"/>
                      <a:pt x="213" y="292"/>
                    </a:cubicBezTo>
                    <a:cubicBezTo>
                      <a:pt x="210" y="288"/>
                      <a:pt x="201" y="285"/>
                      <a:pt x="197" y="287"/>
                    </a:cubicBezTo>
                    <a:cubicBezTo>
                      <a:pt x="181" y="296"/>
                      <a:pt x="170" y="310"/>
                      <a:pt x="165" y="329"/>
                    </a:cubicBezTo>
                    <a:cubicBezTo>
                      <a:pt x="164" y="333"/>
                      <a:pt x="165" y="336"/>
                      <a:pt x="169" y="338"/>
                    </a:cubicBezTo>
                    <a:cubicBezTo>
                      <a:pt x="174" y="342"/>
                      <a:pt x="179" y="346"/>
                      <a:pt x="183" y="351"/>
                    </a:cubicBezTo>
                    <a:cubicBezTo>
                      <a:pt x="195" y="365"/>
                      <a:pt x="208" y="378"/>
                      <a:pt x="225" y="382"/>
                    </a:cubicBezTo>
                    <a:close/>
                    <a:moveTo>
                      <a:pt x="428" y="574"/>
                    </a:moveTo>
                    <a:cubicBezTo>
                      <a:pt x="445" y="557"/>
                      <a:pt x="464" y="540"/>
                      <a:pt x="487" y="531"/>
                    </a:cubicBezTo>
                    <a:cubicBezTo>
                      <a:pt x="483" y="517"/>
                      <a:pt x="481" y="515"/>
                      <a:pt x="472" y="514"/>
                    </a:cubicBezTo>
                    <a:cubicBezTo>
                      <a:pt x="459" y="513"/>
                      <a:pt x="447" y="508"/>
                      <a:pt x="435" y="501"/>
                    </a:cubicBezTo>
                    <a:cubicBezTo>
                      <a:pt x="433" y="500"/>
                      <a:pt x="431" y="499"/>
                      <a:pt x="429" y="499"/>
                    </a:cubicBezTo>
                    <a:cubicBezTo>
                      <a:pt x="404" y="505"/>
                      <a:pt x="386" y="520"/>
                      <a:pt x="369" y="537"/>
                    </a:cubicBezTo>
                    <a:cubicBezTo>
                      <a:pt x="389" y="550"/>
                      <a:pt x="408" y="562"/>
                      <a:pt x="428" y="574"/>
                    </a:cubicBezTo>
                    <a:close/>
                    <a:moveTo>
                      <a:pt x="1473" y="525"/>
                    </a:moveTo>
                    <a:cubicBezTo>
                      <a:pt x="1498" y="534"/>
                      <a:pt x="1517" y="552"/>
                      <a:pt x="1535" y="570"/>
                    </a:cubicBezTo>
                    <a:cubicBezTo>
                      <a:pt x="1553" y="556"/>
                      <a:pt x="1568" y="538"/>
                      <a:pt x="1593" y="533"/>
                    </a:cubicBezTo>
                    <a:cubicBezTo>
                      <a:pt x="1575" y="515"/>
                      <a:pt x="1558" y="500"/>
                      <a:pt x="1534" y="494"/>
                    </a:cubicBezTo>
                    <a:cubicBezTo>
                      <a:pt x="1531" y="494"/>
                      <a:pt x="1527" y="495"/>
                      <a:pt x="1524" y="496"/>
                    </a:cubicBezTo>
                    <a:cubicBezTo>
                      <a:pt x="1514" y="500"/>
                      <a:pt x="1504" y="506"/>
                      <a:pt x="1494" y="507"/>
                    </a:cubicBezTo>
                    <a:cubicBezTo>
                      <a:pt x="1482" y="509"/>
                      <a:pt x="1476" y="514"/>
                      <a:pt x="1473" y="525"/>
                    </a:cubicBezTo>
                    <a:close/>
                    <a:moveTo>
                      <a:pt x="1659" y="341"/>
                    </a:moveTo>
                    <a:cubicBezTo>
                      <a:pt x="1664" y="357"/>
                      <a:pt x="1657" y="371"/>
                      <a:pt x="1650" y="384"/>
                    </a:cubicBezTo>
                    <a:cubicBezTo>
                      <a:pt x="1659" y="388"/>
                      <a:pt x="1668" y="392"/>
                      <a:pt x="1676" y="397"/>
                    </a:cubicBezTo>
                    <a:cubicBezTo>
                      <a:pt x="1685" y="403"/>
                      <a:pt x="1691" y="410"/>
                      <a:pt x="1699" y="417"/>
                    </a:cubicBezTo>
                    <a:cubicBezTo>
                      <a:pt x="1705" y="413"/>
                      <a:pt x="1712" y="409"/>
                      <a:pt x="1718" y="404"/>
                    </a:cubicBezTo>
                    <a:cubicBezTo>
                      <a:pt x="1726" y="397"/>
                      <a:pt x="1733" y="380"/>
                      <a:pt x="1730" y="372"/>
                    </a:cubicBezTo>
                    <a:cubicBezTo>
                      <a:pt x="1723" y="356"/>
                      <a:pt x="1714" y="341"/>
                      <a:pt x="1697" y="334"/>
                    </a:cubicBezTo>
                    <a:cubicBezTo>
                      <a:pt x="1694" y="333"/>
                      <a:pt x="1690" y="333"/>
                      <a:pt x="1687" y="333"/>
                    </a:cubicBezTo>
                    <a:cubicBezTo>
                      <a:pt x="1678" y="336"/>
                      <a:pt x="1669" y="338"/>
                      <a:pt x="1659" y="341"/>
                    </a:cubicBezTo>
                    <a:close/>
                    <a:moveTo>
                      <a:pt x="302" y="347"/>
                    </a:moveTo>
                    <a:cubicBezTo>
                      <a:pt x="292" y="344"/>
                      <a:pt x="283" y="341"/>
                      <a:pt x="273" y="339"/>
                    </a:cubicBezTo>
                    <a:cubicBezTo>
                      <a:pt x="270" y="338"/>
                      <a:pt x="267" y="339"/>
                      <a:pt x="264" y="340"/>
                    </a:cubicBezTo>
                    <a:cubicBezTo>
                      <a:pt x="250" y="346"/>
                      <a:pt x="241" y="357"/>
                      <a:pt x="235" y="370"/>
                    </a:cubicBezTo>
                    <a:cubicBezTo>
                      <a:pt x="231" y="377"/>
                      <a:pt x="227" y="384"/>
                      <a:pt x="234" y="392"/>
                    </a:cubicBezTo>
                    <a:cubicBezTo>
                      <a:pt x="236" y="393"/>
                      <a:pt x="235" y="396"/>
                      <a:pt x="236" y="399"/>
                    </a:cubicBezTo>
                    <a:cubicBezTo>
                      <a:pt x="238" y="402"/>
                      <a:pt x="240" y="406"/>
                      <a:pt x="242" y="408"/>
                    </a:cubicBezTo>
                    <a:cubicBezTo>
                      <a:pt x="249" y="414"/>
                      <a:pt x="255" y="419"/>
                      <a:pt x="262" y="424"/>
                    </a:cubicBezTo>
                    <a:cubicBezTo>
                      <a:pt x="275" y="407"/>
                      <a:pt x="291" y="396"/>
                      <a:pt x="311" y="391"/>
                    </a:cubicBezTo>
                    <a:cubicBezTo>
                      <a:pt x="304" y="377"/>
                      <a:pt x="296" y="363"/>
                      <a:pt x="302" y="347"/>
                    </a:cubicBezTo>
                    <a:close/>
                    <a:moveTo>
                      <a:pt x="1347" y="602"/>
                    </a:moveTo>
                    <a:cubicBezTo>
                      <a:pt x="1350" y="606"/>
                      <a:pt x="1353" y="610"/>
                      <a:pt x="1356" y="614"/>
                    </a:cubicBezTo>
                    <a:cubicBezTo>
                      <a:pt x="1369" y="632"/>
                      <a:pt x="1382" y="651"/>
                      <a:pt x="1384" y="674"/>
                    </a:cubicBezTo>
                    <a:cubicBezTo>
                      <a:pt x="1385" y="686"/>
                      <a:pt x="1389" y="696"/>
                      <a:pt x="1396" y="706"/>
                    </a:cubicBezTo>
                    <a:cubicBezTo>
                      <a:pt x="1421" y="737"/>
                      <a:pt x="1433" y="775"/>
                      <a:pt x="1444" y="813"/>
                    </a:cubicBezTo>
                    <a:cubicBezTo>
                      <a:pt x="1450" y="791"/>
                      <a:pt x="1449" y="769"/>
                      <a:pt x="1443" y="748"/>
                    </a:cubicBezTo>
                    <a:cubicBezTo>
                      <a:pt x="1429" y="688"/>
                      <a:pt x="1394" y="641"/>
                      <a:pt x="1347" y="602"/>
                    </a:cubicBezTo>
                    <a:close/>
                    <a:moveTo>
                      <a:pt x="614" y="608"/>
                    </a:moveTo>
                    <a:cubicBezTo>
                      <a:pt x="614" y="608"/>
                      <a:pt x="613" y="607"/>
                      <a:pt x="613" y="607"/>
                    </a:cubicBezTo>
                    <a:cubicBezTo>
                      <a:pt x="612" y="608"/>
                      <a:pt x="611" y="609"/>
                      <a:pt x="610" y="610"/>
                    </a:cubicBezTo>
                    <a:cubicBezTo>
                      <a:pt x="598" y="618"/>
                      <a:pt x="591" y="631"/>
                      <a:pt x="581" y="641"/>
                    </a:cubicBezTo>
                    <a:cubicBezTo>
                      <a:pt x="543" y="683"/>
                      <a:pt x="515" y="730"/>
                      <a:pt x="513" y="788"/>
                    </a:cubicBezTo>
                    <a:cubicBezTo>
                      <a:pt x="512" y="800"/>
                      <a:pt x="514" y="814"/>
                      <a:pt x="517" y="819"/>
                    </a:cubicBezTo>
                    <a:cubicBezTo>
                      <a:pt x="526" y="782"/>
                      <a:pt x="540" y="745"/>
                      <a:pt x="563" y="714"/>
                    </a:cubicBezTo>
                    <a:cubicBezTo>
                      <a:pt x="570" y="703"/>
                      <a:pt x="578" y="694"/>
                      <a:pt x="576" y="681"/>
                    </a:cubicBezTo>
                    <a:cubicBezTo>
                      <a:pt x="576" y="680"/>
                      <a:pt x="576" y="679"/>
                      <a:pt x="576" y="678"/>
                    </a:cubicBezTo>
                    <a:cubicBezTo>
                      <a:pt x="580" y="658"/>
                      <a:pt x="589" y="641"/>
                      <a:pt x="601" y="624"/>
                    </a:cubicBezTo>
                    <a:cubicBezTo>
                      <a:pt x="605" y="619"/>
                      <a:pt x="610" y="613"/>
                      <a:pt x="614" y="608"/>
                    </a:cubicBezTo>
                    <a:close/>
                    <a:moveTo>
                      <a:pt x="1336" y="584"/>
                    </a:moveTo>
                    <a:cubicBezTo>
                      <a:pt x="1346" y="593"/>
                      <a:pt x="1357" y="602"/>
                      <a:pt x="1366" y="611"/>
                    </a:cubicBezTo>
                    <a:cubicBezTo>
                      <a:pt x="1372" y="617"/>
                      <a:pt x="1378" y="621"/>
                      <a:pt x="1387" y="620"/>
                    </a:cubicBezTo>
                    <a:cubicBezTo>
                      <a:pt x="1393" y="620"/>
                      <a:pt x="1399" y="621"/>
                      <a:pt x="1405" y="622"/>
                    </a:cubicBezTo>
                    <a:cubicBezTo>
                      <a:pt x="1418" y="624"/>
                      <a:pt x="1432" y="627"/>
                      <a:pt x="1445" y="616"/>
                    </a:cubicBezTo>
                    <a:cubicBezTo>
                      <a:pt x="1441" y="610"/>
                      <a:pt x="1437" y="604"/>
                      <a:pt x="1432" y="599"/>
                    </a:cubicBezTo>
                    <a:cubicBezTo>
                      <a:pt x="1421" y="586"/>
                      <a:pt x="1410" y="574"/>
                      <a:pt x="1396" y="566"/>
                    </a:cubicBezTo>
                    <a:cubicBezTo>
                      <a:pt x="1392" y="563"/>
                      <a:pt x="1389" y="564"/>
                      <a:pt x="1385" y="567"/>
                    </a:cubicBezTo>
                    <a:cubicBezTo>
                      <a:pt x="1378" y="573"/>
                      <a:pt x="1371" y="577"/>
                      <a:pt x="1362" y="580"/>
                    </a:cubicBezTo>
                    <a:cubicBezTo>
                      <a:pt x="1354" y="583"/>
                      <a:pt x="1345" y="583"/>
                      <a:pt x="1336" y="584"/>
                    </a:cubicBezTo>
                    <a:close/>
                    <a:moveTo>
                      <a:pt x="627" y="589"/>
                    </a:moveTo>
                    <a:cubicBezTo>
                      <a:pt x="622" y="589"/>
                      <a:pt x="620" y="589"/>
                      <a:pt x="617" y="589"/>
                    </a:cubicBezTo>
                    <a:cubicBezTo>
                      <a:pt x="603" y="587"/>
                      <a:pt x="587" y="586"/>
                      <a:pt x="577" y="575"/>
                    </a:cubicBezTo>
                    <a:cubicBezTo>
                      <a:pt x="572" y="569"/>
                      <a:pt x="568" y="570"/>
                      <a:pt x="563" y="573"/>
                    </a:cubicBezTo>
                    <a:cubicBezTo>
                      <a:pt x="545" y="585"/>
                      <a:pt x="532" y="601"/>
                      <a:pt x="519" y="617"/>
                    </a:cubicBezTo>
                    <a:cubicBezTo>
                      <a:pt x="518" y="618"/>
                      <a:pt x="517" y="620"/>
                      <a:pt x="516" y="623"/>
                    </a:cubicBezTo>
                    <a:cubicBezTo>
                      <a:pt x="520" y="624"/>
                      <a:pt x="523" y="626"/>
                      <a:pt x="526" y="626"/>
                    </a:cubicBezTo>
                    <a:cubicBezTo>
                      <a:pt x="538" y="627"/>
                      <a:pt x="550" y="627"/>
                      <a:pt x="563" y="627"/>
                    </a:cubicBezTo>
                    <a:cubicBezTo>
                      <a:pt x="576" y="628"/>
                      <a:pt x="589" y="626"/>
                      <a:pt x="598" y="614"/>
                    </a:cubicBezTo>
                    <a:cubicBezTo>
                      <a:pt x="599" y="612"/>
                      <a:pt x="601" y="611"/>
                      <a:pt x="603" y="609"/>
                    </a:cubicBezTo>
                    <a:cubicBezTo>
                      <a:pt x="610" y="603"/>
                      <a:pt x="618" y="597"/>
                      <a:pt x="627" y="589"/>
                    </a:cubicBezTo>
                    <a:close/>
                    <a:moveTo>
                      <a:pt x="1000" y="349"/>
                    </a:moveTo>
                    <a:cubicBezTo>
                      <a:pt x="997" y="342"/>
                      <a:pt x="995" y="332"/>
                      <a:pt x="991" y="322"/>
                    </a:cubicBezTo>
                    <a:cubicBezTo>
                      <a:pt x="989" y="317"/>
                      <a:pt x="984" y="315"/>
                      <a:pt x="978" y="315"/>
                    </a:cubicBezTo>
                    <a:cubicBezTo>
                      <a:pt x="973" y="316"/>
                      <a:pt x="968" y="319"/>
                      <a:pt x="966" y="325"/>
                    </a:cubicBezTo>
                    <a:cubicBezTo>
                      <a:pt x="961" y="343"/>
                      <a:pt x="959" y="360"/>
                      <a:pt x="960" y="379"/>
                    </a:cubicBezTo>
                    <a:cubicBezTo>
                      <a:pt x="961" y="390"/>
                      <a:pt x="964" y="401"/>
                      <a:pt x="972" y="410"/>
                    </a:cubicBezTo>
                    <a:cubicBezTo>
                      <a:pt x="978" y="417"/>
                      <a:pt x="984" y="417"/>
                      <a:pt x="989" y="409"/>
                    </a:cubicBezTo>
                    <a:cubicBezTo>
                      <a:pt x="991" y="405"/>
                      <a:pt x="993" y="401"/>
                      <a:pt x="993" y="397"/>
                    </a:cubicBezTo>
                    <a:cubicBezTo>
                      <a:pt x="996" y="382"/>
                      <a:pt x="997" y="367"/>
                      <a:pt x="1000" y="349"/>
                    </a:cubicBezTo>
                    <a:close/>
                    <a:moveTo>
                      <a:pt x="374" y="30"/>
                    </a:moveTo>
                    <a:cubicBezTo>
                      <a:pt x="374" y="29"/>
                      <a:pt x="374" y="27"/>
                      <a:pt x="374" y="26"/>
                    </a:cubicBezTo>
                    <a:cubicBezTo>
                      <a:pt x="369" y="24"/>
                      <a:pt x="364" y="20"/>
                      <a:pt x="359" y="20"/>
                    </a:cubicBezTo>
                    <a:cubicBezTo>
                      <a:pt x="346" y="19"/>
                      <a:pt x="332" y="18"/>
                      <a:pt x="320" y="20"/>
                    </a:cubicBezTo>
                    <a:cubicBezTo>
                      <a:pt x="286" y="24"/>
                      <a:pt x="254" y="30"/>
                      <a:pt x="222" y="43"/>
                    </a:cubicBezTo>
                    <a:cubicBezTo>
                      <a:pt x="214" y="46"/>
                      <a:pt x="206" y="50"/>
                      <a:pt x="197" y="53"/>
                    </a:cubicBezTo>
                    <a:cubicBezTo>
                      <a:pt x="198" y="54"/>
                      <a:pt x="198" y="55"/>
                      <a:pt x="198" y="56"/>
                    </a:cubicBezTo>
                    <a:cubicBezTo>
                      <a:pt x="257" y="48"/>
                      <a:pt x="316" y="45"/>
                      <a:pt x="374" y="30"/>
                    </a:cubicBezTo>
                    <a:close/>
                    <a:moveTo>
                      <a:pt x="1587" y="21"/>
                    </a:moveTo>
                    <a:cubicBezTo>
                      <a:pt x="1598" y="30"/>
                      <a:pt x="1741" y="52"/>
                      <a:pt x="1764" y="48"/>
                    </a:cubicBezTo>
                    <a:cubicBezTo>
                      <a:pt x="1761" y="47"/>
                      <a:pt x="1759" y="45"/>
                      <a:pt x="1756" y="44"/>
                    </a:cubicBezTo>
                    <a:cubicBezTo>
                      <a:pt x="1729" y="33"/>
                      <a:pt x="1702" y="23"/>
                      <a:pt x="1672" y="19"/>
                    </a:cubicBezTo>
                    <a:cubicBezTo>
                      <a:pt x="1652" y="17"/>
                      <a:pt x="1632" y="14"/>
                      <a:pt x="1612" y="12"/>
                    </a:cubicBezTo>
                    <a:cubicBezTo>
                      <a:pt x="1603" y="11"/>
                      <a:pt x="1594" y="15"/>
                      <a:pt x="1587" y="21"/>
                    </a:cubicBezTo>
                    <a:close/>
                    <a:moveTo>
                      <a:pt x="965" y="608"/>
                    </a:moveTo>
                    <a:cubicBezTo>
                      <a:pt x="947" y="672"/>
                      <a:pt x="919" y="733"/>
                      <a:pt x="895" y="794"/>
                    </a:cubicBezTo>
                    <a:cubicBezTo>
                      <a:pt x="932" y="738"/>
                      <a:pt x="962" y="678"/>
                      <a:pt x="965" y="608"/>
                    </a:cubicBezTo>
                    <a:close/>
                    <a:moveTo>
                      <a:pt x="1065" y="789"/>
                    </a:moveTo>
                    <a:cubicBezTo>
                      <a:pt x="1065" y="789"/>
                      <a:pt x="1065" y="789"/>
                      <a:pt x="1065" y="789"/>
                    </a:cubicBezTo>
                    <a:cubicBezTo>
                      <a:pt x="1042" y="728"/>
                      <a:pt x="1019" y="668"/>
                      <a:pt x="996" y="607"/>
                    </a:cubicBezTo>
                    <a:cubicBezTo>
                      <a:pt x="997" y="608"/>
                      <a:pt x="997" y="609"/>
                      <a:pt x="997" y="611"/>
                    </a:cubicBezTo>
                    <a:cubicBezTo>
                      <a:pt x="1002" y="630"/>
                      <a:pt x="1006" y="650"/>
                      <a:pt x="1011" y="669"/>
                    </a:cubicBezTo>
                    <a:cubicBezTo>
                      <a:pt x="1014" y="682"/>
                      <a:pt x="1016" y="694"/>
                      <a:pt x="1020" y="706"/>
                    </a:cubicBezTo>
                    <a:cubicBezTo>
                      <a:pt x="1026" y="720"/>
                      <a:pt x="1033" y="733"/>
                      <a:pt x="1041" y="747"/>
                    </a:cubicBezTo>
                    <a:cubicBezTo>
                      <a:pt x="1048" y="761"/>
                      <a:pt x="1057" y="775"/>
                      <a:pt x="1065" y="789"/>
                    </a:cubicBezTo>
                    <a:close/>
                    <a:moveTo>
                      <a:pt x="988" y="311"/>
                    </a:moveTo>
                    <a:cubicBezTo>
                      <a:pt x="994" y="298"/>
                      <a:pt x="996" y="285"/>
                      <a:pt x="986" y="274"/>
                    </a:cubicBezTo>
                    <a:cubicBezTo>
                      <a:pt x="984" y="272"/>
                      <a:pt x="979" y="270"/>
                      <a:pt x="976" y="269"/>
                    </a:cubicBezTo>
                    <a:cubicBezTo>
                      <a:pt x="970" y="269"/>
                      <a:pt x="962" y="279"/>
                      <a:pt x="961" y="286"/>
                    </a:cubicBezTo>
                    <a:cubicBezTo>
                      <a:pt x="961" y="292"/>
                      <a:pt x="968" y="306"/>
                      <a:pt x="973" y="307"/>
                    </a:cubicBezTo>
                    <a:cubicBezTo>
                      <a:pt x="978" y="308"/>
                      <a:pt x="983" y="309"/>
                      <a:pt x="988" y="311"/>
                    </a:cubicBezTo>
                    <a:close/>
                    <a:moveTo>
                      <a:pt x="904" y="268"/>
                    </a:moveTo>
                    <a:cubicBezTo>
                      <a:pt x="904" y="268"/>
                      <a:pt x="904" y="268"/>
                      <a:pt x="904" y="268"/>
                    </a:cubicBezTo>
                    <a:cubicBezTo>
                      <a:pt x="922" y="290"/>
                      <a:pt x="940" y="312"/>
                      <a:pt x="958" y="334"/>
                    </a:cubicBezTo>
                    <a:cubicBezTo>
                      <a:pt x="963" y="323"/>
                      <a:pt x="963" y="323"/>
                      <a:pt x="955" y="315"/>
                    </a:cubicBezTo>
                    <a:cubicBezTo>
                      <a:pt x="950" y="311"/>
                      <a:pt x="946" y="307"/>
                      <a:pt x="942" y="303"/>
                    </a:cubicBezTo>
                    <a:cubicBezTo>
                      <a:pt x="929" y="291"/>
                      <a:pt x="916" y="280"/>
                      <a:pt x="904" y="268"/>
                    </a:cubicBezTo>
                    <a:close/>
                    <a:moveTo>
                      <a:pt x="1001" y="331"/>
                    </a:moveTo>
                    <a:cubicBezTo>
                      <a:pt x="1020" y="308"/>
                      <a:pt x="1038" y="285"/>
                      <a:pt x="1057" y="262"/>
                    </a:cubicBezTo>
                    <a:cubicBezTo>
                      <a:pt x="1057" y="262"/>
                      <a:pt x="1057" y="262"/>
                      <a:pt x="1057" y="262"/>
                    </a:cubicBezTo>
                    <a:cubicBezTo>
                      <a:pt x="1037" y="281"/>
                      <a:pt x="1016" y="301"/>
                      <a:pt x="996" y="320"/>
                    </a:cubicBezTo>
                    <a:cubicBezTo>
                      <a:pt x="998" y="324"/>
                      <a:pt x="1000" y="328"/>
                      <a:pt x="1001" y="331"/>
                    </a:cubicBezTo>
                    <a:close/>
                    <a:moveTo>
                      <a:pt x="167" y="88"/>
                    </a:moveTo>
                    <a:cubicBezTo>
                      <a:pt x="158" y="85"/>
                      <a:pt x="150" y="83"/>
                      <a:pt x="142" y="90"/>
                    </a:cubicBezTo>
                    <a:cubicBezTo>
                      <a:pt x="141" y="91"/>
                      <a:pt x="141" y="96"/>
                      <a:pt x="142" y="97"/>
                    </a:cubicBezTo>
                    <a:cubicBezTo>
                      <a:pt x="148" y="101"/>
                      <a:pt x="164" y="95"/>
                      <a:pt x="167" y="88"/>
                    </a:cubicBezTo>
                    <a:close/>
                    <a:moveTo>
                      <a:pt x="1794" y="82"/>
                    </a:moveTo>
                    <a:cubicBezTo>
                      <a:pt x="1797" y="89"/>
                      <a:pt x="1806" y="93"/>
                      <a:pt x="1815" y="91"/>
                    </a:cubicBezTo>
                    <a:cubicBezTo>
                      <a:pt x="1817" y="91"/>
                      <a:pt x="1820" y="90"/>
                      <a:pt x="1820" y="88"/>
                    </a:cubicBezTo>
                    <a:cubicBezTo>
                      <a:pt x="1821" y="87"/>
                      <a:pt x="1819" y="84"/>
                      <a:pt x="1818" y="83"/>
                    </a:cubicBezTo>
                    <a:cubicBezTo>
                      <a:pt x="1810" y="77"/>
                      <a:pt x="1802" y="79"/>
                      <a:pt x="1794" y="82"/>
                    </a:cubicBezTo>
                    <a:close/>
                    <a:moveTo>
                      <a:pt x="99" y="165"/>
                    </a:moveTo>
                    <a:cubicBezTo>
                      <a:pt x="95" y="159"/>
                      <a:pt x="76" y="156"/>
                      <a:pt x="72" y="161"/>
                    </a:cubicBezTo>
                    <a:cubicBezTo>
                      <a:pt x="71" y="162"/>
                      <a:pt x="71" y="165"/>
                      <a:pt x="72" y="166"/>
                    </a:cubicBezTo>
                    <a:cubicBezTo>
                      <a:pt x="78" y="171"/>
                      <a:pt x="92" y="170"/>
                      <a:pt x="99" y="165"/>
                    </a:cubicBezTo>
                    <a:close/>
                    <a:moveTo>
                      <a:pt x="1861" y="158"/>
                    </a:moveTo>
                    <a:cubicBezTo>
                      <a:pt x="1868" y="164"/>
                      <a:pt x="1883" y="165"/>
                      <a:pt x="1888" y="160"/>
                    </a:cubicBezTo>
                    <a:cubicBezTo>
                      <a:pt x="1889" y="159"/>
                      <a:pt x="1891" y="157"/>
                      <a:pt x="1890" y="157"/>
                    </a:cubicBezTo>
                    <a:cubicBezTo>
                      <a:pt x="1890" y="155"/>
                      <a:pt x="1888" y="154"/>
                      <a:pt x="1887" y="154"/>
                    </a:cubicBezTo>
                    <a:cubicBezTo>
                      <a:pt x="1880" y="153"/>
                      <a:pt x="1874" y="153"/>
                      <a:pt x="1868" y="154"/>
                    </a:cubicBezTo>
                    <a:cubicBezTo>
                      <a:pt x="1866" y="154"/>
                      <a:pt x="1864" y="157"/>
                      <a:pt x="1861" y="158"/>
                    </a:cubicBezTo>
                    <a:close/>
                    <a:moveTo>
                      <a:pt x="101" y="117"/>
                    </a:moveTo>
                    <a:cubicBezTo>
                      <a:pt x="95" y="110"/>
                      <a:pt x="79" y="108"/>
                      <a:pt x="71" y="113"/>
                    </a:cubicBezTo>
                    <a:cubicBezTo>
                      <a:pt x="76" y="121"/>
                      <a:pt x="92" y="124"/>
                      <a:pt x="101" y="117"/>
                    </a:cubicBezTo>
                    <a:close/>
                    <a:moveTo>
                      <a:pt x="1860" y="111"/>
                    </a:moveTo>
                    <a:cubicBezTo>
                      <a:pt x="1869" y="118"/>
                      <a:pt x="1886" y="115"/>
                      <a:pt x="1890" y="106"/>
                    </a:cubicBezTo>
                    <a:cubicBezTo>
                      <a:pt x="1881" y="102"/>
                      <a:pt x="1867" y="104"/>
                      <a:pt x="1860" y="111"/>
                    </a:cubicBez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54" name="Arc 53">
              <a:extLst>
                <a:ext uri="{FF2B5EF4-FFF2-40B4-BE49-F238E27FC236}">
                  <a16:creationId xmlns:a16="http://schemas.microsoft.com/office/drawing/2014/main" id="{9482A01B-C4D7-48B6-8850-7882C925F2D3}"/>
                </a:ext>
              </a:extLst>
            </p:cNvPr>
            <p:cNvSpPr/>
            <p:nvPr/>
          </p:nvSpPr>
          <p:spPr>
            <a:xfrm>
              <a:off x="7452798" y="1503397"/>
              <a:ext cx="2256154" cy="2256154"/>
            </a:xfrm>
            <a:prstGeom prst="arc">
              <a:avLst>
                <a:gd name="adj1" fmla="val 105699"/>
                <a:gd name="adj2" fmla="val 5806803"/>
              </a:avLst>
            </a:prstGeom>
            <a:noFill/>
            <a:ln w="6350">
              <a:solidFill>
                <a:srgbClr val="ACAFB1"/>
              </a:solid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r>
                <a:rPr lang="en-GB" sz="1100" noProof="0" dirty="0">
                  <a:solidFill>
                    <a:srgbClr val="2F363B"/>
                  </a:solidFill>
                </a:rPr>
                <a:t> </a:t>
              </a:r>
            </a:p>
          </p:txBody>
        </p:sp>
      </p:grpSp>
    </p:spTree>
    <p:extLst>
      <p:ext uri="{BB962C8B-B14F-4D97-AF65-F5344CB8AC3E}">
        <p14:creationId xmlns:p14="http://schemas.microsoft.com/office/powerpoint/2010/main" val="3079403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Picture 2" descr="Billedresultat for being curious">
            <a:hlinkClick r:id="rId3"/>
          </p:cNvPr>
          <p:cNvPicPr>
            <a:picLocks noChangeAspect="1" noChangeArrowheads="1"/>
          </p:cNvPicPr>
          <p:nvPr/>
        </p:nvPicPr>
        <p:blipFill rotWithShape="1">
          <a:blip r:embed="rId4">
            <a:grayscl/>
            <a:extLst>
              <a:ext uri="{28A0092B-C50C-407E-A947-70E740481C1C}">
                <a14:useLocalDpi xmlns:a14="http://schemas.microsoft.com/office/drawing/2010/main" val="0"/>
              </a:ext>
            </a:extLst>
          </a:blip>
          <a:srcRect l="7419" r="27860"/>
          <a:stretch/>
        </p:blipFill>
        <p:spPr bwMode="auto">
          <a:xfrm>
            <a:off x="5076825" y="1630247"/>
            <a:ext cx="4557713" cy="468641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en-GB" dirty="0"/>
              <a:t>What is new in the real feedback approach?</a:t>
            </a:r>
          </a:p>
        </p:txBody>
      </p:sp>
      <p:sp>
        <p:nvSpPr>
          <p:cNvPr id="56" name="Text Placeholder 55">
            <a:extLst>
              <a:ext uri="{FF2B5EF4-FFF2-40B4-BE49-F238E27FC236}">
                <a16:creationId xmlns:a16="http://schemas.microsoft.com/office/drawing/2014/main" id="{8D91751B-E4D3-44A6-825C-AFB72C6D1B1E}"/>
              </a:ext>
            </a:extLst>
          </p:cNvPr>
          <p:cNvSpPr>
            <a:spLocks noGrp="1"/>
          </p:cNvSpPr>
          <p:nvPr>
            <p:ph type="body" sz="quarter" idx="13"/>
          </p:nvPr>
        </p:nvSpPr>
        <p:spPr/>
        <p:txBody>
          <a:bodyPr/>
          <a:lstStyle/>
          <a:p>
            <a:endParaRPr lang="en-GB" dirty="0"/>
          </a:p>
        </p:txBody>
      </p:sp>
      <p:sp>
        <p:nvSpPr>
          <p:cNvPr id="57" name="Text Placeholder 56">
            <a:extLst>
              <a:ext uri="{FF2B5EF4-FFF2-40B4-BE49-F238E27FC236}">
                <a16:creationId xmlns:a16="http://schemas.microsoft.com/office/drawing/2014/main" id="{6A13FECC-29AF-42D2-957E-3780900361D0}"/>
              </a:ext>
            </a:extLst>
          </p:cNvPr>
          <p:cNvSpPr>
            <a:spLocks noGrp="1"/>
          </p:cNvSpPr>
          <p:nvPr>
            <p:ph type="body" sz="quarter" idx="14"/>
          </p:nvPr>
        </p:nvSpPr>
        <p:spPr/>
        <p:txBody>
          <a:bodyPr/>
          <a:lstStyle/>
          <a:p>
            <a:endParaRPr lang="en-GB" dirty="0"/>
          </a:p>
        </p:txBody>
      </p:sp>
      <p:sp>
        <p:nvSpPr>
          <p:cNvPr id="6" name="TextBox 5"/>
          <p:cNvSpPr txBox="1"/>
          <p:nvPr/>
        </p:nvSpPr>
        <p:spPr>
          <a:xfrm>
            <a:off x="344488" y="1412776"/>
            <a:ext cx="6916280" cy="615553"/>
          </a:xfrm>
          <a:prstGeom prst="rect">
            <a:avLst/>
          </a:prstGeom>
          <a:noFill/>
        </p:spPr>
        <p:txBody>
          <a:bodyPr wrap="square" lIns="0" tIns="0" rIns="0" bIns="0" rtlCol="0">
            <a:spAutoFit/>
          </a:bodyPr>
          <a:lstStyle/>
          <a:p>
            <a:pPr>
              <a:spcBef>
                <a:spcPts val="600"/>
              </a:spcBef>
            </a:pPr>
            <a:br>
              <a:rPr lang="en-GB" sz="2000" b="1" dirty="0">
                <a:solidFill>
                  <a:schemeClr val="bg1"/>
                </a:solidFill>
              </a:rPr>
            </a:br>
            <a:endParaRPr lang="en-GB" sz="2000" dirty="0">
              <a:solidFill>
                <a:schemeClr val="bg1"/>
              </a:solidFill>
              <a:latin typeface="Arial" pitchFamily="34" charset="0"/>
              <a:cs typeface="Arial" pitchFamily="34" charset="0"/>
            </a:endParaRPr>
          </a:p>
        </p:txBody>
      </p:sp>
      <p:sp>
        <p:nvSpPr>
          <p:cNvPr id="36" name="Rectangle 35">
            <a:extLst>
              <a:ext uri="{FF2B5EF4-FFF2-40B4-BE49-F238E27FC236}">
                <a16:creationId xmlns:a16="http://schemas.microsoft.com/office/drawing/2014/main" id="{2B4D5B2B-6F4C-4B1E-AA50-E4DA6F72825E}"/>
              </a:ext>
            </a:extLst>
          </p:cNvPr>
          <p:cNvSpPr/>
          <p:nvPr/>
        </p:nvSpPr>
        <p:spPr>
          <a:xfrm>
            <a:off x="4172154" y="1442801"/>
            <a:ext cx="4337861" cy="900110"/>
          </a:xfrm>
          <a:prstGeom prst="rect">
            <a:avLst/>
          </a:prstGeom>
          <a:solidFill>
            <a:srgbClr val="F3F2F0"/>
          </a:solidFill>
        </p:spPr>
        <p:txBody>
          <a:bodyPr wrap="square" lIns="144000" tIns="72000" rIns="144000" bIns="72000" anchor="ctr">
            <a:noAutofit/>
          </a:bodyPr>
          <a:lstStyle/>
          <a:p>
            <a:pPr algn="ctr"/>
            <a:r>
              <a:rPr lang="en-GB" sz="4000" dirty="0">
                <a:latin typeface="Impact" panose="020B0806030902050204" pitchFamily="34" charset="0"/>
              </a:rPr>
              <a:t>… BEING CURIOUS</a:t>
            </a:r>
          </a:p>
        </p:txBody>
      </p:sp>
      <p:sp>
        <p:nvSpPr>
          <p:cNvPr id="95" name="TextBox 94">
            <a:extLst>
              <a:ext uri="{FF2B5EF4-FFF2-40B4-BE49-F238E27FC236}">
                <a16:creationId xmlns:a16="http://schemas.microsoft.com/office/drawing/2014/main" id="{1660621B-F9C9-4612-936F-AA1F2F6D9358}"/>
              </a:ext>
            </a:extLst>
          </p:cNvPr>
          <p:cNvSpPr txBox="1"/>
          <p:nvPr/>
        </p:nvSpPr>
        <p:spPr>
          <a:xfrm>
            <a:off x="269874" y="1583119"/>
            <a:ext cx="2026391" cy="675907"/>
          </a:xfrm>
          <a:prstGeom prst="rect">
            <a:avLst/>
          </a:prstGeom>
          <a:noFill/>
          <a:ln w="6350">
            <a:noFill/>
            <a:prstDash val="sysDash"/>
          </a:ln>
        </p:spPr>
        <p:txBody>
          <a:bodyPr wrap="square" lIns="0" tIns="0" rIns="0" bIns="0" rtlCol="0" anchor="ctr" anchorCtr="0">
            <a:noAutofit/>
          </a:bodyPr>
          <a:lstStyle/>
          <a:p>
            <a:pPr algn="l">
              <a:buFontTx/>
              <a:buNone/>
            </a:pPr>
            <a:r>
              <a:rPr lang="en-GB" sz="9600" dirty="0">
                <a:solidFill>
                  <a:srgbClr val="30373B"/>
                </a:solidFill>
                <a:latin typeface="Impact" panose="020B0806030902050204" pitchFamily="34" charset="0"/>
              </a:rPr>
              <a:t>«</a:t>
            </a:r>
          </a:p>
        </p:txBody>
      </p:sp>
      <p:grpSp>
        <p:nvGrpSpPr>
          <p:cNvPr id="63" name="Group 62">
            <a:extLst>
              <a:ext uri="{FF2B5EF4-FFF2-40B4-BE49-F238E27FC236}">
                <a16:creationId xmlns:a16="http://schemas.microsoft.com/office/drawing/2014/main" id="{78126E78-313D-4542-A350-807A6F3B2F83}"/>
              </a:ext>
            </a:extLst>
          </p:cNvPr>
          <p:cNvGrpSpPr/>
          <p:nvPr/>
        </p:nvGrpSpPr>
        <p:grpSpPr>
          <a:xfrm>
            <a:off x="269874" y="2573608"/>
            <a:ext cx="3981615" cy="1817055"/>
            <a:chOff x="269874" y="2573608"/>
            <a:chExt cx="3981615" cy="1817055"/>
          </a:xfrm>
        </p:grpSpPr>
        <p:sp>
          <p:nvSpPr>
            <p:cNvPr id="96" name="Text Placeholder 1">
              <a:extLst>
                <a:ext uri="{FF2B5EF4-FFF2-40B4-BE49-F238E27FC236}">
                  <a16:creationId xmlns:a16="http://schemas.microsoft.com/office/drawing/2014/main" id="{CB16C865-67EB-4A1C-B3EA-172BDFFF7261}"/>
                </a:ext>
              </a:extLst>
            </p:cNvPr>
            <p:cNvSpPr txBox="1">
              <a:spLocks/>
            </p:cNvSpPr>
            <p:nvPr/>
          </p:nvSpPr>
          <p:spPr>
            <a:xfrm>
              <a:off x="269874" y="2573608"/>
              <a:ext cx="3981615" cy="1030475"/>
            </a:xfrm>
            <a:prstGeom prst="rect">
              <a:avLst/>
            </a:prstGeom>
          </p:spPr>
          <p:txBody>
            <a:bodyPr lIns="0" tIns="0" rIns="0" bIns="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r>
                <a:rPr lang="en-GB" sz="2400" dirty="0"/>
                <a:t>“I have a view worth hearing, but I may be missing something.”</a:t>
              </a:r>
            </a:p>
          </p:txBody>
        </p:sp>
        <p:sp>
          <p:nvSpPr>
            <p:cNvPr id="97" name="Text Placeholder 2">
              <a:extLst>
                <a:ext uri="{FF2B5EF4-FFF2-40B4-BE49-F238E27FC236}">
                  <a16:creationId xmlns:a16="http://schemas.microsoft.com/office/drawing/2014/main" id="{C73F1449-82E8-46FF-9089-CAD32496A883}"/>
                </a:ext>
              </a:extLst>
            </p:cNvPr>
            <p:cNvSpPr txBox="1">
              <a:spLocks/>
            </p:cNvSpPr>
            <p:nvPr/>
          </p:nvSpPr>
          <p:spPr>
            <a:xfrm>
              <a:off x="269874" y="4233248"/>
              <a:ext cx="3695437" cy="157415"/>
            </a:xfrm>
            <a:prstGeom prst="rect">
              <a:avLst/>
            </a:prstGeom>
          </p:spPr>
          <p:txBody>
            <a:bodyPr lIns="0" tIns="0" rIns="0" bIns="0">
              <a:noAutofit/>
            </a:bodyPr>
            <a:lstStyle>
              <a:lvl1pPr marL="0" indent="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3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3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3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3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3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r>
                <a:rPr lang="en-GB" dirty="0"/>
                <a:t>Chris Argyris</a:t>
              </a:r>
            </a:p>
          </p:txBody>
        </p:sp>
        <p:cxnSp>
          <p:nvCxnSpPr>
            <p:cNvPr id="98" name="Straight Connector 97">
              <a:extLst>
                <a:ext uri="{FF2B5EF4-FFF2-40B4-BE49-F238E27FC236}">
                  <a16:creationId xmlns:a16="http://schemas.microsoft.com/office/drawing/2014/main" id="{82BE3AAC-5B4D-4629-9E87-98C4758EAE66}"/>
                </a:ext>
              </a:extLst>
            </p:cNvPr>
            <p:cNvCxnSpPr>
              <a:cxnSpLocks/>
            </p:cNvCxnSpPr>
            <p:nvPr/>
          </p:nvCxnSpPr>
          <p:spPr>
            <a:xfrm>
              <a:off x="269874" y="4078322"/>
              <a:ext cx="3688490" cy="0"/>
            </a:xfrm>
            <a:prstGeom prst="line">
              <a:avLst/>
            </a:prstGeom>
            <a:ln w="6350">
              <a:solidFill>
                <a:schemeClr val="bg1">
                  <a:lumMod val="85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10861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3"/>
                                        </p:tgtEl>
                                        <p:attrNameLst>
                                          <p:attrName>style.visibility</p:attrName>
                                        </p:attrNameLst>
                                      </p:cBhvr>
                                      <p:to>
                                        <p:strVal val="visible"/>
                                      </p:to>
                                    </p:set>
                                    <p:animEffect transition="in" filter="fade">
                                      <p:cBhvr>
                                        <p:cTn id="12"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Shape 47">
            <a:extLst>
              <a:ext uri="{FF2B5EF4-FFF2-40B4-BE49-F238E27FC236}">
                <a16:creationId xmlns:a16="http://schemas.microsoft.com/office/drawing/2014/main" id="{17E9506E-3B93-486E-816A-C46EF214F514}"/>
              </a:ext>
            </a:extLst>
          </p:cNvPr>
          <p:cNvSpPr/>
          <p:nvPr/>
        </p:nvSpPr>
        <p:spPr>
          <a:xfrm>
            <a:off x="2850523" y="1731925"/>
            <a:ext cx="4204955" cy="4204956"/>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EEEBE8"/>
          </a:solidFill>
          <a:ln w="9525" cap="flat">
            <a:noFill/>
            <a:prstDash val="solid"/>
            <a:miter/>
          </a:ln>
        </p:spPr>
        <p:txBody>
          <a:bodyPr rtlCol="0" anchor="ctr"/>
          <a:lstStyle/>
          <a:p>
            <a:endParaRPr lang="en-GB" dirty="0"/>
          </a:p>
        </p:txBody>
      </p:sp>
      <p:sp>
        <p:nvSpPr>
          <p:cNvPr id="49" name="Freeform: Shape 48">
            <a:extLst>
              <a:ext uri="{FF2B5EF4-FFF2-40B4-BE49-F238E27FC236}">
                <a16:creationId xmlns:a16="http://schemas.microsoft.com/office/drawing/2014/main" id="{DAC7496C-C8A0-4570-AB82-7194FF4DB599}"/>
              </a:ext>
            </a:extLst>
          </p:cNvPr>
          <p:cNvSpPr/>
          <p:nvPr/>
        </p:nvSpPr>
        <p:spPr>
          <a:xfrm>
            <a:off x="2686319" y="1576565"/>
            <a:ext cx="4514122" cy="4515676"/>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9"/>
              <a:gd name="connsiteX1" fmla="*/ 1242656 w 1411103"/>
              <a:gd name="connsiteY1" fmla="*/ 248020 h 1411589"/>
              <a:gd name="connsiteX2" fmla="*/ 248333 w 1411103"/>
              <a:gd name="connsiteY2" fmla="*/ 168216 h 1411589"/>
              <a:gd name="connsiteX3" fmla="*/ 167989 w 1411103"/>
              <a:gd name="connsiteY3" fmla="*/ 1163078 h 1411589"/>
              <a:gd name="connsiteX4" fmla="*/ 1162851 w 1411103"/>
              <a:gd name="connsiteY4" fmla="*/ 1243422 h 1411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9">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endParaRPr lang="en-GB" dirty="0"/>
          </a:p>
        </p:txBody>
      </p:sp>
      <p:sp>
        <p:nvSpPr>
          <p:cNvPr id="5" name="Title 1"/>
          <p:cNvSpPr>
            <a:spLocks noGrp="1"/>
          </p:cNvSpPr>
          <p:nvPr>
            <p:ph type="title"/>
          </p:nvPr>
        </p:nvSpPr>
        <p:spPr/>
        <p:txBody>
          <a:bodyPr/>
          <a:lstStyle/>
          <a:p>
            <a:r>
              <a:rPr lang="en-GB" b="1" dirty="0"/>
              <a:t>Real feedback </a:t>
            </a:r>
            <a:r>
              <a:rPr lang="en-GB" dirty="0"/>
              <a:t>– balancing advocacy and inquiry</a:t>
            </a:r>
          </a:p>
        </p:txBody>
      </p:sp>
      <p:sp>
        <p:nvSpPr>
          <p:cNvPr id="17" name="Text Placeholder 16">
            <a:extLst>
              <a:ext uri="{FF2B5EF4-FFF2-40B4-BE49-F238E27FC236}">
                <a16:creationId xmlns:a16="http://schemas.microsoft.com/office/drawing/2014/main" id="{9CB9BE31-4B5E-473D-8598-6630A974418D}"/>
              </a:ext>
            </a:extLst>
          </p:cNvPr>
          <p:cNvSpPr>
            <a:spLocks noGrp="1"/>
          </p:cNvSpPr>
          <p:nvPr>
            <p:ph type="body" sz="quarter" idx="13"/>
          </p:nvPr>
        </p:nvSpPr>
        <p:spPr/>
        <p:txBody>
          <a:bodyPr/>
          <a:lstStyle/>
          <a:p>
            <a:endParaRPr lang="en-GB" dirty="0"/>
          </a:p>
        </p:txBody>
      </p:sp>
      <p:sp>
        <p:nvSpPr>
          <p:cNvPr id="18" name="Text Placeholder 17">
            <a:extLst>
              <a:ext uri="{FF2B5EF4-FFF2-40B4-BE49-F238E27FC236}">
                <a16:creationId xmlns:a16="http://schemas.microsoft.com/office/drawing/2014/main" id="{56E6105C-EAC3-40CB-95B9-6A749A4886DF}"/>
              </a:ext>
            </a:extLst>
          </p:cNvPr>
          <p:cNvSpPr>
            <a:spLocks noGrp="1"/>
          </p:cNvSpPr>
          <p:nvPr>
            <p:ph type="body" sz="quarter" idx="14"/>
          </p:nvPr>
        </p:nvSpPr>
        <p:spPr/>
        <p:txBody>
          <a:bodyPr/>
          <a:lstStyle/>
          <a:p>
            <a:endParaRPr lang="en-GB" dirty="0"/>
          </a:p>
        </p:txBody>
      </p:sp>
      <p:grpSp>
        <p:nvGrpSpPr>
          <p:cNvPr id="19" name="Group 18">
            <a:extLst>
              <a:ext uri="{FF2B5EF4-FFF2-40B4-BE49-F238E27FC236}">
                <a16:creationId xmlns:a16="http://schemas.microsoft.com/office/drawing/2014/main" id="{A3E02AD0-7BEF-4C82-8150-64B71B7E7377}"/>
              </a:ext>
            </a:extLst>
          </p:cNvPr>
          <p:cNvGrpSpPr/>
          <p:nvPr/>
        </p:nvGrpSpPr>
        <p:grpSpPr>
          <a:xfrm>
            <a:off x="5552170" y="2660255"/>
            <a:ext cx="485500" cy="425020"/>
            <a:chOff x="7477125" y="3694113"/>
            <a:chExt cx="458788" cy="401638"/>
          </a:xfrm>
        </p:grpSpPr>
        <p:sp>
          <p:nvSpPr>
            <p:cNvPr id="20" name="Freeform 81">
              <a:extLst>
                <a:ext uri="{FF2B5EF4-FFF2-40B4-BE49-F238E27FC236}">
                  <a16:creationId xmlns:a16="http://schemas.microsoft.com/office/drawing/2014/main" id="{280BAA89-D972-48EF-ADCA-EC5F4D76BD42}"/>
                </a:ext>
              </a:extLst>
            </p:cNvPr>
            <p:cNvSpPr>
              <a:spLocks/>
            </p:cNvSpPr>
            <p:nvPr/>
          </p:nvSpPr>
          <p:spPr bwMode="auto">
            <a:xfrm>
              <a:off x="7477125" y="3694113"/>
              <a:ext cx="404813" cy="352425"/>
            </a:xfrm>
            <a:custGeom>
              <a:avLst/>
              <a:gdLst>
                <a:gd name="T0" fmla="*/ 62 w 90"/>
                <a:gd name="T1" fmla="*/ 69 h 78"/>
                <a:gd name="T2" fmla="*/ 90 w 90"/>
                <a:gd name="T3" fmla="*/ 26 h 78"/>
                <a:gd name="T4" fmla="*/ 64 w 90"/>
                <a:gd name="T5" fmla="*/ 0 h 78"/>
                <a:gd name="T6" fmla="*/ 45 w 90"/>
                <a:gd name="T7" fmla="*/ 7 h 78"/>
                <a:gd name="T8" fmla="*/ 26 w 90"/>
                <a:gd name="T9" fmla="*/ 0 h 78"/>
                <a:gd name="T10" fmla="*/ 0 w 90"/>
                <a:gd name="T11" fmla="*/ 26 h 78"/>
                <a:gd name="T12" fmla="*/ 45 w 90"/>
                <a:gd name="T13" fmla="*/ 78 h 78"/>
                <a:gd name="T14" fmla="*/ 62 w 90"/>
                <a:gd name="T15" fmla="*/ 6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78">
                  <a:moveTo>
                    <a:pt x="62" y="69"/>
                  </a:moveTo>
                  <a:cubicBezTo>
                    <a:pt x="75" y="60"/>
                    <a:pt x="90" y="46"/>
                    <a:pt x="90" y="26"/>
                  </a:cubicBezTo>
                  <a:cubicBezTo>
                    <a:pt x="90" y="12"/>
                    <a:pt x="78" y="0"/>
                    <a:pt x="64" y="0"/>
                  </a:cubicBezTo>
                  <a:cubicBezTo>
                    <a:pt x="56" y="0"/>
                    <a:pt x="50" y="3"/>
                    <a:pt x="45" y="7"/>
                  </a:cubicBezTo>
                  <a:cubicBezTo>
                    <a:pt x="40" y="3"/>
                    <a:pt x="34" y="0"/>
                    <a:pt x="26" y="0"/>
                  </a:cubicBezTo>
                  <a:cubicBezTo>
                    <a:pt x="12" y="0"/>
                    <a:pt x="0" y="12"/>
                    <a:pt x="0" y="26"/>
                  </a:cubicBezTo>
                  <a:cubicBezTo>
                    <a:pt x="0" y="60"/>
                    <a:pt x="45" y="78"/>
                    <a:pt x="45" y="78"/>
                  </a:cubicBezTo>
                  <a:lnTo>
                    <a:pt x="62" y="69"/>
                  </a:ln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82">
              <a:extLst>
                <a:ext uri="{FF2B5EF4-FFF2-40B4-BE49-F238E27FC236}">
                  <a16:creationId xmlns:a16="http://schemas.microsoft.com/office/drawing/2014/main" id="{70589F2D-5EC8-400F-9AB3-1CECAAE732CF}"/>
                </a:ext>
              </a:extLst>
            </p:cNvPr>
            <p:cNvSpPr>
              <a:spLocks/>
            </p:cNvSpPr>
            <p:nvPr/>
          </p:nvSpPr>
          <p:spPr bwMode="auto">
            <a:xfrm>
              <a:off x="7477125" y="3694113"/>
              <a:ext cx="458788" cy="401638"/>
            </a:xfrm>
            <a:custGeom>
              <a:avLst/>
              <a:gdLst>
                <a:gd name="T0" fmla="*/ 70 w 102"/>
                <a:gd name="T1" fmla="*/ 78 h 89"/>
                <a:gd name="T2" fmla="*/ 102 w 102"/>
                <a:gd name="T3" fmla="*/ 30 h 89"/>
                <a:gd name="T4" fmla="*/ 72 w 102"/>
                <a:gd name="T5" fmla="*/ 0 h 89"/>
                <a:gd name="T6" fmla="*/ 51 w 102"/>
                <a:gd name="T7" fmla="*/ 9 h 89"/>
                <a:gd name="T8" fmla="*/ 30 w 102"/>
                <a:gd name="T9" fmla="*/ 0 h 89"/>
                <a:gd name="T10" fmla="*/ 0 w 102"/>
                <a:gd name="T11" fmla="*/ 30 h 89"/>
                <a:gd name="T12" fmla="*/ 51 w 102"/>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02" h="89">
                  <a:moveTo>
                    <a:pt x="70" y="78"/>
                  </a:moveTo>
                  <a:cubicBezTo>
                    <a:pt x="85" y="68"/>
                    <a:pt x="102" y="52"/>
                    <a:pt x="102" y="30"/>
                  </a:cubicBezTo>
                  <a:cubicBezTo>
                    <a:pt x="102" y="14"/>
                    <a:pt x="88" y="0"/>
                    <a:pt x="72" y="0"/>
                  </a:cubicBezTo>
                  <a:cubicBezTo>
                    <a:pt x="64" y="0"/>
                    <a:pt x="56" y="4"/>
                    <a:pt x="51" y="9"/>
                  </a:cubicBezTo>
                  <a:cubicBezTo>
                    <a:pt x="45" y="4"/>
                    <a:pt x="38" y="0"/>
                    <a:pt x="30" y="0"/>
                  </a:cubicBezTo>
                  <a:cubicBezTo>
                    <a:pt x="13" y="0"/>
                    <a:pt x="0" y="14"/>
                    <a:pt x="0" y="30"/>
                  </a:cubicBezTo>
                  <a:cubicBezTo>
                    <a:pt x="0" y="68"/>
                    <a:pt x="51" y="89"/>
                    <a:pt x="51" y="8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83">
              <a:extLst>
                <a:ext uri="{FF2B5EF4-FFF2-40B4-BE49-F238E27FC236}">
                  <a16:creationId xmlns:a16="http://schemas.microsoft.com/office/drawing/2014/main" id="{D73999EC-726B-49D0-A8D1-43E83DAA2E2A}"/>
                </a:ext>
              </a:extLst>
            </p:cNvPr>
            <p:cNvSpPr>
              <a:spLocks/>
            </p:cNvSpPr>
            <p:nvPr/>
          </p:nvSpPr>
          <p:spPr bwMode="auto">
            <a:xfrm>
              <a:off x="7661275" y="3779838"/>
              <a:ext cx="90488" cy="71438"/>
            </a:xfrm>
            <a:custGeom>
              <a:avLst/>
              <a:gdLst>
                <a:gd name="T0" fmla="*/ 19 w 20"/>
                <a:gd name="T1" fmla="*/ 1 h 16"/>
                <a:gd name="T2" fmla="*/ 20 w 20"/>
                <a:gd name="T3" fmla="*/ 6 h 16"/>
                <a:gd name="T4" fmla="*/ 10 w 20"/>
                <a:gd name="T5" fmla="*/ 16 h 16"/>
                <a:gd name="T6" fmla="*/ 0 w 20"/>
                <a:gd name="T7" fmla="*/ 6 h 16"/>
                <a:gd name="T8" fmla="*/ 1 w 20"/>
                <a:gd name="T9" fmla="*/ 0 h 16"/>
              </a:gdLst>
              <a:ahLst/>
              <a:cxnLst>
                <a:cxn ang="0">
                  <a:pos x="T0" y="T1"/>
                </a:cxn>
                <a:cxn ang="0">
                  <a:pos x="T2" y="T3"/>
                </a:cxn>
                <a:cxn ang="0">
                  <a:pos x="T4" y="T5"/>
                </a:cxn>
                <a:cxn ang="0">
                  <a:pos x="T6" y="T7"/>
                </a:cxn>
                <a:cxn ang="0">
                  <a:pos x="T8" y="T9"/>
                </a:cxn>
              </a:cxnLst>
              <a:rect l="0" t="0" r="r" b="b"/>
              <a:pathLst>
                <a:path w="20" h="16">
                  <a:moveTo>
                    <a:pt x="19" y="1"/>
                  </a:moveTo>
                  <a:cubicBezTo>
                    <a:pt x="20" y="2"/>
                    <a:pt x="20" y="4"/>
                    <a:pt x="20" y="6"/>
                  </a:cubicBezTo>
                  <a:cubicBezTo>
                    <a:pt x="20" y="11"/>
                    <a:pt x="16" y="16"/>
                    <a:pt x="10" y="16"/>
                  </a:cubicBezTo>
                  <a:cubicBezTo>
                    <a:pt x="4" y="16"/>
                    <a:pt x="0" y="11"/>
                    <a:pt x="0" y="6"/>
                  </a:cubicBezTo>
                  <a:cubicBezTo>
                    <a:pt x="0" y="4"/>
                    <a:pt x="0" y="2"/>
                    <a:pt x="1"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84">
              <a:extLst>
                <a:ext uri="{FF2B5EF4-FFF2-40B4-BE49-F238E27FC236}">
                  <a16:creationId xmlns:a16="http://schemas.microsoft.com/office/drawing/2014/main" id="{E48D1498-75D1-4B59-9EE2-A06C2CA01ABE}"/>
                </a:ext>
              </a:extLst>
            </p:cNvPr>
            <p:cNvSpPr>
              <a:spLocks/>
            </p:cNvSpPr>
            <p:nvPr/>
          </p:nvSpPr>
          <p:spPr bwMode="auto">
            <a:xfrm>
              <a:off x="7707313" y="3735388"/>
              <a:ext cx="39688" cy="49213"/>
            </a:xfrm>
            <a:custGeom>
              <a:avLst/>
              <a:gdLst>
                <a:gd name="T0" fmla="*/ 0 w 9"/>
                <a:gd name="T1" fmla="*/ 0 h 11"/>
                <a:gd name="T2" fmla="*/ 9 w 9"/>
                <a:gd name="T3" fmla="*/ 11 h 11"/>
              </a:gdLst>
              <a:ahLst/>
              <a:cxnLst>
                <a:cxn ang="0">
                  <a:pos x="T0" y="T1"/>
                </a:cxn>
                <a:cxn ang="0">
                  <a:pos x="T2" y="T3"/>
                </a:cxn>
              </a:cxnLst>
              <a:rect l="0" t="0" r="r" b="b"/>
              <a:pathLst>
                <a:path w="9" h="11">
                  <a:moveTo>
                    <a:pt x="0" y="0"/>
                  </a:moveTo>
                  <a:cubicBezTo>
                    <a:pt x="0" y="0"/>
                    <a:pt x="5" y="4"/>
                    <a:pt x="9" y="11"/>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85">
              <a:extLst>
                <a:ext uri="{FF2B5EF4-FFF2-40B4-BE49-F238E27FC236}">
                  <a16:creationId xmlns:a16="http://schemas.microsoft.com/office/drawing/2014/main" id="{D0C66331-B7B6-4B57-8A42-0ABDEEB07064}"/>
                </a:ext>
              </a:extLst>
            </p:cNvPr>
            <p:cNvSpPr>
              <a:spLocks/>
            </p:cNvSpPr>
            <p:nvPr/>
          </p:nvSpPr>
          <p:spPr bwMode="auto">
            <a:xfrm>
              <a:off x="7666038" y="3735388"/>
              <a:ext cx="41275" cy="49213"/>
            </a:xfrm>
            <a:custGeom>
              <a:avLst/>
              <a:gdLst>
                <a:gd name="T0" fmla="*/ 9 w 9"/>
                <a:gd name="T1" fmla="*/ 0 h 11"/>
                <a:gd name="T2" fmla="*/ 0 w 9"/>
                <a:gd name="T3" fmla="*/ 11 h 11"/>
              </a:gdLst>
              <a:ahLst/>
              <a:cxnLst>
                <a:cxn ang="0">
                  <a:pos x="T0" y="T1"/>
                </a:cxn>
                <a:cxn ang="0">
                  <a:pos x="T2" y="T3"/>
                </a:cxn>
              </a:cxnLst>
              <a:rect l="0" t="0" r="r" b="b"/>
              <a:pathLst>
                <a:path w="9" h="11">
                  <a:moveTo>
                    <a:pt x="9" y="0"/>
                  </a:moveTo>
                  <a:cubicBezTo>
                    <a:pt x="9" y="0"/>
                    <a:pt x="4" y="4"/>
                    <a:pt x="0" y="11"/>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4" name="Group 33">
            <a:extLst>
              <a:ext uri="{FF2B5EF4-FFF2-40B4-BE49-F238E27FC236}">
                <a16:creationId xmlns:a16="http://schemas.microsoft.com/office/drawing/2014/main" id="{1DB9EF22-22B4-419C-9D67-56A5EEB874E0}"/>
              </a:ext>
            </a:extLst>
          </p:cNvPr>
          <p:cNvGrpSpPr/>
          <p:nvPr/>
        </p:nvGrpSpPr>
        <p:grpSpPr>
          <a:xfrm>
            <a:off x="3847022" y="2638194"/>
            <a:ext cx="519180" cy="480790"/>
            <a:chOff x="7100888" y="1520824"/>
            <a:chExt cx="598488" cy="311403"/>
          </a:xfrm>
        </p:grpSpPr>
        <p:sp>
          <p:nvSpPr>
            <p:cNvPr id="26" name="Rectangle 31">
              <a:extLst>
                <a:ext uri="{FF2B5EF4-FFF2-40B4-BE49-F238E27FC236}">
                  <a16:creationId xmlns:a16="http://schemas.microsoft.com/office/drawing/2014/main" id="{FABED70E-F4B1-47FB-BB62-1F738A642D5D}"/>
                </a:ext>
              </a:extLst>
            </p:cNvPr>
            <p:cNvSpPr>
              <a:spLocks noChangeArrowheads="1"/>
            </p:cNvSpPr>
            <p:nvPr/>
          </p:nvSpPr>
          <p:spPr bwMode="auto">
            <a:xfrm>
              <a:off x="7100888" y="1535113"/>
              <a:ext cx="558800" cy="274638"/>
            </a:xfrm>
            <a:prstGeom prst="rect">
              <a:avLst/>
            </a:prstGeom>
            <a:solidFill>
              <a:srgbClr val="E4B7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32">
              <a:extLst>
                <a:ext uri="{FF2B5EF4-FFF2-40B4-BE49-F238E27FC236}">
                  <a16:creationId xmlns:a16="http://schemas.microsoft.com/office/drawing/2014/main" id="{17C2B325-3A80-41B7-822D-C043022994D9}"/>
                </a:ext>
              </a:extLst>
            </p:cNvPr>
            <p:cNvSpPr>
              <a:spLocks/>
            </p:cNvSpPr>
            <p:nvPr/>
          </p:nvSpPr>
          <p:spPr bwMode="auto">
            <a:xfrm>
              <a:off x="7142163" y="1520824"/>
              <a:ext cx="557213" cy="311403"/>
            </a:xfrm>
            <a:custGeom>
              <a:avLst/>
              <a:gdLst>
                <a:gd name="T0" fmla="*/ 62 w 124"/>
                <a:gd name="T1" fmla="*/ 89 h 89"/>
                <a:gd name="T2" fmla="*/ 62 w 124"/>
                <a:gd name="T3" fmla="*/ 73 h 89"/>
                <a:gd name="T4" fmla="*/ 59 w 124"/>
                <a:gd name="T5" fmla="*/ 69 h 89"/>
                <a:gd name="T6" fmla="*/ 0 w 124"/>
                <a:gd name="T7" fmla="*/ 69 h 89"/>
                <a:gd name="T8" fmla="*/ 0 w 124"/>
                <a:gd name="T9" fmla="*/ 0 h 89"/>
                <a:gd name="T10" fmla="*/ 124 w 124"/>
                <a:gd name="T11" fmla="*/ 0 h 89"/>
                <a:gd name="T12" fmla="*/ 124 w 124"/>
                <a:gd name="T13" fmla="*/ 69 h 89"/>
                <a:gd name="T14" fmla="*/ 75 w 124"/>
                <a:gd name="T15" fmla="*/ 69 h 89"/>
                <a:gd name="connsiteX0" fmla="*/ 5000 w 10000"/>
                <a:gd name="connsiteY0" fmla="*/ 8202 h 8202"/>
                <a:gd name="connsiteX1" fmla="*/ 4758 w 10000"/>
                <a:gd name="connsiteY1" fmla="*/ 7753 h 8202"/>
                <a:gd name="connsiteX2" fmla="*/ 0 w 10000"/>
                <a:gd name="connsiteY2" fmla="*/ 7753 h 8202"/>
                <a:gd name="connsiteX3" fmla="*/ 0 w 10000"/>
                <a:gd name="connsiteY3" fmla="*/ 0 h 8202"/>
                <a:gd name="connsiteX4" fmla="*/ 10000 w 10000"/>
                <a:gd name="connsiteY4" fmla="*/ 0 h 8202"/>
                <a:gd name="connsiteX5" fmla="*/ 10000 w 10000"/>
                <a:gd name="connsiteY5" fmla="*/ 7753 h 8202"/>
                <a:gd name="connsiteX6" fmla="*/ 6048 w 10000"/>
                <a:gd name="connsiteY6" fmla="*/ 7753 h 8202"/>
                <a:gd name="connsiteX0" fmla="*/ 5000 w 10000"/>
                <a:gd name="connsiteY0" fmla="*/ 10000 h 10059"/>
                <a:gd name="connsiteX1" fmla="*/ 5157 w 10000"/>
                <a:gd name="connsiteY1" fmla="*/ 10024 h 10059"/>
                <a:gd name="connsiteX2" fmla="*/ 4758 w 10000"/>
                <a:gd name="connsiteY2" fmla="*/ 9453 h 10059"/>
                <a:gd name="connsiteX3" fmla="*/ 0 w 10000"/>
                <a:gd name="connsiteY3" fmla="*/ 9453 h 10059"/>
                <a:gd name="connsiteX4" fmla="*/ 0 w 10000"/>
                <a:gd name="connsiteY4" fmla="*/ 0 h 10059"/>
                <a:gd name="connsiteX5" fmla="*/ 10000 w 10000"/>
                <a:gd name="connsiteY5" fmla="*/ 0 h 10059"/>
                <a:gd name="connsiteX6" fmla="*/ 10000 w 10000"/>
                <a:gd name="connsiteY6" fmla="*/ 9453 h 10059"/>
                <a:gd name="connsiteX7" fmla="*/ 6048 w 10000"/>
                <a:gd name="connsiteY7" fmla="*/ 9453 h 10059"/>
                <a:gd name="connsiteX0" fmla="*/ 5000 w 10000"/>
                <a:gd name="connsiteY0" fmla="*/ 10000 h 10000"/>
                <a:gd name="connsiteX1" fmla="*/ 4758 w 10000"/>
                <a:gd name="connsiteY1" fmla="*/ 9453 h 10000"/>
                <a:gd name="connsiteX2" fmla="*/ 0 w 10000"/>
                <a:gd name="connsiteY2" fmla="*/ 9453 h 10000"/>
                <a:gd name="connsiteX3" fmla="*/ 0 w 10000"/>
                <a:gd name="connsiteY3" fmla="*/ 0 h 10000"/>
                <a:gd name="connsiteX4" fmla="*/ 10000 w 10000"/>
                <a:gd name="connsiteY4" fmla="*/ 0 h 10000"/>
                <a:gd name="connsiteX5" fmla="*/ 10000 w 10000"/>
                <a:gd name="connsiteY5" fmla="*/ 9453 h 10000"/>
                <a:gd name="connsiteX6" fmla="*/ 6048 w 10000"/>
                <a:gd name="connsiteY6" fmla="*/ 9453 h 10000"/>
                <a:gd name="connsiteX0" fmla="*/ 5470 w 10000"/>
                <a:gd name="connsiteY0" fmla="*/ 9639 h 9639"/>
                <a:gd name="connsiteX1" fmla="*/ 4758 w 10000"/>
                <a:gd name="connsiteY1" fmla="*/ 9453 h 9639"/>
                <a:gd name="connsiteX2" fmla="*/ 0 w 10000"/>
                <a:gd name="connsiteY2" fmla="*/ 9453 h 9639"/>
                <a:gd name="connsiteX3" fmla="*/ 0 w 10000"/>
                <a:gd name="connsiteY3" fmla="*/ 0 h 9639"/>
                <a:gd name="connsiteX4" fmla="*/ 10000 w 10000"/>
                <a:gd name="connsiteY4" fmla="*/ 0 h 9639"/>
                <a:gd name="connsiteX5" fmla="*/ 10000 w 10000"/>
                <a:gd name="connsiteY5" fmla="*/ 9453 h 9639"/>
                <a:gd name="connsiteX6" fmla="*/ 6048 w 10000"/>
                <a:gd name="connsiteY6" fmla="*/ 9453 h 9639"/>
                <a:gd name="connsiteX0" fmla="*/ 4758 w 10000"/>
                <a:gd name="connsiteY0" fmla="*/ 9807 h 9807"/>
                <a:gd name="connsiteX1" fmla="*/ 0 w 10000"/>
                <a:gd name="connsiteY1" fmla="*/ 9807 h 9807"/>
                <a:gd name="connsiteX2" fmla="*/ 0 w 10000"/>
                <a:gd name="connsiteY2" fmla="*/ 0 h 9807"/>
                <a:gd name="connsiteX3" fmla="*/ 10000 w 10000"/>
                <a:gd name="connsiteY3" fmla="*/ 0 h 9807"/>
                <a:gd name="connsiteX4" fmla="*/ 10000 w 10000"/>
                <a:gd name="connsiteY4" fmla="*/ 9807 h 9807"/>
                <a:gd name="connsiteX5" fmla="*/ 6048 w 10000"/>
                <a:gd name="connsiteY5" fmla="*/ 9807 h 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807">
                  <a:moveTo>
                    <a:pt x="4758" y="9807"/>
                  </a:moveTo>
                  <a:cubicBezTo>
                    <a:pt x="3846" y="9775"/>
                    <a:pt x="1586" y="9807"/>
                    <a:pt x="0" y="9807"/>
                  </a:cubicBezTo>
                  <a:lnTo>
                    <a:pt x="0" y="0"/>
                  </a:lnTo>
                  <a:lnTo>
                    <a:pt x="10000" y="0"/>
                  </a:lnTo>
                  <a:lnTo>
                    <a:pt x="10000" y="9807"/>
                  </a:lnTo>
                  <a:lnTo>
                    <a:pt x="6048" y="9807"/>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37" name="Oval 47">
            <a:extLst>
              <a:ext uri="{FF2B5EF4-FFF2-40B4-BE49-F238E27FC236}">
                <a16:creationId xmlns:a16="http://schemas.microsoft.com/office/drawing/2014/main" id="{F14868FC-17E1-46F0-A465-705516759516}"/>
              </a:ext>
            </a:extLst>
          </p:cNvPr>
          <p:cNvSpPr>
            <a:spLocks noChangeArrowheads="1"/>
          </p:cNvSpPr>
          <p:nvPr/>
        </p:nvSpPr>
        <p:spPr bwMode="auto">
          <a:xfrm>
            <a:off x="5594335" y="4064800"/>
            <a:ext cx="409904" cy="414942"/>
          </a:xfrm>
          <a:prstGeom prst="ellipse">
            <a:avLst/>
          </a:prstGeom>
          <a:solidFill>
            <a:srgbClr val="E4B73B"/>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8" name="Freeform 48">
            <a:extLst>
              <a:ext uri="{FF2B5EF4-FFF2-40B4-BE49-F238E27FC236}">
                <a16:creationId xmlns:a16="http://schemas.microsoft.com/office/drawing/2014/main" id="{C843253A-1AD3-42E9-A2B7-E0A5E727FAFE}"/>
              </a:ext>
            </a:extLst>
          </p:cNvPr>
          <p:cNvSpPr>
            <a:spLocks/>
          </p:cNvSpPr>
          <p:nvPr/>
        </p:nvSpPr>
        <p:spPr bwMode="auto">
          <a:xfrm>
            <a:off x="5750568" y="4326869"/>
            <a:ext cx="134395" cy="347745"/>
          </a:xfrm>
          <a:custGeom>
            <a:avLst/>
            <a:gdLst>
              <a:gd name="T0" fmla="*/ 14 w 28"/>
              <a:gd name="T1" fmla="*/ 73 h 73"/>
              <a:gd name="T2" fmla="*/ 14 w 28"/>
              <a:gd name="T3" fmla="*/ 73 h 73"/>
              <a:gd name="T4" fmla="*/ 0 w 28"/>
              <a:gd name="T5" fmla="*/ 59 h 73"/>
              <a:gd name="T6" fmla="*/ 0 w 28"/>
              <a:gd name="T7" fmla="*/ 14 h 73"/>
              <a:gd name="T8" fmla="*/ 14 w 28"/>
              <a:gd name="T9" fmla="*/ 0 h 73"/>
              <a:gd name="T10" fmla="*/ 14 w 28"/>
              <a:gd name="T11" fmla="*/ 0 h 73"/>
              <a:gd name="T12" fmla="*/ 28 w 28"/>
              <a:gd name="T13" fmla="*/ 14 h 73"/>
              <a:gd name="T14" fmla="*/ 28 w 28"/>
              <a:gd name="T15" fmla="*/ 59 h 73"/>
              <a:gd name="T16" fmla="*/ 14 w 28"/>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3">
                <a:moveTo>
                  <a:pt x="14" y="73"/>
                </a:moveTo>
                <a:cubicBezTo>
                  <a:pt x="14" y="73"/>
                  <a:pt x="14" y="73"/>
                  <a:pt x="14" y="73"/>
                </a:cubicBezTo>
                <a:cubicBezTo>
                  <a:pt x="6" y="73"/>
                  <a:pt x="0" y="67"/>
                  <a:pt x="0" y="59"/>
                </a:cubicBezTo>
                <a:cubicBezTo>
                  <a:pt x="0" y="14"/>
                  <a:pt x="0" y="14"/>
                  <a:pt x="0" y="14"/>
                </a:cubicBezTo>
                <a:cubicBezTo>
                  <a:pt x="0" y="7"/>
                  <a:pt x="6" y="0"/>
                  <a:pt x="14" y="0"/>
                </a:cubicBezTo>
                <a:cubicBezTo>
                  <a:pt x="14" y="0"/>
                  <a:pt x="14" y="0"/>
                  <a:pt x="14" y="0"/>
                </a:cubicBezTo>
                <a:cubicBezTo>
                  <a:pt x="21" y="0"/>
                  <a:pt x="28" y="7"/>
                  <a:pt x="28" y="14"/>
                </a:cubicBezTo>
                <a:cubicBezTo>
                  <a:pt x="28" y="59"/>
                  <a:pt x="28" y="59"/>
                  <a:pt x="28" y="59"/>
                </a:cubicBezTo>
                <a:cubicBezTo>
                  <a:pt x="28" y="67"/>
                  <a:pt x="21" y="73"/>
                  <a:pt x="14" y="73"/>
                </a:cubicBezTo>
                <a:close/>
              </a:path>
            </a:pathLst>
          </a:custGeom>
          <a:solidFill>
            <a:srgbClr val="E4B73B"/>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39" name="Oval 49">
            <a:extLst>
              <a:ext uri="{FF2B5EF4-FFF2-40B4-BE49-F238E27FC236}">
                <a16:creationId xmlns:a16="http://schemas.microsoft.com/office/drawing/2014/main" id="{35C4C0A8-ECC2-4C33-8314-0721BD9AD63C}"/>
              </a:ext>
            </a:extLst>
          </p:cNvPr>
          <p:cNvSpPr>
            <a:spLocks noChangeArrowheads="1"/>
          </p:cNvSpPr>
          <p:nvPr/>
        </p:nvSpPr>
        <p:spPr bwMode="auto">
          <a:xfrm>
            <a:off x="5807686" y="4604057"/>
            <a:ext cx="43678" cy="47038"/>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50">
            <a:extLst>
              <a:ext uri="{FF2B5EF4-FFF2-40B4-BE49-F238E27FC236}">
                <a16:creationId xmlns:a16="http://schemas.microsoft.com/office/drawing/2014/main" id="{3ECC88F6-7AD1-4A38-9EC5-2D14C062BB3E}"/>
              </a:ext>
            </a:extLst>
          </p:cNvPr>
          <p:cNvSpPr>
            <a:spLocks/>
          </p:cNvSpPr>
          <p:nvPr/>
        </p:nvSpPr>
        <p:spPr bwMode="auto">
          <a:xfrm>
            <a:off x="5708571" y="4137037"/>
            <a:ext cx="238551" cy="361185"/>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41" name="Group 40">
            <a:extLst>
              <a:ext uri="{FF2B5EF4-FFF2-40B4-BE49-F238E27FC236}">
                <a16:creationId xmlns:a16="http://schemas.microsoft.com/office/drawing/2014/main" id="{629BE45D-BC45-4ECD-BF47-CEB1A6356EE0}"/>
              </a:ext>
            </a:extLst>
          </p:cNvPr>
          <p:cNvGrpSpPr/>
          <p:nvPr/>
        </p:nvGrpSpPr>
        <p:grpSpPr>
          <a:xfrm>
            <a:off x="3901761" y="4098463"/>
            <a:ext cx="423342" cy="589656"/>
            <a:chOff x="6256338" y="1466850"/>
            <a:chExt cx="400050" cy="557213"/>
          </a:xfrm>
        </p:grpSpPr>
        <p:sp>
          <p:nvSpPr>
            <p:cNvPr id="42" name="Freeform 107">
              <a:extLst>
                <a:ext uri="{FF2B5EF4-FFF2-40B4-BE49-F238E27FC236}">
                  <a16:creationId xmlns:a16="http://schemas.microsoft.com/office/drawing/2014/main" id="{755F0848-E1F9-4E4F-8A65-B417B629A3C0}"/>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08">
              <a:extLst>
                <a:ext uri="{FF2B5EF4-FFF2-40B4-BE49-F238E27FC236}">
                  <a16:creationId xmlns:a16="http://schemas.microsoft.com/office/drawing/2014/main" id="{5A1C4AF8-F79A-4EFE-939C-64811DB5BB11}"/>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4" name="TextBox 43">
            <a:extLst>
              <a:ext uri="{FF2B5EF4-FFF2-40B4-BE49-F238E27FC236}">
                <a16:creationId xmlns:a16="http://schemas.microsoft.com/office/drawing/2014/main" id="{E1C4B376-1FC5-4387-8081-225D8A8C309A}"/>
              </a:ext>
            </a:extLst>
          </p:cNvPr>
          <p:cNvSpPr txBox="1"/>
          <p:nvPr/>
        </p:nvSpPr>
        <p:spPr>
          <a:xfrm>
            <a:off x="3696000" y="3407907"/>
            <a:ext cx="795089" cy="169277"/>
          </a:xfrm>
          <a:prstGeom prst="rect">
            <a:avLst/>
          </a:prstGeom>
          <a:noFill/>
          <a:ln w="6350">
            <a:noFill/>
            <a:prstDash val="sysDash"/>
          </a:ln>
        </p:spPr>
        <p:txBody>
          <a:bodyPr wrap="none" lIns="0" tIns="0" rIns="0" bIns="0" rtlCol="0">
            <a:spAutoFit/>
          </a:bodyPr>
          <a:lstStyle/>
          <a:p>
            <a:pPr algn="ctr"/>
            <a:r>
              <a:rPr lang="en-GB" sz="1100" b="1" dirty="0"/>
              <a:t>CONCRETE</a:t>
            </a:r>
          </a:p>
        </p:txBody>
      </p:sp>
      <p:sp>
        <p:nvSpPr>
          <p:cNvPr id="45" name="TextBox 44">
            <a:extLst>
              <a:ext uri="{FF2B5EF4-FFF2-40B4-BE49-F238E27FC236}">
                <a16:creationId xmlns:a16="http://schemas.microsoft.com/office/drawing/2014/main" id="{7EA9F11D-04CE-4616-B98A-F320D173DFD4}"/>
              </a:ext>
            </a:extLst>
          </p:cNvPr>
          <p:cNvSpPr txBox="1"/>
          <p:nvPr/>
        </p:nvSpPr>
        <p:spPr>
          <a:xfrm>
            <a:off x="3534897" y="4856306"/>
            <a:ext cx="1117294" cy="169277"/>
          </a:xfrm>
          <a:prstGeom prst="rect">
            <a:avLst/>
          </a:prstGeom>
          <a:noFill/>
          <a:ln w="6350">
            <a:noFill/>
            <a:prstDash val="sysDash"/>
          </a:ln>
        </p:spPr>
        <p:txBody>
          <a:bodyPr wrap="none" lIns="0" tIns="0" rIns="0" bIns="0" rtlCol="0">
            <a:spAutoFit/>
          </a:bodyPr>
          <a:lstStyle/>
          <a:p>
            <a:pPr algn="ctr"/>
            <a:r>
              <a:rPr lang="en-GB" sz="1100" b="1" dirty="0"/>
              <a:t>CONSTRUCTIVE</a:t>
            </a:r>
          </a:p>
        </p:txBody>
      </p:sp>
      <p:sp>
        <p:nvSpPr>
          <p:cNvPr id="46" name="TextBox 45">
            <a:extLst>
              <a:ext uri="{FF2B5EF4-FFF2-40B4-BE49-F238E27FC236}">
                <a16:creationId xmlns:a16="http://schemas.microsoft.com/office/drawing/2014/main" id="{072F56F4-7272-4A71-9FA3-980E6B5E1B9D}"/>
              </a:ext>
            </a:extLst>
          </p:cNvPr>
          <p:cNvSpPr txBox="1"/>
          <p:nvPr/>
        </p:nvSpPr>
        <p:spPr>
          <a:xfrm>
            <a:off x="5528071" y="3407907"/>
            <a:ext cx="557846" cy="169277"/>
          </a:xfrm>
          <a:prstGeom prst="rect">
            <a:avLst/>
          </a:prstGeom>
          <a:noFill/>
          <a:ln w="6350">
            <a:noFill/>
            <a:prstDash val="sysDash"/>
          </a:ln>
        </p:spPr>
        <p:txBody>
          <a:bodyPr wrap="none" lIns="0" tIns="0" rIns="0" bIns="0" rtlCol="0">
            <a:spAutoFit/>
          </a:bodyPr>
          <a:lstStyle/>
          <a:p>
            <a:pPr algn="ctr"/>
            <a:r>
              <a:rPr lang="en-GB" sz="1100" b="1" dirty="0"/>
              <a:t>CARING</a:t>
            </a:r>
          </a:p>
        </p:txBody>
      </p:sp>
      <p:sp>
        <p:nvSpPr>
          <p:cNvPr id="47" name="TextBox 46">
            <a:extLst>
              <a:ext uri="{FF2B5EF4-FFF2-40B4-BE49-F238E27FC236}">
                <a16:creationId xmlns:a16="http://schemas.microsoft.com/office/drawing/2014/main" id="{552D7FA5-223D-4C77-A487-7729CA90D7A0}"/>
              </a:ext>
            </a:extLst>
          </p:cNvPr>
          <p:cNvSpPr txBox="1"/>
          <p:nvPr/>
        </p:nvSpPr>
        <p:spPr>
          <a:xfrm>
            <a:off x="5480783" y="4856306"/>
            <a:ext cx="652423" cy="169277"/>
          </a:xfrm>
          <a:prstGeom prst="rect">
            <a:avLst/>
          </a:prstGeom>
          <a:noFill/>
          <a:ln w="6350">
            <a:noFill/>
            <a:prstDash val="sysDash"/>
          </a:ln>
        </p:spPr>
        <p:txBody>
          <a:bodyPr wrap="none" lIns="0" tIns="0" rIns="0" bIns="0" rtlCol="0">
            <a:spAutoFit/>
          </a:bodyPr>
          <a:lstStyle/>
          <a:p>
            <a:pPr algn="ctr"/>
            <a:r>
              <a:rPr lang="en-GB" sz="1100" b="1" dirty="0"/>
              <a:t>CURIOUS</a:t>
            </a:r>
          </a:p>
        </p:txBody>
      </p:sp>
      <p:cxnSp>
        <p:nvCxnSpPr>
          <p:cNvPr id="51" name="Straight Connector 50">
            <a:extLst>
              <a:ext uri="{FF2B5EF4-FFF2-40B4-BE49-F238E27FC236}">
                <a16:creationId xmlns:a16="http://schemas.microsoft.com/office/drawing/2014/main" id="{6E2D7C0C-01DD-4455-8761-19F575C867D9}"/>
              </a:ext>
            </a:extLst>
          </p:cNvPr>
          <p:cNvCxnSpPr>
            <a:cxnSpLocks/>
          </p:cNvCxnSpPr>
          <p:nvPr/>
        </p:nvCxnSpPr>
        <p:spPr>
          <a:xfrm flipH="1">
            <a:off x="3281532" y="3834403"/>
            <a:ext cx="3427612"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DF1DF225-44F1-4FCD-868E-0A9A278579B9}"/>
              </a:ext>
            </a:extLst>
          </p:cNvPr>
          <p:cNvCxnSpPr>
            <a:cxnSpLocks/>
          </p:cNvCxnSpPr>
          <p:nvPr/>
        </p:nvCxnSpPr>
        <p:spPr>
          <a:xfrm flipV="1">
            <a:off x="4953000" y="2105248"/>
            <a:ext cx="0" cy="341305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58667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8A75849C-B456-466D-9032-BABAF836036D}"/>
              </a:ext>
            </a:extLst>
          </p:cNvPr>
          <p:cNvSpPr/>
          <p:nvPr/>
        </p:nvSpPr>
        <p:spPr>
          <a:xfrm>
            <a:off x="5080896" y="1001851"/>
            <a:ext cx="4552053" cy="5308844"/>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altLang="da-DK" dirty="0"/>
              <a:t>Buddy feedback exercise – Walk &amp; Talk</a:t>
            </a:r>
          </a:p>
        </p:txBody>
      </p:sp>
      <p:sp>
        <p:nvSpPr>
          <p:cNvPr id="48" name="Text Placeholder 47">
            <a:extLst>
              <a:ext uri="{FF2B5EF4-FFF2-40B4-BE49-F238E27FC236}">
                <a16:creationId xmlns:a16="http://schemas.microsoft.com/office/drawing/2014/main" id="{39EA765E-417C-4214-B4C7-D84A71CDD13D}"/>
              </a:ext>
            </a:extLst>
          </p:cNvPr>
          <p:cNvSpPr>
            <a:spLocks noGrp="1"/>
          </p:cNvSpPr>
          <p:nvPr>
            <p:ph type="body" sz="quarter" idx="13"/>
          </p:nvPr>
        </p:nvSpPr>
        <p:spPr/>
        <p:txBody>
          <a:bodyPr/>
          <a:lstStyle/>
          <a:p>
            <a:endParaRPr lang="en-GB" dirty="0"/>
          </a:p>
        </p:txBody>
      </p:sp>
      <p:sp>
        <p:nvSpPr>
          <p:cNvPr id="49" name="Text Placeholder 48">
            <a:extLst>
              <a:ext uri="{FF2B5EF4-FFF2-40B4-BE49-F238E27FC236}">
                <a16:creationId xmlns:a16="http://schemas.microsoft.com/office/drawing/2014/main" id="{C8B66CA9-B4DD-4875-93E4-B0E4077CF7B4}"/>
              </a:ext>
            </a:extLst>
          </p:cNvPr>
          <p:cNvSpPr>
            <a:spLocks noGrp="1"/>
          </p:cNvSpPr>
          <p:nvPr>
            <p:ph type="body" sz="quarter" idx="14"/>
          </p:nvPr>
        </p:nvSpPr>
        <p:spPr/>
        <p:txBody>
          <a:bodyPr/>
          <a:lstStyle/>
          <a:p>
            <a:endParaRPr lang="en-GB" dirty="0"/>
          </a:p>
        </p:txBody>
      </p:sp>
      <p:grpSp>
        <p:nvGrpSpPr>
          <p:cNvPr id="8" name="Group 7">
            <a:extLst>
              <a:ext uri="{FF2B5EF4-FFF2-40B4-BE49-F238E27FC236}">
                <a16:creationId xmlns:a16="http://schemas.microsoft.com/office/drawing/2014/main" id="{F0027C7E-B1B1-4A07-96DE-0C0D46C14DBF}"/>
              </a:ext>
            </a:extLst>
          </p:cNvPr>
          <p:cNvGrpSpPr/>
          <p:nvPr/>
        </p:nvGrpSpPr>
        <p:grpSpPr>
          <a:xfrm>
            <a:off x="8298832" y="309514"/>
            <a:ext cx="847612" cy="669167"/>
            <a:chOff x="4051300" y="3319463"/>
            <a:chExt cx="512763" cy="404813"/>
          </a:xfrm>
        </p:grpSpPr>
        <p:sp>
          <p:nvSpPr>
            <p:cNvPr id="9" name="Freeform 22">
              <a:extLst>
                <a:ext uri="{FF2B5EF4-FFF2-40B4-BE49-F238E27FC236}">
                  <a16:creationId xmlns:a16="http://schemas.microsoft.com/office/drawing/2014/main" id="{7057D4FD-7A25-4A78-A437-A15BE6C535F0}"/>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23">
              <a:extLst>
                <a:ext uri="{FF2B5EF4-FFF2-40B4-BE49-F238E27FC236}">
                  <a16:creationId xmlns:a16="http://schemas.microsoft.com/office/drawing/2014/main" id="{E4E98406-6DF1-4735-80D5-BAD3568AFD46}"/>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24">
              <a:extLst>
                <a:ext uri="{FF2B5EF4-FFF2-40B4-BE49-F238E27FC236}">
                  <a16:creationId xmlns:a16="http://schemas.microsoft.com/office/drawing/2014/main" id="{8954CB24-9102-49FE-B555-3E990AD76CB5}"/>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15" name="Content Placeholder 2">
            <a:extLst>
              <a:ext uri="{FF2B5EF4-FFF2-40B4-BE49-F238E27FC236}">
                <a16:creationId xmlns:a16="http://schemas.microsoft.com/office/drawing/2014/main" id="{46BE7406-DBB2-424B-9BBE-F145E88D60B7}"/>
              </a:ext>
            </a:extLst>
          </p:cNvPr>
          <p:cNvSpPr txBox="1">
            <a:spLocks/>
          </p:cNvSpPr>
          <p:nvPr/>
        </p:nvSpPr>
        <p:spPr>
          <a:xfrm>
            <a:off x="5218657" y="1281040"/>
            <a:ext cx="3649771" cy="5029656"/>
          </a:xfrm>
          <a:prstGeom prst="rect">
            <a:avLst/>
          </a:prstGeom>
        </p:spPr>
        <p:txBody>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1400" b="1" dirty="0"/>
              <a:t>Have a conversation about the feedback.</a:t>
            </a:r>
          </a:p>
          <a:p>
            <a:pPr>
              <a:spcAft>
                <a:spcPts val="1200"/>
              </a:spcAft>
            </a:pPr>
            <a:r>
              <a:rPr lang="en-GB" sz="1200" dirty="0"/>
              <a:t>Try out one or two elements from the past 2 days of training &amp; learning</a:t>
            </a:r>
          </a:p>
          <a:p>
            <a:pPr marL="216000" indent="-216000">
              <a:buFont typeface="Arial" panose="020B0604020202020204" pitchFamily="34" charset="0"/>
              <a:buChar char="•"/>
            </a:pPr>
            <a:r>
              <a:rPr lang="en-GB" sz="1200" dirty="0"/>
              <a:t>balancing advocacy and inquiry</a:t>
            </a:r>
          </a:p>
          <a:p>
            <a:pPr marL="216000" indent="-216000">
              <a:buFont typeface="Arial" panose="020B0604020202020204" pitchFamily="34" charset="0"/>
              <a:buChar char="•"/>
            </a:pPr>
            <a:r>
              <a:rPr lang="en-GB" sz="1200" dirty="0"/>
              <a:t>conversations strategies (important/confidence)</a:t>
            </a:r>
          </a:p>
          <a:p>
            <a:pPr marL="216000" indent="-216000">
              <a:buFont typeface="Arial" panose="020B0604020202020204" pitchFamily="34" charset="0"/>
              <a:buChar char="•"/>
            </a:pPr>
            <a:r>
              <a:rPr lang="en-GB" sz="1200" dirty="0"/>
              <a:t>evoking change-talk</a:t>
            </a:r>
          </a:p>
          <a:p>
            <a:pPr marL="216000" indent="-216000">
              <a:buFont typeface="Arial" panose="020B0604020202020204" pitchFamily="34" charset="0"/>
              <a:buChar char="•"/>
            </a:pPr>
            <a:r>
              <a:rPr lang="en-GB" sz="1200" dirty="0"/>
              <a:t>“knock on the door”</a:t>
            </a:r>
          </a:p>
          <a:p>
            <a:pPr marL="216000" indent="-216000">
              <a:buFont typeface="Arial" panose="020B0604020202020204" pitchFamily="34" charset="0"/>
              <a:buChar char="•"/>
            </a:pPr>
            <a:r>
              <a:rPr lang="en-GB" sz="1200" dirty="0"/>
              <a:t>active listening</a:t>
            </a:r>
          </a:p>
          <a:p>
            <a:pPr marL="216000" indent="-216000">
              <a:buFont typeface="Arial" panose="020B0604020202020204" pitchFamily="34" charset="0"/>
              <a:buChar char="•"/>
            </a:pPr>
            <a:r>
              <a:rPr lang="en-GB" sz="1200" dirty="0"/>
              <a:t>being curious!</a:t>
            </a:r>
          </a:p>
        </p:txBody>
      </p:sp>
      <p:cxnSp>
        <p:nvCxnSpPr>
          <p:cNvPr id="25" name="Straight Connector 24">
            <a:extLst>
              <a:ext uri="{FF2B5EF4-FFF2-40B4-BE49-F238E27FC236}">
                <a16:creationId xmlns:a16="http://schemas.microsoft.com/office/drawing/2014/main" id="{53EFB5B4-BDC8-4F39-B608-F9ABC8DC40BF}"/>
              </a:ext>
            </a:extLst>
          </p:cNvPr>
          <p:cNvCxnSpPr>
            <a:cxnSpLocks/>
          </p:cNvCxnSpPr>
          <p:nvPr/>
        </p:nvCxnSpPr>
        <p:spPr>
          <a:xfrm flipH="1">
            <a:off x="11292494" y="5003079"/>
            <a:ext cx="596900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184421CC-6D1B-4BF4-AB7C-7DC5A3D81E88}"/>
              </a:ext>
            </a:extLst>
          </p:cNvPr>
          <p:cNvSpPr/>
          <p:nvPr/>
        </p:nvSpPr>
        <p:spPr>
          <a:xfrm>
            <a:off x="269874" y="1295580"/>
            <a:ext cx="4512887" cy="430887"/>
          </a:xfrm>
          <a:prstGeom prst="rect">
            <a:avLst/>
          </a:prstGeom>
        </p:spPr>
        <p:txBody>
          <a:bodyPr wrap="square" lIns="0" tIns="0" rIns="0" bIns="0" anchor="ctr">
            <a:spAutoFit/>
          </a:bodyPr>
          <a:lstStyle/>
          <a:p>
            <a:r>
              <a:rPr lang="en-GB" sz="1400" b="1" dirty="0"/>
              <a:t>Have a conversation where you give REAL feedback to your buddy:</a:t>
            </a:r>
          </a:p>
        </p:txBody>
      </p:sp>
      <p:pic>
        <p:nvPicPr>
          <p:cNvPr id="16" name="Picture 15">
            <a:extLst>
              <a:ext uri="{FF2B5EF4-FFF2-40B4-BE49-F238E27FC236}">
                <a16:creationId xmlns:a16="http://schemas.microsoft.com/office/drawing/2014/main" id="{896CD7AC-75EA-4796-ACAD-6E40C3F9FDBB}"/>
              </a:ext>
            </a:extLst>
          </p:cNvPr>
          <p:cNvPicPr>
            <a:picLocks noChangeAspect="1"/>
          </p:cNvPicPr>
          <p:nvPr/>
        </p:nvPicPr>
        <p:blipFill>
          <a:blip r:embed="rId2"/>
          <a:stretch>
            <a:fillRect/>
          </a:stretch>
        </p:blipFill>
        <p:spPr>
          <a:xfrm>
            <a:off x="7610089" y="3798332"/>
            <a:ext cx="1578156" cy="2105976"/>
          </a:xfrm>
          <a:prstGeom prst="rect">
            <a:avLst/>
          </a:prstGeom>
        </p:spPr>
      </p:pic>
      <p:sp>
        <p:nvSpPr>
          <p:cNvPr id="45" name="Freeform: Shape 47">
            <a:extLst>
              <a:ext uri="{FF2B5EF4-FFF2-40B4-BE49-F238E27FC236}">
                <a16:creationId xmlns:a16="http://schemas.microsoft.com/office/drawing/2014/main" id="{17E9506E-3B93-486E-816A-C46EF214F514}"/>
              </a:ext>
            </a:extLst>
          </p:cNvPr>
          <p:cNvSpPr/>
          <p:nvPr/>
        </p:nvSpPr>
        <p:spPr>
          <a:xfrm>
            <a:off x="411161" y="1822318"/>
            <a:ext cx="4204955" cy="4204956"/>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EEEBE8"/>
          </a:solidFill>
          <a:ln w="9525" cap="flat">
            <a:noFill/>
            <a:prstDash val="solid"/>
            <a:miter/>
          </a:ln>
        </p:spPr>
        <p:txBody>
          <a:bodyPr rtlCol="0" anchor="ctr"/>
          <a:lstStyle/>
          <a:p>
            <a:endParaRPr lang="en-GB" dirty="0"/>
          </a:p>
        </p:txBody>
      </p:sp>
      <p:sp>
        <p:nvSpPr>
          <p:cNvPr id="46" name="Freeform: Shape 48">
            <a:extLst>
              <a:ext uri="{FF2B5EF4-FFF2-40B4-BE49-F238E27FC236}">
                <a16:creationId xmlns:a16="http://schemas.microsoft.com/office/drawing/2014/main" id="{DAC7496C-C8A0-4570-AB82-7194FF4DB599}"/>
              </a:ext>
            </a:extLst>
          </p:cNvPr>
          <p:cNvSpPr/>
          <p:nvPr/>
        </p:nvSpPr>
        <p:spPr>
          <a:xfrm>
            <a:off x="246957" y="1666958"/>
            <a:ext cx="4514122" cy="4515676"/>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9"/>
              <a:gd name="connsiteX1" fmla="*/ 1242656 w 1411103"/>
              <a:gd name="connsiteY1" fmla="*/ 248020 h 1411589"/>
              <a:gd name="connsiteX2" fmla="*/ 248333 w 1411103"/>
              <a:gd name="connsiteY2" fmla="*/ 168216 h 1411589"/>
              <a:gd name="connsiteX3" fmla="*/ 167989 w 1411103"/>
              <a:gd name="connsiteY3" fmla="*/ 1163078 h 1411589"/>
              <a:gd name="connsiteX4" fmla="*/ 1162851 w 1411103"/>
              <a:gd name="connsiteY4" fmla="*/ 1243422 h 1411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9">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endParaRPr lang="en-GB" dirty="0"/>
          </a:p>
        </p:txBody>
      </p:sp>
      <p:grpSp>
        <p:nvGrpSpPr>
          <p:cNvPr id="47" name="Group 18">
            <a:extLst>
              <a:ext uri="{FF2B5EF4-FFF2-40B4-BE49-F238E27FC236}">
                <a16:creationId xmlns:a16="http://schemas.microsoft.com/office/drawing/2014/main" id="{A3E02AD0-7BEF-4C82-8150-64B71B7E7377}"/>
              </a:ext>
            </a:extLst>
          </p:cNvPr>
          <p:cNvGrpSpPr/>
          <p:nvPr/>
        </p:nvGrpSpPr>
        <p:grpSpPr>
          <a:xfrm>
            <a:off x="3112808" y="2750648"/>
            <a:ext cx="485500" cy="425020"/>
            <a:chOff x="7477125" y="3694113"/>
            <a:chExt cx="458788" cy="401638"/>
          </a:xfrm>
        </p:grpSpPr>
        <p:sp>
          <p:nvSpPr>
            <p:cNvPr id="50" name="Freeform 81">
              <a:extLst>
                <a:ext uri="{FF2B5EF4-FFF2-40B4-BE49-F238E27FC236}">
                  <a16:creationId xmlns:a16="http://schemas.microsoft.com/office/drawing/2014/main" id="{280BAA89-D972-48EF-ADCA-EC5F4D76BD42}"/>
                </a:ext>
              </a:extLst>
            </p:cNvPr>
            <p:cNvSpPr>
              <a:spLocks/>
            </p:cNvSpPr>
            <p:nvPr/>
          </p:nvSpPr>
          <p:spPr bwMode="auto">
            <a:xfrm>
              <a:off x="7477125" y="3694113"/>
              <a:ext cx="404813" cy="352425"/>
            </a:xfrm>
            <a:custGeom>
              <a:avLst/>
              <a:gdLst>
                <a:gd name="T0" fmla="*/ 62 w 90"/>
                <a:gd name="T1" fmla="*/ 69 h 78"/>
                <a:gd name="T2" fmla="*/ 90 w 90"/>
                <a:gd name="T3" fmla="*/ 26 h 78"/>
                <a:gd name="T4" fmla="*/ 64 w 90"/>
                <a:gd name="T5" fmla="*/ 0 h 78"/>
                <a:gd name="T6" fmla="*/ 45 w 90"/>
                <a:gd name="T7" fmla="*/ 7 h 78"/>
                <a:gd name="T8" fmla="*/ 26 w 90"/>
                <a:gd name="T9" fmla="*/ 0 h 78"/>
                <a:gd name="T10" fmla="*/ 0 w 90"/>
                <a:gd name="T11" fmla="*/ 26 h 78"/>
                <a:gd name="T12" fmla="*/ 45 w 90"/>
                <a:gd name="T13" fmla="*/ 78 h 78"/>
                <a:gd name="T14" fmla="*/ 62 w 90"/>
                <a:gd name="T15" fmla="*/ 69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 h="78">
                  <a:moveTo>
                    <a:pt x="62" y="69"/>
                  </a:moveTo>
                  <a:cubicBezTo>
                    <a:pt x="75" y="60"/>
                    <a:pt x="90" y="46"/>
                    <a:pt x="90" y="26"/>
                  </a:cubicBezTo>
                  <a:cubicBezTo>
                    <a:pt x="90" y="12"/>
                    <a:pt x="78" y="0"/>
                    <a:pt x="64" y="0"/>
                  </a:cubicBezTo>
                  <a:cubicBezTo>
                    <a:pt x="56" y="0"/>
                    <a:pt x="50" y="3"/>
                    <a:pt x="45" y="7"/>
                  </a:cubicBezTo>
                  <a:cubicBezTo>
                    <a:pt x="40" y="3"/>
                    <a:pt x="34" y="0"/>
                    <a:pt x="26" y="0"/>
                  </a:cubicBezTo>
                  <a:cubicBezTo>
                    <a:pt x="12" y="0"/>
                    <a:pt x="0" y="12"/>
                    <a:pt x="0" y="26"/>
                  </a:cubicBezTo>
                  <a:cubicBezTo>
                    <a:pt x="0" y="60"/>
                    <a:pt x="45" y="78"/>
                    <a:pt x="45" y="78"/>
                  </a:cubicBezTo>
                  <a:lnTo>
                    <a:pt x="62" y="69"/>
                  </a:ln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82">
              <a:extLst>
                <a:ext uri="{FF2B5EF4-FFF2-40B4-BE49-F238E27FC236}">
                  <a16:creationId xmlns:a16="http://schemas.microsoft.com/office/drawing/2014/main" id="{70589F2D-5EC8-400F-9AB3-1CECAAE732CF}"/>
                </a:ext>
              </a:extLst>
            </p:cNvPr>
            <p:cNvSpPr>
              <a:spLocks/>
            </p:cNvSpPr>
            <p:nvPr/>
          </p:nvSpPr>
          <p:spPr bwMode="auto">
            <a:xfrm>
              <a:off x="7477125" y="3694113"/>
              <a:ext cx="458788" cy="401638"/>
            </a:xfrm>
            <a:custGeom>
              <a:avLst/>
              <a:gdLst>
                <a:gd name="T0" fmla="*/ 70 w 102"/>
                <a:gd name="T1" fmla="*/ 78 h 89"/>
                <a:gd name="T2" fmla="*/ 102 w 102"/>
                <a:gd name="T3" fmla="*/ 30 h 89"/>
                <a:gd name="T4" fmla="*/ 72 w 102"/>
                <a:gd name="T5" fmla="*/ 0 h 89"/>
                <a:gd name="T6" fmla="*/ 51 w 102"/>
                <a:gd name="T7" fmla="*/ 9 h 89"/>
                <a:gd name="T8" fmla="*/ 30 w 102"/>
                <a:gd name="T9" fmla="*/ 0 h 89"/>
                <a:gd name="T10" fmla="*/ 0 w 102"/>
                <a:gd name="T11" fmla="*/ 30 h 89"/>
                <a:gd name="T12" fmla="*/ 51 w 102"/>
                <a:gd name="T13" fmla="*/ 89 h 89"/>
              </a:gdLst>
              <a:ahLst/>
              <a:cxnLst>
                <a:cxn ang="0">
                  <a:pos x="T0" y="T1"/>
                </a:cxn>
                <a:cxn ang="0">
                  <a:pos x="T2" y="T3"/>
                </a:cxn>
                <a:cxn ang="0">
                  <a:pos x="T4" y="T5"/>
                </a:cxn>
                <a:cxn ang="0">
                  <a:pos x="T6" y="T7"/>
                </a:cxn>
                <a:cxn ang="0">
                  <a:pos x="T8" y="T9"/>
                </a:cxn>
                <a:cxn ang="0">
                  <a:pos x="T10" y="T11"/>
                </a:cxn>
                <a:cxn ang="0">
                  <a:pos x="T12" y="T13"/>
                </a:cxn>
              </a:cxnLst>
              <a:rect l="0" t="0" r="r" b="b"/>
              <a:pathLst>
                <a:path w="102" h="89">
                  <a:moveTo>
                    <a:pt x="70" y="78"/>
                  </a:moveTo>
                  <a:cubicBezTo>
                    <a:pt x="85" y="68"/>
                    <a:pt x="102" y="52"/>
                    <a:pt x="102" y="30"/>
                  </a:cubicBezTo>
                  <a:cubicBezTo>
                    <a:pt x="102" y="14"/>
                    <a:pt x="88" y="0"/>
                    <a:pt x="72" y="0"/>
                  </a:cubicBezTo>
                  <a:cubicBezTo>
                    <a:pt x="64" y="0"/>
                    <a:pt x="56" y="4"/>
                    <a:pt x="51" y="9"/>
                  </a:cubicBezTo>
                  <a:cubicBezTo>
                    <a:pt x="45" y="4"/>
                    <a:pt x="38" y="0"/>
                    <a:pt x="30" y="0"/>
                  </a:cubicBezTo>
                  <a:cubicBezTo>
                    <a:pt x="13" y="0"/>
                    <a:pt x="0" y="14"/>
                    <a:pt x="0" y="30"/>
                  </a:cubicBezTo>
                  <a:cubicBezTo>
                    <a:pt x="0" y="68"/>
                    <a:pt x="51" y="89"/>
                    <a:pt x="51" y="8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83">
              <a:extLst>
                <a:ext uri="{FF2B5EF4-FFF2-40B4-BE49-F238E27FC236}">
                  <a16:creationId xmlns:a16="http://schemas.microsoft.com/office/drawing/2014/main" id="{D73999EC-726B-49D0-A8D1-43E83DAA2E2A}"/>
                </a:ext>
              </a:extLst>
            </p:cNvPr>
            <p:cNvSpPr>
              <a:spLocks/>
            </p:cNvSpPr>
            <p:nvPr/>
          </p:nvSpPr>
          <p:spPr bwMode="auto">
            <a:xfrm>
              <a:off x="7661275" y="3779838"/>
              <a:ext cx="90488" cy="71438"/>
            </a:xfrm>
            <a:custGeom>
              <a:avLst/>
              <a:gdLst>
                <a:gd name="T0" fmla="*/ 19 w 20"/>
                <a:gd name="T1" fmla="*/ 1 h 16"/>
                <a:gd name="T2" fmla="*/ 20 w 20"/>
                <a:gd name="T3" fmla="*/ 6 h 16"/>
                <a:gd name="T4" fmla="*/ 10 w 20"/>
                <a:gd name="T5" fmla="*/ 16 h 16"/>
                <a:gd name="T6" fmla="*/ 0 w 20"/>
                <a:gd name="T7" fmla="*/ 6 h 16"/>
                <a:gd name="T8" fmla="*/ 1 w 20"/>
                <a:gd name="T9" fmla="*/ 0 h 16"/>
              </a:gdLst>
              <a:ahLst/>
              <a:cxnLst>
                <a:cxn ang="0">
                  <a:pos x="T0" y="T1"/>
                </a:cxn>
                <a:cxn ang="0">
                  <a:pos x="T2" y="T3"/>
                </a:cxn>
                <a:cxn ang="0">
                  <a:pos x="T4" y="T5"/>
                </a:cxn>
                <a:cxn ang="0">
                  <a:pos x="T6" y="T7"/>
                </a:cxn>
                <a:cxn ang="0">
                  <a:pos x="T8" y="T9"/>
                </a:cxn>
              </a:cxnLst>
              <a:rect l="0" t="0" r="r" b="b"/>
              <a:pathLst>
                <a:path w="20" h="16">
                  <a:moveTo>
                    <a:pt x="19" y="1"/>
                  </a:moveTo>
                  <a:cubicBezTo>
                    <a:pt x="20" y="2"/>
                    <a:pt x="20" y="4"/>
                    <a:pt x="20" y="6"/>
                  </a:cubicBezTo>
                  <a:cubicBezTo>
                    <a:pt x="20" y="11"/>
                    <a:pt x="16" y="16"/>
                    <a:pt x="10" y="16"/>
                  </a:cubicBezTo>
                  <a:cubicBezTo>
                    <a:pt x="4" y="16"/>
                    <a:pt x="0" y="11"/>
                    <a:pt x="0" y="6"/>
                  </a:cubicBezTo>
                  <a:cubicBezTo>
                    <a:pt x="0" y="4"/>
                    <a:pt x="0" y="2"/>
                    <a:pt x="1"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84">
              <a:extLst>
                <a:ext uri="{FF2B5EF4-FFF2-40B4-BE49-F238E27FC236}">
                  <a16:creationId xmlns:a16="http://schemas.microsoft.com/office/drawing/2014/main" id="{E48D1498-75D1-4B59-9EE2-A06C2CA01ABE}"/>
                </a:ext>
              </a:extLst>
            </p:cNvPr>
            <p:cNvSpPr>
              <a:spLocks/>
            </p:cNvSpPr>
            <p:nvPr/>
          </p:nvSpPr>
          <p:spPr bwMode="auto">
            <a:xfrm>
              <a:off x="7707313" y="3735388"/>
              <a:ext cx="39688" cy="49213"/>
            </a:xfrm>
            <a:custGeom>
              <a:avLst/>
              <a:gdLst>
                <a:gd name="T0" fmla="*/ 0 w 9"/>
                <a:gd name="T1" fmla="*/ 0 h 11"/>
                <a:gd name="T2" fmla="*/ 9 w 9"/>
                <a:gd name="T3" fmla="*/ 11 h 11"/>
              </a:gdLst>
              <a:ahLst/>
              <a:cxnLst>
                <a:cxn ang="0">
                  <a:pos x="T0" y="T1"/>
                </a:cxn>
                <a:cxn ang="0">
                  <a:pos x="T2" y="T3"/>
                </a:cxn>
              </a:cxnLst>
              <a:rect l="0" t="0" r="r" b="b"/>
              <a:pathLst>
                <a:path w="9" h="11">
                  <a:moveTo>
                    <a:pt x="0" y="0"/>
                  </a:moveTo>
                  <a:cubicBezTo>
                    <a:pt x="0" y="0"/>
                    <a:pt x="5" y="4"/>
                    <a:pt x="9" y="11"/>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85">
              <a:extLst>
                <a:ext uri="{FF2B5EF4-FFF2-40B4-BE49-F238E27FC236}">
                  <a16:creationId xmlns:a16="http://schemas.microsoft.com/office/drawing/2014/main" id="{D0C66331-B7B6-4B57-8A42-0ABDEEB07064}"/>
                </a:ext>
              </a:extLst>
            </p:cNvPr>
            <p:cNvSpPr>
              <a:spLocks/>
            </p:cNvSpPr>
            <p:nvPr/>
          </p:nvSpPr>
          <p:spPr bwMode="auto">
            <a:xfrm>
              <a:off x="7666038" y="3735388"/>
              <a:ext cx="41275" cy="49213"/>
            </a:xfrm>
            <a:custGeom>
              <a:avLst/>
              <a:gdLst>
                <a:gd name="T0" fmla="*/ 9 w 9"/>
                <a:gd name="T1" fmla="*/ 0 h 11"/>
                <a:gd name="T2" fmla="*/ 0 w 9"/>
                <a:gd name="T3" fmla="*/ 11 h 11"/>
              </a:gdLst>
              <a:ahLst/>
              <a:cxnLst>
                <a:cxn ang="0">
                  <a:pos x="T0" y="T1"/>
                </a:cxn>
                <a:cxn ang="0">
                  <a:pos x="T2" y="T3"/>
                </a:cxn>
              </a:cxnLst>
              <a:rect l="0" t="0" r="r" b="b"/>
              <a:pathLst>
                <a:path w="9" h="11">
                  <a:moveTo>
                    <a:pt x="9" y="0"/>
                  </a:moveTo>
                  <a:cubicBezTo>
                    <a:pt x="9" y="0"/>
                    <a:pt x="4" y="4"/>
                    <a:pt x="0" y="11"/>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8" name="Group 33">
            <a:extLst>
              <a:ext uri="{FF2B5EF4-FFF2-40B4-BE49-F238E27FC236}">
                <a16:creationId xmlns:a16="http://schemas.microsoft.com/office/drawing/2014/main" id="{1DB9EF22-22B4-419C-9D67-56A5EEB874E0}"/>
              </a:ext>
            </a:extLst>
          </p:cNvPr>
          <p:cNvGrpSpPr/>
          <p:nvPr/>
        </p:nvGrpSpPr>
        <p:grpSpPr>
          <a:xfrm>
            <a:off x="1407660" y="2728587"/>
            <a:ext cx="519180" cy="480790"/>
            <a:chOff x="7100888" y="1520824"/>
            <a:chExt cx="598488" cy="311403"/>
          </a:xfrm>
        </p:grpSpPr>
        <p:sp>
          <p:nvSpPr>
            <p:cNvPr id="59" name="Rectangle 31">
              <a:extLst>
                <a:ext uri="{FF2B5EF4-FFF2-40B4-BE49-F238E27FC236}">
                  <a16:creationId xmlns:a16="http://schemas.microsoft.com/office/drawing/2014/main" id="{FABED70E-F4B1-47FB-BB62-1F738A642D5D}"/>
                </a:ext>
              </a:extLst>
            </p:cNvPr>
            <p:cNvSpPr>
              <a:spLocks noChangeArrowheads="1"/>
            </p:cNvSpPr>
            <p:nvPr/>
          </p:nvSpPr>
          <p:spPr bwMode="auto">
            <a:xfrm>
              <a:off x="7100888" y="1535113"/>
              <a:ext cx="558800" cy="274638"/>
            </a:xfrm>
            <a:prstGeom prst="rect">
              <a:avLst/>
            </a:prstGeom>
            <a:solidFill>
              <a:srgbClr val="E4B7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32">
              <a:extLst>
                <a:ext uri="{FF2B5EF4-FFF2-40B4-BE49-F238E27FC236}">
                  <a16:creationId xmlns:a16="http://schemas.microsoft.com/office/drawing/2014/main" id="{17C2B325-3A80-41B7-822D-C043022994D9}"/>
                </a:ext>
              </a:extLst>
            </p:cNvPr>
            <p:cNvSpPr>
              <a:spLocks/>
            </p:cNvSpPr>
            <p:nvPr/>
          </p:nvSpPr>
          <p:spPr bwMode="auto">
            <a:xfrm>
              <a:off x="7142163" y="1520824"/>
              <a:ext cx="557213" cy="311403"/>
            </a:xfrm>
            <a:custGeom>
              <a:avLst/>
              <a:gdLst>
                <a:gd name="T0" fmla="*/ 62 w 124"/>
                <a:gd name="T1" fmla="*/ 89 h 89"/>
                <a:gd name="T2" fmla="*/ 62 w 124"/>
                <a:gd name="T3" fmla="*/ 73 h 89"/>
                <a:gd name="T4" fmla="*/ 59 w 124"/>
                <a:gd name="T5" fmla="*/ 69 h 89"/>
                <a:gd name="T6" fmla="*/ 0 w 124"/>
                <a:gd name="T7" fmla="*/ 69 h 89"/>
                <a:gd name="T8" fmla="*/ 0 w 124"/>
                <a:gd name="T9" fmla="*/ 0 h 89"/>
                <a:gd name="T10" fmla="*/ 124 w 124"/>
                <a:gd name="T11" fmla="*/ 0 h 89"/>
                <a:gd name="T12" fmla="*/ 124 w 124"/>
                <a:gd name="T13" fmla="*/ 69 h 89"/>
                <a:gd name="T14" fmla="*/ 75 w 124"/>
                <a:gd name="T15" fmla="*/ 69 h 89"/>
                <a:gd name="connsiteX0" fmla="*/ 5000 w 10000"/>
                <a:gd name="connsiteY0" fmla="*/ 8202 h 8202"/>
                <a:gd name="connsiteX1" fmla="*/ 4758 w 10000"/>
                <a:gd name="connsiteY1" fmla="*/ 7753 h 8202"/>
                <a:gd name="connsiteX2" fmla="*/ 0 w 10000"/>
                <a:gd name="connsiteY2" fmla="*/ 7753 h 8202"/>
                <a:gd name="connsiteX3" fmla="*/ 0 w 10000"/>
                <a:gd name="connsiteY3" fmla="*/ 0 h 8202"/>
                <a:gd name="connsiteX4" fmla="*/ 10000 w 10000"/>
                <a:gd name="connsiteY4" fmla="*/ 0 h 8202"/>
                <a:gd name="connsiteX5" fmla="*/ 10000 w 10000"/>
                <a:gd name="connsiteY5" fmla="*/ 7753 h 8202"/>
                <a:gd name="connsiteX6" fmla="*/ 6048 w 10000"/>
                <a:gd name="connsiteY6" fmla="*/ 7753 h 8202"/>
                <a:gd name="connsiteX0" fmla="*/ 5000 w 10000"/>
                <a:gd name="connsiteY0" fmla="*/ 10000 h 10059"/>
                <a:gd name="connsiteX1" fmla="*/ 5157 w 10000"/>
                <a:gd name="connsiteY1" fmla="*/ 10024 h 10059"/>
                <a:gd name="connsiteX2" fmla="*/ 4758 w 10000"/>
                <a:gd name="connsiteY2" fmla="*/ 9453 h 10059"/>
                <a:gd name="connsiteX3" fmla="*/ 0 w 10000"/>
                <a:gd name="connsiteY3" fmla="*/ 9453 h 10059"/>
                <a:gd name="connsiteX4" fmla="*/ 0 w 10000"/>
                <a:gd name="connsiteY4" fmla="*/ 0 h 10059"/>
                <a:gd name="connsiteX5" fmla="*/ 10000 w 10000"/>
                <a:gd name="connsiteY5" fmla="*/ 0 h 10059"/>
                <a:gd name="connsiteX6" fmla="*/ 10000 w 10000"/>
                <a:gd name="connsiteY6" fmla="*/ 9453 h 10059"/>
                <a:gd name="connsiteX7" fmla="*/ 6048 w 10000"/>
                <a:gd name="connsiteY7" fmla="*/ 9453 h 10059"/>
                <a:gd name="connsiteX0" fmla="*/ 5000 w 10000"/>
                <a:gd name="connsiteY0" fmla="*/ 10000 h 10000"/>
                <a:gd name="connsiteX1" fmla="*/ 4758 w 10000"/>
                <a:gd name="connsiteY1" fmla="*/ 9453 h 10000"/>
                <a:gd name="connsiteX2" fmla="*/ 0 w 10000"/>
                <a:gd name="connsiteY2" fmla="*/ 9453 h 10000"/>
                <a:gd name="connsiteX3" fmla="*/ 0 w 10000"/>
                <a:gd name="connsiteY3" fmla="*/ 0 h 10000"/>
                <a:gd name="connsiteX4" fmla="*/ 10000 w 10000"/>
                <a:gd name="connsiteY4" fmla="*/ 0 h 10000"/>
                <a:gd name="connsiteX5" fmla="*/ 10000 w 10000"/>
                <a:gd name="connsiteY5" fmla="*/ 9453 h 10000"/>
                <a:gd name="connsiteX6" fmla="*/ 6048 w 10000"/>
                <a:gd name="connsiteY6" fmla="*/ 9453 h 10000"/>
                <a:gd name="connsiteX0" fmla="*/ 5470 w 10000"/>
                <a:gd name="connsiteY0" fmla="*/ 9639 h 9639"/>
                <a:gd name="connsiteX1" fmla="*/ 4758 w 10000"/>
                <a:gd name="connsiteY1" fmla="*/ 9453 h 9639"/>
                <a:gd name="connsiteX2" fmla="*/ 0 w 10000"/>
                <a:gd name="connsiteY2" fmla="*/ 9453 h 9639"/>
                <a:gd name="connsiteX3" fmla="*/ 0 w 10000"/>
                <a:gd name="connsiteY3" fmla="*/ 0 h 9639"/>
                <a:gd name="connsiteX4" fmla="*/ 10000 w 10000"/>
                <a:gd name="connsiteY4" fmla="*/ 0 h 9639"/>
                <a:gd name="connsiteX5" fmla="*/ 10000 w 10000"/>
                <a:gd name="connsiteY5" fmla="*/ 9453 h 9639"/>
                <a:gd name="connsiteX6" fmla="*/ 6048 w 10000"/>
                <a:gd name="connsiteY6" fmla="*/ 9453 h 9639"/>
                <a:gd name="connsiteX0" fmla="*/ 4758 w 10000"/>
                <a:gd name="connsiteY0" fmla="*/ 9807 h 9807"/>
                <a:gd name="connsiteX1" fmla="*/ 0 w 10000"/>
                <a:gd name="connsiteY1" fmla="*/ 9807 h 9807"/>
                <a:gd name="connsiteX2" fmla="*/ 0 w 10000"/>
                <a:gd name="connsiteY2" fmla="*/ 0 h 9807"/>
                <a:gd name="connsiteX3" fmla="*/ 10000 w 10000"/>
                <a:gd name="connsiteY3" fmla="*/ 0 h 9807"/>
                <a:gd name="connsiteX4" fmla="*/ 10000 w 10000"/>
                <a:gd name="connsiteY4" fmla="*/ 9807 h 9807"/>
                <a:gd name="connsiteX5" fmla="*/ 6048 w 10000"/>
                <a:gd name="connsiteY5" fmla="*/ 9807 h 9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9807">
                  <a:moveTo>
                    <a:pt x="4758" y="9807"/>
                  </a:moveTo>
                  <a:cubicBezTo>
                    <a:pt x="3846" y="9775"/>
                    <a:pt x="1586" y="9807"/>
                    <a:pt x="0" y="9807"/>
                  </a:cubicBezTo>
                  <a:lnTo>
                    <a:pt x="0" y="0"/>
                  </a:lnTo>
                  <a:lnTo>
                    <a:pt x="10000" y="0"/>
                  </a:lnTo>
                  <a:lnTo>
                    <a:pt x="10000" y="9807"/>
                  </a:lnTo>
                  <a:lnTo>
                    <a:pt x="6048" y="9807"/>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61" name="Oval 47">
            <a:extLst>
              <a:ext uri="{FF2B5EF4-FFF2-40B4-BE49-F238E27FC236}">
                <a16:creationId xmlns:a16="http://schemas.microsoft.com/office/drawing/2014/main" id="{F14868FC-17E1-46F0-A465-705516759516}"/>
              </a:ext>
            </a:extLst>
          </p:cNvPr>
          <p:cNvSpPr>
            <a:spLocks noChangeArrowheads="1"/>
          </p:cNvSpPr>
          <p:nvPr/>
        </p:nvSpPr>
        <p:spPr bwMode="auto">
          <a:xfrm>
            <a:off x="3154973" y="4155193"/>
            <a:ext cx="409904" cy="414942"/>
          </a:xfrm>
          <a:prstGeom prst="ellipse">
            <a:avLst/>
          </a:prstGeom>
          <a:solidFill>
            <a:srgbClr val="E4B73B"/>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2" name="Freeform 48">
            <a:extLst>
              <a:ext uri="{FF2B5EF4-FFF2-40B4-BE49-F238E27FC236}">
                <a16:creationId xmlns:a16="http://schemas.microsoft.com/office/drawing/2014/main" id="{C843253A-1AD3-42E9-A2B7-E0A5E727FAFE}"/>
              </a:ext>
            </a:extLst>
          </p:cNvPr>
          <p:cNvSpPr>
            <a:spLocks/>
          </p:cNvSpPr>
          <p:nvPr/>
        </p:nvSpPr>
        <p:spPr bwMode="auto">
          <a:xfrm>
            <a:off x="3311206" y="4417262"/>
            <a:ext cx="134395" cy="347745"/>
          </a:xfrm>
          <a:custGeom>
            <a:avLst/>
            <a:gdLst>
              <a:gd name="T0" fmla="*/ 14 w 28"/>
              <a:gd name="T1" fmla="*/ 73 h 73"/>
              <a:gd name="T2" fmla="*/ 14 w 28"/>
              <a:gd name="T3" fmla="*/ 73 h 73"/>
              <a:gd name="T4" fmla="*/ 0 w 28"/>
              <a:gd name="T5" fmla="*/ 59 h 73"/>
              <a:gd name="T6" fmla="*/ 0 w 28"/>
              <a:gd name="T7" fmla="*/ 14 h 73"/>
              <a:gd name="T8" fmla="*/ 14 w 28"/>
              <a:gd name="T9" fmla="*/ 0 h 73"/>
              <a:gd name="T10" fmla="*/ 14 w 28"/>
              <a:gd name="T11" fmla="*/ 0 h 73"/>
              <a:gd name="T12" fmla="*/ 28 w 28"/>
              <a:gd name="T13" fmla="*/ 14 h 73"/>
              <a:gd name="T14" fmla="*/ 28 w 28"/>
              <a:gd name="T15" fmla="*/ 59 h 73"/>
              <a:gd name="T16" fmla="*/ 14 w 28"/>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3">
                <a:moveTo>
                  <a:pt x="14" y="73"/>
                </a:moveTo>
                <a:cubicBezTo>
                  <a:pt x="14" y="73"/>
                  <a:pt x="14" y="73"/>
                  <a:pt x="14" y="73"/>
                </a:cubicBezTo>
                <a:cubicBezTo>
                  <a:pt x="6" y="73"/>
                  <a:pt x="0" y="67"/>
                  <a:pt x="0" y="59"/>
                </a:cubicBezTo>
                <a:cubicBezTo>
                  <a:pt x="0" y="14"/>
                  <a:pt x="0" y="14"/>
                  <a:pt x="0" y="14"/>
                </a:cubicBezTo>
                <a:cubicBezTo>
                  <a:pt x="0" y="7"/>
                  <a:pt x="6" y="0"/>
                  <a:pt x="14" y="0"/>
                </a:cubicBezTo>
                <a:cubicBezTo>
                  <a:pt x="14" y="0"/>
                  <a:pt x="14" y="0"/>
                  <a:pt x="14" y="0"/>
                </a:cubicBezTo>
                <a:cubicBezTo>
                  <a:pt x="21" y="0"/>
                  <a:pt x="28" y="7"/>
                  <a:pt x="28" y="14"/>
                </a:cubicBezTo>
                <a:cubicBezTo>
                  <a:pt x="28" y="59"/>
                  <a:pt x="28" y="59"/>
                  <a:pt x="28" y="59"/>
                </a:cubicBezTo>
                <a:cubicBezTo>
                  <a:pt x="28" y="67"/>
                  <a:pt x="21" y="73"/>
                  <a:pt x="14" y="73"/>
                </a:cubicBezTo>
                <a:close/>
              </a:path>
            </a:pathLst>
          </a:custGeom>
          <a:solidFill>
            <a:srgbClr val="E4B73B"/>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63" name="Oval 49">
            <a:extLst>
              <a:ext uri="{FF2B5EF4-FFF2-40B4-BE49-F238E27FC236}">
                <a16:creationId xmlns:a16="http://schemas.microsoft.com/office/drawing/2014/main" id="{35C4C0A8-ECC2-4C33-8314-0721BD9AD63C}"/>
              </a:ext>
            </a:extLst>
          </p:cNvPr>
          <p:cNvSpPr>
            <a:spLocks noChangeArrowheads="1"/>
          </p:cNvSpPr>
          <p:nvPr/>
        </p:nvSpPr>
        <p:spPr bwMode="auto">
          <a:xfrm>
            <a:off x="3368324" y="4694450"/>
            <a:ext cx="43678" cy="47038"/>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50">
            <a:extLst>
              <a:ext uri="{FF2B5EF4-FFF2-40B4-BE49-F238E27FC236}">
                <a16:creationId xmlns:a16="http://schemas.microsoft.com/office/drawing/2014/main" id="{3ECC88F6-7AD1-4A38-9EC5-2D14C062BB3E}"/>
              </a:ext>
            </a:extLst>
          </p:cNvPr>
          <p:cNvSpPr>
            <a:spLocks/>
          </p:cNvSpPr>
          <p:nvPr/>
        </p:nvSpPr>
        <p:spPr bwMode="auto">
          <a:xfrm>
            <a:off x="3269209" y="4227430"/>
            <a:ext cx="238551" cy="361185"/>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65" name="Group 40">
            <a:extLst>
              <a:ext uri="{FF2B5EF4-FFF2-40B4-BE49-F238E27FC236}">
                <a16:creationId xmlns:a16="http://schemas.microsoft.com/office/drawing/2014/main" id="{629BE45D-BC45-4ECD-BF47-CEB1A6356EE0}"/>
              </a:ext>
            </a:extLst>
          </p:cNvPr>
          <p:cNvGrpSpPr/>
          <p:nvPr/>
        </p:nvGrpSpPr>
        <p:grpSpPr>
          <a:xfrm>
            <a:off x="1462399" y="4188856"/>
            <a:ext cx="423342" cy="589656"/>
            <a:chOff x="6256338" y="1466850"/>
            <a:chExt cx="400050" cy="557213"/>
          </a:xfrm>
        </p:grpSpPr>
        <p:sp>
          <p:nvSpPr>
            <p:cNvPr id="66" name="Freeform 107">
              <a:extLst>
                <a:ext uri="{FF2B5EF4-FFF2-40B4-BE49-F238E27FC236}">
                  <a16:creationId xmlns:a16="http://schemas.microsoft.com/office/drawing/2014/main" id="{755F0848-E1F9-4E4F-8A65-B417B629A3C0}"/>
                </a:ext>
              </a:extLst>
            </p:cNvPr>
            <p:cNvSpPr>
              <a:spLocks/>
            </p:cNvSpPr>
            <p:nvPr/>
          </p:nvSpPr>
          <p:spPr bwMode="auto">
            <a:xfrm>
              <a:off x="6256338" y="1466850"/>
              <a:ext cx="400050" cy="557213"/>
            </a:xfrm>
            <a:custGeom>
              <a:avLst/>
              <a:gdLst>
                <a:gd name="T0" fmla="*/ 15 w 89"/>
                <a:gd name="T1" fmla="*/ 119 h 124"/>
                <a:gd name="T2" fmla="*/ 85 w 89"/>
                <a:gd name="T3" fmla="*/ 68 h 124"/>
                <a:gd name="T4" fmla="*/ 85 w 89"/>
                <a:gd name="T5" fmla="*/ 56 h 124"/>
                <a:gd name="T6" fmla="*/ 15 w 89"/>
                <a:gd name="T7" fmla="*/ 4 h 124"/>
                <a:gd name="T8" fmla="*/ 0 w 89"/>
                <a:gd name="T9" fmla="*/ 12 h 124"/>
                <a:gd name="T10" fmla="*/ 0 w 89"/>
                <a:gd name="T11" fmla="*/ 112 h 124"/>
                <a:gd name="T12" fmla="*/ 15 w 89"/>
                <a:gd name="T13" fmla="*/ 119 h 124"/>
              </a:gdLst>
              <a:ahLst/>
              <a:cxnLst>
                <a:cxn ang="0">
                  <a:pos x="T0" y="T1"/>
                </a:cxn>
                <a:cxn ang="0">
                  <a:pos x="T2" y="T3"/>
                </a:cxn>
                <a:cxn ang="0">
                  <a:pos x="T4" y="T5"/>
                </a:cxn>
                <a:cxn ang="0">
                  <a:pos x="T6" y="T7"/>
                </a:cxn>
                <a:cxn ang="0">
                  <a:pos x="T8" y="T9"/>
                </a:cxn>
                <a:cxn ang="0">
                  <a:pos x="T10" y="T11"/>
                </a:cxn>
                <a:cxn ang="0">
                  <a:pos x="T12" y="T13"/>
                </a:cxn>
              </a:cxnLst>
              <a:rect l="0" t="0" r="r" b="b"/>
              <a:pathLst>
                <a:path w="89" h="124">
                  <a:moveTo>
                    <a:pt x="15" y="119"/>
                  </a:moveTo>
                  <a:cubicBezTo>
                    <a:pt x="85" y="68"/>
                    <a:pt x="85" y="68"/>
                    <a:pt x="85" y="68"/>
                  </a:cubicBezTo>
                  <a:cubicBezTo>
                    <a:pt x="89" y="65"/>
                    <a:pt x="89" y="59"/>
                    <a:pt x="85" y="56"/>
                  </a:cubicBezTo>
                  <a:cubicBezTo>
                    <a:pt x="15" y="4"/>
                    <a:pt x="15" y="4"/>
                    <a:pt x="15" y="4"/>
                  </a:cubicBezTo>
                  <a:cubicBezTo>
                    <a:pt x="9" y="0"/>
                    <a:pt x="0" y="4"/>
                    <a:pt x="0" y="12"/>
                  </a:cubicBezTo>
                  <a:cubicBezTo>
                    <a:pt x="0" y="112"/>
                    <a:pt x="0" y="112"/>
                    <a:pt x="0" y="112"/>
                  </a:cubicBezTo>
                  <a:cubicBezTo>
                    <a:pt x="0" y="119"/>
                    <a:pt x="9" y="124"/>
                    <a:pt x="15" y="119"/>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108">
              <a:extLst>
                <a:ext uri="{FF2B5EF4-FFF2-40B4-BE49-F238E27FC236}">
                  <a16:creationId xmlns:a16="http://schemas.microsoft.com/office/drawing/2014/main" id="{5A1C4AF8-F79A-4EFE-939C-64811DB5BB11}"/>
                </a:ext>
              </a:extLst>
            </p:cNvPr>
            <p:cNvSpPr>
              <a:spLocks/>
            </p:cNvSpPr>
            <p:nvPr/>
          </p:nvSpPr>
          <p:spPr bwMode="auto">
            <a:xfrm>
              <a:off x="6376988" y="1574800"/>
              <a:ext cx="238125" cy="346075"/>
            </a:xfrm>
            <a:custGeom>
              <a:avLst/>
              <a:gdLst>
                <a:gd name="T0" fmla="*/ 0 w 150"/>
                <a:gd name="T1" fmla="*/ 218 h 218"/>
                <a:gd name="T2" fmla="*/ 150 w 150"/>
                <a:gd name="T3" fmla="*/ 110 h 218"/>
                <a:gd name="T4" fmla="*/ 0 w 150"/>
                <a:gd name="T5" fmla="*/ 0 h 218"/>
              </a:gdLst>
              <a:ahLst/>
              <a:cxnLst>
                <a:cxn ang="0">
                  <a:pos x="T0" y="T1"/>
                </a:cxn>
                <a:cxn ang="0">
                  <a:pos x="T2" y="T3"/>
                </a:cxn>
                <a:cxn ang="0">
                  <a:pos x="T4" y="T5"/>
                </a:cxn>
              </a:cxnLst>
              <a:rect l="0" t="0" r="r" b="b"/>
              <a:pathLst>
                <a:path w="150" h="218">
                  <a:moveTo>
                    <a:pt x="0" y="218"/>
                  </a:moveTo>
                  <a:lnTo>
                    <a:pt x="150" y="11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68" name="TextBox 43">
            <a:extLst>
              <a:ext uri="{FF2B5EF4-FFF2-40B4-BE49-F238E27FC236}">
                <a16:creationId xmlns:a16="http://schemas.microsoft.com/office/drawing/2014/main" id="{E1C4B376-1FC5-4387-8081-225D8A8C309A}"/>
              </a:ext>
            </a:extLst>
          </p:cNvPr>
          <p:cNvSpPr txBox="1"/>
          <p:nvPr/>
        </p:nvSpPr>
        <p:spPr>
          <a:xfrm>
            <a:off x="1256638" y="3498300"/>
            <a:ext cx="795089" cy="169277"/>
          </a:xfrm>
          <a:prstGeom prst="rect">
            <a:avLst/>
          </a:prstGeom>
          <a:noFill/>
          <a:ln w="6350">
            <a:noFill/>
            <a:prstDash val="sysDash"/>
          </a:ln>
        </p:spPr>
        <p:txBody>
          <a:bodyPr wrap="none" lIns="0" tIns="0" rIns="0" bIns="0" rtlCol="0">
            <a:spAutoFit/>
          </a:bodyPr>
          <a:lstStyle/>
          <a:p>
            <a:pPr algn="ctr"/>
            <a:r>
              <a:rPr lang="en-GB" sz="1100" b="1" dirty="0"/>
              <a:t>CONCRETE</a:t>
            </a:r>
          </a:p>
        </p:txBody>
      </p:sp>
      <p:sp>
        <p:nvSpPr>
          <p:cNvPr id="69" name="TextBox 44">
            <a:extLst>
              <a:ext uri="{FF2B5EF4-FFF2-40B4-BE49-F238E27FC236}">
                <a16:creationId xmlns:a16="http://schemas.microsoft.com/office/drawing/2014/main" id="{7EA9F11D-04CE-4616-B98A-F320D173DFD4}"/>
              </a:ext>
            </a:extLst>
          </p:cNvPr>
          <p:cNvSpPr txBox="1"/>
          <p:nvPr/>
        </p:nvSpPr>
        <p:spPr>
          <a:xfrm>
            <a:off x="1095535" y="4946699"/>
            <a:ext cx="1117294" cy="169277"/>
          </a:xfrm>
          <a:prstGeom prst="rect">
            <a:avLst/>
          </a:prstGeom>
          <a:noFill/>
          <a:ln w="6350">
            <a:noFill/>
            <a:prstDash val="sysDash"/>
          </a:ln>
        </p:spPr>
        <p:txBody>
          <a:bodyPr wrap="none" lIns="0" tIns="0" rIns="0" bIns="0" rtlCol="0">
            <a:spAutoFit/>
          </a:bodyPr>
          <a:lstStyle/>
          <a:p>
            <a:pPr algn="ctr"/>
            <a:r>
              <a:rPr lang="en-GB" sz="1100" b="1" dirty="0"/>
              <a:t>CONSTRUCTIVE</a:t>
            </a:r>
          </a:p>
        </p:txBody>
      </p:sp>
      <p:sp>
        <p:nvSpPr>
          <p:cNvPr id="70" name="TextBox 45">
            <a:extLst>
              <a:ext uri="{FF2B5EF4-FFF2-40B4-BE49-F238E27FC236}">
                <a16:creationId xmlns:a16="http://schemas.microsoft.com/office/drawing/2014/main" id="{072F56F4-7272-4A71-9FA3-980E6B5E1B9D}"/>
              </a:ext>
            </a:extLst>
          </p:cNvPr>
          <p:cNvSpPr txBox="1"/>
          <p:nvPr/>
        </p:nvSpPr>
        <p:spPr>
          <a:xfrm>
            <a:off x="3088709" y="3498300"/>
            <a:ext cx="557846" cy="169277"/>
          </a:xfrm>
          <a:prstGeom prst="rect">
            <a:avLst/>
          </a:prstGeom>
          <a:noFill/>
          <a:ln w="6350">
            <a:noFill/>
            <a:prstDash val="sysDash"/>
          </a:ln>
        </p:spPr>
        <p:txBody>
          <a:bodyPr wrap="none" lIns="0" tIns="0" rIns="0" bIns="0" rtlCol="0">
            <a:spAutoFit/>
          </a:bodyPr>
          <a:lstStyle/>
          <a:p>
            <a:pPr algn="ctr"/>
            <a:r>
              <a:rPr lang="en-GB" sz="1100" b="1" dirty="0"/>
              <a:t>CARING</a:t>
            </a:r>
          </a:p>
        </p:txBody>
      </p:sp>
      <p:sp>
        <p:nvSpPr>
          <p:cNvPr id="71" name="TextBox 46">
            <a:extLst>
              <a:ext uri="{FF2B5EF4-FFF2-40B4-BE49-F238E27FC236}">
                <a16:creationId xmlns:a16="http://schemas.microsoft.com/office/drawing/2014/main" id="{552D7FA5-223D-4C77-A487-7729CA90D7A0}"/>
              </a:ext>
            </a:extLst>
          </p:cNvPr>
          <p:cNvSpPr txBox="1"/>
          <p:nvPr/>
        </p:nvSpPr>
        <p:spPr>
          <a:xfrm>
            <a:off x="3041421" y="4946699"/>
            <a:ext cx="652423" cy="169277"/>
          </a:xfrm>
          <a:prstGeom prst="rect">
            <a:avLst/>
          </a:prstGeom>
          <a:noFill/>
          <a:ln w="6350">
            <a:noFill/>
            <a:prstDash val="sysDash"/>
          </a:ln>
        </p:spPr>
        <p:txBody>
          <a:bodyPr wrap="none" lIns="0" tIns="0" rIns="0" bIns="0" rtlCol="0">
            <a:spAutoFit/>
          </a:bodyPr>
          <a:lstStyle/>
          <a:p>
            <a:pPr algn="ctr"/>
            <a:r>
              <a:rPr lang="en-GB" sz="1100" b="1" dirty="0"/>
              <a:t>CURIOUS</a:t>
            </a:r>
          </a:p>
        </p:txBody>
      </p:sp>
      <p:cxnSp>
        <p:nvCxnSpPr>
          <p:cNvPr id="72" name="Straight Connector 50">
            <a:extLst>
              <a:ext uri="{FF2B5EF4-FFF2-40B4-BE49-F238E27FC236}">
                <a16:creationId xmlns:a16="http://schemas.microsoft.com/office/drawing/2014/main" id="{6E2D7C0C-01DD-4455-8761-19F575C867D9}"/>
              </a:ext>
            </a:extLst>
          </p:cNvPr>
          <p:cNvCxnSpPr>
            <a:cxnSpLocks/>
          </p:cNvCxnSpPr>
          <p:nvPr/>
        </p:nvCxnSpPr>
        <p:spPr>
          <a:xfrm flipH="1">
            <a:off x="842170" y="3924796"/>
            <a:ext cx="3427612"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73" name="Straight Connector 52">
            <a:extLst>
              <a:ext uri="{FF2B5EF4-FFF2-40B4-BE49-F238E27FC236}">
                <a16:creationId xmlns:a16="http://schemas.microsoft.com/office/drawing/2014/main" id="{DF1DF225-44F1-4FCD-868E-0A9A278579B9}"/>
              </a:ext>
            </a:extLst>
          </p:cNvPr>
          <p:cNvCxnSpPr>
            <a:cxnSpLocks/>
          </p:cNvCxnSpPr>
          <p:nvPr/>
        </p:nvCxnSpPr>
        <p:spPr>
          <a:xfrm flipV="1">
            <a:off x="2513638" y="2195641"/>
            <a:ext cx="0" cy="341305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2175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ectangle 58">
            <a:extLst>
              <a:ext uri="{FF2B5EF4-FFF2-40B4-BE49-F238E27FC236}">
                <a16:creationId xmlns:a16="http://schemas.microsoft.com/office/drawing/2014/main" id="{17A6707D-CC51-4237-BDCE-9174B5F44807}"/>
              </a:ext>
            </a:extLst>
          </p:cNvPr>
          <p:cNvSpPr/>
          <p:nvPr/>
        </p:nvSpPr>
        <p:spPr>
          <a:xfrm flipH="1">
            <a:off x="1077526" y="2012945"/>
            <a:ext cx="8555424" cy="3453472"/>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dirty="0"/>
              <a:t>Exercise: Apply REAL conversation to a client case</a:t>
            </a:r>
            <a:endParaRPr lang="en-GB" altLang="da-DK" dirty="0"/>
          </a:p>
        </p:txBody>
      </p:sp>
      <p:sp>
        <p:nvSpPr>
          <p:cNvPr id="13" name="Text Placeholder 12">
            <a:extLst>
              <a:ext uri="{FF2B5EF4-FFF2-40B4-BE49-F238E27FC236}">
                <a16:creationId xmlns:a16="http://schemas.microsoft.com/office/drawing/2014/main" id="{ECDF31B0-BDEF-485F-A687-E7EA5D046390}"/>
              </a:ext>
            </a:extLst>
          </p:cNvPr>
          <p:cNvSpPr>
            <a:spLocks noGrp="1"/>
          </p:cNvSpPr>
          <p:nvPr>
            <p:ph type="body" sz="quarter" idx="13"/>
          </p:nvPr>
        </p:nvSpPr>
        <p:spPr/>
        <p:txBody>
          <a:bodyPr/>
          <a:lstStyle/>
          <a:p>
            <a:endParaRPr lang="en-GB" dirty="0"/>
          </a:p>
        </p:txBody>
      </p:sp>
      <p:sp>
        <p:nvSpPr>
          <p:cNvPr id="14" name="Text Placeholder 13">
            <a:extLst>
              <a:ext uri="{FF2B5EF4-FFF2-40B4-BE49-F238E27FC236}">
                <a16:creationId xmlns:a16="http://schemas.microsoft.com/office/drawing/2014/main" id="{2DDC7057-E1E5-4C19-BBBD-99ACE57E1964}"/>
              </a:ext>
            </a:extLst>
          </p:cNvPr>
          <p:cNvSpPr>
            <a:spLocks noGrp="1"/>
          </p:cNvSpPr>
          <p:nvPr>
            <p:ph type="body" sz="quarter" idx="14"/>
          </p:nvPr>
        </p:nvSpPr>
        <p:spPr/>
        <p:txBody>
          <a:bodyPr/>
          <a:lstStyle/>
          <a:p>
            <a:endParaRPr lang="en-GB" dirty="0"/>
          </a:p>
        </p:txBody>
      </p:sp>
      <p:grpSp>
        <p:nvGrpSpPr>
          <p:cNvPr id="18" name="Group 17">
            <a:extLst>
              <a:ext uri="{FF2B5EF4-FFF2-40B4-BE49-F238E27FC236}">
                <a16:creationId xmlns:a16="http://schemas.microsoft.com/office/drawing/2014/main" id="{B728B98A-BD4A-4A14-9AEA-C2E88CF75B98}"/>
              </a:ext>
            </a:extLst>
          </p:cNvPr>
          <p:cNvGrpSpPr/>
          <p:nvPr/>
        </p:nvGrpSpPr>
        <p:grpSpPr>
          <a:xfrm>
            <a:off x="8298832" y="309514"/>
            <a:ext cx="847612" cy="669167"/>
            <a:chOff x="4051300" y="3319463"/>
            <a:chExt cx="512763" cy="404813"/>
          </a:xfrm>
        </p:grpSpPr>
        <p:sp>
          <p:nvSpPr>
            <p:cNvPr id="19" name="Freeform 22">
              <a:extLst>
                <a:ext uri="{FF2B5EF4-FFF2-40B4-BE49-F238E27FC236}">
                  <a16:creationId xmlns:a16="http://schemas.microsoft.com/office/drawing/2014/main" id="{9DEAED4B-CBB7-46EB-8629-B56F16E90EFB}"/>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E4B73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23">
              <a:extLst>
                <a:ext uri="{FF2B5EF4-FFF2-40B4-BE49-F238E27FC236}">
                  <a16:creationId xmlns:a16="http://schemas.microsoft.com/office/drawing/2014/main" id="{AC780640-D246-4963-A900-010F23568779}"/>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Freeform 24">
              <a:extLst>
                <a:ext uri="{FF2B5EF4-FFF2-40B4-BE49-F238E27FC236}">
                  <a16:creationId xmlns:a16="http://schemas.microsoft.com/office/drawing/2014/main" id="{F5F8B9AE-6C3D-43EE-A04B-6776C9B6341F}"/>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9" name="Group 38">
            <a:extLst>
              <a:ext uri="{FF2B5EF4-FFF2-40B4-BE49-F238E27FC236}">
                <a16:creationId xmlns:a16="http://schemas.microsoft.com/office/drawing/2014/main" id="{F1A4EFF2-AFF3-441B-B7DF-8DA469034804}"/>
              </a:ext>
            </a:extLst>
          </p:cNvPr>
          <p:cNvGrpSpPr/>
          <p:nvPr/>
        </p:nvGrpSpPr>
        <p:grpSpPr>
          <a:xfrm>
            <a:off x="269874" y="2410215"/>
            <a:ext cx="521502" cy="516440"/>
            <a:chOff x="5499100" y="1640011"/>
            <a:chExt cx="490537" cy="485775"/>
          </a:xfrm>
        </p:grpSpPr>
        <p:grpSp>
          <p:nvGrpSpPr>
            <p:cNvPr id="40" name="Group 39">
              <a:extLst>
                <a:ext uri="{FF2B5EF4-FFF2-40B4-BE49-F238E27FC236}">
                  <a16:creationId xmlns:a16="http://schemas.microsoft.com/office/drawing/2014/main" id="{2349AEF0-3C1E-4BE1-B9F6-CAE14B2414DA}"/>
                </a:ext>
              </a:extLst>
            </p:cNvPr>
            <p:cNvGrpSpPr/>
            <p:nvPr/>
          </p:nvGrpSpPr>
          <p:grpSpPr>
            <a:xfrm>
              <a:off x="5499100" y="1640011"/>
              <a:ext cx="490537" cy="485775"/>
              <a:chOff x="269874" y="1788783"/>
              <a:chExt cx="490537" cy="485775"/>
            </a:xfrm>
          </p:grpSpPr>
          <p:sp>
            <p:nvSpPr>
              <p:cNvPr id="42" name="Oval 232">
                <a:extLst>
                  <a:ext uri="{FF2B5EF4-FFF2-40B4-BE49-F238E27FC236}">
                    <a16:creationId xmlns:a16="http://schemas.microsoft.com/office/drawing/2014/main" id="{158C59B5-139E-4E3E-81DF-70F990A35025}"/>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43" name="Freeform 233">
                <a:extLst>
                  <a:ext uri="{FF2B5EF4-FFF2-40B4-BE49-F238E27FC236}">
                    <a16:creationId xmlns:a16="http://schemas.microsoft.com/office/drawing/2014/main" id="{78A4056E-C097-4435-92E5-8B48BEF8487B}"/>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41" name="textruta 4">
              <a:extLst>
                <a:ext uri="{FF2B5EF4-FFF2-40B4-BE49-F238E27FC236}">
                  <a16:creationId xmlns:a16="http://schemas.microsoft.com/office/drawing/2014/main" id="{ACB3ACC1-678C-4E70-9C65-0F365840B8D8}"/>
                </a:ext>
              </a:extLst>
            </p:cNvPr>
            <p:cNvSpPr txBox="1"/>
            <p:nvPr/>
          </p:nvSpPr>
          <p:spPr>
            <a:xfrm>
              <a:off x="5607050" y="167652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1</a:t>
              </a:r>
            </a:p>
          </p:txBody>
        </p:sp>
      </p:grpSp>
      <p:grpSp>
        <p:nvGrpSpPr>
          <p:cNvPr id="44" name="Group 43">
            <a:extLst>
              <a:ext uri="{FF2B5EF4-FFF2-40B4-BE49-F238E27FC236}">
                <a16:creationId xmlns:a16="http://schemas.microsoft.com/office/drawing/2014/main" id="{0F835E84-B522-4058-9767-4480448E2E6B}"/>
              </a:ext>
            </a:extLst>
          </p:cNvPr>
          <p:cNvGrpSpPr/>
          <p:nvPr/>
        </p:nvGrpSpPr>
        <p:grpSpPr>
          <a:xfrm>
            <a:off x="269874" y="3462346"/>
            <a:ext cx="521502" cy="516441"/>
            <a:chOff x="5499100" y="1640011"/>
            <a:chExt cx="490537" cy="485775"/>
          </a:xfrm>
        </p:grpSpPr>
        <p:grpSp>
          <p:nvGrpSpPr>
            <p:cNvPr id="45" name="Group 44">
              <a:extLst>
                <a:ext uri="{FF2B5EF4-FFF2-40B4-BE49-F238E27FC236}">
                  <a16:creationId xmlns:a16="http://schemas.microsoft.com/office/drawing/2014/main" id="{F126AB53-7D5C-49F8-9A86-5227B1809F0D}"/>
                </a:ext>
              </a:extLst>
            </p:cNvPr>
            <p:cNvGrpSpPr/>
            <p:nvPr/>
          </p:nvGrpSpPr>
          <p:grpSpPr>
            <a:xfrm>
              <a:off x="5499100" y="1640011"/>
              <a:ext cx="490537" cy="485775"/>
              <a:chOff x="269874" y="1788783"/>
              <a:chExt cx="490537" cy="485775"/>
            </a:xfrm>
          </p:grpSpPr>
          <p:sp>
            <p:nvSpPr>
              <p:cNvPr id="47" name="Oval 232">
                <a:extLst>
                  <a:ext uri="{FF2B5EF4-FFF2-40B4-BE49-F238E27FC236}">
                    <a16:creationId xmlns:a16="http://schemas.microsoft.com/office/drawing/2014/main" id="{15A85750-287B-4C95-B658-92F421E0B9E2}"/>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48" name="Freeform 233">
                <a:extLst>
                  <a:ext uri="{FF2B5EF4-FFF2-40B4-BE49-F238E27FC236}">
                    <a16:creationId xmlns:a16="http://schemas.microsoft.com/office/drawing/2014/main" id="{E1A3F11A-197D-4B80-9C15-4E2AB21940A4}"/>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46" name="textruta 4">
              <a:extLst>
                <a:ext uri="{FF2B5EF4-FFF2-40B4-BE49-F238E27FC236}">
                  <a16:creationId xmlns:a16="http://schemas.microsoft.com/office/drawing/2014/main" id="{972825F6-646D-4C10-9A2F-95A339BC4E80}"/>
                </a:ext>
              </a:extLst>
            </p:cNvPr>
            <p:cNvSpPr txBox="1"/>
            <p:nvPr/>
          </p:nvSpPr>
          <p:spPr>
            <a:xfrm>
              <a:off x="5607050" y="1777471"/>
              <a:ext cx="228601" cy="236844"/>
            </a:xfrm>
            <a:prstGeom prst="rect">
              <a:avLst/>
            </a:prstGeom>
            <a:noFill/>
          </p:spPr>
          <p:txBody>
            <a:bodyPr wrap="square" lIns="0" tIns="0" rIns="0" bIns="36000" rtlCol="0" anchor="ctr">
              <a:spAutoFit/>
            </a:bodyPr>
            <a:lstStyle/>
            <a:p>
              <a:pPr algn="ctr">
                <a:buNone/>
              </a:pPr>
              <a:r>
                <a:rPr lang="en-GB" sz="1400" b="1" dirty="0">
                  <a:solidFill>
                    <a:schemeClr val="bg1"/>
                  </a:solidFill>
                </a:rPr>
                <a:t>2</a:t>
              </a:r>
            </a:p>
          </p:txBody>
        </p:sp>
      </p:grpSp>
      <p:grpSp>
        <p:nvGrpSpPr>
          <p:cNvPr id="49" name="Group 48">
            <a:extLst>
              <a:ext uri="{FF2B5EF4-FFF2-40B4-BE49-F238E27FC236}">
                <a16:creationId xmlns:a16="http://schemas.microsoft.com/office/drawing/2014/main" id="{EC51C5EA-48C2-47E7-8715-E609E209BDEC}"/>
              </a:ext>
            </a:extLst>
          </p:cNvPr>
          <p:cNvGrpSpPr/>
          <p:nvPr/>
        </p:nvGrpSpPr>
        <p:grpSpPr>
          <a:xfrm>
            <a:off x="269874" y="4533592"/>
            <a:ext cx="521502" cy="516441"/>
            <a:chOff x="5499100" y="1640011"/>
            <a:chExt cx="490537" cy="485775"/>
          </a:xfrm>
        </p:grpSpPr>
        <p:grpSp>
          <p:nvGrpSpPr>
            <p:cNvPr id="50" name="Group 49">
              <a:extLst>
                <a:ext uri="{FF2B5EF4-FFF2-40B4-BE49-F238E27FC236}">
                  <a16:creationId xmlns:a16="http://schemas.microsoft.com/office/drawing/2014/main" id="{7A0A2796-AAC5-401C-A003-B3D38BD2C7FE}"/>
                </a:ext>
              </a:extLst>
            </p:cNvPr>
            <p:cNvGrpSpPr/>
            <p:nvPr/>
          </p:nvGrpSpPr>
          <p:grpSpPr>
            <a:xfrm>
              <a:off x="5499100" y="1640011"/>
              <a:ext cx="490537" cy="485775"/>
              <a:chOff x="269874" y="1788783"/>
              <a:chExt cx="490537" cy="485775"/>
            </a:xfrm>
          </p:grpSpPr>
          <p:sp>
            <p:nvSpPr>
              <p:cNvPr id="52" name="Oval 232">
                <a:extLst>
                  <a:ext uri="{FF2B5EF4-FFF2-40B4-BE49-F238E27FC236}">
                    <a16:creationId xmlns:a16="http://schemas.microsoft.com/office/drawing/2014/main" id="{D19F1F0F-678B-4443-960E-C67DD9C45309}"/>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53" name="Freeform 233">
                <a:extLst>
                  <a:ext uri="{FF2B5EF4-FFF2-40B4-BE49-F238E27FC236}">
                    <a16:creationId xmlns:a16="http://schemas.microsoft.com/office/drawing/2014/main" id="{4C29F700-5C9F-4946-942B-F24ADA81F26F}"/>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51" name="textruta 4">
              <a:extLst>
                <a:ext uri="{FF2B5EF4-FFF2-40B4-BE49-F238E27FC236}">
                  <a16:creationId xmlns:a16="http://schemas.microsoft.com/office/drawing/2014/main" id="{E6336385-941D-41B2-8190-BB1DC17DA987}"/>
                </a:ext>
              </a:extLst>
            </p:cNvPr>
            <p:cNvSpPr txBox="1"/>
            <p:nvPr/>
          </p:nvSpPr>
          <p:spPr>
            <a:xfrm>
              <a:off x="5607050" y="167124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3</a:t>
              </a:r>
            </a:p>
          </p:txBody>
        </p:sp>
      </p:grpSp>
      <p:sp>
        <p:nvSpPr>
          <p:cNvPr id="54" name="Rectangle 53">
            <a:extLst>
              <a:ext uri="{FF2B5EF4-FFF2-40B4-BE49-F238E27FC236}">
                <a16:creationId xmlns:a16="http://schemas.microsoft.com/office/drawing/2014/main" id="{40DA72E2-B115-4D68-A1FF-DC33C5A42799}"/>
              </a:ext>
            </a:extLst>
          </p:cNvPr>
          <p:cNvSpPr/>
          <p:nvPr/>
        </p:nvSpPr>
        <p:spPr>
          <a:xfrm>
            <a:off x="1955051" y="2344435"/>
            <a:ext cx="7670782" cy="648000"/>
          </a:xfrm>
          <a:prstGeom prst="rect">
            <a:avLst/>
          </a:prstGeom>
        </p:spPr>
        <p:txBody>
          <a:bodyPr lIns="0" anchor="ctr">
            <a:noAutofit/>
          </a:bodyPr>
          <a:lstStyle/>
          <a:p>
            <a:pPr lvl="0">
              <a:defRPr/>
            </a:pPr>
            <a:r>
              <a:rPr lang="en-GB" sz="1200" b="1" dirty="0">
                <a:solidFill>
                  <a:srgbClr val="000000"/>
                </a:solidFill>
              </a:rPr>
              <a:t>Individually (3 min): </a:t>
            </a:r>
          </a:p>
          <a:p>
            <a:pPr lvl="0">
              <a:defRPr/>
            </a:pPr>
            <a:r>
              <a:rPr lang="en-GB" sz="1200" dirty="0">
                <a:solidFill>
                  <a:srgbClr val="000000"/>
                </a:solidFill>
              </a:rPr>
              <a:t>Think of a client meeting or workshop you are having in the near future. Select one of the tools/ techniques from the REAL Conversation toolbox and sketch out how it could be applied.</a:t>
            </a:r>
          </a:p>
        </p:txBody>
      </p:sp>
      <p:sp>
        <p:nvSpPr>
          <p:cNvPr id="56" name="Rectangle 55">
            <a:extLst>
              <a:ext uri="{FF2B5EF4-FFF2-40B4-BE49-F238E27FC236}">
                <a16:creationId xmlns:a16="http://schemas.microsoft.com/office/drawing/2014/main" id="{08341151-3347-4B6C-96A7-58F0C87183B9}"/>
              </a:ext>
            </a:extLst>
          </p:cNvPr>
          <p:cNvSpPr/>
          <p:nvPr/>
        </p:nvSpPr>
        <p:spPr>
          <a:xfrm>
            <a:off x="1955051" y="3415681"/>
            <a:ext cx="7670782" cy="648000"/>
          </a:xfrm>
          <a:prstGeom prst="rect">
            <a:avLst/>
          </a:prstGeom>
        </p:spPr>
        <p:txBody>
          <a:bodyPr lIns="0" anchor="ctr">
            <a:noAutofit/>
          </a:bodyPr>
          <a:lstStyle/>
          <a:p>
            <a:pPr lvl="0">
              <a:defRPr/>
            </a:pPr>
            <a:r>
              <a:rPr lang="en-GB" sz="1200" b="1" dirty="0">
                <a:solidFill>
                  <a:srgbClr val="000000"/>
                </a:solidFill>
              </a:rPr>
              <a:t>In groups (20 min in total): </a:t>
            </a:r>
          </a:p>
          <a:p>
            <a:pPr lvl="0">
              <a:defRPr/>
            </a:pPr>
            <a:r>
              <a:rPr lang="en-GB" sz="1200" dirty="0">
                <a:solidFill>
                  <a:srgbClr val="000000"/>
                </a:solidFill>
              </a:rPr>
              <a:t>Share the cases and choose one or two case to work with - getting sparring on which tool/techniques can be applied.</a:t>
            </a:r>
          </a:p>
        </p:txBody>
      </p:sp>
      <p:sp>
        <p:nvSpPr>
          <p:cNvPr id="58" name="Rectangle 57">
            <a:extLst>
              <a:ext uri="{FF2B5EF4-FFF2-40B4-BE49-F238E27FC236}">
                <a16:creationId xmlns:a16="http://schemas.microsoft.com/office/drawing/2014/main" id="{E41787B4-CBBC-4E40-BCC3-70D8B4986A35}"/>
              </a:ext>
            </a:extLst>
          </p:cNvPr>
          <p:cNvSpPr/>
          <p:nvPr/>
        </p:nvSpPr>
        <p:spPr>
          <a:xfrm>
            <a:off x="1955051" y="4486927"/>
            <a:ext cx="7670782" cy="648000"/>
          </a:xfrm>
          <a:prstGeom prst="rect">
            <a:avLst/>
          </a:prstGeom>
        </p:spPr>
        <p:txBody>
          <a:bodyPr lIns="0" anchor="ctr">
            <a:noAutofit/>
          </a:bodyPr>
          <a:lstStyle/>
          <a:p>
            <a:pPr lvl="0">
              <a:defRPr/>
            </a:pPr>
            <a:r>
              <a:rPr lang="en-GB" sz="1200" b="1" dirty="0">
                <a:solidFill>
                  <a:srgbClr val="000000"/>
                </a:solidFill>
              </a:rPr>
              <a:t>Plenary: </a:t>
            </a:r>
          </a:p>
          <a:p>
            <a:pPr lvl="0">
              <a:defRPr/>
            </a:pPr>
            <a:r>
              <a:rPr lang="en-GB" sz="1200" dirty="0">
                <a:solidFill>
                  <a:srgbClr val="000000"/>
                </a:solidFill>
              </a:rPr>
              <a:t>Sharing examples.</a:t>
            </a:r>
          </a:p>
        </p:txBody>
      </p:sp>
      <p:grpSp>
        <p:nvGrpSpPr>
          <p:cNvPr id="75" name="Group 74">
            <a:extLst>
              <a:ext uri="{FF2B5EF4-FFF2-40B4-BE49-F238E27FC236}">
                <a16:creationId xmlns:a16="http://schemas.microsoft.com/office/drawing/2014/main" id="{FA0BB5C5-C70B-4A4D-833E-F665C7BD12D5}"/>
              </a:ext>
            </a:extLst>
          </p:cNvPr>
          <p:cNvGrpSpPr/>
          <p:nvPr/>
        </p:nvGrpSpPr>
        <p:grpSpPr>
          <a:xfrm>
            <a:off x="1955051" y="3204058"/>
            <a:ext cx="7281840" cy="1071246"/>
            <a:chOff x="1935558" y="3103041"/>
            <a:chExt cx="6537240" cy="1071246"/>
          </a:xfrm>
        </p:grpSpPr>
        <p:cxnSp>
          <p:nvCxnSpPr>
            <p:cNvPr id="60" name="Straight Connector 59">
              <a:extLst>
                <a:ext uri="{FF2B5EF4-FFF2-40B4-BE49-F238E27FC236}">
                  <a16:creationId xmlns:a16="http://schemas.microsoft.com/office/drawing/2014/main" id="{0E0C13BF-C581-47CF-861A-87B11EF1B5CF}"/>
                </a:ext>
              </a:extLst>
            </p:cNvPr>
            <p:cNvCxnSpPr>
              <a:cxnSpLocks/>
            </p:cNvCxnSpPr>
            <p:nvPr/>
          </p:nvCxnSpPr>
          <p:spPr>
            <a:xfrm flipH="1">
              <a:off x="1935558" y="4174287"/>
              <a:ext cx="653724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9680300-E2A2-4D97-820B-9B041767D0EC}"/>
                </a:ext>
              </a:extLst>
            </p:cNvPr>
            <p:cNvCxnSpPr>
              <a:cxnSpLocks/>
            </p:cNvCxnSpPr>
            <p:nvPr/>
          </p:nvCxnSpPr>
          <p:spPr>
            <a:xfrm flipH="1">
              <a:off x="1935558" y="3103041"/>
              <a:ext cx="6537240"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sp>
        <p:nvSpPr>
          <p:cNvPr id="72" name="Isosceles Triangle 71">
            <a:extLst>
              <a:ext uri="{FF2B5EF4-FFF2-40B4-BE49-F238E27FC236}">
                <a16:creationId xmlns:a16="http://schemas.microsoft.com/office/drawing/2014/main" id="{87B22A60-EE87-4B1E-A919-3E8BF476FE0E}"/>
              </a:ext>
            </a:extLst>
          </p:cNvPr>
          <p:cNvSpPr/>
          <p:nvPr/>
        </p:nvSpPr>
        <p:spPr>
          <a:xfrm rot="5400000">
            <a:off x="1010978" y="2618636"/>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73" name="Isosceles Triangle 72">
            <a:extLst>
              <a:ext uri="{FF2B5EF4-FFF2-40B4-BE49-F238E27FC236}">
                <a16:creationId xmlns:a16="http://schemas.microsoft.com/office/drawing/2014/main" id="{746B3A45-0D03-4703-8E73-D5A6879A3347}"/>
              </a:ext>
            </a:extLst>
          </p:cNvPr>
          <p:cNvSpPr/>
          <p:nvPr/>
        </p:nvSpPr>
        <p:spPr>
          <a:xfrm rot="5400000">
            <a:off x="1010978" y="3689882"/>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74" name="Isosceles Triangle 73">
            <a:extLst>
              <a:ext uri="{FF2B5EF4-FFF2-40B4-BE49-F238E27FC236}">
                <a16:creationId xmlns:a16="http://schemas.microsoft.com/office/drawing/2014/main" id="{65143690-23B4-4491-861B-DA29E9079094}"/>
              </a:ext>
            </a:extLst>
          </p:cNvPr>
          <p:cNvSpPr/>
          <p:nvPr/>
        </p:nvSpPr>
        <p:spPr>
          <a:xfrm rot="5400000">
            <a:off x="1010978" y="4761128"/>
            <a:ext cx="232112" cy="99598"/>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pSp>
        <p:nvGrpSpPr>
          <p:cNvPr id="62" name="Group 61">
            <a:extLst>
              <a:ext uri="{FF2B5EF4-FFF2-40B4-BE49-F238E27FC236}">
                <a16:creationId xmlns:a16="http://schemas.microsoft.com/office/drawing/2014/main" id="{684D4D02-3444-41F5-8F54-E410B2593951}"/>
              </a:ext>
            </a:extLst>
          </p:cNvPr>
          <p:cNvGrpSpPr/>
          <p:nvPr/>
        </p:nvGrpSpPr>
        <p:grpSpPr>
          <a:xfrm>
            <a:off x="1289688" y="4669899"/>
            <a:ext cx="522288" cy="303212"/>
            <a:chOff x="3884613" y="1803401"/>
            <a:chExt cx="522288" cy="303212"/>
          </a:xfrm>
        </p:grpSpPr>
        <p:sp>
          <p:nvSpPr>
            <p:cNvPr id="76" name="Freeform 78">
              <a:extLst>
                <a:ext uri="{FF2B5EF4-FFF2-40B4-BE49-F238E27FC236}">
                  <a16:creationId xmlns:a16="http://schemas.microsoft.com/office/drawing/2014/main" id="{EA23AF91-E9CE-46E7-932D-8326E3E91173}"/>
                </a:ext>
              </a:extLst>
            </p:cNvPr>
            <p:cNvSpPr>
              <a:spLocks/>
            </p:cNvSpPr>
            <p:nvPr/>
          </p:nvSpPr>
          <p:spPr bwMode="auto">
            <a:xfrm>
              <a:off x="3884613" y="1803401"/>
              <a:ext cx="180975"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79">
              <a:extLst>
                <a:ext uri="{FF2B5EF4-FFF2-40B4-BE49-F238E27FC236}">
                  <a16:creationId xmlns:a16="http://schemas.microsoft.com/office/drawing/2014/main" id="{B0EF7B01-0722-45BC-A715-EE3DE6AC2608}"/>
                </a:ext>
              </a:extLst>
            </p:cNvPr>
            <p:cNvSpPr>
              <a:spLocks/>
            </p:cNvSpPr>
            <p:nvPr/>
          </p:nvSpPr>
          <p:spPr bwMode="auto">
            <a:xfrm>
              <a:off x="4191001" y="1803401"/>
              <a:ext cx="176213" cy="274638"/>
            </a:xfrm>
            <a:custGeom>
              <a:avLst/>
              <a:gdLst>
                <a:gd name="T0" fmla="*/ 39 w 39"/>
                <a:gd name="T1" fmla="*/ 61 h 61"/>
                <a:gd name="T2" fmla="*/ 0 w 39"/>
                <a:gd name="T3" fmla="*/ 61 h 61"/>
                <a:gd name="T4" fmla="*/ 0 w 39"/>
                <a:gd name="T5" fmla="*/ 20 h 61"/>
                <a:gd name="T6" fmla="*/ 19 w 39"/>
                <a:gd name="T7" fmla="*/ 0 h 61"/>
                <a:gd name="T8" fmla="*/ 19 w 39"/>
                <a:gd name="T9" fmla="*/ 0 h 61"/>
                <a:gd name="T10" fmla="*/ 39 w 39"/>
                <a:gd name="T11" fmla="*/ 20 h 61"/>
                <a:gd name="T12" fmla="*/ 39 w 39"/>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39" h="61">
                  <a:moveTo>
                    <a:pt x="39" y="61"/>
                  </a:moveTo>
                  <a:cubicBezTo>
                    <a:pt x="0" y="61"/>
                    <a:pt x="0" y="61"/>
                    <a:pt x="0" y="61"/>
                  </a:cubicBezTo>
                  <a:cubicBezTo>
                    <a:pt x="0" y="20"/>
                    <a:pt x="0" y="20"/>
                    <a:pt x="0" y="20"/>
                  </a:cubicBezTo>
                  <a:cubicBezTo>
                    <a:pt x="0" y="9"/>
                    <a:pt x="8" y="0"/>
                    <a:pt x="19" y="0"/>
                  </a:cubicBezTo>
                  <a:cubicBezTo>
                    <a:pt x="19" y="0"/>
                    <a:pt x="19" y="0"/>
                    <a:pt x="19" y="0"/>
                  </a:cubicBezTo>
                  <a:cubicBezTo>
                    <a:pt x="30" y="0"/>
                    <a:pt x="39" y="9"/>
                    <a:pt x="39" y="20"/>
                  </a:cubicBezTo>
                  <a:lnTo>
                    <a:pt x="39"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80">
              <a:extLst>
                <a:ext uri="{FF2B5EF4-FFF2-40B4-BE49-F238E27FC236}">
                  <a16:creationId xmlns:a16="http://schemas.microsoft.com/office/drawing/2014/main" id="{CCEA44BA-E64E-4ECE-99B5-C80853CB4EA9}"/>
                </a:ext>
              </a:extLst>
            </p:cNvPr>
            <p:cNvSpPr>
              <a:spLocks/>
            </p:cNvSpPr>
            <p:nvPr/>
          </p:nvSpPr>
          <p:spPr bwMode="auto">
            <a:xfrm>
              <a:off x="4046538" y="1830388"/>
              <a:ext cx="180975" cy="276225"/>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81">
              <a:extLst>
                <a:ext uri="{FF2B5EF4-FFF2-40B4-BE49-F238E27FC236}">
                  <a16:creationId xmlns:a16="http://schemas.microsoft.com/office/drawing/2014/main" id="{0DCA8345-DE89-4945-B2A9-78CE0EFB396D}"/>
                </a:ext>
              </a:extLst>
            </p:cNvPr>
            <p:cNvSpPr>
              <a:spLocks/>
            </p:cNvSpPr>
            <p:nvPr/>
          </p:nvSpPr>
          <p:spPr bwMode="auto">
            <a:xfrm>
              <a:off x="4181476" y="2024063"/>
              <a:ext cx="80963" cy="82550"/>
            </a:xfrm>
            <a:custGeom>
              <a:avLst/>
              <a:gdLst>
                <a:gd name="T0" fmla="*/ 11 w 18"/>
                <a:gd name="T1" fmla="*/ 18 h 18"/>
                <a:gd name="T2" fmla="*/ 7 w 18"/>
                <a:gd name="T3" fmla="*/ 18 h 18"/>
                <a:gd name="T4" fmla="*/ 0 w 18"/>
                <a:gd name="T5" fmla="*/ 11 h 18"/>
                <a:gd name="T6" fmla="*/ 0 w 18"/>
                <a:gd name="T7" fmla="*/ 7 h 18"/>
                <a:gd name="T8" fmla="*/ 7 w 18"/>
                <a:gd name="T9" fmla="*/ 0 h 18"/>
                <a:gd name="T10" fmla="*/ 11 w 18"/>
                <a:gd name="T11" fmla="*/ 0 h 18"/>
                <a:gd name="T12" fmla="*/ 18 w 18"/>
                <a:gd name="T13" fmla="*/ 7 h 18"/>
                <a:gd name="T14" fmla="*/ 18 w 18"/>
                <a:gd name="T15" fmla="*/ 11 h 18"/>
                <a:gd name="T16" fmla="*/ 11 w 18"/>
                <a:gd name="T1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8">
                  <a:moveTo>
                    <a:pt x="11" y="18"/>
                  </a:moveTo>
                  <a:cubicBezTo>
                    <a:pt x="7" y="18"/>
                    <a:pt x="7" y="18"/>
                    <a:pt x="7" y="18"/>
                  </a:cubicBezTo>
                  <a:cubicBezTo>
                    <a:pt x="3" y="18"/>
                    <a:pt x="0" y="15"/>
                    <a:pt x="0" y="11"/>
                  </a:cubicBezTo>
                  <a:cubicBezTo>
                    <a:pt x="0" y="7"/>
                    <a:pt x="0" y="7"/>
                    <a:pt x="0" y="7"/>
                  </a:cubicBezTo>
                  <a:cubicBezTo>
                    <a:pt x="0" y="3"/>
                    <a:pt x="3" y="0"/>
                    <a:pt x="7" y="0"/>
                  </a:cubicBezTo>
                  <a:cubicBezTo>
                    <a:pt x="11" y="0"/>
                    <a:pt x="11" y="0"/>
                    <a:pt x="11" y="0"/>
                  </a:cubicBezTo>
                  <a:cubicBezTo>
                    <a:pt x="15" y="0"/>
                    <a:pt x="18" y="3"/>
                    <a:pt x="18" y="7"/>
                  </a:cubicBezTo>
                  <a:cubicBezTo>
                    <a:pt x="18" y="11"/>
                    <a:pt x="18" y="11"/>
                    <a:pt x="18" y="11"/>
                  </a:cubicBezTo>
                  <a:cubicBezTo>
                    <a:pt x="18" y="15"/>
                    <a:pt x="15" y="18"/>
                    <a:pt x="11" y="18"/>
                  </a:cubicBez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82">
              <a:extLst>
                <a:ext uri="{FF2B5EF4-FFF2-40B4-BE49-F238E27FC236}">
                  <a16:creationId xmlns:a16="http://schemas.microsoft.com/office/drawing/2014/main" id="{B69236AD-E248-46F5-9A7D-7D71A0B4B923}"/>
                </a:ext>
              </a:extLst>
            </p:cNvPr>
            <p:cNvSpPr>
              <a:spLocks/>
            </p:cNvSpPr>
            <p:nvPr/>
          </p:nvSpPr>
          <p:spPr bwMode="auto">
            <a:xfrm>
              <a:off x="3987801" y="1970088"/>
              <a:ext cx="279400" cy="131763"/>
            </a:xfrm>
            <a:custGeom>
              <a:avLst/>
              <a:gdLst>
                <a:gd name="T0" fmla="*/ 0 w 62"/>
                <a:gd name="T1" fmla="*/ 22 h 29"/>
                <a:gd name="T2" fmla="*/ 9 w 62"/>
                <a:gd name="T3" fmla="*/ 22 h 29"/>
                <a:gd name="T4" fmla="*/ 17 w 62"/>
                <a:gd name="T5" fmla="*/ 15 h 29"/>
                <a:gd name="T6" fmla="*/ 17 w 62"/>
                <a:gd name="T7" fmla="*/ 15 h 29"/>
                <a:gd name="T8" fmla="*/ 32 w 62"/>
                <a:gd name="T9" fmla="*/ 0 h 29"/>
                <a:gd name="T10" fmla="*/ 47 w 62"/>
                <a:gd name="T11" fmla="*/ 0 h 29"/>
                <a:gd name="T12" fmla="*/ 62 w 62"/>
                <a:gd name="T13" fmla="*/ 15 h 29"/>
                <a:gd name="T14" fmla="*/ 62 w 62"/>
                <a:gd name="T15" fmla="*/ 20 h 29"/>
                <a:gd name="T16" fmla="*/ 53 w 62"/>
                <a:gd name="T17" fmla="*/ 29 h 29"/>
                <a:gd name="T18" fmla="*/ 46 w 62"/>
                <a:gd name="T19"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2" h="29">
                  <a:moveTo>
                    <a:pt x="0" y="22"/>
                  </a:moveTo>
                  <a:cubicBezTo>
                    <a:pt x="9" y="22"/>
                    <a:pt x="9" y="22"/>
                    <a:pt x="9" y="22"/>
                  </a:cubicBezTo>
                  <a:cubicBezTo>
                    <a:pt x="14" y="22"/>
                    <a:pt x="17" y="19"/>
                    <a:pt x="17" y="15"/>
                  </a:cubicBezTo>
                  <a:cubicBezTo>
                    <a:pt x="17" y="15"/>
                    <a:pt x="17" y="15"/>
                    <a:pt x="17" y="15"/>
                  </a:cubicBezTo>
                  <a:cubicBezTo>
                    <a:pt x="17" y="6"/>
                    <a:pt x="24" y="0"/>
                    <a:pt x="32" y="0"/>
                  </a:cubicBezTo>
                  <a:cubicBezTo>
                    <a:pt x="47" y="0"/>
                    <a:pt x="47" y="0"/>
                    <a:pt x="47" y="0"/>
                  </a:cubicBezTo>
                  <a:cubicBezTo>
                    <a:pt x="55" y="0"/>
                    <a:pt x="62" y="6"/>
                    <a:pt x="62" y="15"/>
                  </a:cubicBezTo>
                  <a:cubicBezTo>
                    <a:pt x="62" y="20"/>
                    <a:pt x="62" y="20"/>
                    <a:pt x="62" y="20"/>
                  </a:cubicBezTo>
                  <a:cubicBezTo>
                    <a:pt x="62" y="25"/>
                    <a:pt x="58" y="29"/>
                    <a:pt x="53" y="29"/>
                  </a:cubicBezTo>
                  <a:cubicBezTo>
                    <a:pt x="46" y="29"/>
                    <a:pt x="46" y="29"/>
                    <a:pt x="46"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83">
              <a:extLst>
                <a:ext uri="{FF2B5EF4-FFF2-40B4-BE49-F238E27FC236}">
                  <a16:creationId xmlns:a16="http://schemas.microsoft.com/office/drawing/2014/main" id="{58F7F5F1-BC98-4E0B-BC63-505DA476A347}"/>
                </a:ext>
              </a:extLst>
            </p:cNvPr>
            <p:cNvSpPr>
              <a:spLocks/>
            </p:cNvSpPr>
            <p:nvPr/>
          </p:nvSpPr>
          <p:spPr bwMode="auto">
            <a:xfrm>
              <a:off x="3925888" y="1938338"/>
              <a:ext cx="188913" cy="95250"/>
            </a:xfrm>
            <a:custGeom>
              <a:avLst/>
              <a:gdLst>
                <a:gd name="T0" fmla="*/ 0 w 42"/>
                <a:gd name="T1" fmla="*/ 21 h 21"/>
                <a:gd name="T2" fmla="*/ 0 w 42"/>
                <a:gd name="T3" fmla="*/ 15 h 21"/>
                <a:gd name="T4" fmla="*/ 15 w 42"/>
                <a:gd name="T5" fmla="*/ 0 h 21"/>
                <a:gd name="T6" fmla="*/ 30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7" y="0"/>
                    <a:pt x="15" y="0"/>
                  </a:cubicBezTo>
                  <a:cubicBezTo>
                    <a:pt x="30" y="0"/>
                    <a:pt x="30" y="0"/>
                    <a:pt x="30" y="0"/>
                  </a:cubicBezTo>
                  <a:cubicBezTo>
                    <a:pt x="35" y="0"/>
                    <a:pt x="40" y="2"/>
                    <a:pt x="42"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84">
              <a:extLst>
                <a:ext uri="{FF2B5EF4-FFF2-40B4-BE49-F238E27FC236}">
                  <a16:creationId xmlns:a16="http://schemas.microsoft.com/office/drawing/2014/main" id="{2AE15ECD-CAF6-4468-98A7-B1D113713D15}"/>
                </a:ext>
              </a:extLst>
            </p:cNvPr>
            <p:cNvSpPr>
              <a:spLocks/>
            </p:cNvSpPr>
            <p:nvPr/>
          </p:nvSpPr>
          <p:spPr bwMode="auto">
            <a:xfrm>
              <a:off x="4217988" y="1938338"/>
              <a:ext cx="188913" cy="131763"/>
            </a:xfrm>
            <a:custGeom>
              <a:avLst/>
              <a:gdLst>
                <a:gd name="T0" fmla="*/ 0 w 42"/>
                <a:gd name="T1" fmla="*/ 7 h 29"/>
                <a:gd name="T2" fmla="*/ 13 w 42"/>
                <a:gd name="T3" fmla="*/ 0 h 29"/>
                <a:gd name="T4" fmla="*/ 27 w 42"/>
                <a:gd name="T5" fmla="*/ 0 h 29"/>
                <a:gd name="T6" fmla="*/ 42 w 42"/>
                <a:gd name="T7" fmla="*/ 15 h 29"/>
                <a:gd name="T8" fmla="*/ 42 w 42"/>
                <a:gd name="T9" fmla="*/ 20 h 29"/>
                <a:gd name="T10" fmla="*/ 33 w 42"/>
                <a:gd name="T11" fmla="*/ 29 h 29"/>
                <a:gd name="T12" fmla="*/ 11 w 42"/>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42" h="29">
                  <a:moveTo>
                    <a:pt x="0" y="7"/>
                  </a:moveTo>
                  <a:cubicBezTo>
                    <a:pt x="2" y="3"/>
                    <a:pt x="7" y="0"/>
                    <a:pt x="13" y="0"/>
                  </a:cubicBezTo>
                  <a:cubicBezTo>
                    <a:pt x="27" y="0"/>
                    <a:pt x="27" y="0"/>
                    <a:pt x="27" y="0"/>
                  </a:cubicBezTo>
                  <a:cubicBezTo>
                    <a:pt x="36" y="0"/>
                    <a:pt x="42" y="6"/>
                    <a:pt x="42" y="15"/>
                  </a:cubicBezTo>
                  <a:cubicBezTo>
                    <a:pt x="42" y="20"/>
                    <a:pt x="42" y="20"/>
                    <a:pt x="42" y="20"/>
                  </a:cubicBezTo>
                  <a:cubicBezTo>
                    <a:pt x="42" y="25"/>
                    <a:pt x="38" y="29"/>
                    <a:pt x="33" y="29"/>
                  </a:cubicBezTo>
                  <a:cubicBezTo>
                    <a:pt x="11" y="29"/>
                    <a:pt x="11" y="29"/>
                    <a:pt x="11" y="2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3" name="Line 85">
              <a:extLst>
                <a:ext uri="{FF2B5EF4-FFF2-40B4-BE49-F238E27FC236}">
                  <a16:creationId xmlns:a16="http://schemas.microsoft.com/office/drawing/2014/main" id="{A8419806-66C4-4C15-AF76-268C70C4A18C}"/>
                </a:ext>
              </a:extLst>
            </p:cNvPr>
            <p:cNvSpPr>
              <a:spLocks noChangeShapeType="1"/>
            </p:cNvSpPr>
            <p:nvPr/>
          </p:nvSpPr>
          <p:spPr bwMode="auto">
            <a:xfrm>
              <a:off x="4203701"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86">
              <a:extLst>
                <a:ext uri="{FF2B5EF4-FFF2-40B4-BE49-F238E27FC236}">
                  <a16:creationId xmlns:a16="http://schemas.microsoft.com/office/drawing/2014/main" id="{A160AF0E-78AA-45C0-B7AA-133FCD53117D}"/>
                </a:ext>
              </a:extLst>
            </p:cNvPr>
            <p:cNvSpPr>
              <a:spLocks/>
            </p:cNvSpPr>
            <p:nvPr/>
          </p:nvSpPr>
          <p:spPr bwMode="auto">
            <a:xfrm>
              <a:off x="4119563" y="1854201"/>
              <a:ext cx="93663" cy="112713"/>
            </a:xfrm>
            <a:custGeom>
              <a:avLst/>
              <a:gdLst>
                <a:gd name="T0" fmla="*/ 11 w 21"/>
                <a:gd name="T1" fmla="*/ 25 h 25"/>
                <a:gd name="T2" fmla="*/ 1 w 21"/>
                <a:gd name="T3" fmla="*/ 12 h 25"/>
                <a:gd name="T4" fmla="*/ 11 w 21"/>
                <a:gd name="T5" fmla="*/ 0 h 25"/>
                <a:gd name="T6" fmla="*/ 21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1"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87">
              <a:extLst>
                <a:ext uri="{FF2B5EF4-FFF2-40B4-BE49-F238E27FC236}">
                  <a16:creationId xmlns:a16="http://schemas.microsoft.com/office/drawing/2014/main" id="{9771E4C2-843D-4B67-94DE-A1E47E26E6DB}"/>
                </a:ext>
              </a:extLst>
            </p:cNvPr>
            <p:cNvSpPr>
              <a:spLocks/>
            </p:cNvSpPr>
            <p:nvPr/>
          </p:nvSpPr>
          <p:spPr bwMode="auto">
            <a:xfrm>
              <a:off x="4262438" y="1822451"/>
              <a:ext cx="90488" cy="112713"/>
            </a:xfrm>
            <a:custGeom>
              <a:avLst/>
              <a:gdLst>
                <a:gd name="T0" fmla="*/ 10 w 20"/>
                <a:gd name="T1" fmla="*/ 25 h 25"/>
                <a:gd name="T2" fmla="*/ 0 w 20"/>
                <a:gd name="T3" fmla="*/ 12 h 25"/>
                <a:gd name="T4" fmla="*/ 10 w 20"/>
                <a:gd name="T5" fmla="*/ 0 h 25"/>
                <a:gd name="T6" fmla="*/ 20 w 20"/>
                <a:gd name="T7" fmla="*/ 12 h 25"/>
                <a:gd name="T8" fmla="*/ 18 w 20"/>
                <a:gd name="T9" fmla="*/ 19 h 25"/>
              </a:gdLst>
              <a:ahLst/>
              <a:cxnLst>
                <a:cxn ang="0">
                  <a:pos x="T0" y="T1"/>
                </a:cxn>
                <a:cxn ang="0">
                  <a:pos x="T2" y="T3"/>
                </a:cxn>
                <a:cxn ang="0">
                  <a:pos x="T4" y="T5"/>
                </a:cxn>
                <a:cxn ang="0">
                  <a:pos x="T6" y="T7"/>
                </a:cxn>
                <a:cxn ang="0">
                  <a:pos x="T8" y="T9"/>
                </a:cxn>
              </a:cxnLst>
              <a:rect l="0" t="0" r="r" b="b"/>
              <a:pathLst>
                <a:path w="20" h="25">
                  <a:moveTo>
                    <a:pt x="10" y="25"/>
                  </a:moveTo>
                  <a:cubicBezTo>
                    <a:pt x="6" y="25"/>
                    <a:pt x="1" y="21"/>
                    <a:pt x="0" y="12"/>
                  </a:cubicBezTo>
                  <a:cubicBezTo>
                    <a:pt x="0" y="5"/>
                    <a:pt x="3" y="0"/>
                    <a:pt x="10" y="0"/>
                  </a:cubicBezTo>
                  <a:cubicBezTo>
                    <a:pt x="17" y="0"/>
                    <a:pt x="20" y="5"/>
                    <a:pt x="20" y="12"/>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6" name="Freeform 88">
              <a:extLst>
                <a:ext uri="{FF2B5EF4-FFF2-40B4-BE49-F238E27FC236}">
                  <a16:creationId xmlns:a16="http://schemas.microsoft.com/office/drawing/2014/main" id="{06397A4A-AB42-44FD-B484-BA94BF192A5F}"/>
                </a:ext>
              </a:extLst>
            </p:cNvPr>
            <p:cNvSpPr>
              <a:spLocks/>
            </p:cNvSpPr>
            <p:nvPr/>
          </p:nvSpPr>
          <p:spPr bwMode="auto">
            <a:xfrm>
              <a:off x="3979863" y="1822451"/>
              <a:ext cx="93663" cy="112713"/>
            </a:xfrm>
            <a:custGeom>
              <a:avLst/>
              <a:gdLst>
                <a:gd name="T0" fmla="*/ 11 w 21"/>
                <a:gd name="T1" fmla="*/ 25 h 25"/>
                <a:gd name="T2" fmla="*/ 1 w 21"/>
                <a:gd name="T3" fmla="*/ 12 h 25"/>
                <a:gd name="T4" fmla="*/ 11 w 21"/>
                <a:gd name="T5" fmla="*/ 0 h 25"/>
                <a:gd name="T6" fmla="*/ 20 w 21"/>
                <a:gd name="T7" fmla="*/ 12 h 25"/>
                <a:gd name="T8" fmla="*/ 19 w 21"/>
                <a:gd name="T9" fmla="*/ 19 h 25"/>
              </a:gdLst>
              <a:ahLst/>
              <a:cxnLst>
                <a:cxn ang="0">
                  <a:pos x="T0" y="T1"/>
                </a:cxn>
                <a:cxn ang="0">
                  <a:pos x="T2" y="T3"/>
                </a:cxn>
                <a:cxn ang="0">
                  <a:pos x="T4" y="T5"/>
                </a:cxn>
                <a:cxn ang="0">
                  <a:pos x="T6" y="T7"/>
                </a:cxn>
                <a:cxn ang="0">
                  <a:pos x="T8" y="T9"/>
                </a:cxn>
              </a:cxnLst>
              <a:rect l="0" t="0" r="r" b="b"/>
              <a:pathLst>
                <a:path w="21" h="25">
                  <a:moveTo>
                    <a:pt x="11" y="25"/>
                  </a:moveTo>
                  <a:cubicBezTo>
                    <a:pt x="7" y="25"/>
                    <a:pt x="2" y="21"/>
                    <a:pt x="1" y="12"/>
                  </a:cubicBezTo>
                  <a:cubicBezTo>
                    <a:pt x="0" y="5"/>
                    <a:pt x="4" y="0"/>
                    <a:pt x="11" y="0"/>
                  </a:cubicBezTo>
                  <a:cubicBezTo>
                    <a:pt x="18" y="0"/>
                    <a:pt x="21" y="5"/>
                    <a:pt x="20" y="12"/>
                  </a:cubicBezTo>
                  <a:cubicBezTo>
                    <a:pt x="20" y="15"/>
                    <a:pt x="20" y="17"/>
                    <a:pt x="19"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87" name="Group 86">
            <a:extLst>
              <a:ext uri="{FF2B5EF4-FFF2-40B4-BE49-F238E27FC236}">
                <a16:creationId xmlns:a16="http://schemas.microsoft.com/office/drawing/2014/main" id="{E5761791-78AC-41B8-9735-EBFEB7B645CA}"/>
              </a:ext>
            </a:extLst>
          </p:cNvPr>
          <p:cNvGrpSpPr/>
          <p:nvPr/>
        </p:nvGrpSpPr>
        <p:grpSpPr>
          <a:xfrm>
            <a:off x="1465107" y="2455383"/>
            <a:ext cx="171450" cy="426104"/>
            <a:chOff x="711201" y="1717676"/>
            <a:chExt cx="215900" cy="536575"/>
          </a:xfrm>
        </p:grpSpPr>
        <p:sp>
          <p:nvSpPr>
            <p:cNvPr id="88" name="Freeform 71">
              <a:extLst>
                <a:ext uri="{FF2B5EF4-FFF2-40B4-BE49-F238E27FC236}">
                  <a16:creationId xmlns:a16="http://schemas.microsoft.com/office/drawing/2014/main" id="{A09BC56C-E2B6-45F4-BA32-154CA85EF31D}"/>
                </a:ext>
              </a:extLst>
            </p:cNvPr>
            <p:cNvSpPr>
              <a:spLocks/>
            </p:cNvSpPr>
            <p:nvPr/>
          </p:nvSpPr>
          <p:spPr bwMode="auto">
            <a:xfrm>
              <a:off x="711201" y="1717676"/>
              <a:ext cx="215900" cy="536575"/>
            </a:xfrm>
            <a:custGeom>
              <a:avLst/>
              <a:gdLst>
                <a:gd name="T0" fmla="*/ 43 w 48"/>
                <a:gd name="T1" fmla="*/ 119 h 119"/>
                <a:gd name="T2" fmla="*/ 4 w 48"/>
                <a:gd name="T3" fmla="*/ 119 h 119"/>
                <a:gd name="T4" fmla="*/ 0 w 48"/>
                <a:gd name="T5" fmla="*/ 70 h 119"/>
                <a:gd name="T6" fmla="*/ 0 w 48"/>
                <a:gd name="T7" fmla="*/ 24 h 119"/>
                <a:gd name="T8" fmla="*/ 24 w 48"/>
                <a:gd name="T9" fmla="*/ 0 h 119"/>
                <a:gd name="T10" fmla="*/ 24 w 48"/>
                <a:gd name="T11" fmla="*/ 0 h 119"/>
                <a:gd name="T12" fmla="*/ 48 w 48"/>
                <a:gd name="T13" fmla="*/ 24 h 119"/>
                <a:gd name="T14" fmla="*/ 48 w 48"/>
                <a:gd name="T15" fmla="*/ 68 h 119"/>
                <a:gd name="T16" fmla="*/ 43 w 48"/>
                <a:gd name="T17"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19">
                  <a:moveTo>
                    <a:pt x="43" y="119"/>
                  </a:moveTo>
                  <a:cubicBezTo>
                    <a:pt x="4" y="119"/>
                    <a:pt x="4" y="119"/>
                    <a:pt x="4" y="119"/>
                  </a:cubicBezTo>
                  <a:cubicBezTo>
                    <a:pt x="0" y="70"/>
                    <a:pt x="0" y="70"/>
                    <a:pt x="0" y="70"/>
                  </a:cubicBezTo>
                  <a:cubicBezTo>
                    <a:pt x="0" y="24"/>
                    <a:pt x="0" y="24"/>
                    <a:pt x="0" y="24"/>
                  </a:cubicBezTo>
                  <a:cubicBezTo>
                    <a:pt x="0" y="11"/>
                    <a:pt x="10" y="0"/>
                    <a:pt x="24" y="0"/>
                  </a:cubicBezTo>
                  <a:cubicBezTo>
                    <a:pt x="24" y="0"/>
                    <a:pt x="24" y="0"/>
                    <a:pt x="24" y="0"/>
                  </a:cubicBezTo>
                  <a:cubicBezTo>
                    <a:pt x="37" y="0"/>
                    <a:pt x="48" y="11"/>
                    <a:pt x="48" y="24"/>
                  </a:cubicBezTo>
                  <a:cubicBezTo>
                    <a:pt x="48" y="68"/>
                    <a:pt x="48" y="68"/>
                    <a:pt x="48" y="68"/>
                  </a:cubicBezTo>
                  <a:lnTo>
                    <a:pt x="43" y="119"/>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72">
              <a:extLst>
                <a:ext uri="{FF2B5EF4-FFF2-40B4-BE49-F238E27FC236}">
                  <a16:creationId xmlns:a16="http://schemas.microsoft.com/office/drawing/2014/main" id="{5E7C5A1F-8CB3-4B82-B4DF-D056CBE05533}"/>
                </a:ext>
              </a:extLst>
            </p:cNvPr>
            <p:cNvSpPr>
              <a:spLocks/>
            </p:cNvSpPr>
            <p:nvPr/>
          </p:nvSpPr>
          <p:spPr bwMode="auto">
            <a:xfrm>
              <a:off x="784226" y="1903413"/>
              <a:ext cx="17463" cy="338138"/>
            </a:xfrm>
            <a:custGeom>
              <a:avLst/>
              <a:gdLst>
                <a:gd name="T0" fmla="*/ 11 w 11"/>
                <a:gd name="T1" fmla="*/ 213 h 213"/>
                <a:gd name="T2" fmla="*/ 0 w 11"/>
                <a:gd name="T3" fmla="*/ 45 h 213"/>
                <a:gd name="T4" fmla="*/ 3 w 11"/>
                <a:gd name="T5" fmla="*/ 0 h 213"/>
              </a:gdLst>
              <a:ahLst/>
              <a:cxnLst>
                <a:cxn ang="0">
                  <a:pos x="T0" y="T1"/>
                </a:cxn>
                <a:cxn ang="0">
                  <a:pos x="T2" y="T3"/>
                </a:cxn>
                <a:cxn ang="0">
                  <a:pos x="T4" y="T5"/>
                </a:cxn>
              </a:cxnLst>
              <a:rect l="0" t="0" r="r" b="b"/>
              <a:pathLst>
                <a:path w="11" h="213">
                  <a:moveTo>
                    <a:pt x="11" y="213"/>
                  </a:moveTo>
                  <a:lnTo>
                    <a:pt x="0" y="45"/>
                  </a:lnTo>
                  <a:lnTo>
                    <a:pt x="3"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0" name="Freeform 73">
              <a:extLst>
                <a:ext uri="{FF2B5EF4-FFF2-40B4-BE49-F238E27FC236}">
                  <a16:creationId xmlns:a16="http://schemas.microsoft.com/office/drawing/2014/main" id="{0D80FA5A-D8C5-4F45-8DBB-5B6884CFEC2D}"/>
                </a:ext>
              </a:extLst>
            </p:cNvPr>
            <p:cNvSpPr>
              <a:spLocks/>
            </p:cNvSpPr>
            <p:nvPr/>
          </p:nvSpPr>
          <p:spPr bwMode="auto">
            <a:xfrm>
              <a:off x="873126" y="1903413"/>
              <a:ext cx="19050" cy="338138"/>
            </a:xfrm>
            <a:custGeom>
              <a:avLst/>
              <a:gdLst>
                <a:gd name="T0" fmla="*/ 12 w 12"/>
                <a:gd name="T1" fmla="*/ 0 h 213"/>
                <a:gd name="T2" fmla="*/ 12 w 12"/>
                <a:gd name="T3" fmla="*/ 45 h 213"/>
                <a:gd name="T4" fmla="*/ 0 w 12"/>
                <a:gd name="T5" fmla="*/ 213 h 213"/>
              </a:gdLst>
              <a:ahLst/>
              <a:cxnLst>
                <a:cxn ang="0">
                  <a:pos x="T0" y="T1"/>
                </a:cxn>
                <a:cxn ang="0">
                  <a:pos x="T2" y="T3"/>
                </a:cxn>
                <a:cxn ang="0">
                  <a:pos x="T4" y="T5"/>
                </a:cxn>
              </a:cxnLst>
              <a:rect l="0" t="0" r="r" b="b"/>
              <a:pathLst>
                <a:path w="12" h="213">
                  <a:moveTo>
                    <a:pt x="12" y="0"/>
                  </a:moveTo>
                  <a:lnTo>
                    <a:pt x="12" y="45"/>
                  </a:lnTo>
                  <a:lnTo>
                    <a:pt x="0" y="213"/>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Line 74">
              <a:extLst>
                <a:ext uri="{FF2B5EF4-FFF2-40B4-BE49-F238E27FC236}">
                  <a16:creationId xmlns:a16="http://schemas.microsoft.com/office/drawing/2014/main" id="{7A2599CF-37F2-40D8-827B-9F5A9829C0EF}"/>
                </a:ext>
              </a:extLst>
            </p:cNvPr>
            <p:cNvSpPr>
              <a:spLocks noChangeShapeType="1"/>
            </p:cNvSpPr>
            <p:nvPr/>
          </p:nvSpPr>
          <p:spPr bwMode="auto">
            <a:xfrm>
              <a:off x="838201" y="2020888"/>
              <a:ext cx="0" cy="220663"/>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75">
              <a:extLst>
                <a:ext uri="{FF2B5EF4-FFF2-40B4-BE49-F238E27FC236}">
                  <a16:creationId xmlns:a16="http://schemas.microsoft.com/office/drawing/2014/main" id="{9F05CA31-95D4-4AE8-BB66-1A180065F236}"/>
                </a:ext>
              </a:extLst>
            </p:cNvPr>
            <p:cNvSpPr>
              <a:spLocks/>
            </p:cNvSpPr>
            <p:nvPr/>
          </p:nvSpPr>
          <p:spPr bwMode="auto">
            <a:xfrm>
              <a:off x="747713" y="1822451"/>
              <a:ext cx="179388" cy="201613"/>
            </a:xfrm>
            <a:custGeom>
              <a:avLst/>
              <a:gdLst>
                <a:gd name="T0" fmla="*/ 40 w 40"/>
                <a:gd name="T1" fmla="*/ 45 h 45"/>
                <a:gd name="T2" fmla="*/ 40 w 40"/>
                <a:gd name="T3" fmla="*/ 14 h 45"/>
                <a:gd name="T4" fmla="*/ 26 w 40"/>
                <a:gd name="T5" fmla="*/ 0 h 45"/>
                <a:gd name="T6" fmla="*/ 14 w 40"/>
                <a:gd name="T7" fmla="*/ 0 h 45"/>
                <a:gd name="T8" fmla="*/ 0 w 40"/>
                <a:gd name="T9" fmla="*/ 14 h 45"/>
                <a:gd name="T10" fmla="*/ 0 w 40"/>
                <a:gd name="T11" fmla="*/ 45 h 45"/>
              </a:gdLst>
              <a:ahLst/>
              <a:cxnLst>
                <a:cxn ang="0">
                  <a:pos x="T0" y="T1"/>
                </a:cxn>
                <a:cxn ang="0">
                  <a:pos x="T2" y="T3"/>
                </a:cxn>
                <a:cxn ang="0">
                  <a:pos x="T4" y="T5"/>
                </a:cxn>
                <a:cxn ang="0">
                  <a:pos x="T6" y="T7"/>
                </a:cxn>
                <a:cxn ang="0">
                  <a:pos x="T8" y="T9"/>
                </a:cxn>
                <a:cxn ang="0">
                  <a:pos x="T10" y="T11"/>
                </a:cxn>
              </a:cxnLst>
              <a:rect l="0" t="0" r="r" b="b"/>
              <a:pathLst>
                <a:path w="40" h="45">
                  <a:moveTo>
                    <a:pt x="40" y="45"/>
                  </a:moveTo>
                  <a:cubicBezTo>
                    <a:pt x="40" y="14"/>
                    <a:pt x="40" y="14"/>
                    <a:pt x="40" y="14"/>
                  </a:cubicBezTo>
                  <a:cubicBezTo>
                    <a:pt x="40" y="6"/>
                    <a:pt x="34" y="0"/>
                    <a:pt x="26" y="0"/>
                  </a:cubicBezTo>
                  <a:cubicBezTo>
                    <a:pt x="14" y="0"/>
                    <a:pt x="14" y="0"/>
                    <a:pt x="14" y="0"/>
                  </a:cubicBezTo>
                  <a:cubicBezTo>
                    <a:pt x="6" y="0"/>
                    <a:pt x="0" y="6"/>
                    <a:pt x="0" y="14"/>
                  </a:cubicBezTo>
                  <a:cubicBezTo>
                    <a:pt x="0" y="45"/>
                    <a:pt x="0" y="45"/>
                    <a:pt x="0" y="4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3" name="Line 76">
              <a:extLst>
                <a:ext uri="{FF2B5EF4-FFF2-40B4-BE49-F238E27FC236}">
                  <a16:creationId xmlns:a16="http://schemas.microsoft.com/office/drawing/2014/main" id="{CF435FFB-F890-466F-851E-5F2B8A35F8B5}"/>
                </a:ext>
              </a:extLst>
            </p:cNvPr>
            <p:cNvSpPr>
              <a:spLocks noChangeShapeType="1"/>
            </p:cNvSpPr>
            <p:nvPr/>
          </p:nvSpPr>
          <p:spPr bwMode="auto">
            <a:xfrm>
              <a:off x="869951" y="1800226"/>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4" name="Freeform 77">
              <a:extLst>
                <a:ext uri="{FF2B5EF4-FFF2-40B4-BE49-F238E27FC236}">
                  <a16:creationId xmlns:a16="http://schemas.microsoft.com/office/drawing/2014/main" id="{7766D834-DC86-4568-AD35-EB9D92E2C78A}"/>
                </a:ext>
              </a:extLst>
            </p:cNvPr>
            <p:cNvSpPr>
              <a:spLocks/>
            </p:cNvSpPr>
            <p:nvPr/>
          </p:nvSpPr>
          <p:spPr bwMode="auto">
            <a:xfrm>
              <a:off x="796926" y="1717676"/>
              <a:ext cx="80963" cy="104775"/>
            </a:xfrm>
            <a:custGeom>
              <a:avLst/>
              <a:gdLst>
                <a:gd name="T0" fmla="*/ 9 w 18"/>
                <a:gd name="T1" fmla="*/ 23 h 23"/>
                <a:gd name="T2" fmla="*/ 1 w 18"/>
                <a:gd name="T3" fmla="*/ 12 h 23"/>
                <a:gd name="T4" fmla="*/ 9 w 18"/>
                <a:gd name="T5" fmla="*/ 0 h 23"/>
                <a:gd name="T6" fmla="*/ 18 w 18"/>
                <a:gd name="T7" fmla="*/ 12 h 23"/>
                <a:gd name="T8" fmla="*/ 16 w 18"/>
                <a:gd name="T9" fmla="*/ 17 h 23"/>
              </a:gdLst>
              <a:ahLst/>
              <a:cxnLst>
                <a:cxn ang="0">
                  <a:pos x="T0" y="T1"/>
                </a:cxn>
                <a:cxn ang="0">
                  <a:pos x="T2" y="T3"/>
                </a:cxn>
                <a:cxn ang="0">
                  <a:pos x="T4" y="T5"/>
                </a:cxn>
                <a:cxn ang="0">
                  <a:pos x="T6" y="T7"/>
                </a:cxn>
                <a:cxn ang="0">
                  <a:pos x="T8" y="T9"/>
                </a:cxn>
              </a:cxnLst>
              <a:rect l="0" t="0" r="r" b="b"/>
              <a:pathLst>
                <a:path w="18" h="23">
                  <a:moveTo>
                    <a:pt x="9" y="23"/>
                  </a:moveTo>
                  <a:cubicBezTo>
                    <a:pt x="6" y="23"/>
                    <a:pt x="1" y="19"/>
                    <a:pt x="1" y="12"/>
                  </a:cubicBezTo>
                  <a:cubicBezTo>
                    <a:pt x="0" y="5"/>
                    <a:pt x="3" y="0"/>
                    <a:pt x="9" y="0"/>
                  </a:cubicBezTo>
                  <a:cubicBezTo>
                    <a:pt x="15" y="0"/>
                    <a:pt x="18" y="5"/>
                    <a:pt x="18" y="12"/>
                  </a:cubicBezTo>
                  <a:cubicBezTo>
                    <a:pt x="18" y="14"/>
                    <a:pt x="17" y="15"/>
                    <a:pt x="16" y="17"/>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5" name="Group 94">
            <a:extLst>
              <a:ext uri="{FF2B5EF4-FFF2-40B4-BE49-F238E27FC236}">
                <a16:creationId xmlns:a16="http://schemas.microsoft.com/office/drawing/2014/main" id="{FEF492B7-BD5F-4485-BDA7-10C9B5F85159}"/>
              </a:ext>
            </a:extLst>
          </p:cNvPr>
          <p:cNvGrpSpPr/>
          <p:nvPr/>
        </p:nvGrpSpPr>
        <p:grpSpPr>
          <a:xfrm>
            <a:off x="1357157" y="3588868"/>
            <a:ext cx="387351" cy="301625"/>
            <a:chOff x="2859088" y="1800226"/>
            <a:chExt cx="387351" cy="301625"/>
          </a:xfrm>
        </p:grpSpPr>
        <p:sp>
          <p:nvSpPr>
            <p:cNvPr id="96" name="Freeform 89">
              <a:extLst>
                <a:ext uri="{FF2B5EF4-FFF2-40B4-BE49-F238E27FC236}">
                  <a16:creationId xmlns:a16="http://schemas.microsoft.com/office/drawing/2014/main" id="{43E3C749-B837-4E0B-8F20-C623337812E5}"/>
                </a:ext>
              </a:extLst>
            </p:cNvPr>
            <p:cNvSpPr>
              <a:spLocks/>
            </p:cNvSpPr>
            <p:nvPr/>
          </p:nvSpPr>
          <p:spPr bwMode="auto">
            <a:xfrm>
              <a:off x="2859088" y="1800226"/>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7" name="Freeform 90">
              <a:extLst>
                <a:ext uri="{FF2B5EF4-FFF2-40B4-BE49-F238E27FC236}">
                  <a16:creationId xmlns:a16="http://schemas.microsoft.com/office/drawing/2014/main" id="{EEAE7523-0420-406D-AC60-D5DECB3BFDF8}"/>
                </a:ext>
              </a:extLst>
            </p:cNvPr>
            <p:cNvSpPr>
              <a:spLocks/>
            </p:cNvSpPr>
            <p:nvPr/>
          </p:nvSpPr>
          <p:spPr bwMode="auto">
            <a:xfrm>
              <a:off x="3025776" y="1827213"/>
              <a:ext cx="179388" cy="274638"/>
            </a:xfrm>
            <a:custGeom>
              <a:avLst/>
              <a:gdLst>
                <a:gd name="T0" fmla="*/ 40 w 40"/>
                <a:gd name="T1" fmla="*/ 61 h 61"/>
                <a:gd name="T2" fmla="*/ 0 w 40"/>
                <a:gd name="T3" fmla="*/ 61 h 61"/>
                <a:gd name="T4" fmla="*/ 0 w 40"/>
                <a:gd name="T5" fmla="*/ 20 h 61"/>
                <a:gd name="T6" fmla="*/ 20 w 40"/>
                <a:gd name="T7" fmla="*/ 0 h 61"/>
                <a:gd name="T8" fmla="*/ 20 w 40"/>
                <a:gd name="T9" fmla="*/ 0 h 61"/>
                <a:gd name="T10" fmla="*/ 40 w 40"/>
                <a:gd name="T11" fmla="*/ 20 h 61"/>
                <a:gd name="T12" fmla="*/ 40 w 40"/>
                <a:gd name="T13" fmla="*/ 61 h 61"/>
              </a:gdLst>
              <a:ahLst/>
              <a:cxnLst>
                <a:cxn ang="0">
                  <a:pos x="T0" y="T1"/>
                </a:cxn>
                <a:cxn ang="0">
                  <a:pos x="T2" y="T3"/>
                </a:cxn>
                <a:cxn ang="0">
                  <a:pos x="T4" y="T5"/>
                </a:cxn>
                <a:cxn ang="0">
                  <a:pos x="T6" y="T7"/>
                </a:cxn>
                <a:cxn ang="0">
                  <a:pos x="T8" y="T9"/>
                </a:cxn>
                <a:cxn ang="0">
                  <a:pos x="T10" y="T11"/>
                </a:cxn>
                <a:cxn ang="0">
                  <a:pos x="T12" y="T13"/>
                </a:cxn>
              </a:cxnLst>
              <a:rect l="0" t="0" r="r" b="b"/>
              <a:pathLst>
                <a:path w="40" h="61">
                  <a:moveTo>
                    <a:pt x="40" y="61"/>
                  </a:moveTo>
                  <a:cubicBezTo>
                    <a:pt x="0" y="61"/>
                    <a:pt x="0" y="61"/>
                    <a:pt x="0" y="61"/>
                  </a:cubicBezTo>
                  <a:cubicBezTo>
                    <a:pt x="0" y="20"/>
                    <a:pt x="0" y="20"/>
                    <a:pt x="0" y="20"/>
                  </a:cubicBezTo>
                  <a:cubicBezTo>
                    <a:pt x="0" y="9"/>
                    <a:pt x="9" y="0"/>
                    <a:pt x="20" y="0"/>
                  </a:cubicBezTo>
                  <a:cubicBezTo>
                    <a:pt x="20" y="0"/>
                    <a:pt x="20" y="0"/>
                    <a:pt x="20" y="0"/>
                  </a:cubicBezTo>
                  <a:cubicBezTo>
                    <a:pt x="31" y="0"/>
                    <a:pt x="40" y="9"/>
                    <a:pt x="40" y="20"/>
                  </a:cubicBezTo>
                  <a:lnTo>
                    <a:pt x="40" y="61"/>
                  </a:ln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8" name="Freeform 91">
              <a:extLst>
                <a:ext uri="{FF2B5EF4-FFF2-40B4-BE49-F238E27FC236}">
                  <a16:creationId xmlns:a16="http://schemas.microsoft.com/office/drawing/2014/main" id="{77B57174-9E07-4F4A-9BA3-A758937C8246}"/>
                </a:ext>
              </a:extLst>
            </p:cNvPr>
            <p:cNvSpPr>
              <a:spLocks/>
            </p:cNvSpPr>
            <p:nvPr/>
          </p:nvSpPr>
          <p:spPr bwMode="auto">
            <a:xfrm>
              <a:off x="2962276" y="1966913"/>
              <a:ext cx="284163" cy="134938"/>
            </a:xfrm>
            <a:custGeom>
              <a:avLst/>
              <a:gdLst>
                <a:gd name="T0" fmla="*/ 0 w 63"/>
                <a:gd name="T1" fmla="*/ 23 h 30"/>
                <a:gd name="T2" fmla="*/ 10 w 63"/>
                <a:gd name="T3" fmla="*/ 23 h 30"/>
                <a:gd name="T4" fmla="*/ 18 w 63"/>
                <a:gd name="T5" fmla="*/ 15 h 30"/>
                <a:gd name="T6" fmla="*/ 18 w 63"/>
                <a:gd name="T7" fmla="*/ 15 h 30"/>
                <a:gd name="T8" fmla="*/ 33 w 63"/>
                <a:gd name="T9" fmla="*/ 0 h 30"/>
                <a:gd name="T10" fmla="*/ 48 w 63"/>
                <a:gd name="T11" fmla="*/ 0 h 30"/>
                <a:gd name="T12" fmla="*/ 63 w 63"/>
                <a:gd name="T13" fmla="*/ 15 h 30"/>
                <a:gd name="T14" fmla="*/ 63 w 63"/>
                <a:gd name="T15" fmla="*/ 20 h 30"/>
                <a:gd name="T16" fmla="*/ 53 w 63"/>
                <a:gd name="T17" fmla="*/ 30 h 30"/>
                <a:gd name="T18" fmla="*/ 46 w 63"/>
                <a:gd name="T1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30">
                  <a:moveTo>
                    <a:pt x="0" y="23"/>
                  </a:moveTo>
                  <a:cubicBezTo>
                    <a:pt x="10" y="23"/>
                    <a:pt x="10" y="23"/>
                    <a:pt x="10" y="23"/>
                  </a:cubicBezTo>
                  <a:cubicBezTo>
                    <a:pt x="14" y="23"/>
                    <a:pt x="18" y="19"/>
                    <a:pt x="18" y="15"/>
                  </a:cubicBezTo>
                  <a:cubicBezTo>
                    <a:pt x="18" y="15"/>
                    <a:pt x="18" y="15"/>
                    <a:pt x="18" y="15"/>
                  </a:cubicBezTo>
                  <a:cubicBezTo>
                    <a:pt x="18" y="6"/>
                    <a:pt x="25" y="0"/>
                    <a:pt x="33" y="0"/>
                  </a:cubicBezTo>
                  <a:cubicBezTo>
                    <a:pt x="48" y="0"/>
                    <a:pt x="48" y="0"/>
                    <a:pt x="48" y="0"/>
                  </a:cubicBezTo>
                  <a:cubicBezTo>
                    <a:pt x="56" y="0"/>
                    <a:pt x="63" y="6"/>
                    <a:pt x="63" y="15"/>
                  </a:cubicBezTo>
                  <a:cubicBezTo>
                    <a:pt x="63" y="20"/>
                    <a:pt x="63" y="20"/>
                    <a:pt x="63" y="20"/>
                  </a:cubicBezTo>
                  <a:cubicBezTo>
                    <a:pt x="63" y="25"/>
                    <a:pt x="58" y="30"/>
                    <a:pt x="53" y="30"/>
                  </a:cubicBezTo>
                  <a:cubicBezTo>
                    <a:pt x="46" y="30"/>
                    <a:pt x="46" y="30"/>
                    <a:pt x="46" y="3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9" name="Freeform 92">
              <a:extLst>
                <a:ext uri="{FF2B5EF4-FFF2-40B4-BE49-F238E27FC236}">
                  <a16:creationId xmlns:a16="http://schemas.microsoft.com/office/drawing/2014/main" id="{C83D9429-3C6E-43E5-A0E9-2199DD06AA44}"/>
                </a:ext>
              </a:extLst>
            </p:cNvPr>
            <p:cNvSpPr>
              <a:spLocks/>
            </p:cNvSpPr>
            <p:nvPr/>
          </p:nvSpPr>
          <p:spPr bwMode="auto">
            <a:xfrm>
              <a:off x="2903538" y="1935163"/>
              <a:ext cx="188913" cy="93663"/>
            </a:xfrm>
            <a:custGeom>
              <a:avLst/>
              <a:gdLst>
                <a:gd name="T0" fmla="*/ 0 w 42"/>
                <a:gd name="T1" fmla="*/ 21 h 21"/>
                <a:gd name="T2" fmla="*/ 0 w 42"/>
                <a:gd name="T3" fmla="*/ 15 h 21"/>
                <a:gd name="T4" fmla="*/ 15 w 42"/>
                <a:gd name="T5" fmla="*/ 0 h 21"/>
                <a:gd name="T6" fmla="*/ 29 w 42"/>
                <a:gd name="T7" fmla="*/ 0 h 21"/>
                <a:gd name="T8" fmla="*/ 42 w 42"/>
                <a:gd name="T9" fmla="*/ 6 h 21"/>
              </a:gdLst>
              <a:ahLst/>
              <a:cxnLst>
                <a:cxn ang="0">
                  <a:pos x="T0" y="T1"/>
                </a:cxn>
                <a:cxn ang="0">
                  <a:pos x="T2" y="T3"/>
                </a:cxn>
                <a:cxn ang="0">
                  <a:pos x="T4" y="T5"/>
                </a:cxn>
                <a:cxn ang="0">
                  <a:pos x="T6" y="T7"/>
                </a:cxn>
                <a:cxn ang="0">
                  <a:pos x="T8" y="T9"/>
                </a:cxn>
              </a:cxnLst>
              <a:rect l="0" t="0" r="r" b="b"/>
              <a:pathLst>
                <a:path w="42" h="21">
                  <a:moveTo>
                    <a:pt x="0" y="21"/>
                  </a:moveTo>
                  <a:cubicBezTo>
                    <a:pt x="0" y="15"/>
                    <a:pt x="0" y="15"/>
                    <a:pt x="0" y="15"/>
                  </a:cubicBezTo>
                  <a:cubicBezTo>
                    <a:pt x="0" y="6"/>
                    <a:pt x="6" y="0"/>
                    <a:pt x="15" y="0"/>
                  </a:cubicBezTo>
                  <a:cubicBezTo>
                    <a:pt x="29" y="0"/>
                    <a:pt x="29" y="0"/>
                    <a:pt x="29" y="0"/>
                  </a:cubicBezTo>
                  <a:cubicBezTo>
                    <a:pt x="34" y="0"/>
                    <a:pt x="39" y="2"/>
                    <a:pt x="42"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0" name="Line 93">
              <a:extLst>
                <a:ext uri="{FF2B5EF4-FFF2-40B4-BE49-F238E27FC236}">
                  <a16:creationId xmlns:a16="http://schemas.microsoft.com/office/drawing/2014/main" id="{0A596B99-0A3F-40CD-A631-A5ABA224108C}"/>
                </a:ext>
              </a:extLst>
            </p:cNvPr>
            <p:cNvSpPr>
              <a:spLocks noChangeShapeType="1"/>
            </p:cNvSpPr>
            <p:nvPr/>
          </p:nvSpPr>
          <p:spPr bwMode="auto">
            <a:xfrm>
              <a:off x="3178176" y="1938338"/>
              <a:ext cx="0"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94">
              <a:extLst>
                <a:ext uri="{FF2B5EF4-FFF2-40B4-BE49-F238E27FC236}">
                  <a16:creationId xmlns:a16="http://schemas.microsoft.com/office/drawing/2014/main" id="{DC7DD103-A081-493B-AD40-4B17659B647B}"/>
                </a:ext>
              </a:extLst>
            </p:cNvPr>
            <p:cNvSpPr>
              <a:spLocks/>
            </p:cNvSpPr>
            <p:nvPr/>
          </p:nvSpPr>
          <p:spPr bwMode="auto">
            <a:xfrm>
              <a:off x="3097213" y="1849438"/>
              <a:ext cx="95250" cy="117475"/>
            </a:xfrm>
            <a:custGeom>
              <a:avLst/>
              <a:gdLst>
                <a:gd name="T0" fmla="*/ 10 w 21"/>
                <a:gd name="T1" fmla="*/ 26 h 26"/>
                <a:gd name="T2" fmla="*/ 1 w 21"/>
                <a:gd name="T3" fmla="*/ 13 h 26"/>
                <a:gd name="T4" fmla="*/ 10 w 21"/>
                <a:gd name="T5" fmla="*/ 0 h 26"/>
                <a:gd name="T6" fmla="*/ 20 w 21"/>
                <a:gd name="T7" fmla="*/ 13 h 26"/>
                <a:gd name="T8" fmla="*/ 18 w 21"/>
                <a:gd name="T9" fmla="*/ 19 h 26"/>
              </a:gdLst>
              <a:ahLst/>
              <a:cxnLst>
                <a:cxn ang="0">
                  <a:pos x="T0" y="T1"/>
                </a:cxn>
                <a:cxn ang="0">
                  <a:pos x="T2" y="T3"/>
                </a:cxn>
                <a:cxn ang="0">
                  <a:pos x="T4" y="T5"/>
                </a:cxn>
                <a:cxn ang="0">
                  <a:pos x="T6" y="T7"/>
                </a:cxn>
                <a:cxn ang="0">
                  <a:pos x="T8" y="T9"/>
                </a:cxn>
              </a:cxnLst>
              <a:rect l="0" t="0" r="r" b="b"/>
              <a:pathLst>
                <a:path w="21" h="26">
                  <a:moveTo>
                    <a:pt x="10" y="26"/>
                  </a:moveTo>
                  <a:cubicBezTo>
                    <a:pt x="6" y="26"/>
                    <a:pt x="1" y="21"/>
                    <a:pt x="1" y="13"/>
                  </a:cubicBezTo>
                  <a:cubicBezTo>
                    <a:pt x="0" y="5"/>
                    <a:pt x="3" y="0"/>
                    <a:pt x="10" y="0"/>
                  </a:cubicBezTo>
                  <a:cubicBezTo>
                    <a:pt x="17" y="0"/>
                    <a:pt x="21" y="5"/>
                    <a:pt x="20" y="13"/>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95">
              <a:extLst>
                <a:ext uri="{FF2B5EF4-FFF2-40B4-BE49-F238E27FC236}">
                  <a16:creationId xmlns:a16="http://schemas.microsoft.com/office/drawing/2014/main" id="{D589887E-6391-4B81-8174-F281F7B1E6E6}"/>
                </a:ext>
              </a:extLst>
            </p:cNvPr>
            <p:cNvSpPr>
              <a:spLocks/>
            </p:cNvSpPr>
            <p:nvPr/>
          </p:nvSpPr>
          <p:spPr bwMode="auto">
            <a:xfrm>
              <a:off x="2957513" y="1817688"/>
              <a:ext cx="90488" cy="117475"/>
            </a:xfrm>
            <a:custGeom>
              <a:avLst/>
              <a:gdLst>
                <a:gd name="T0" fmla="*/ 10 w 20"/>
                <a:gd name="T1" fmla="*/ 26 h 26"/>
                <a:gd name="T2" fmla="*/ 0 w 20"/>
                <a:gd name="T3" fmla="*/ 13 h 26"/>
                <a:gd name="T4" fmla="*/ 10 w 20"/>
                <a:gd name="T5" fmla="*/ 0 h 26"/>
                <a:gd name="T6" fmla="*/ 20 w 20"/>
                <a:gd name="T7" fmla="*/ 13 h 26"/>
                <a:gd name="T8" fmla="*/ 18 w 20"/>
                <a:gd name="T9" fmla="*/ 19 h 26"/>
              </a:gdLst>
              <a:ahLst/>
              <a:cxnLst>
                <a:cxn ang="0">
                  <a:pos x="T0" y="T1"/>
                </a:cxn>
                <a:cxn ang="0">
                  <a:pos x="T2" y="T3"/>
                </a:cxn>
                <a:cxn ang="0">
                  <a:pos x="T4" y="T5"/>
                </a:cxn>
                <a:cxn ang="0">
                  <a:pos x="T6" y="T7"/>
                </a:cxn>
                <a:cxn ang="0">
                  <a:pos x="T8" y="T9"/>
                </a:cxn>
              </a:cxnLst>
              <a:rect l="0" t="0" r="r" b="b"/>
              <a:pathLst>
                <a:path w="20" h="26">
                  <a:moveTo>
                    <a:pt x="10" y="26"/>
                  </a:moveTo>
                  <a:cubicBezTo>
                    <a:pt x="6" y="26"/>
                    <a:pt x="1" y="21"/>
                    <a:pt x="0" y="13"/>
                  </a:cubicBezTo>
                  <a:cubicBezTo>
                    <a:pt x="0" y="6"/>
                    <a:pt x="3" y="0"/>
                    <a:pt x="10" y="0"/>
                  </a:cubicBezTo>
                  <a:cubicBezTo>
                    <a:pt x="17" y="0"/>
                    <a:pt x="20" y="6"/>
                    <a:pt x="20" y="13"/>
                  </a:cubicBezTo>
                  <a:cubicBezTo>
                    <a:pt x="20" y="15"/>
                    <a:pt x="19" y="17"/>
                    <a:pt x="18" y="1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304438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B87AEF22-5C99-4A06-9CC8-F0726C41CFA7}"/>
              </a:ext>
            </a:extLst>
          </p:cNvPr>
          <p:cNvPicPr>
            <a:picLocks noGrp="1" noChangeAspect="1"/>
          </p:cNvPicPr>
          <p:nvPr>
            <p:ph type="pic" sz="quarter" idx="17"/>
          </p:nvPr>
        </p:nvPicPr>
        <p:blipFill rotWithShape="1">
          <a:blip r:embed="rId3"/>
          <a:srcRect l="5403" r="62" b="3935"/>
          <a:stretch/>
        </p:blipFill>
        <p:spPr>
          <a:xfrm>
            <a:off x="0" y="269875"/>
            <a:ext cx="9364663" cy="6588125"/>
          </a:xfrm>
        </p:spPr>
      </p:pic>
      <p:sp>
        <p:nvSpPr>
          <p:cNvPr id="9" name="Text Placeholder 8">
            <a:extLst>
              <a:ext uri="{FF2B5EF4-FFF2-40B4-BE49-F238E27FC236}">
                <a16:creationId xmlns:a16="http://schemas.microsoft.com/office/drawing/2014/main" id="{470E8F03-3E80-41F1-AC6F-97ABB296C9DB}"/>
              </a:ext>
            </a:extLst>
          </p:cNvPr>
          <p:cNvSpPr>
            <a:spLocks noGrp="1"/>
          </p:cNvSpPr>
          <p:nvPr>
            <p:ph type="body" sz="quarter" idx="16"/>
          </p:nvPr>
        </p:nvSpPr>
        <p:spPr/>
        <p:txBody>
          <a:bodyPr/>
          <a:lstStyle/>
          <a:p>
            <a:pPr>
              <a:spcAft>
                <a:spcPts val="0"/>
              </a:spcAft>
            </a:pPr>
            <a:r>
              <a:rPr lang="en-GB" sz="4400" dirty="0">
                <a:latin typeface="Impact" panose="020B0806030902050204" pitchFamily="34" charset="0"/>
              </a:rPr>
              <a:t>MY 30-DAY </a:t>
            </a:r>
          </a:p>
          <a:p>
            <a:pPr>
              <a:spcAft>
                <a:spcPts val="0"/>
              </a:spcAft>
            </a:pPr>
            <a:r>
              <a:rPr lang="en-GB" sz="4400" dirty="0">
                <a:latin typeface="Impact" panose="020B0806030902050204" pitchFamily="34" charset="0"/>
              </a:rPr>
              <a:t>CHALLENGE </a:t>
            </a:r>
          </a:p>
        </p:txBody>
      </p:sp>
      <p:sp>
        <p:nvSpPr>
          <p:cNvPr id="5" name="Text Placeholder 4">
            <a:extLst>
              <a:ext uri="{FF2B5EF4-FFF2-40B4-BE49-F238E27FC236}">
                <a16:creationId xmlns:a16="http://schemas.microsoft.com/office/drawing/2014/main" id="{BFFEA752-ED63-4B7C-957D-82074B460518}"/>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noProof="0" dirty="0"/>
          </a:p>
        </p:txBody>
      </p:sp>
      <p:sp>
        <p:nvSpPr>
          <p:cNvPr id="6" name="Text Placeholder 5">
            <a:extLst>
              <a:ext uri="{FF2B5EF4-FFF2-40B4-BE49-F238E27FC236}">
                <a16:creationId xmlns:a16="http://schemas.microsoft.com/office/drawing/2014/main" id="{BFC36FCE-BF51-424B-A514-F3A4BEB34E42}"/>
              </a:ext>
            </a:extLst>
          </p:cNvPr>
          <p:cNvSpPr>
            <a:spLocks noGrp="1"/>
          </p:cNvSpPr>
          <p:nvPr>
            <p:ph type="body" sz="quarter" idx="14"/>
          </p:nvPr>
        </p:nvSpPr>
        <p:spPr/>
        <p:txBody>
          <a:bodyPr/>
          <a:lstStyle/>
          <a:p>
            <a:endParaRPr lang="en-GB" dirty="0"/>
          </a:p>
        </p:txBody>
      </p:sp>
    </p:spTree>
    <p:extLst>
      <p:ext uri="{BB962C8B-B14F-4D97-AF65-F5344CB8AC3E}">
        <p14:creationId xmlns:p14="http://schemas.microsoft.com/office/powerpoint/2010/main" val="342711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667790D-E8D2-4D1F-820B-11655B8CB1E6}"/>
              </a:ext>
            </a:extLst>
          </p:cNvPr>
          <p:cNvSpPr>
            <a:spLocks noGrp="1"/>
          </p:cNvSpPr>
          <p:nvPr>
            <p:ph type="dt" sz="half" idx="10"/>
          </p:nvPr>
        </p:nvSpPr>
        <p:spPr/>
        <p:txBody>
          <a:bodyPr/>
          <a:lstStyle/>
          <a:p>
            <a:fld id="{8A6E0422-6ECB-43C9-8CFE-4C39AC685875}" type="datetime1">
              <a:rPr lang="en-GB" smtClean="0"/>
              <a:pPr/>
              <a:t>17/01/2019</a:t>
            </a:fld>
            <a:endParaRPr lang="en-GB" dirty="0"/>
          </a:p>
        </p:txBody>
      </p:sp>
      <p:sp>
        <p:nvSpPr>
          <p:cNvPr id="16" name="Title 15">
            <a:extLst>
              <a:ext uri="{FF2B5EF4-FFF2-40B4-BE49-F238E27FC236}">
                <a16:creationId xmlns:a16="http://schemas.microsoft.com/office/drawing/2014/main" id="{B6EAF010-3FFF-4298-B201-2EBB957D8006}"/>
              </a:ext>
            </a:extLst>
          </p:cNvPr>
          <p:cNvSpPr>
            <a:spLocks noGrp="1"/>
          </p:cNvSpPr>
          <p:nvPr>
            <p:ph type="title"/>
          </p:nvPr>
        </p:nvSpPr>
        <p:spPr>
          <a:xfrm>
            <a:off x="269874" y="558033"/>
            <a:ext cx="8240140" cy="692336"/>
          </a:xfrm>
        </p:spPr>
        <p:txBody>
          <a:bodyPr/>
          <a:lstStyle/>
          <a:p>
            <a:r>
              <a:rPr lang="en-GB" dirty="0"/>
              <a:t>Conversation traps!</a:t>
            </a:r>
          </a:p>
        </p:txBody>
      </p:sp>
      <p:sp>
        <p:nvSpPr>
          <p:cNvPr id="40" name="Text Placeholder 39">
            <a:extLst>
              <a:ext uri="{FF2B5EF4-FFF2-40B4-BE49-F238E27FC236}">
                <a16:creationId xmlns:a16="http://schemas.microsoft.com/office/drawing/2014/main" id="{4F9A3536-EEDC-49AC-A05F-3C8D7E6DCD36}"/>
              </a:ext>
            </a:extLst>
          </p:cNvPr>
          <p:cNvSpPr>
            <a:spLocks noGrp="1"/>
          </p:cNvSpPr>
          <p:nvPr>
            <p:ph type="body" sz="quarter" idx="13"/>
          </p:nvPr>
        </p:nvSpPr>
        <p:spPr/>
        <p:txBody>
          <a:bodyPr/>
          <a:lstStyle/>
          <a:p>
            <a:endParaRPr lang="en-GB" dirty="0"/>
          </a:p>
        </p:txBody>
      </p:sp>
      <p:sp>
        <p:nvSpPr>
          <p:cNvPr id="41" name="Text Placeholder 40">
            <a:extLst>
              <a:ext uri="{FF2B5EF4-FFF2-40B4-BE49-F238E27FC236}">
                <a16:creationId xmlns:a16="http://schemas.microsoft.com/office/drawing/2014/main" id="{FC14282F-DDC1-4BEF-810A-DAA7E2CA4D93}"/>
              </a:ext>
            </a:extLst>
          </p:cNvPr>
          <p:cNvSpPr>
            <a:spLocks noGrp="1"/>
          </p:cNvSpPr>
          <p:nvPr>
            <p:ph type="body" sz="quarter" idx="14"/>
          </p:nvPr>
        </p:nvSpPr>
        <p:spPr/>
        <p:txBody>
          <a:bodyPr/>
          <a:lstStyle/>
          <a:p>
            <a:endParaRPr lang="en-GB" dirty="0"/>
          </a:p>
        </p:txBody>
      </p:sp>
      <p:sp>
        <p:nvSpPr>
          <p:cNvPr id="18" name="Rectangle 17">
            <a:extLst>
              <a:ext uri="{FF2B5EF4-FFF2-40B4-BE49-F238E27FC236}">
                <a16:creationId xmlns:a16="http://schemas.microsoft.com/office/drawing/2014/main" id="{4591B73C-DE7C-4FEC-95AD-4621944DFE17}"/>
              </a:ext>
            </a:extLst>
          </p:cNvPr>
          <p:cNvSpPr/>
          <p:nvPr/>
        </p:nvSpPr>
        <p:spPr>
          <a:xfrm>
            <a:off x="822718" y="4687774"/>
            <a:ext cx="2194584" cy="193899"/>
          </a:xfrm>
          <a:prstGeom prst="rect">
            <a:avLst/>
          </a:prstGeom>
        </p:spPr>
        <p:txBody>
          <a:bodyPr wrap="square" lIns="0" tIns="0" rIns="0" bIns="0" anchor="ctr">
            <a:spAutoFit/>
          </a:bodyPr>
          <a:lstStyle/>
          <a:p>
            <a:pPr marL="0" lvl="1" defTabSz="742950">
              <a:lnSpc>
                <a:spcPct val="90000"/>
              </a:lnSpc>
              <a:spcBef>
                <a:spcPts val="2400"/>
              </a:spcBef>
              <a:defRPr/>
            </a:pPr>
            <a:r>
              <a:rPr lang="en-GB" sz="1400" dirty="0">
                <a:solidFill>
                  <a:srgbClr val="1F2023"/>
                </a:solidFill>
                <a:latin typeface="Arial" panose="020B0604020202020204" pitchFamily="34" charset="0"/>
                <a:cs typeface="Arial" panose="020B0604020202020204" pitchFamily="34" charset="0"/>
              </a:rPr>
              <a:t>The listening trap</a:t>
            </a:r>
          </a:p>
        </p:txBody>
      </p:sp>
      <p:sp>
        <p:nvSpPr>
          <p:cNvPr id="19" name="Rectangle 18">
            <a:extLst>
              <a:ext uri="{FF2B5EF4-FFF2-40B4-BE49-F238E27FC236}">
                <a16:creationId xmlns:a16="http://schemas.microsoft.com/office/drawing/2014/main" id="{E6C79D89-52C3-468C-8FC7-4CAC966BB1AF}"/>
              </a:ext>
            </a:extLst>
          </p:cNvPr>
          <p:cNvSpPr/>
          <p:nvPr/>
        </p:nvSpPr>
        <p:spPr>
          <a:xfrm>
            <a:off x="822718" y="2694779"/>
            <a:ext cx="1211870" cy="193899"/>
          </a:xfrm>
          <a:prstGeom prst="rect">
            <a:avLst/>
          </a:prstGeom>
        </p:spPr>
        <p:txBody>
          <a:bodyPr wrap="none" lIns="0" tIns="0" rIns="0" bIns="0" anchor="ctr">
            <a:spAutoFit/>
          </a:bodyPr>
          <a:lstStyle/>
          <a:p>
            <a:pPr marL="0" lvl="1" defTabSz="742950">
              <a:lnSpc>
                <a:spcPct val="90000"/>
              </a:lnSpc>
              <a:spcBef>
                <a:spcPts val="2400"/>
              </a:spcBef>
              <a:defRPr/>
            </a:pPr>
            <a:r>
              <a:rPr lang="en-GB" sz="1400" dirty="0">
                <a:solidFill>
                  <a:srgbClr val="1F2023"/>
                </a:solidFill>
                <a:latin typeface="Arial" panose="020B0604020202020204" pitchFamily="34" charset="0"/>
                <a:cs typeface="Arial" panose="020B0604020202020204" pitchFamily="34" charset="0"/>
              </a:rPr>
              <a:t>The expert trap</a:t>
            </a:r>
          </a:p>
        </p:txBody>
      </p:sp>
      <p:sp>
        <p:nvSpPr>
          <p:cNvPr id="20" name="Rectangle 19">
            <a:extLst>
              <a:ext uri="{FF2B5EF4-FFF2-40B4-BE49-F238E27FC236}">
                <a16:creationId xmlns:a16="http://schemas.microsoft.com/office/drawing/2014/main" id="{360AA8BC-F712-441E-AACC-0389DE99CFD6}"/>
              </a:ext>
            </a:extLst>
          </p:cNvPr>
          <p:cNvSpPr/>
          <p:nvPr/>
        </p:nvSpPr>
        <p:spPr>
          <a:xfrm>
            <a:off x="822718" y="3359110"/>
            <a:ext cx="1360950" cy="193899"/>
          </a:xfrm>
          <a:prstGeom prst="rect">
            <a:avLst/>
          </a:prstGeom>
        </p:spPr>
        <p:txBody>
          <a:bodyPr wrap="none" lIns="0" tIns="0" rIns="0" bIns="0" anchor="ctr">
            <a:spAutoFit/>
          </a:bodyPr>
          <a:lstStyle/>
          <a:p>
            <a:pPr marL="0" lvl="1" defTabSz="742950">
              <a:lnSpc>
                <a:spcPct val="90000"/>
              </a:lnSpc>
              <a:spcBef>
                <a:spcPts val="2400"/>
              </a:spcBef>
              <a:defRPr/>
            </a:pPr>
            <a:r>
              <a:rPr lang="en-GB" sz="1400" dirty="0">
                <a:solidFill>
                  <a:srgbClr val="1F2023"/>
                </a:solidFill>
                <a:latin typeface="Arial" panose="020B0604020202020204" pitchFamily="34" charset="0"/>
                <a:cs typeface="Arial" panose="020B0604020202020204" pitchFamily="34" charset="0"/>
              </a:rPr>
              <a:t>The problem trap</a:t>
            </a:r>
          </a:p>
        </p:txBody>
      </p:sp>
      <p:sp>
        <p:nvSpPr>
          <p:cNvPr id="21" name="Rectangle 20">
            <a:extLst>
              <a:ext uri="{FF2B5EF4-FFF2-40B4-BE49-F238E27FC236}">
                <a16:creationId xmlns:a16="http://schemas.microsoft.com/office/drawing/2014/main" id="{2C1C0825-0BF3-48F6-B1C5-2B215FA59A16}"/>
              </a:ext>
            </a:extLst>
          </p:cNvPr>
          <p:cNvSpPr/>
          <p:nvPr/>
        </p:nvSpPr>
        <p:spPr>
          <a:xfrm>
            <a:off x="822718" y="4023441"/>
            <a:ext cx="1481175" cy="193899"/>
          </a:xfrm>
          <a:prstGeom prst="rect">
            <a:avLst/>
          </a:prstGeom>
        </p:spPr>
        <p:txBody>
          <a:bodyPr wrap="none" lIns="0" tIns="0" rIns="0" bIns="0" anchor="ctr">
            <a:spAutoFit/>
          </a:bodyPr>
          <a:lstStyle/>
          <a:p>
            <a:pPr marL="0" lvl="1" defTabSz="742950">
              <a:lnSpc>
                <a:spcPct val="90000"/>
              </a:lnSpc>
              <a:spcBef>
                <a:spcPts val="2400"/>
              </a:spcBef>
              <a:defRPr/>
            </a:pPr>
            <a:r>
              <a:rPr lang="en-GB" sz="1400" dirty="0">
                <a:solidFill>
                  <a:srgbClr val="1F2023"/>
                </a:solidFill>
                <a:latin typeface="Arial" panose="020B0604020202020204" pitchFamily="34" charset="0"/>
                <a:cs typeface="Arial" panose="020B0604020202020204" pitchFamily="34" charset="0"/>
              </a:rPr>
              <a:t>The execution trap</a:t>
            </a:r>
          </a:p>
        </p:txBody>
      </p:sp>
      <p:grpSp>
        <p:nvGrpSpPr>
          <p:cNvPr id="44" name="Group 43">
            <a:extLst>
              <a:ext uri="{FF2B5EF4-FFF2-40B4-BE49-F238E27FC236}">
                <a16:creationId xmlns:a16="http://schemas.microsoft.com/office/drawing/2014/main" id="{8A933600-26A3-4BB7-BA94-C5BF133758F6}"/>
              </a:ext>
            </a:extLst>
          </p:cNvPr>
          <p:cNvGrpSpPr/>
          <p:nvPr/>
        </p:nvGrpSpPr>
        <p:grpSpPr>
          <a:xfrm>
            <a:off x="303213" y="2640638"/>
            <a:ext cx="277172" cy="274482"/>
            <a:chOff x="5499100" y="1640011"/>
            <a:chExt cx="490537" cy="485775"/>
          </a:xfrm>
        </p:grpSpPr>
        <p:grpSp>
          <p:nvGrpSpPr>
            <p:cNvPr id="45" name="Group 44">
              <a:extLst>
                <a:ext uri="{FF2B5EF4-FFF2-40B4-BE49-F238E27FC236}">
                  <a16:creationId xmlns:a16="http://schemas.microsoft.com/office/drawing/2014/main" id="{37C04B04-3CE8-4A96-B3F9-EB25009335E2}"/>
                </a:ext>
              </a:extLst>
            </p:cNvPr>
            <p:cNvGrpSpPr/>
            <p:nvPr/>
          </p:nvGrpSpPr>
          <p:grpSpPr>
            <a:xfrm>
              <a:off x="5499100" y="1640011"/>
              <a:ext cx="490537" cy="485775"/>
              <a:chOff x="269874" y="1788783"/>
              <a:chExt cx="490537" cy="485775"/>
            </a:xfrm>
          </p:grpSpPr>
          <p:sp>
            <p:nvSpPr>
              <p:cNvPr id="47" name="Oval 232">
                <a:extLst>
                  <a:ext uri="{FF2B5EF4-FFF2-40B4-BE49-F238E27FC236}">
                    <a16:creationId xmlns:a16="http://schemas.microsoft.com/office/drawing/2014/main" id="{C42ABEE0-EAFB-4F36-8AB8-323E23AD3F9A}"/>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48" name="Freeform 233">
                <a:extLst>
                  <a:ext uri="{FF2B5EF4-FFF2-40B4-BE49-F238E27FC236}">
                    <a16:creationId xmlns:a16="http://schemas.microsoft.com/office/drawing/2014/main" id="{1D9021F5-44B6-49C5-9412-A90733D2F90D}"/>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46" name="textruta 4">
              <a:extLst>
                <a:ext uri="{FF2B5EF4-FFF2-40B4-BE49-F238E27FC236}">
                  <a16:creationId xmlns:a16="http://schemas.microsoft.com/office/drawing/2014/main" id="{4E36E16B-FE6E-4EE1-BDE9-C0DFB0F68133}"/>
                </a:ext>
              </a:extLst>
            </p:cNvPr>
            <p:cNvSpPr txBox="1"/>
            <p:nvPr/>
          </p:nvSpPr>
          <p:spPr>
            <a:xfrm>
              <a:off x="5607050" y="1676524"/>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1</a:t>
              </a:r>
            </a:p>
          </p:txBody>
        </p:sp>
      </p:grpSp>
      <p:grpSp>
        <p:nvGrpSpPr>
          <p:cNvPr id="49" name="Group 48">
            <a:extLst>
              <a:ext uri="{FF2B5EF4-FFF2-40B4-BE49-F238E27FC236}">
                <a16:creationId xmlns:a16="http://schemas.microsoft.com/office/drawing/2014/main" id="{B96ED2CC-ECE8-4662-BA61-DAD370824351}"/>
              </a:ext>
            </a:extLst>
          </p:cNvPr>
          <p:cNvGrpSpPr/>
          <p:nvPr/>
        </p:nvGrpSpPr>
        <p:grpSpPr>
          <a:xfrm>
            <a:off x="303213" y="3304970"/>
            <a:ext cx="277172" cy="294800"/>
            <a:chOff x="5499100" y="1640011"/>
            <a:chExt cx="490537" cy="521734"/>
          </a:xfrm>
        </p:grpSpPr>
        <p:grpSp>
          <p:nvGrpSpPr>
            <p:cNvPr id="50" name="Group 49">
              <a:extLst>
                <a:ext uri="{FF2B5EF4-FFF2-40B4-BE49-F238E27FC236}">
                  <a16:creationId xmlns:a16="http://schemas.microsoft.com/office/drawing/2014/main" id="{84426436-94E7-4607-9E6E-FA9E89244EE1}"/>
                </a:ext>
              </a:extLst>
            </p:cNvPr>
            <p:cNvGrpSpPr/>
            <p:nvPr/>
          </p:nvGrpSpPr>
          <p:grpSpPr>
            <a:xfrm>
              <a:off x="5499100" y="1640011"/>
              <a:ext cx="490537" cy="485775"/>
              <a:chOff x="269874" y="1788783"/>
              <a:chExt cx="490537" cy="485775"/>
            </a:xfrm>
          </p:grpSpPr>
          <p:sp>
            <p:nvSpPr>
              <p:cNvPr id="52" name="Oval 232">
                <a:extLst>
                  <a:ext uri="{FF2B5EF4-FFF2-40B4-BE49-F238E27FC236}">
                    <a16:creationId xmlns:a16="http://schemas.microsoft.com/office/drawing/2014/main" id="{60B531EA-3F26-494B-8B85-A5E126528D9B}"/>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53" name="Freeform 233">
                <a:extLst>
                  <a:ext uri="{FF2B5EF4-FFF2-40B4-BE49-F238E27FC236}">
                    <a16:creationId xmlns:a16="http://schemas.microsoft.com/office/drawing/2014/main" id="{79F0E017-CFBD-47C0-A212-F3D5079BC71C}"/>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51" name="textruta 4">
              <a:extLst>
                <a:ext uri="{FF2B5EF4-FFF2-40B4-BE49-F238E27FC236}">
                  <a16:creationId xmlns:a16="http://schemas.microsoft.com/office/drawing/2014/main" id="{26D0A51E-9C92-4EF9-90D0-7CD7BC670B00}"/>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2</a:t>
              </a:r>
            </a:p>
          </p:txBody>
        </p:sp>
      </p:grpSp>
      <p:grpSp>
        <p:nvGrpSpPr>
          <p:cNvPr id="54" name="Group 53">
            <a:extLst>
              <a:ext uri="{FF2B5EF4-FFF2-40B4-BE49-F238E27FC236}">
                <a16:creationId xmlns:a16="http://schemas.microsoft.com/office/drawing/2014/main" id="{CBB169DD-30C6-4A56-8FA5-F489F31077E8}"/>
              </a:ext>
            </a:extLst>
          </p:cNvPr>
          <p:cNvGrpSpPr/>
          <p:nvPr/>
        </p:nvGrpSpPr>
        <p:grpSpPr>
          <a:xfrm>
            <a:off x="303213" y="3969302"/>
            <a:ext cx="277172" cy="294800"/>
            <a:chOff x="5499100" y="1640011"/>
            <a:chExt cx="490537" cy="521734"/>
          </a:xfrm>
        </p:grpSpPr>
        <p:grpSp>
          <p:nvGrpSpPr>
            <p:cNvPr id="55" name="Group 54">
              <a:extLst>
                <a:ext uri="{FF2B5EF4-FFF2-40B4-BE49-F238E27FC236}">
                  <a16:creationId xmlns:a16="http://schemas.microsoft.com/office/drawing/2014/main" id="{D50F4942-9F99-4511-8470-85DDFE117290}"/>
                </a:ext>
              </a:extLst>
            </p:cNvPr>
            <p:cNvGrpSpPr/>
            <p:nvPr/>
          </p:nvGrpSpPr>
          <p:grpSpPr>
            <a:xfrm>
              <a:off x="5499100" y="1640011"/>
              <a:ext cx="490537" cy="485775"/>
              <a:chOff x="269874" y="1788783"/>
              <a:chExt cx="490537" cy="485775"/>
            </a:xfrm>
          </p:grpSpPr>
          <p:sp>
            <p:nvSpPr>
              <p:cNvPr id="57" name="Oval 232">
                <a:extLst>
                  <a:ext uri="{FF2B5EF4-FFF2-40B4-BE49-F238E27FC236}">
                    <a16:creationId xmlns:a16="http://schemas.microsoft.com/office/drawing/2014/main" id="{934DB596-E0A1-4991-A1C4-D5723A738A66}"/>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58" name="Freeform 233">
                <a:extLst>
                  <a:ext uri="{FF2B5EF4-FFF2-40B4-BE49-F238E27FC236}">
                    <a16:creationId xmlns:a16="http://schemas.microsoft.com/office/drawing/2014/main" id="{CA95D000-0558-4B1A-8F8B-F81F69B0A459}"/>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56" name="textruta 4">
              <a:extLst>
                <a:ext uri="{FF2B5EF4-FFF2-40B4-BE49-F238E27FC236}">
                  <a16:creationId xmlns:a16="http://schemas.microsoft.com/office/drawing/2014/main" id="{309352A9-D883-4ED1-BFF3-6C9C5E9D59CA}"/>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3</a:t>
              </a:r>
            </a:p>
          </p:txBody>
        </p:sp>
      </p:grpSp>
      <p:grpSp>
        <p:nvGrpSpPr>
          <p:cNvPr id="59" name="Group 58">
            <a:extLst>
              <a:ext uri="{FF2B5EF4-FFF2-40B4-BE49-F238E27FC236}">
                <a16:creationId xmlns:a16="http://schemas.microsoft.com/office/drawing/2014/main" id="{06EBE952-4901-4815-9A05-6326B72A6371}"/>
              </a:ext>
            </a:extLst>
          </p:cNvPr>
          <p:cNvGrpSpPr/>
          <p:nvPr/>
        </p:nvGrpSpPr>
        <p:grpSpPr>
          <a:xfrm>
            <a:off x="303213" y="4633633"/>
            <a:ext cx="277172" cy="294800"/>
            <a:chOff x="5499100" y="1640011"/>
            <a:chExt cx="490537" cy="521734"/>
          </a:xfrm>
        </p:grpSpPr>
        <p:grpSp>
          <p:nvGrpSpPr>
            <p:cNvPr id="60" name="Group 59">
              <a:extLst>
                <a:ext uri="{FF2B5EF4-FFF2-40B4-BE49-F238E27FC236}">
                  <a16:creationId xmlns:a16="http://schemas.microsoft.com/office/drawing/2014/main" id="{D37553C5-0428-436C-924A-36BA86642D3D}"/>
                </a:ext>
              </a:extLst>
            </p:cNvPr>
            <p:cNvGrpSpPr/>
            <p:nvPr/>
          </p:nvGrpSpPr>
          <p:grpSpPr>
            <a:xfrm>
              <a:off x="5499100" y="1640011"/>
              <a:ext cx="490537" cy="485775"/>
              <a:chOff x="269874" y="1788783"/>
              <a:chExt cx="490537" cy="485775"/>
            </a:xfrm>
          </p:grpSpPr>
          <p:sp>
            <p:nvSpPr>
              <p:cNvPr id="62" name="Oval 232">
                <a:extLst>
                  <a:ext uri="{FF2B5EF4-FFF2-40B4-BE49-F238E27FC236}">
                    <a16:creationId xmlns:a16="http://schemas.microsoft.com/office/drawing/2014/main" id="{091FA2FB-22A3-43D2-81FE-1AABB9420AD6}"/>
                  </a:ext>
                </a:extLst>
              </p:cNvPr>
              <p:cNvSpPr>
                <a:spLocks noChangeArrowheads="1"/>
              </p:cNvSpPr>
              <p:nvPr/>
            </p:nvSpPr>
            <p:spPr bwMode="auto">
              <a:xfrm>
                <a:off x="269874" y="1820533"/>
                <a:ext cx="431800" cy="436563"/>
              </a:xfrm>
              <a:prstGeom prst="ellipse">
                <a:avLst/>
              </a:prstGeom>
              <a:solidFill>
                <a:srgbClr val="8AA29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0" rIns="91440" bIns="36000" numCol="1" anchor="ctr" anchorCtr="0" compatLnSpc="1">
                <a:prstTxWarp prst="textNoShape">
                  <a:avLst/>
                </a:prstTxWarp>
              </a:bodyPr>
              <a:lstStyle/>
              <a:p>
                <a:endParaRPr lang="en-GB" dirty="0"/>
              </a:p>
            </p:txBody>
          </p:sp>
          <p:sp>
            <p:nvSpPr>
              <p:cNvPr id="63" name="Freeform 233">
                <a:extLst>
                  <a:ext uri="{FF2B5EF4-FFF2-40B4-BE49-F238E27FC236}">
                    <a16:creationId xmlns:a16="http://schemas.microsoft.com/office/drawing/2014/main" id="{6BD30C93-28EB-4C19-900A-BB5E55A336DA}"/>
                  </a:ext>
                </a:extLst>
              </p:cNvPr>
              <p:cNvSpPr>
                <a:spLocks/>
              </p:cNvSpPr>
              <p:nvPr/>
            </p:nvSpPr>
            <p:spPr bwMode="auto">
              <a:xfrm>
                <a:off x="274636" y="178878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0" rIns="91440" bIns="36000" numCol="1" anchor="ctr" anchorCtr="0" compatLnSpc="1">
                <a:prstTxWarp prst="textNoShape">
                  <a:avLst/>
                </a:prstTxWarp>
              </a:bodyPr>
              <a:lstStyle/>
              <a:p>
                <a:endParaRPr lang="en-GB" dirty="0"/>
              </a:p>
            </p:txBody>
          </p:sp>
        </p:grpSp>
        <p:sp>
          <p:nvSpPr>
            <p:cNvPr id="61" name="textruta 4">
              <a:extLst>
                <a:ext uri="{FF2B5EF4-FFF2-40B4-BE49-F238E27FC236}">
                  <a16:creationId xmlns:a16="http://schemas.microsoft.com/office/drawing/2014/main" id="{442EE6CE-D1E9-44C7-BFF5-DD480881DE2C}"/>
                </a:ext>
              </a:extLst>
            </p:cNvPr>
            <p:cNvSpPr txBox="1"/>
            <p:nvPr/>
          </p:nvSpPr>
          <p:spPr>
            <a:xfrm>
              <a:off x="5607050" y="1716121"/>
              <a:ext cx="228601" cy="445624"/>
            </a:xfrm>
            <a:prstGeom prst="rect">
              <a:avLst/>
            </a:prstGeom>
            <a:noFill/>
          </p:spPr>
          <p:txBody>
            <a:bodyPr wrap="square" lIns="0" tIns="0" rIns="0" bIns="36000" rtlCol="0" anchor="ctr">
              <a:spAutoFit/>
            </a:bodyPr>
            <a:lstStyle/>
            <a:p>
              <a:pPr algn="ctr">
                <a:buNone/>
              </a:pPr>
              <a:r>
                <a:rPr lang="en-GB" sz="1400" b="1" dirty="0">
                  <a:solidFill>
                    <a:schemeClr val="bg1"/>
                  </a:solidFill>
                </a:rPr>
                <a:t>4</a:t>
              </a:r>
            </a:p>
          </p:txBody>
        </p:sp>
      </p:grpSp>
      <p:cxnSp>
        <p:nvCxnSpPr>
          <p:cNvPr id="64" name="Straight Connector 63">
            <a:extLst>
              <a:ext uri="{FF2B5EF4-FFF2-40B4-BE49-F238E27FC236}">
                <a16:creationId xmlns:a16="http://schemas.microsoft.com/office/drawing/2014/main" id="{2EA313E5-38EF-4DCA-BA3D-D9D535D0804E}"/>
              </a:ext>
            </a:extLst>
          </p:cNvPr>
          <p:cNvCxnSpPr>
            <a:cxnSpLocks/>
          </p:cNvCxnSpPr>
          <p:nvPr/>
        </p:nvCxnSpPr>
        <p:spPr>
          <a:xfrm>
            <a:off x="822718" y="4452556"/>
            <a:ext cx="1818146"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4E81214A-0134-4C1E-8252-7E9D23B946CE}"/>
              </a:ext>
            </a:extLst>
          </p:cNvPr>
          <p:cNvCxnSpPr>
            <a:cxnSpLocks/>
          </p:cNvCxnSpPr>
          <p:nvPr/>
        </p:nvCxnSpPr>
        <p:spPr>
          <a:xfrm>
            <a:off x="822718" y="3788225"/>
            <a:ext cx="1818146"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01F1BC3-E26D-439D-BD44-874207F91AC8}"/>
              </a:ext>
            </a:extLst>
          </p:cNvPr>
          <p:cNvCxnSpPr>
            <a:cxnSpLocks/>
          </p:cNvCxnSpPr>
          <p:nvPr/>
        </p:nvCxnSpPr>
        <p:spPr>
          <a:xfrm>
            <a:off x="822718" y="3123894"/>
            <a:ext cx="1818146"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pic>
        <p:nvPicPr>
          <p:cNvPr id="66" name="Billede 4">
            <a:extLst>
              <a:ext uri="{FF2B5EF4-FFF2-40B4-BE49-F238E27FC236}">
                <a16:creationId xmlns:a16="http://schemas.microsoft.com/office/drawing/2014/main" id="{3DB14B78-4F50-43A3-B723-082447CBA6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80867" y="1367904"/>
            <a:ext cx="4993564" cy="4993564"/>
          </a:xfrm>
          <a:prstGeom prst="rect">
            <a:avLst/>
          </a:prstGeom>
        </p:spPr>
      </p:pic>
    </p:spTree>
    <p:extLst>
      <p:ext uri="{BB962C8B-B14F-4D97-AF65-F5344CB8AC3E}">
        <p14:creationId xmlns:p14="http://schemas.microsoft.com/office/powerpoint/2010/main" val="2121078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kt 42"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43" name="think-cell Slide" r:id="rId8" imgW="270" imgH="270" progId="TCLayout.ActiveDocument.1">
                  <p:embed/>
                </p:oleObj>
              </mc:Choice>
              <mc:Fallback>
                <p:oleObj name="think-cell Slide" r:id="rId8" imgW="270" imgH="270" progId="TCLayout.ActiveDocument.1">
                  <p:embed/>
                  <p:pic>
                    <p:nvPicPr>
                      <p:cNvPr id="43" name="Objekt 42" hidden="1"/>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269876" y="269876"/>
            <a:ext cx="8240140" cy="692336"/>
          </a:xfrm>
        </p:spPr>
        <p:txBody>
          <a:bodyPr/>
          <a:lstStyle/>
          <a:p>
            <a:r>
              <a:rPr lang="en-GB" dirty="0"/>
              <a:t>REAL conversations</a:t>
            </a:r>
          </a:p>
        </p:txBody>
      </p:sp>
      <p:sp>
        <p:nvSpPr>
          <p:cNvPr id="5" name="Text Placeholder 4">
            <a:extLst>
              <a:ext uri="{FF2B5EF4-FFF2-40B4-BE49-F238E27FC236}">
                <a16:creationId xmlns:a16="http://schemas.microsoft.com/office/drawing/2014/main" id="{3B402080-5F49-4FFB-AADC-4F0C38E7F04B}"/>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custDataLst>
              <p:tags r:id="rId4"/>
            </p:custDataLst>
          </p:nvPr>
        </p:nvSpPr>
        <p:spPr>
          <a:xfrm>
            <a:off x="5818326" y="6502394"/>
            <a:ext cx="1195659" cy="106116"/>
          </a:xfrm>
        </p:spPr>
        <p:txBody>
          <a:bodyPr>
            <a:spAutoFit/>
          </a:bodyPr>
          <a:lstStyle/>
          <a:p>
            <a:endParaRPr lang="en-GB" noProof="0" dirty="0"/>
          </a:p>
        </p:txBody>
      </p:sp>
      <p:sp>
        <p:nvSpPr>
          <p:cNvPr id="6" name="Text Placeholder 5">
            <a:extLst>
              <a:ext uri="{FF2B5EF4-FFF2-40B4-BE49-F238E27FC236}">
                <a16:creationId xmlns:a16="http://schemas.microsoft.com/office/drawing/2014/main" id="{5A1C6BC5-2835-446A-B5B6-3975C921B55C}"/>
              </a:ext>
            </a:extLst>
          </p:cNvPr>
          <p:cNvSpPr>
            <a:spLocks noGrp="1"/>
          </p:cNvSpPr>
          <p:nvPr>
            <p:ph type="body" sz="quarter" idx="14"/>
          </p:nvPr>
        </p:nvSpPr>
        <p:spPr/>
        <p:txBody>
          <a:bodyPr/>
          <a:lstStyle/>
          <a:p>
            <a:endParaRPr lang="en-GB" dirty="0"/>
          </a:p>
        </p:txBody>
      </p:sp>
      <p:sp>
        <p:nvSpPr>
          <p:cNvPr id="9" name="Rectangle 8">
            <a:extLst>
              <a:ext uri="{FF2B5EF4-FFF2-40B4-BE49-F238E27FC236}">
                <a16:creationId xmlns:a16="http://schemas.microsoft.com/office/drawing/2014/main" id="{0B6F1D12-E26F-4DB7-BB9B-357FD7CE0B1E}"/>
              </a:ext>
            </a:extLst>
          </p:cNvPr>
          <p:cNvSpPr/>
          <p:nvPr/>
        </p:nvSpPr>
        <p:spPr>
          <a:xfrm>
            <a:off x="809875" y="2966689"/>
            <a:ext cx="8822641" cy="540000"/>
          </a:xfrm>
          <a:prstGeom prst="rect">
            <a:avLst/>
          </a:prstGeom>
          <a:solidFill>
            <a:srgbClr val="B9C7C2"/>
          </a:solidFill>
        </p:spPr>
        <p:txBody>
          <a:bodyPr wrap="square" lIns="180000" tIns="0" rIns="0" bIns="0" anchor="ctr">
            <a:noAutofit/>
          </a:bodyPr>
          <a:lstStyle/>
          <a:p>
            <a:pPr marL="0" lvl="1">
              <a:defRPr/>
            </a:pPr>
            <a:r>
              <a:rPr lang="en-GB" sz="1200" dirty="0">
                <a:solidFill>
                  <a:srgbClr val="000000"/>
                </a:solidFill>
              </a:rPr>
              <a:t>What has become important for me to work more with in my conversations going forward and why?</a:t>
            </a:r>
          </a:p>
        </p:txBody>
      </p:sp>
      <p:sp>
        <p:nvSpPr>
          <p:cNvPr id="51" name="Rectangle 50">
            <a:extLst>
              <a:ext uri="{FF2B5EF4-FFF2-40B4-BE49-F238E27FC236}">
                <a16:creationId xmlns:a16="http://schemas.microsoft.com/office/drawing/2014/main" id="{8D8658B7-4B4A-4392-B7A8-7B397935571C}"/>
              </a:ext>
            </a:extLst>
          </p:cNvPr>
          <p:cNvSpPr/>
          <p:nvPr/>
        </p:nvSpPr>
        <p:spPr>
          <a:xfrm>
            <a:off x="269876" y="2966690"/>
            <a:ext cx="540000" cy="540000"/>
          </a:xfrm>
          <a:prstGeom prst="rect">
            <a:avLst/>
          </a:prstGeom>
          <a:solidFill>
            <a:srgbClr val="F3F2F0"/>
          </a:solidFill>
        </p:spPr>
        <p:txBody>
          <a:bodyPr wrap="square" lIns="180000" tIns="0" rIns="0" bIns="0" anchor="ctr">
            <a:noAutofit/>
          </a:bodyPr>
          <a:lstStyle/>
          <a:p>
            <a:pPr marL="0" lvl="1">
              <a:defRPr/>
            </a:pPr>
            <a:endParaRPr lang="en-GB" sz="1200" dirty="0">
              <a:solidFill>
                <a:srgbClr val="000000"/>
              </a:solidFill>
            </a:endParaRPr>
          </a:p>
        </p:txBody>
      </p:sp>
      <p:grpSp>
        <p:nvGrpSpPr>
          <p:cNvPr id="28" name="Group 27">
            <a:extLst>
              <a:ext uri="{FF2B5EF4-FFF2-40B4-BE49-F238E27FC236}">
                <a16:creationId xmlns:a16="http://schemas.microsoft.com/office/drawing/2014/main" id="{7E84E88F-CD0F-4C7C-BCC9-ACE7B2E56F73}"/>
              </a:ext>
            </a:extLst>
          </p:cNvPr>
          <p:cNvGrpSpPr/>
          <p:nvPr/>
        </p:nvGrpSpPr>
        <p:grpSpPr>
          <a:xfrm>
            <a:off x="390288" y="3093066"/>
            <a:ext cx="299176" cy="287246"/>
            <a:chOff x="563563" y="1528763"/>
            <a:chExt cx="517526" cy="496888"/>
          </a:xfrm>
        </p:grpSpPr>
        <p:sp>
          <p:nvSpPr>
            <p:cNvPr id="29" name="Freeform 5">
              <a:extLst>
                <a:ext uri="{FF2B5EF4-FFF2-40B4-BE49-F238E27FC236}">
                  <a16:creationId xmlns:a16="http://schemas.microsoft.com/office/drawing/2014/main" id="{6F2F7E7F-2311-4B59-8AC7-C15C33A2EDAB}"/>
                </a:ext>
              </a:extLst>
            </p:cNvPr>
            <p:cNvSpPr>
              <a:spLocks/>
            </p:cNvSpPr>
            <p:nvPr/>
          </p:nvSpPr>
          <p:spPr bwMode="auto">
            <a:xfrm>
              <a:off x="563563" y="1533525"/>
              <a:ext cx="450850" cy="452438"/>
            </a:xfrm>
            <a:custGeom>
              <a:avLst/>
              <a:gdLst>
                <a:gd name="T0" fmla="*/ 99 w 101"/>
                <a:gd name="T1" fmla="*/ 22 h 101"/>
                <a:gd name="T2" fmla="*/ 79 w 101"/>
                <a:gd name="T3" fmla="*/ 2 h 101"/>
                <a:gd name="T4" fmla="*/ 72 w 101"/>
                <a:gd name="T5" fmla="*/ 2 h 101"/>
                <a:gd name="T6" fmla="*/ 2 w 101"/>
                <a:gd name="T7" fmla="*/ 72 h 101"/>
                <a:gd name="T8" fmla="*/ 2 w 101"/>
                <a:gd name="T9" fmla="*/ 79 h 101"/>
                <a:gd name="T10" fmla="*/ 22 w 101"/>
                <a:gd name="T11" fmla="*/ 99 h 101"/>
                <a:gd name="T12" fmla="*/ 29 w 101"/>
                <a:gd name="T13" fmla="*/ 99 h 101"/>
                <a:gd name="T14" fmla="*/ 99 w 101"/>
                <a:gd name="T15" fmla="*/ 29 h 101"/>
                <a:gd name="T16" fmla="*/ 99 w 101"/>
                <a:gd name="T17" fmla="*/ 2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01">
                  <a:moveTo>
                    <a:pt x="99" y="22"/>
                  </a:moveTo>
                  <a:cubicBezTo>
                    <a:pt x="79" y="2"/>
                    <a:pt x="79" y="2"/>
                    <a:pt x="79" y="2"/>
                  </a:cubicBezTo>
                  <a:cubicBezTo>
                    <a:pt x="77" y="0"/>
                    <a:pt x="74" y="0"/>
                    <a:pt x="72" y="2"/>
                  </a:cubicBezTo>
                  <a:cubicBezTo>
                    <a:pt x="2" y="72"/>
                    <a:pt x="2" y="72"/>
                    <a:pt x="2" y="72"/>
                  </a:cubicBezTo>
                  <a:cubicBezTo>
                    <a:pt x="0" y="74"/>
                    <a:pt x="0" y="77"/>
                    <a:pt x="2" y="79"/>
                  </a:cubicBezTo>
                  <a:cubicBezTo>
                    <a:pt x="22" y="99"/>
                    <a:pt x="22" y="99"/>
                    <a:pt x="22" y="99"/>
                  </a:cubicBezTo>
                  <a:cubicBezTo>
                    <a:pt x="24" y="101"/>
                    <a:pt x="27" y="101"/>
                    <a:pt x="29" y="99"/>
                  </a:cubicBezTo>
                  <a:cubicBezTo>
                    <a:pt x="99" y="29"/>
                    <a:pt x="99" y="29"/>
                    <a:pt x="99" y="29"/>
                  </a:cubicBezTo>
                  <a:cubicBezTo>
                    <a:pt x="101" y="27"/>
                    <a:pt x="101" y="24"/>
                    <a:pt x="99" y="22"/>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6">
              <a:extLst>
                <a:ext uri="{FF2B5EF4-FFF2-40B4-BE49-F238E27FC236}">
                  <a16:creationId xmlns:a16="http://schemas.microsoft.com/office/drawing/2014/main" id="{F86ED663-322E-4000-B870-FCE1BB76F158}"/>
                </a:ext>
              </a:extLst>
            </p:cNvPr>
            <p:cNvSpPr>
              <a:spLocks/>
            </p:cNvSpPr>
            <p:nvPr/>
          </p:nvSpPr>
          <p:spPr bwMode="auto">
            <a:xfrm>
              <a:off x="581026" y="1528763"/>
              <a:ext cx="500063" cy="496888"/>
            </a:xfrm>
            <a:custGeom>
              <a:avLst/>
              <a:gdLst>
                <a:gd name="T0" fmla="*/ 239 w 315"/>
                <a:gd name="T1" fmla="*/ 0 h 313"/>
                <a:gd name="T2" fmla="*/ 315 w 315"/>
                <a:gd name="T3" fmla="*/ 76 h 313"/>
                <a:gd name="T4" fmla="*/ 312 w 315"/>
                <a:gd name="T5" fmla="*/ 76 h 313"/>
                <a:gd name="T6" fmla="*/ 98 w 315"/>
                <a:gd name="T7" fmla="*/ 293 h 313"/>
                <a:gd name="T8" fmla="*/ 0 w 315"/>
                <a:gd name="T9" fmla="*/ 313 h 313"/>
                <a:gd name="T10" fmla="*/ 22 w 315"/>
                <a:gd name="T11" fmla="*/ 217 h 313"/>
                <a:gd name="T12" fmla="*/ 217 w 315"/>
                <a:gd name="T13" fmla="*/ 23 h 313"/>
              </a:gdLst>
              <a:ahLst/>
              <a:cxnLst>
                <a:cxn ang="0">
                  <a:pos x="T0" y="T1"/>
                </a:cxn>
                <a:cxn ang="0">
                  <a:pos x="T2" y="T3"/>
                </a:cxn>
                <a:cxn ang="0">
                  <a:pos x="T4" y="T5"/>
                </a:cxn>
                <a:cxn ang="0">
                  <a:pos x="T6" y="T7"/>
                </a:cxn>
                <a:cxn ang="0">
                  <a:pos x="T8" y="T9"/>
                </a:cxn>
                <a:cxn ang="0">
                  <a:pos x="T10" y="T11"/>
                </a:cxn>
                <a:cxn ang="0">
                  <a:pos x="T12" y="T13"/>
                </a:cxn>
              </a:cxnLst>
              <a:rect l="0" t="0" r="r" b="b"/>
              <a:pathLst>
                <a:path w="315" h="313">
                  <a:moveTo>
                    <a:pt x="239" y="0"/>
                  </a:moveTo>
                  <a:lnTo>
                    <a:pt x="315" y="76"/>
                  </a:lnTo>
                  <a:lnTo>
                    <a:pt x="312" y="76"/>
                  </a:lnTo>
                  <a:lnTo>
                    <a:pt x="98" y="293"/>
                  </a:lnTo>
                  <a:lnTo>
                    <a:pt x="0" y="313"/>
                  </a:lnTo>
                  <a:lnTo>
                    <a:pt x="22" y="217"/>
                  </a:lnTo>
                  <a:lnTo>
                    <a:pt x="217" y="2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7">
              <a:extLst>
                <a:ext uri="{FF2B5EF4-FFF2-40B4-BE49-F238E27FC236}">
                  <a16:creationId xmlns:a16="http://schemas.microsoft.com/office/drawing/2014/main" id="{4D049A2D-2EBF-46B8-B550-B796347E5122}"/>
                </a:ext>
              </a:extLst>
            </p:cNvPr>
            <p:cNvSpPr>
              <a:spLocks noChangeShapeType="1"/>
            </p:cNvSpPr>
            <p:nvPr/>
          </p:nvSpPr>
          <p:spPr bwMode="auto">
            <a:xfrm>
              <a:off x="620713" y="1873250"/>
              <a:ext cx="71438" cy="714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12" name="Straight Connector 11">
            <a:extLst>
              <a:ext uri="{FF2B5EF4-FFF2-40B4-BE49-F238E27FC236}">
                <a16:creationId xmlns:a16="http://schemas.microsoft.com/office/drawing/2014/main" id="{EBD7090B-0C87-4929-BC9F-190A2E52B4BC}"/>
              </a:ext>
            </a:extLst>
          </p:cNvPr>
          <p:cNvCxnSpPr>
            <a:cxnSpLocks/>
          </p:cNvCxnSpPr>
          <p:nvPr/>
        </p:nvCxnSpPr>
        <p:spPr>
          <a:xfrm>
            <a:off x="434340" y="3800320"/>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71CF06A-EFF3-471E-8000-247D2AA09C6F}"/>
              </a:ext>
            </a:extLst>
          </p:cNvPr>
          <p:cNvCxnSpPr>
            <a:cxnSpLocks/>
          </p:cNvCxnSpPr>
          <p:nvPr/>
        </p:nvCxnSpPr>
        <p:spPr>
          <a:xfrm>
            <a:off x="437404" y="4093951"/>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A5554BA1-B454-47AB-89CF-0C233B6F143A}"/>
              </a:ext>
            </a:extLst>
          </p:cNvPr>
          <p:cNvCxnSpPr>
            <a:cxnSpLocks/>
          </p:cNvCxnSpPr>
          <p:nvPr/>
        </p:nvCxnSpPr>
        <p:spPr>
          <a:xfrm>
            <a:off x="434340" y="4387581"/>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7F0F00F2-0533-493B-806E-440F017FA045}"/>
              </a:ext>
            </a:extLst>
          </p:cNvPr>
          <p:cNvSpPr/>
          <p:nvPr/>
        </p:nvSpPr>
        <p:spPr>
          <a:xfrm>
            <a:off x="809876" y="4788492"/>
            <a:ext cx="8823074" cy="540000"/>
          </a:xfrm>
          <a:prstGeom prst="rect">
            <a:avLst/>
          </a:prstGeom>
          <a:solidFill>
            <a:srgbClr val="D0DAD6"/>
          </a:solidFill>
        </p:spPr>
        <p:txBody>
          <a:bodyPr wrap="square" lIns="180000" tIns="0" rIns="0" bIns="0" anchor="ctr">
            <a:noAutofit/>
          </a:bodyPr>
          <a:lstStyle/>
          <a:p>
            <a:pPr marL="0" lvl="1" indent="0">
              <a:buNone/>
              <a:defRPr/>
            </a:pPr>
            <a:r>
              <a:rPr lang="en-GB" sz="1200" dirty="0"/>
              <a:t>Therefore, I choose my 30-day conversation challenge to be … (something you could start doing tomorrow, if you want to)</a:t>
            </a:r>
          </a:p>
        </p:txBody>
      </p:sp>
      <p:sp>
        <p:nvSpPr>
          <p:cNvPr id="54" name="Rectangle 53">
            <a:extLst>
              <a:ext uri="{FF2B5EF4-FFF2-40B4-BE49-F238E27FC236}">
                <a16:creationId xmlns:a16="http://schemas.microsoft.com/office/drawing/2014/main" id="{0F19D007-E4FA-40CA-BD4F-A59584AFF386}"/>
              </a:ext>
            </a:extLst>
          </p:cNvPr>
          <p:cNvSpPr/>
          <p:nvPr/>
        </p:nvSpPr>
        <p:spPr>
          <a:xfrm>
            <a:off x="269876" y="4788492"/>
            <a:ext cx="540000" cy="540000"/>
          </a:xfrm>
          <a:prstGeom prst="rect">
            <a:avLst/>
          </a:prstGeom>
          <a:solidFill>
            <a:srgbClr val="F3F2F0"/>
          </a:solidFill>
        </p:spPr>
        <p:txBody>
          <a:bodyPr wrap="square" lIns="180000" tIns="0" rIns="0" bIns="0" anchor="ctr">
            <a:noAutofit/>
          </a:bodyPr>
          <a:lstStyle/>
          <a:p>
            <a:pPr marL="0" lvl="1">
              <a:defRPr/>
            </a:pPr>
            <a:endParaRPr lang="en-GB" sz="1200" dirty="0">
              <a:solidFill>
                <a:srgbClr val="000000"/>
              </a:solidFill>
            </a:endParaRPr>
          </a:p>
        </p:txBody>
      </p:sp>
      <p:grpSp>
        <p:nvGrpSpPr>
          <p:cNvPr id="55" name="Group 54">
            <a:extLst>
              <a:ext uri="{FF2B5EF4-FFF2-40B4-BE49-F238E27FC236}">
                <a16:creationId xmlns:a16="http://schemas.microsoft.com/office/drawing/2014/main" id="{B298FC5C-19F8-477E-8C6C-EC1ACA182D0E}"/>
              </a:ext>
            </a:extLst>
          </p:cNvPr>
          <p:cNvGrpSpPr/>
          <p:nvPr/>
        </p:nvGrpSpPr>
        <p:grpSpPr>
          <a:xfrm>
            <a:off x="390288" y="4914868"/>
            <a:ext cx="299176" cy="287246"/>
            <a:chOff x="563563" y="1528763"/>
            <a:chExt cx="517526" cy="496888"/>
          </a:xfrm>
        </p:grpSpPr>
        <p:sp>
          <p:nvSpPr>
            <p:cNvPr id="56" name="Freeform 5">
              <a:extLst>
                <a:ext uri="{FF2B5EF4-FFF2-40B4-BE49-F238E27FC236}">
                  <a16:creationId xmlns:a16="http://schemas.microsoft.com/office/drawing/2014/main" id="{E43D01A6-6ADF-4650-B538-6E550C84284B}"/>
                </a:ext>
              </a:extLst>
            </p:cNvPr>
            <p:cNvSpPr>
              <a:spLocks/>
            </p:cNvSpPr>
            <p:nvPr/>
          </p:nvSpPr>
          <p:spPr bwMode="auto">
            <a:xfrm>
              <a:off x="563563" y="1533525"/>
              <a:ext cx="450850" cy="452438"/>
            </a:xfrm>
            <a:custGeom>
              <a:avLst/>
              <a:gdLst>
                <a:gd name="T0" fmla="*/ 99 w 101"/>
                <a:gd name="T1" fmla="*/ 22 h 101"/>
                <a:gd name="T2" fmla="*/ 79 w 101"/>
                <a:gd name="T3" fmla="*/ 2 h 101"/>
                <a:gd name="T4" fmla="*/ 72 w 101"/>
                <a:gd name="T5" fmla="*/ 2 h 101"/>
                <a:gd name="T6" fmla="*/ 2 w 101"/>
                <a:gd name="T7" fmla="*/ 72 h 101"/>
                <a:gd name="T8" fmla="*/ 2 w 101"/>
                <a:gd name="T9" fmla="*/ 79 h 101"/>
                <a:gd name="T10" fmla="*/ 22 w 101"/>
                <a:gd name="T11" fmla="*/ 99 h 101"/>
                <a:gd name="T12" fmla="*/ 29 w 101"/>
                <a:gd name="T13" fmla="*/ 99 h 101"/>
                <a:gd name="T14" fmla="*/ 99 w 101"/>
                <a:gd name="T15" fmla="*/ 29 h 101"/>
                <a:gd name="T16" fmla="*/ 99 w 101"/>
                <a:gd name="T17" fmla="*/ 2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01">
                  <a:moveTo>
                    <a:pt x="99" y="22"/>
                  </a:moveTo>
                  <a:cubicBezTo>
                    <a:pt x="79" y="2"/>
                    <a:pt x="79" y="2"/>
                    <a:pt x="79" y="2"/>
                  </a:cubicBezTo>
                  <a:cubicBezTo>
                    <a:pt x="77" y="0"/>
                    <a:pt x="74" y="0"/>
                    <a:pt x="72" y="2"/>
                  </a:cubicBezTo>
                  <a:cubicBezTo>
                    <a:pt x="2" y="72"/>
                    <a:pt x="2" y="72"/>
                    <a:pt x="2" y="72"/>
                  </a:cubicBezTo>
                  <a:cubicBezTo>
                    <a:pt x="0" y="74"/>
                    <a:pt x="0" y="77"/>
                    <a:pt x="2" y="79"/>
                  </a:cubicBezTo>
                  <a:cubicBezTo>
                    <a:pt x="22" y="99"/>
                    <a:pt x="22" y="99"/>
                    <a:pt x="22" y="99"/>
                  </a:cubicBezTo>
                  <a:cubicBezTo>
                    <a:pt x="24" y="101"/>
                    <a:pt x="27" y="101"/>
                    <a:pt x="29" y="99"/>
                  </a:cubicBezTo>
                  <a:cubicBezTo>
                    <a:pt x="99" y="29"/>
                    <a:pt x="99" y="29"/>
                    <a:pt x="99" y="29"/>
                  </a:cubicBezTo>
                  <a:cubicBezTo>
                    <a:pt x="101" y="27"/>
                    <a:pt x="101" y="24"/>
                    <a:pt x="99" y="22"/>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6">
              <a:extLst>
                <a:ext uri="{FF2B5EF4-FFF2-40B4-BE49-F238E27FC236}">
                  <a16:creationId xmlns:a16="http://schemas.microsoft.com/office/drawing/2014/main" id="{142BFE2B-92A5-4E5F-B0EE-8E849F4BECD8}"/>
                </a:ext>
              </a:extLst>
            </p:cNvPr>
            <p:cNvSpPr>
              <a:spLocks/>
            </p:cNvSpPr>
            <p:nvPr/>
          </p:nvSpPr>
          <p:spPr bwMode="auto">
            <a:xfrm>
              <a:off x="581026" y="1528763"/>
              <a:ext cx="500063" cy="496888"/>
            </a:xfrm>
            <a:custGeom>
              <a:avLst/>
              <a:gdLst>
                <a:gd name="T0" fmla="*/ 239 w 315"/>
                <a:gd name="T1" fmla="*/ 0 h 313"/>
                <a:gd name="T2" fmla="*/ 315 w 315"/>
                <a:gd name="T3" fmla="*/ 76 h 313"/>
                <a:gd name="T4" fmla="*/ 312 w 315"/>
                <a:gd name="T5" fmla="*/ 76 h 313"/>
                <a:gd name="T6" fmla="*/ 98 w 315"/>
                <a:gd name="T7" fmla="*/ 293 h 313"/>
                <a:gd name="T8" fmla="*/ 0 w 315"/>
                <a:gd name="T9" fmla="*/ 313 h 313"/>
                <a:gd name="T10" fmla="*/ 22 w 315"/>
                <a:gd name="T11" fmla="*/ 217 h 313"/>
                <a:gd name="T12" fmla="*/ 217 w 315"/>
                <a:gd name="T13" fmla="*/ 23 h 313"/>
              </a:gdLst>
              <a:ahLst/>
              <a:cxnLst>
                <a:cxn ang="0">
                  <a:pos x="T0" y="T1"/>
                </a:cxn>
                <a:cxn ang="0">
                  <a:pos x="T2" y="T3"/>
                </a:cxn>
                <a:cxn ang="0">
                  <a:pos x="T4" y="T5"/>
                </a:cxn>
                <a:cxn ang="0">
                  <a:pos x="T6" y="T7"/>
                </a:cxn>
                <a:cxn ang="0">
                  <a:pos x="T8" y="T9"/>
                </a:cxn>
                <a:cxn ang="0">
                  <a:pos x="T10" y="T11"/>
                </a:cxn>
                <a:cxn ang="0">
                  <a:pos x="T12" y="T13"/>
                </a:cxn>
              </a:cxnLst>
              <a:rect l="0" t="0" r="r" b="b"/>
              <a:pathLst>
                <a:path w="315" h="313">
                  <a:moveTo>
                    <a:pt x="239" y="0"/>
                  </a:moveTo>
                  <a:lnTo>
                    <a:pt x="315" y="76"/>
                  </a:lnTo>
                  <a:lnTo>
                    <a:pt x="312" y="76"/>
                  </a:lnTo>
                  <a:lnTo>
                    <a:pt x="98" y="293"/>
                  </a:lnTo>
                  <a:lnTo>
                    <a:pt x="0" y="313"/>
                  </a:lnTo>
                  <a:lnTo>
                    <a:pt x="22" y="217"/>
                  </a:lnTo>
                  <a:lnTo>
                    <a:pt x="217" y="2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Line 7">
              <a:extLst>
                <a:ext uri="{FF2B5EF4-FFF2-40B4-BE49-F238E27FC236}">
                  <a16:creationId xmlns:a16="http://schemas.microsoft.com/office/drawing/2014/main" id="{33129E2B-4415-4381-8365-BCB1FFD0625C}"/>
                </a:ext>
              </a:extLst>
            </p:cNvPr>
            <p:cNvSpPr>
              <a:spLocks noChangeShapeType="1"/>
            </p:cNvSpPr>
            <p:nvPr/>
          </p:nvSpPr>
          <p:spPr bwMode="auto">
            <a:xfrm>
              <a:off x="620713" y="1873250"/>
              <a:ext cx="71438" cy="714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72" name="Straight Connector 71">
            <a:extLst>
              <a:ext uri="{FF2B5EF4-FFF2-40B4-BE49-F238E27FC236}">
                <a16:creationId xmlns:a16="http://schemas.microsoft.com/office/drawing/2014/main" id="{6AFFEFB3-18A1-4142-ABBD-A4351317CCAB}"/>
              </a:ext>
            </a:extLst>
          </p:cNvPr>
          <p:cNvCxnSpPr>
            <a:cxnSpLocks/>
          </p:cNvCxnSpPr>
          <p:nvPr/>
        </p:nvCxnSpPr>
        <p:spPr>
          <a:xfrm>
            <a:off x="434340" y="5622123"/>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EEC32087-08C8-4014-8D46-541EC136D206}"/>
              </a:ext>
            </a:extLst>
          </p:cNvPr>
          <p:cNvCxnSpPr>
            <a:cxnSpLocks/>
          </p:cNvCxnSpPr>
          <p:nvPr/>
        </p:nvCxnSpPr>
        <p:spPr>
          <a:xfrm>
            <a:off x="437404" y="5915754"/>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F13B39DC-623B-4B24-AA4F-1271F7B1AF84}"/>
              </a:ext>
            </a:extLst>
          </p:cNvPr>
          <p:cNvCxnSpPr>
            <a:cxnSpLocks/>
          </p:cNvCxnSpPr>
          <p:nvPr/>
        </p:nvCxnSpPr>
        <p:spPr>
          <a:xfrm>
            <a:off x="434340" y="6209384"/>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 name="Content Placeholder 7"/>
          <p:cNvSpPr txBox="1">
            <a:spLocks/>
          </p:cNvSpPr>
          <p:nvPr>
            <p:custDataLst>
              <p:tags r:id="rId5"/>
            </p:custDataLst>
          </p:nvPr>
        </p:nvSpPr>
        <p:spPr>
          <a:xfrm>
            <a:off x="809876" y="1143038"/>
            <a:ext cx="8823074" cy="540000"/>
          </a:xfrm>
          <a:prstGeom prst="rect">
            <a:avLst/>
          </a:prstGeom>
          <a:solidFill>
            <a:srgbClr val="A1B5AD"/>
          </a:solidFill>
        </p:spPr>
        <p:txBody>
          <a:bodyPr vert="horz" wrap="square" lIns="180000" tIns="0" rIns="0" bIns="0" rtlCol="0" anchor="ctr">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defRPr/>
            </a:pPr>
            <a:r>
              <a:rPr lang="en-GB" sz="1200" dirty="0"/>
              <a:t>What are my key takeaways from the last two days? </a:t>
            </a:r>
          </a:p>
        </p:txBody>
      </p:sp>
      <p:sp>
        <p:nvSpPr>
          <p:cNvPr id="60" name="Rectangle 59">
            <a:extLst>
              <a:ext uri="{FF2B5EF4-FFF2-40B4-BE49-F238E27FC236}">
                <a16:creationId xmlns:a16="http://schemas.microsoft.com/office/drawing/2014/main" id="{8A5AA9DA-1B7D-4B97-8839-40068714BB6D}"/>
              </a:ext>
            </a:extLst>
          </p:cNvPr>
          <p:cNvSpPr/>
          <p:nvPr/>
        </p:nvSpPr>
        <p:spPr>
          <a:xfrm>
            <a:off x="269876" y="1143038"/>
            <a:ext cx="540000" cy="540000"/>
          </a:xfrm>
          <a:prstGeom prst="rect">
            <a:avLst/>
          </a:prstGeom>
          <a:solidFill>
            <a:srgbClr val="F3F2F0"/>
          </a:solidFill>
        </p:spPr>
        <p:txBody>
          <a:bodyPr wrap="square" lIns="180000" tIns="0" rIns="0" bIns="0" anchor="ctr">
            <a:noAutofit/>
          </a:bodyPr>
          <a:lstStyle/>
          <a:p>
            <a:pPr marL="0" lvl="1">
              <a:defRPr/>
            </a:pPr>
            <a:endParaRPr lang="en-GB" sz="1200" dirty="0">
              <a:solidFill>
                <a:srgbClr val="000000"/>
              </a:solidFill>
            </a:endParaRPr>
          </a:p>
        </p:txBody>
      </p:sp>
      <p:grpSp>
        <p:nvGrpSpPr>
          <p:cNvPr id="61" name="Group 60">
            <a:extLst>
              <a:ext uri="{FF2B5EF4-FFF2-40B4-BE49-F238E27FC236}">
                <a16:creationId xmlns:a16="http://schemas.microsoft.com/office/drawing/2014/main" id="{1A5558DB-DE11-487A-B18A-0CC7B96D05B3}"/>
              </a:ext>
            </a:extLst>
          </p:cNvPr>
          <p:cNvGrpSpPr/>
          <p:nvPr/>
        </p:nvGrpSpPr>
        <p:grpSpPr>
          <a:xfrm>
            <a:off x="390288" y="1269414"/>
            <a:ext cx="299176" cy="287246"/>
            <a:chOff x="563563" y="1528763"/>
            <a:chExt cx="517526" cy="496888"/>
          </a:xfrm>
        </p:grpSpPr>
        <p:sp>
          <p:nvSpPr>
            <p:cNvPr id="62" name="Freeform 5">
              <a:extLst>
                <a:ext uri="{FF2B5EF4-FFF2-40B4-BE49-F238E27FC236}">
                  <a16:creationId xmlns:a16="http://schemas.microsoft.com/office/drawing/2014/main" id="{74025B76-1155-4D20-9DD6-A4D1DC753EE8}"/>
                </a:ext>
              </a:extLst>
            </p:cNvPr>
            <p:cNvSpPr>
              <a:spLocks/>
            </p:cNvSpPr>
            <p:nvPr/>
          </p:nvSpPr>
          <p:spPr bwMode="auto">
            <a:xfrm>
              <a:off x="563563" y="1533525"/>
              <a:ext cx="450850" cy="452438"/>
            </a:xfrm>
            <a:custGeom>
              <a:avLst/>
              <a:gdLst>
                <a:gd name="T0" fmla="*/ 99 w 101"/>
                <a:gd name="T1" fmla="*/ 22 h 101"/>
                <a:gd name="T2" fmla="*/ 79 w 101"/>
                <a:gd name="T3" fmla="*/ 2 h 101"/>
                <a:gd name="T4" fmla="*/ 72 w 101"/>
                <a:gd name="T5" fmla="*/ 2 h 101"/>
                <a:gd name="T6" fmla="*/ 2 w 101"/>
                <a:gd name="T7" fmla="*/ 72 h 101"/>
                <a:gd name="T8" fmla="*/ 2 w 101"/>
                <a:gd name="T9" fmla="*/ 79 h 101"/>
                <a:gd name="T10" fmla="*/ 22 w 101"/>
                <a:gd name="T11" fmla="*/ 99 h 101"/>
                <a:gd name="T12" fmla="*/ 29 w 101"/>
                <a:gd name="T13" fmla="*/ 99 h 101"/>
                <a:gd name="T14" fmla="*/ 99 w 101"/>
                <a:gd name="T15" fmla="*/ 29 h 101"/>
                <a:gd name="T16" fmla="*/ 99 w 101"/>
                <a:gd name="T17" fmla="*/ 22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1" h="101">
                  <a:moveTo>
                    <a:pt x="99" y="22"/>
                  </a:moveTo>
                  <a:cubicBezTo>
                    <a:pt x="79" y="2"/>
                    <a:pt x="79" y="2"/>
                    <a:pt x="79" y="2"/>
                  </a:cubicBezTo>
                  <a:cubicBezTo>
                    <a:pt x="77" y="0"/>
                    <a:pt x="74" y="0"/>
                    <a:pt x="72" y="2"/>
                  </a:cubicBezTo>
                  <a:cubicBezTo>
                    <a:pt x="2" y="72"/>
                    <a:pt x="2" y="72"/>
                    <a:pt x="2" y="72"/>
                  </a:cubicBezTo>
                  <a:cubicBezTo>
                    <a:pt x="0" y="74"/>
                    <a:pt x="0" y="77"/>
                    <a:pt x="2" y="79"/>
                  </a:cubicBezTo>
                  <a:cubicBezTo>
                    <a:pt x="22" y="99"/>
                    <a:pt x="22" y="99"/>
                    <a:pt x="22" y="99"/>
                  </a:cubicBezTo>
                  <a:cubicBezTo>
                    <a:pt x="24" y="101"/>
                    <a:pt x="27" y="101"/>
                    <a:pt x="29" y="99"/>
                  </a:cubicBezTo>
                  <a:cubicBezTo>
                    <a:pt x="99" y="29"/>
                    <a:pt x="99" y="29"/>
                    <a:pt x="99" y="29"/>
                  </a:cubicBezTo>
                  <a:cubicBezTo>
                    <a:pt x="101" y="27"/>
                    <a:pt x="101" y="24"/>
                    <a:pt x="99" y="22"/>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6">
              <a:extLst>
                <a:ext uri="{FF2B5EF4-FFF2-40B4-BE49-F238E27FC236}">
                  <a16:creationId xmlns:a16="http://schemas.microsoft.com/office/drawing/2014/main" id="{7C618475-13FC-489F-8456-86EF3D7DD422}"/>
                </a:ext>
              </a:extLst>
            </p:cNvPr>
            <p:cNvSpPr>
              <a:spLocks/>
            </p:cNvSpPr>
            <p:nvPr/>
          </p:nvSpPr>
          <p:spPr bwMode="auto">
            <a:xfrm>
              <a:off x="581026" y="1528763"/>
              <a:ext cx="500063" cy="496888"/>
            </a:xfrm>
            <a:custGeom>
              <a:avLst/>
              <a:gdLst>
                <a:gd name="T0" fmla="*/ 239 w 315"/>
                <a:gd name="T1" fmla="*/ 0 h 313"/>
                <a:gd name="T2" fmla="*/ 315 w 315"/>
                <a:gd name="T3" fmla="*/ 76 h 313"/>
                <a:gd name="T4" fmla="*/ 312 w 315"/>
                <a:gd name="T5" fmla="*/ 76 h 313"/>
                <a:gd name="T6" fmla="*/ 98 w 315"/>
                <a:gd name="T7" fmla="*/ 293 h 313"/>
                <a:gd name="T8" fmla="*/ 0 w 315"/>
                <a:gd name="T9" fmla="*/ 313 h 313"/>
                <a:gd name="T10" fmla="*/ 22 w 315"/>
                <a:gd name="T11" fmla="*/ 217 h 313"/>
                <a:gd name="T12" fmla="*/ 217 w 315"/>
                <a:gd name="T13" fmla="*/ 23 h 313"/>
              </a:gdLst>
              <a:ahLst/>
              <a:cxnLst>
                <a:cxn ang="0">
                  <a:pos x="T0" y="T1"/>
                </a:cxn>
                <a:cxn ang="0">
                  <a:pos x="T2" y="T3"/>
                </a:cxn>
                <a:cxn ang="0">
                  <a:pos x="T4" y="T5"/>
                </a:cxn>
                <a:cxn ang="0">
                  <a:pos x="T6" y="T7"/>
                </a:cxn>
                <a:cxn ang="0">
                  <a:pos x="T8" y="T9"/>
                </a:cxn>
                <a:cxn ang="0">
                  <a:pos x="T10" y="T11"/>
                </a:cxn>
                <a:cxn ang="0">
                  <a:pos x="T12" y="T13"/>
                </a:cxn>
              </a:cxnLst>
              <a:rect l="0" t="0" r="r" b="b"/>
              <a:pathLst>
                <a:path w="315" h="313">
                  <a:moveTo>
                    <a:pt x="239" y="0"/>
                  </a:moveTo>
                  <a:lnTo>
                    <a:pt x="315" y="76"/>
                  </a:lnTo>
                  <a:lnTo>
                    <a:pt x="312" y="76"/>
                  </a:lnTo>
                  <a:lnTo>
                    <a:pt x="98" y="293"/>
                  </a:lnTo>
                  <a:lnTo>
                    <a:pt x="0" y="313"/>
                  </a:lnTo>
                  <a:lnTo>
                    <a:pt x="22" y="217"/>
                  </a:lnTo>
                  <a:lnTo>
                    <a:pt x="217" y="2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Line 7">
              <a:extLst>
                <a:ext uri="{FF2B5EF4-FFF2-40B4-BE49-F238E27FC236}">
                  <a16:creationId xmlns:a16="http://schemas.microsoft.com/office/drawing/2014/main" id="{1CA4B4B5-1AEE-4DEA-9942-8111D7824AF3}"/>
                </a:ext>
              </a:extLst>
            </p:cNvPr>
            <p:cNvSpPr>
              <a:spLocks noChangeShapeType="1"/>
            </p:cNvSpPr>
            <p:nvPr/>
          </p:nvSpPr>
          <p:spPr bwMode="auto">
            <a:xfrm>
              <a:off x="620713" y="1873250"/>
              <a:ext cx="71438" cy="71438"/>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cxnSp>
        <p:nvCxnSpPr>
          <p:cNvPr id="77" name="Straight Connector 76">
            <a:extLst>
              <a:ext uri="{FF2B5EF4-FFF2-40B4-BE49-F238E27FC236}">
                <a16:creationId xmlns:a16="http://schemas.microsoft.com/office/drawing/2014/main" id="{AD1A47FC-8039-484A-BC5C-87ABF24649F3}"/>
              </a:ext>
            </a:extLst>
          </p:cNvPr>
          <p:cNvCxnSpPr>
            <a:cxnSpLocks/>
          </p:cNvCxnSpPr>
          <p:nvPr/>
        </p:nvCxnSpPr>
        <p:spPr>
          <a:xfrm>
            <a:off x="434340" y="1976669"/>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C2B41023-ABFC-4AAE-A258-13FCF6FCFEF9}"/>
              </a:ext>
            </a:extLst>
          </p:cNvPr>
          <p:cNvCxnSpPr>
            <a:cxnSpLocks/>
          </p:cNvCxnSpPr>
          <p:nvPr/>
        </p:nvCxnSpPr>
        <p:spPr>
          <a:xfrm>
            <a:off x="437404" y="2270300"/>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78A92D4-9DA2-4AE9-ADEE-5E76D036AD61}"/>
              </a:ext>
            </a:extLst>
          </p:cNvPr>
          <p:cNvCxnSpPr>
            <a:cxnSpLocks/>
          </p:cNvCxnSpPr>
          <p:nvPr/>
        </p:nvCxnSpPr>
        <p:spPr>
          <a:xfrm>
            <a:off x="434340" y="2563930"/>
            <a:ext cx="9033822" cy="0"/>
          </a:xfrm>
          <a:prstGeom prst="line">
            <a:avLst/>
          </a:prstGeom>
          <a:ln w="6350">
            <a:solidFill>
              <a:srgbClr val="ACAFB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313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DA396BFE-1D18-4F5E-8F8F-F6FA0E901FAB}"/>
              </a:ext>
            </a:extLst>
          </p:cNvPr>
          <p:cNvSpPr/>
          <p:nvPr/>
        </p:nvSpPr>
        <p:spPr>
          <a:xfrm>
            <a:off x="273050" y="3487085"/>
            <a:ext cx="9359900" cy="2630062"/>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 name="Title 1">
            <a:extLst>
              <a:ext uri="{FF2B5EF4-FFF2-40B4-BE49-F238E27FC236}">
                <a16:creationId xmlns:a16="http://schemas.microsoft.com/office/drawing/2014/main" id="{6F74D812-4A5E-4975-A6EF-9D999E84194D}"/>
              </a:ext>
            </a:extLst>
          </p:cNvPr>
          <p:cNvSpPr>
            <a:spLocks noGrp="1"/>
          </p:cNvSpPr>
          <p:nvPr>
            <p:ph type="title"/>
          </p:nvPr>
        </p:nvSpPr>
        <p:spPr/>
        <p:txBody>
          <a:bodyPr/>
          <a:lstStyle/>
          <a:p>
            <a:r>
              <a:rPr lang="en-GB" b="1" dirty="0"/>
              <a:t>Assignments before the exam (optional)</a:t>
            </a:r>
            <a:br>
              <a:rPr lang="en-GB" b="1" dirty="0"/>
            </a:br>
            <a:endParaRPr lang="en-GB" b="1" dirty="0"/>
          </a:p>
        </p:txBody>
      </p:sp>
      <p:sp>
        <p:nvSpPr>
          <p:cNvPr id="57" name="Text Placeholder 56">
            <a:extLst>
              <a:ext uri="{FF2B5EF4-FFF2-40B4-BE49-F238E27FC236}">
                <a16:creationId xmlns:a16="http://schemas.microsoft.com/office/drawing/2014/main" id="{E468CEFF-5DAB-48DC-A35C-74E42DA42067}"/>
              </a:ext>
            </a:extLst>
          </p:cNvPr>
          <p:cNvSpPr>
            <a:spLocks noGrp="1"/>
          </p:cNvSpPr>
          <p:nvPr>
            <p:ph type="body" sz="quarter" idx="13"/>
          </p:nvPr>
        </p:nvSpPr>
        <p:spPr/>
        <p:txBody>
          <a:bodyPr/>
          <a:lstStyle/>
          <a:p>
            <a:endParaRPr lang="en-GB" dirty="0"/>
          </a:p>
        </p:txBody>
      </p:sp>
      <p:sp>
        <p:nvSpPr>
          <p:cNvPr id="58" name="Text Placeholder 57">
            <a:extLst>
              <a:ext uri="{FF2B5EF4-FFF2-40B4-BE49-F238E27FC236}">
                <a16:creationId xmlns:a16="http://schemas.microsoft.com/office/drawing/2014/main" id="{62315124-90DE-4BFD-8741-E9E003D9E9C4}"/>
              </a:ext>
            </a:extLst>
          </p:cNvPr>
          <p:cNvSpPr>
            <a:spLocks noGrp="1"/>
          </p:cNvSpPr>
          <p:nvPr>
            <p:ph type="body" sz="quarter" idx="14"/>
          </p:nvPr>
        </p:nvSpPr>
        <p:spPr/>
        <p:txBody>
          <a:bodyPr/>
          <a:lstStyle/>
          <a:p>
            <a:endParaRPr lang="en-GB" dirty="0"/>
          </a:p>
        </p:txBody>
      </p:sp>
      <p:sp>
        <p:nvSpPr>
          <p:cNvPr id="4" name="Rectangle 3"/>
          <p:cNvSpPr/>
          <p:nvPr/>
        </p:nvSpPr>
        <p:spPr>
          <a:xfrm>
            <a:off x="212651" y="710937"/>
            <a:ext cx="9441711" cy="338554"/>
          </a:xfrm>
          <a:prstGeom prst="rect">
            <a:avLst/>
          </a:prstGeom>
          <a:solidFill>
            <a:schemeClr val="bg1"/>
          </a:solidFill>
        </p:spPr>
        <p:txBody>
          <a:bodyPr wrap="square">
            <a:spAutoFit/>
          </a:bodyPr>
          <a:lstStyle/>
          <a:p>
            <a:endParaRPr lang="en-GB" sz="1600" dirty="0"/>
          </a:p>
        </p:txBody>
      </p:sp>
      <p:sp>
        <p:nvSpPr>
          <p:cNvPr id="19" name="Content Placeholder 4">
            <a:extLst>
              <a:ext uri="{FF2B5EF4-FFF2-40B4-BE49-F238E27FC236}">
                <a16:creationId xmlns:a16="http://schemas.microsoft.com/office/drawing/2014/main" id="{C18C5A5E-4F1C-4E32-AA1C-CD18CFD9448A}"/>
              </a:ext>
            </a:extLst>
          </p:cNvPr>
          <p:cNvSpPr txBox="1">
            <a:spLocks/>
          </p:cNvSpPr>
          <p:nvPr/>
        </p:nvSpPr>
        <p:spPr>
          <a:xfrm>
            <a:off x="273050" y="3992624"/>
            <a:ext cx="7959724" cy="2084486"/>
          </a:xfrm>
          <a:prstGeom prst="rect">
            <a:avLst/>
          </a:prstGeom>
        </p:spPr>
        <p:txBody>
          <a:bodyPr lIns="180000">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spcAft>
                <a:spcPts val="1200"/>
              </a:spcAft>
            </a:pPr>
            <a:r>
              <a:rPr lang="en-GB" sz="1200" dirty="0"/>
              <a:t>The exam is ½ a day</a:t>
            </a:r>
          </a:p>
          <a:p>
            <a:r>
              <a:rPr lang="en-GB" sz="1200" b="1" dirty="0"/>
              <a:t>Bring your own case: </a:t>
            </a:r>
          </a:p>
          <a:p>
            <a:pPr marL="171450" indent="-171450">
              <a:buFont typeface="Arial" panose="020B0604020202020204" pitchFamily="34" charset="0"/>
              <a:buChar char="•"/>
            </a:pPr>
            <a:r>
              <a:rPr lang="en-GB" sz="1200" dirty="0"/>
              <a:t>Think of a case that you would like to put into play at the exam (could both be a conversation you have had and want to “try again” or it could be a future conversations with a client or a colleague that you will have in the near future)</a:t>
            </a:r>
          </a:p>
          <a:p>
            <a:pPr>
              <a:spcBef>
                <a:spcPts val="600"/>
              </a:spcBef>
            </a:pPr>
            <a:r>
              <a:rPr lang="en-GB" sz="1200" b="1" dirty="0"/>
              <a:t>On the examination day: </a:t>
            </a:r>
          </a:p>
          <a:p>
            <a:pPr marL="171450" indent="-171450">
              <a:buFont typeface="Arial" panose="020B0604020202020204" pitchFamily="34" charset="0"/>
              <a:buChar char="•"/>
            </a:pPr>
            <a:r>
              <a:rPr lang="en-GB" sz="1200" dirty="0"/>
              <a:t>10 minutes conversation with a ‘client’ or ‘colleague’ (an actor will play the role as your client or colleague).</a:t>
            </a:r>
          </a:p>
          <a:p>
            <a:pPr marL="171450" indent="-171450">
              <a:buFont typeface="Arial" panose="020B0604020202020204" pitchFamily="34" charset="0"/>
              <a:buChar char="•"/>
            </a:pPr>
            <a:r>
              <a:rPr lang="en-GB" sz="1200" dirty="0"/>
              <a:t>10 minutes feedback from your group. Feedback will be given by using the REAL Conversation Coding.  </a:t>
            </a:r>
          </a:p>
        </p:txBody>
      </p:sp>
      <p:grpSp>
        <p:nvGrpSpPr>
          <p:cNvPr id="54" name="Group 53">
            <a:extLst>
              <a:ext uri="{FF2B5EF4-FFF2-40B4-BE49-F238E27FC236}">
                <a16:creationId xmlns:a16="http://schemas.microsoft.com/office/drawing/2014/main" id="{684A67E3-C7E2-4253-9BE3-88D8F957B397}"/>
              </a:ext>
            </a:extLst>
          </p:cNvPr>
          <p:cNvGrpSpPr/>
          <p:nvPr/>
        </p:nvGrpSpPr>
        <p:grpSpPr>
          <a:xfrm>
            <a:off x="374866" y="2803884"/>
            <a:ext cx="322442" cy="298625"/>
            <a:chOff x="10525126" y="1400175"/>
            <a:chExt cx="508000" cy="517525"/>
          </a:xfrm>
        </p:grpSpPr>
        <p:sp>
          <p:nvSpPr>
            <p:cNvPr id="28" name="Freeform 15">
              <a:extLst>
                <a:ext uri="{FF2B5EF4-FFF2-40B4-BE49-F238E27FC236}">
                  <a16:creationId xmlns:a16="http://schemas.microsoft.com/office/drawing/2014/main" id="{5CF3237B-5906-44D7-9017-D14B5DD660F5}"/>
                </a:ext>
              </a:extLst>
            </p:cNvPr>
            <p:cNvSpPr>
              <a:spLocks/>
            </p:cNvSpPr>
            <p:nvPr/>
          </p:nvSpPr>
          <p:spPr bwMode="auto">
            <a:xfrm>
              <a:off x="10525126" y="1679575"/>
              <a:ext cx="468313" cy="238125"/>
            </a:xfrm>
            <a:custGeom>
              <a:avLst/>
              <a:gdLst>
                <a:gd name="T0" fmla="*/ 95 w 104"/>
                <a:gd name="T1" fmla="*/ 53 h 53"/>
                <a:gd name="T2" fmla="*/ 9 w 104"/>
                <a:gd name="T3" fmla="*/ 53 h 53"/>
                <a:gd name="T4" fmla="*/ 0 w 104"/>
                <a:gd name="T5" fmla="*/ 44 h 53"/>
                <a:gd name="T6" fmla="*/ 0 w 104"/>
                <a:gd name="T7" fmla="*/ 0 h 53"/>
                <a:gd name="T8" fmla="*/ 104 w 104"/>
                <a:gd name="T9" fmla="*/ 0 h 53"/>
                <a:gd name="T10" fmla="*/ 104 w 104"/>
                <a:gd name="T11" fmla="*/ 44 h 53"/>
                <a:gd name="T12" fmla="*/ 95 w 104"/>
                <a:gd name="T13" fmla="*/ 53 h 53"/>
              </a:gdLst>
              <a:ahLst/>
              <a:cxnLst>
                <a:cxn ang="0">
                  <a:pos x="T0" y="T1"/>
                </a:cxn>
                <a:cxn ang="0">
                  <a:pos x="T2" y="T3"/>
                </a:cxn>
                <a:cxn ang="0">
                  <a:pos x="T4" y="T5"/>
                </a:cxn>
                <a:cxn ang="0">
                  <a:pos x="T6" y="T7"/>
                </a:cxn>
                <a:cxn ang="0">
                  <a:pos x="T8" y="T9"/>
                </a:cxn>
                <a:cxn ang="0">
                  <a:pos x="T10" y="T11"/>
                </a:cxn>
                <a:cxn ang="0">
                  <a:pos x="T12" y="T13"/>
                </a:cxn>
              </a:cxnLst>
              <a:rect l="0" t="0" r="r" b="b"/>
              <a:pathLst>
                <a:path w="104" h="53">
                  <a:moveTo>
                    <a:pt x="95" y="53"/>
                  </a:moveTo>
                  <a:cubicBezTo>
                    <a:pt x="9" y="53"/>
                    <a:pt x="9" y="53"/>
                    <a:pt x="9" y="53"/>
                  </a:cubicBezTo>
                  <a:cubicBezTo>
                    <a:pt x="4" y="53"/>
                    <a:pt x="0" y="49"/>
                    <a:pt x="0" y="44"/>
                  </a:cubicBezTo>
                  <a:cubicBezTo>
                    <a:pt x="0" y="0"/>
                    <a:pt x="0" y="0"/>
                    <a:pt x="0" y="0"/>
                  </a:cubicBezTo>
                  <a:cubicBezTo>
                    <a:pt x="104" y="0"/>
                    <a:pt x="104" y="0"/>
                    <a:pt x="104" y="0"/>
                  </a:cubicBezTo>
                  <a:cubicBezTo>
                    <a:pt x="104" y="44"/>
                    <a:pt x="104" y="44"/>
                    <a:pt x="104" y="44"/>
                  </a:cubicBezTo>
                  <a:cubicBezTo>
                    <a:pt x="104" y="49"/>
                    <a:pt x="100" y="53"/>
                    <a:pt x="95" y="53"/>
                  </a:cubicBez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16">
              <a:extLst>
                <a:ext uri="{FF2B5EF4-FFF2-40B4-BE49-F238E27FC236}">
                  <a16:creationId xmlns:a16="http://schemas.microsoft.com/office/drawing/2014/main" id="{DE2A3C55-A250-4C05-A91E-0209FA3772C9}"/>
                </a:ext>
              </a:extLst>
            </p:cNvPr>
            <p:cNvSpPr>
              <a:spLocks/>
            </p:cNvSpPr>
            <p:nvPr/>
          </p:nvSpPr>
          <p:spPr bwMode="auto">
            <a:xfrm>
              <a:off x="10569576" y="1670050"/>
              <a:ext cx="463550" cy="242887"/>
            </a:xfrm>
            <a:custGeom>
              <a:avLst/>
              <a:gdLst>
                <a:gd name="T0" fmla="*/ 103 w 103"/>
                <a:gd name="T1" fmla="*/ 20 h 54"/>
                <a:gd name="T2" fmla="*/ 103 w 103"/>
                <a:gd name="T3" fmla="*/ 46 h 54"/>
                <a:gd name="T4" fmla="*/ 95 w 103"/>
                <a:gd name="T5" fmla="*/ 54 h 54"/>
                <a:gd name="T6" fmla="*/ 8 w 103"/>
                <a:gd name="T7" fmla="*/ 54 h 54"/>
                <a:gd name="T8" fmla="*/ 0 w 103"/>
                <a:gd name="T9" fmla="*/ 46 h 54"/>
                <a:gd name="T10" fmla="*/ 0 w 103"/>
                <a:gd name="T11" fmla="*/ 0 h 54"/>
              </a:gdLst>
              <a:ahLst/>
              <a:cxnLst>
                <a:cxn ang="0">
                  <a:pos x="T0" y="T1"/>
                </a:cxn>
                <a:cxn ang="0">
                  <a:pos x="T2" y="T3"/>
                </a:cxn>
                <a:cxn ang="0">
                  <a:pos x="T4" y="T5"/>
                </a:cxn>
                <a:cxn ang="0">
                  <a:pos x="T6" y="T7"/>
                </a:cxn>
                <a:cxn ang="0">
                  <a:pos x="T8" y="T9"/>
                </a:cxn>
                <a:cxn ang="0">
                  <a:pos x="T10" y="T11"/>
                </a:cxn>
              </a:cxnLst>
              <a:rect l="0" t="0" r="r" b="b"/>
              <a:pathLst>
                <a:path w="103" h="54">
                  <a:moveTo>
                    <a:pt x="103" y="20"/>
                  </a:moveTo>
                  <a:cubicBezTo>
                    <a:pt x="103" y="46"/>
                    <a:pt x="103" y="46"/>
                    <a:pt x="103" y="46"/>
                  </a:cubicBezTo>
                  <a:cubicBezTo>
                    <a:pt x="103" y="50"/>
                    <a:pt x="99" y="54"/>
                    <a:pt x="95" y="54"/>
                  </a:cubicBezTo>
                  <a:cubicBezTo>
                    <a:pt x="8" y="54"/>
                    <a:pt x="8" y="54"/>
                    <a:pt x="8" y="54"/>
                  </a:cubicBezTo>
                  <a:cubicBezTo>
                    <a:pt x="3" y="54"/>
                    <a:pt x="0" y="50"/>
                    <a:pt x="0" y="46"/>
                  </a:cubicBezTo>
                  <a:cubicBezTo>
                    <a:pt x="0" y="0"/>
                    <a:pt x="0" y="0"/>
                    <a:pt x="0" y="0"/>
                  </a:cubicBez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17">
              <a:extLst>
                <a:ext uri="{FF2B5EF4-FFF2-40B4-BE49-F238E27FC236}">
                  <a16:creationId xmlns:a16="http://schemas.microsoft.com/office/drawing/2014/main" id="{4D01BB4A-4285-4354-87AA-6C581DDB9BA0}"/>
                </a:ext>
              </a:extLst>
            </p:cNvPr>
            <p:cNvSpPr>
              <a:spLocks/>
            </p:cNvSpPr>
            <p:nvPr/>
          </p:nvSpPr>
          <p:spPr bwMode="auto">
            <a:xfrm>
              <a:off x="10674351" y="1601788"/>
              <a:ext cx="358775" cy="68262"/>
            </a:xfrm>
            <a:custGeom>
              <a:avLst/>
              <a:gdLst>
                <a:gd name="T0" fmla="*/ 0 w 226"/>
                <a:gd name="T1" fmla="*/ 43 h 43"/>
                <a:gd name="T2" fmla="*/ 226 w 226"/>
                <a:gd name="T3" fmla="*/ 43 h 43"/>
                <a:gd name="T4" fmla="*/ 226 w 226"/>
                <a:gd name="T5" fmla="*/ 0 h 43"/>
              </a:gdLst>
              <a:ahLst/>
              <a:cxnLst>
                <a:cxn ang="0">
                  <a:pos x="T0" y="T1"/>
                </a:cxn>
                <a:cxn ang="0">
                  <a:pos x="T2" y="T3"/>
                </a:cxn>
                <a:cxn ang="0">
                  <a:pos x="T4" y="T5"/>
                </a:cxn>
              </a:cxnLst>
              <a:rect l="0" t="0" r="r" b="b"/>
              <a:pathLst>
                <a:path w="226" h="43">
                  <a:moveTo>
                    <a:pt x="0" y="43"/>
                  </a:moveTo>
                  <a:lnTo>
                    <a:pt x="226" y="43"/>
                  </a:lnTo>
                  <a:lnTo>
                    <a:pt x="226" y="0"/>
                  </a:ln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18">
              <a:extLst>
                <a:ext uri="{FF2B5EF4-FFF2-40B4-BE49-F238E27FC236}">
                  <a16:creationId xmlns:a16="http://schemas.microsoft.com/office/drawing/2014/main" id="{9F4AE96B-073F-4D55-B3BE-367AF8995714}"/>
                </a:ext>
              </a:extLst>
            </p:cNvPr>
            <p:cNvSpPr>
              <a:spLocks/>
            </p:cNvSpPr>
            <p:nvPr/>
          </p:nvSpPr>
          <p:spPr bwMode="auto">
            <a:xfrm>
              <a:off x="10569576" y="1601788"/>
              <a:ext cx="463550" cy="68262"/>
            </a:xfrm>
            <a:custGeom>
              <a:avLst/>
              <a:gdLst>
                <a:gd name="T0" fmla="*/ 292 w 292"/>
                <a:gd name="T1" fmla="*/ 0 h 43"/>
                <a:gd name="T2" fmla="*/ 0 w 292"/>
                <a:gd name="T3" fmla="*/ 0 h 43"/>
                <a:gd name="T4" fmla="*/ 0 w 292"/>
                <a:gd name="T5" fmla="*/ 43 h 43"/>
              </a:gdLst>
              <a:ahLst/>
              <a:cxnLst>
                <a:cxn ang="0">
                  <a:pos x="T0" y="T1"/>
                </a:cxn>
                <a:cxn ang="0">
                  <a:pos x="T2" y="T3"/>
                </a:cxn>
                <a:cxn ang="0">
                  <a:pos x="T4" y="T5"/>
                </a:cxn>
              </a:cxnLst>
              <a:rect l="0" t="0" r="r" b="b"/>
              <a:pathLst>
                <a:path w="292" h="43">
                  <a:moveTo>
                    <a:pt x="292" y="0"/>
                  </a:moveTo>
                  <a:lnTo>
                    <a:pt x="0" y="0"/>
                  </a:lnTo>
                  <a:lnTo>
                    <a:pt x="0" y="43"/>
                  </a:ln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Line 19">
              <a:extLst>
                <a:ext uri="{FF2B5EF4-FFF2-40B4-BE49-F238E27FC236}">
                  <a16:creationId xmlns:a16="http://schemas.microsoft.com/office/drawing/2014/main" id="{C65299E5-BC4E-40E1-97DE-F17E987F3494}"/>
                </a:ext>
              </a:extLst>
            </p:cNvPr>
            <p:cNvSpPr>
              <a:spLocks noChangeShapeType="1"/>
            </p:cNvSpPr>
            <p:nvPr/>
          </p:nvSpPr>
          <p:spPr bwMode="auto">
            <a:xfrm flipH="1">
              <a:off x="10610851" y="1601788"/>
              <a:ext cx="80963" cy="68262"/>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Line 20">
              <a:extLst>
                <a:ext uri="{FF2B5EF4-FFF2-40B4-BE49-F238E27FC236}">
                  <a16:creationId xmlns:a16="http://schemas.microsoft.com/office/drawing/2014/main" id="{07413A4D-DD0E-4177-A0ED-F737A1E58EB1}"/>
                </a:ext>
              </a:extLst>
            </p:cNvPr>
            <p:cNvSpPr>
              <a:spLocks noChangeShapeType="1"/>
            </p:cNvSpPr>
            <p:nvPr/>
          </p:nvSpPr>
          <p:spPr bwMode="auto">
            <a:xfrm flipH="1">
              <a:off x="10709276" y="1601788"/>
              <a:ext cx="85725" cy="68262"/>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21">
              <a:extLst>
                <a:ext uri="{FF2B5EF4-FFF2-40B4-BE49-F238E27FC236}">
                  <a16:creationId xmlns:a16="http://schemas.microsoft.com/office/drawing/2014/main" id="{F2EA2CCC-54FA-432F-952C-E61150FD358B}"/>
                </a:ext>
              </a:extLst>
            </p:cNvPr>
            <p:cNvSpPr>
              <a:spLocks noChangeShapeType="1"/>
            </p:cNvSpPr>
            <p:nvPr/>
          </p:nvSpPr>
          <p:spPr bwMode="auto">
            <a:xfrm flipH="1">
              <a:off x="10809288" y="1601788"/>
              <a:ext cx="85725" cy="68262"/>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Line 22">
              <a:extLst>
                <a:ext uri="{FF2B5EF4-FFF2-40B4-BE49-F238E27FC236}">
                  <a16:creationId xmlns:a16="http://schemas.microsoft.com/office/drawing/2014/main" id="{6CBC0CAF-ECAA-4FD8-95F0-1C16175DC420}"/>
                </a:ext>
              </a:extLst>
            </p:cNvPr>
            <p:cNvSpPr>
              <a:spLocks noChangeShapeType="1"/>
            </p:cNvSpPr>
            <p:nvPr/>
          </p:nvSpPr>
          <p:spPr bwMode="auto">
            <a:xfrm flipH="1">
              <a:off x="10907713" y="1601788"/>
              <a:ext cx="85725" cy="68262"/>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23">
              <a:extLst>
                <a:ext uri="{FF2B5EF4-FFF2-40B4-BE49-F238E27FC236}">
                  <a16:creationId xmlns:a16="http://schemas.microsoft.com/office/drawing/2014/main" id="{EBAD22F9-9E89-4804-93A6-7ED879F392C5}"/>
                </a:ext>
              </a:extLst>
            </p:cNvPr>
            <p:cNvSpPr>
              <a:spLocks noChangeShapeType="1"/>
            </p:cNvSpPr>
            <p:nvPr/>
          </p:nvSpPr>
          <p:spPr bwMode="auto">
            <a:xfrm flipV="1">
              <a:off x="10701338" y="1458913"/>
              <a:ext cx="309563" cy="98425"/>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Line 24">
              <a:extLst>
                <a:ext uri="{FF2B5EF4-FFF2-40B4-BE49-F238E27FC236}">
                  <a16:creationId xmlns:a16="http://schemas.microsoft.com/office/drawing/2014/main" id="{EB60049F-7321-4371-83D2-22F0CC69B03E}"/>
                </a:ext>
              </a:extLst>
            </p:cNvPr>
            <p:cNvSpPr>
              <a:spLocks noChangeShapeType="1"/>
            </p:cNvSpPr>
            <p:nvPr/>
          </p:nvSpPr>
          <p:spPr bwMode="auto">
            <a:xfrm flipV="1">
              <a:off x="10566401" y="1557338"/>
              <a:ext cx="134938" cy="44450"/>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5">
              <a:extLst>
                <a:ext uri="{FF2B5EF4-FFF2-40B4-BE49-F238E27FC236}">
                  <a16:creationId xmlns:a16="http://schemas.microsoft.com/office/drawing/2014/main" id="{18AF7C1B-0C48-4BFC-80FF-9EBC04220D6F}"/>
                </a:ext>
              </a:extLst>
            </p:cNvPr>
            <p:cNvSpPr>
              <a:spLocks/>
            </p:cNvSpPr>
            <p:nvPr/>
          </p:nvSpPr>
          <p:spPr bwMode="auto">
            <a:xfrm>
              <a:off x="10552113" y="1400175"/>
              <a:ext cx="458788" cy="201612"/>
            </a:xfrm>
            <a:custGeom>
              <a:avLst/>
              <a:gdLst>
                <a:gd name="T0" fmla="*/ 102 w 102"/>
                <a:gd name="T1" fmla="*/ 13 h 45"/>
                <a:gd name="T2" fmla="*/ 100 w 102"/>
                <a:gd name="T3" fmla="*/ 7 h 45"/>
                <a:gd name="T4" fmla="*/ 90 w 102"/>
                <a:gd name="T5" fmla="*/ 1 h 45"/>
                <a:gd name="T6" fmla="*/ 7 w 102"/>
                <a:gd name="T7" fmla="*/ 27 h 45"/>
                <a:gd name="T8" fmla="*/ 1 w 102"/>
                <a:gd name="T9" fmla="*/ 38 h 45"/>
                <a:gd name="T10" fmla="*/ 3 w 102"/>
                <a:gd name="T11" fmla="*/ 45 h 45"/>
              </a:gdLst>
              <a:ahLst/>
              <a:cxnLst>
                <a:cxn ang="0">
                  <a:pos x="T0" y="T1"/>
                </a:cxn>
                <a:cxn ang="0">
                  <a:pos x="T2" y="T3"/>
                </a:cxn>
                <a:cxn ang="0">
                  <a:pos x="T4" y="T5"/>
                </a:cxn>
                <a:cxn ang="0">
                  <a:pos x="T6" y="T7"/>
                </a:cxn>
                <a:cxn ang="0">
                  <a:pos x="T8" y="T9"/>
                </a:cxn>
                <a:cxn ang="0">
                  <a:pos x="T10" y="T11"/>
                </a:cxn>
              </a:cxnLst>
              <a:rect l="0" t="0" r="r" b="b"/>
              <a:pathLst>
                <a:path w="102" h="45">
                  <a:moveTo>
                    <a:pt x="102" y="13"/>
                  </a:moveTo>
                  <a:cubicBezTo>
                    <a:pt x="100" y="7"/>
                    <a:pt x="100" y="7"/>
                    <a:pt x="100" y="7"/>
                  </a:cubicBezTo>
                  <a:cubicBezTo>
                    <a:pt x="99" y="2"/>
                    <a:pt x="94" y="0"/>
                    <a:pt x="90" y="1"/>
                  </a:cubicBezTo>
                  <a:cubicBezTo>
                    <a:pt x="7" y="27"/>
                    <a:pt x="7" y="27"/>
                    <a:pt x="7" y="27"/>
                  </a:cubicBezTo>
                  <a:cubicBezTo>
                    <a:pt x="2" y="29"/>
                    <a:pt x="0" y="34"/>
                    <a:pt x="1" y="38"/>
                  </a:cubicBezTo>
                  <a:cubicBezTo>
                    <a:pt x="3" y="45"/>
                    <a:pt x="3" y="45"/>
                    <a:pt x="3" y="45"/>
                  </a:cubicBezTo>
                </a:path>
              </a:pathLst>
            </a:custGeom>
            <a:noFill/>
            <a:ln w="14351"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26">
              <a:extLst>
                <a:ext uri="{FF2B5EF4-FFF2-40B4-BE49-F238E27FC236}">
                  <a16:creationId xmlns:a16="http://schemas.microsoft.com/office/drawing/2014/main" id="{C31EDF66-E350-4D5C-BA8B-B3323CA1624E}"/>
                </a:ext>
              </a:extLst>
            </p:cNvPr>
            <p:cNvSpPr>
              <a:spLocks noChangeShapeType="1"/>
            </p:cNvSpPr>
            <p:nvPr/>
          </p:nvSpPr>
          <p:spPr bwMode="auto">
            <a:xfrm>
              <a:off x="10871201" y="1431925"/>
              <a:ext cx="100013" cy="39687"/>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Line 27">
              <a:extLst>
                <a:ext uri="{FF2B5EF4-FFF2-40B4-BE49-F238E27FC236}">
                  <a16:creationId xmlns:a16="http://schemas.microsoft.com/office/drawing/2014/main" id="{F2A3FED3-D06A-4015-B730-E45014A37159}"/>
                </a:ext>
              </a:extLst>
            </p:cNvPr>
            <p:cNvSpPr>
              <a:spLocks noChangeShapeType="1"/>
            </p:cNvSpPr>
            <p:nvPr/>
          </p:nvSpPr>
          <p:spPr bwMode="auto">
            <a:xfrm>
              <a:off x="10777538" y="1462088"/>
              <a:ext cx="98425" cy="41275"/>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Line 28">
              <a:extLst>
                <a:ext uri="{FF2B5EF4-FFF2-40B4-BE49-F238E27FC236}">
                  <a16:creationId xmlns:a16="http://schemas.microsoft.com/office/drawing/2014/main" id="{A8077BBA-8166-4239-8D41-50617DE88C49}"/>
                </a:ext>
              </a:extLst>
            </p:cNvPr>
            <p:cNvSpPr>
              <a:spLocks noChangeShapeType="1"/>
            </p:cNvSpPr>
            <p:nvPr/>
          </p:nvSpPr>
          <p:spPr bwMode="auto">
            <a:xfrm>
              <a:off x="10682288" y="1490663"/>
              <a:ext cx="100013" cy="39687"/>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Line 29">
              <a:extLst>
                <a:ext uri="{FF2B5EF4-FFF2-40B4-BE49-F238E27FC236}">
                  <a16:creationId xmlns:a16="http://schemas.microsoft.com/office/drawing/2014/main" id="{05D0ECAA-D189-49BB-8E22-D7C303416180}"/>
                </a:ext>
              </a:extLst>
            </p:cNvPr>
            <p:cNvSpPr>
              <a:spLocks noChangeShapeType="1"/>
            </p:cNvSpPr>
            <p:nvPr/>
          </p:nvSpPr>
          <p:spPr bwMode="auto">
            <a:xfrm>
              <a:off x="10593388" y="1520825"/>
              <a:ext cx="93663" cy="41275"/>
            </a:xfrm>
            <a:prstGeom prst="line">
              <a:avLst/>
            </a:prstGeom>
            <a:noFill/>
            <a:ln w="14351"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 name="Group 42">
            <a:extLst>
              <a:ext uri="{FF2B5EF4-FFF2-40B4-BE49-F238E27FC236}">
                <a16:creationId xmlns:a16="http://schemas.microsoft.com/office/drawing/2014/main" id="{C01972C9-F5AD-440F-A6D8-2C9F7737C692}"/>
              </a:ext>
            </a:extLst>
          </p:cNvPr>
          <p:cNvGrpSpPr/>
          <p:nvPr/>
        </p:nvGrpSpPr>
        <p:grpSpPr>
          <a:xfrm>
            <a:off x="391995" y="2007938"/>
            <a:ext cx="288184" cy="294045"/>
            <a:chOff x="10429876" y="1422400"/>
            <a:chExt cx="454025" cy="509588"/>
          </a:xfrm>
        </p:grpSpPr>
        <p:sp>
          <p:nvSpPr>
            <p:cNvPr id="44" name="Rectangle 7">
              <a:extLst>
                <a:ext uri="{FF2B5EF4-FFF2-40B4-BE49-F238E27FC236}">
                  <a16:creationId xmlns:a16="http://schemas.microsoft.com/office/drawing/2014/main" id="{4026A8E8-FA80-408D-8CC9-BDB76568D79D}"/>
                </a:ext>
              </a:extLst>
            </p:cNvPr>
            <p:cNvSpPr>
              <a:spLocks noChangeArrowheads="1"/>
            </p:cNvSpPr>
            <p:nvPr/>
          </p:nvSpPr>
          <p:spPr bwMode="auto">
            <a:xfrm>
              <a:off x="10429876" y="1539875"/>
              <a:ext cx="404813" cy="387350"/>
            </a:xfrm>
            <a:prstGeom prst="rect">
              <a:avLst/>
            </a:prstGeom>
            <a:solidFill>
              <a:srgbClr val="B9C7C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8">
              <a:extLst>
                <a:ext uri="{FF2B5EF4-FFF2-40B4-BE49-F238E27FC236}">
                  <a16:creationId xmlns:a16="http://schemas.microsoft.com/office/drawing/2014/main" id="{57110D36-9A03-479D-9F99-166DF2D88858}"/>
                </a:ext>
              </a:extLst>
            </p:cNvPr>
            <p:cNvSpPr>
              <a:spLocks/>
            </p:cNvSpPr>
            <p:nvPr/>
          </p:nvSpPr>
          <p:spPr bwMode="auto">
            <a:xfrm>
              <a:off x="10820401" y="1444625"/>
              <a:ext cx="63500" cy="100013"/>
            </a:xfrm>
            <a:custGeom>
              <a:avLst/>
              <a:gdLst>
                <a:gd name="T0" fmla="*/ 0 w 14"/>
                <a:gd name="T1" fmla="*/ 0 h 22"/>
                <a:gd name="T2" fmla="*/ 5 w 14"/>
                <a:gd name="T3" fmla="*/ 0 h 22"/>
                <a:gd name="T4" fmla="*/ 14 w 14"/>
                <a:gd name="T5" fmla="*/ 9 h 22"/>
                <a:gd name="T6" fmla="*/ 14 w 14"/>
                <a:gd name="T7" fmla="*/ 22 h 22"/>
              </a:gdLst>
              <a:ahLst/>
              <a:cxnLst>
                <a:cxn ang="0">
                  <a:pos x="T0" y="T1"/>
                </a:cxn>
                <a:cxn ang="0">
                  <a:pos x="T2" y="T3"/>
                </a:cxn>
                <a:cxn ang="0">
                  <a:pos x="T4" y="T5"/>
                </a:cxn>
                <a:cxn ang="0">
                  <a:pos x="T6" y="T7"/>
                </a:cxn>
              </a:cxnLst>
              <a:rect l="0" t="0" r="r" b="b"/>
              <a:pathLst>
                <a:path w="14" h="22">
                  <a:moveTo>
                    <a:pt x="0" y="0"/>
                  </a:moveTo>
                  <a:cubicBezTo>
                    <a:pt x="5" y="0"/>
                    <a:pt x="5" y="0"/>
                    <a:pt x="5" y="0"/>
                  </a:cubicBezTo>
                  <a:cubicBezTo>
                    <a:pt x="10" y="0"/>
                    <a:pt x="14" y="4"/>
                    <a:pt x="14" y="9"/>
                  </a:cubicBezTo>
                  <a:cubicBezTo>
                    <a:pt x="14" y="22"/>
                    <a:pt x="14" y="22"/>
                    <a:pt x="14" y="22"/>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Line 9">
              <a:extLst>
                <a:ext uri="{FF2B5EF4-FFF2-40B4-BE49-F238E27FC236}">
                  <a16:creationId xmlns:a16="http://schemas.microsoft.com/office/drawing/2014/main" id="{603447CF-C465-494A-9FDB-443A7115661D}"/>
                </a:ext>
              </a:extLst>
            </p:cNvPr>
            <p:cNvSpPr>
              <a:spLocks noChangeShapeType="1"/>
            </p:cNvSpPr>
            <p:nvPr/>
          </p:nvSpPr>
          <p:spPr bwMode="auto">
            <a:xfrm>
              <a:off x="10596563" y="1444625"/>
              <a:ext cx="174625"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10">
              <a:extLst>
                <a:ext uri="{FF2B5EF4-FFF2-40B4-BE49-F238E27FC236}">
                  <a16:creationId xmlns:a16="http://schemas.microsoft.com/office/drawing/2014/main" id="{B530C47F-D0B2-4D45-962E-E7356427E87D}"/>
                </a:ext>
              </a:extLst>
            </p:cNvPr>
            <p:cNvSpPr>
              <a:spLocks/>
            </p:cNvSpPr>
            <p:nvPr/>
          </p:nvSpPr>
          <p:spPr bwMode="auto">
            <a:xfrm>
              <a:off x="10483851" y="1444625"/>
              <a:ext cx="346075" cy="100013"/>
            </a:xfrm>
            <a:custGeom>
              <a:avLst/>
              <a:gdLst>
                <a:gd name="T0" fmla="*/ 12 w 77"/>
                <a:gd name="T1" fmla="*/ 0 h 22"/>
                <a:gd name="T2" fmla="*/ 9 w 77"/>
                <a:gd name="T3" fmla="*/ 0 h 22"/>
                <a:gd name="T4" fmla="*/ 0 w 77"/>
                <a:gd name="T5" fmla="*/ 9 h 22"/>
                <a:gd name="T6" fmla="*/ 0 w 77"/>
                <a:gd name="T7" fmla="*/ 22 h 22"/>
                <a:gd name="T8" fmla="*/ 77 w 77"/>
                <a:gd name="T9" fmla="*/ 22 h 22"/>
              </a:gdLst>
              <a:ahLst/>
              <a:cxnLst>
                <a:cxn ang="0">
                  <a:pos x="T0" y="T1"/>
                </a:cxn>
                <a:cxn ang="0">
                  <a:pos x="T2" y="T3"/>
                </a:cxn>
                <a:cxn ang="0">
                  <a:pos x="T4" y="T5"/>
                </a:cxn>
                <a:cxn ang="0">
                  <a:pos x="T6" y="T7"/>
                </a:cxn>
                <a:cxn ang="0">
                  <a:pos x="T8" y="T9"/>
                </a:cxn>
              </a:cxnLst>
              <a:rect l="0" t="0" r="r" b="b"/>
              <a:pathLst>
                <a:path w="77" h="22">
                  <a:moveTo>
                    <a:pt x="12" y="0"/>
                  </a:moveTo>
                  <a:cubicBezTo>
                    <a:pt x="9" y="0"/>
                    <a:pt x="9" y="0"/>
                    <a:pt x="9" y="0"/>
                  </a:cubicBezTo>
                  <a:cubicBezTo>
                    <a:pt x="4" y="0"/>
                    <a:pt x="0" y="4"/>
                    <a:pt x="0" y="9"/>
                  </a:cubicBezTo>
                  <a:cubicBezTo>
                    <a:pt x="0" y="22"/>
                    <a:pt x="0" y="22"/>
                    <a:pt x="0" y="22"/>
                  </a:cubicBezTo>
                  <a:cubicBezTo>
                    <a:pt x="77" y="22"/>
                    <a:pt x="77" y="22"/>
                    <a:pt x="77" y="22"/>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Freeform 11">
              <a:extLst>
                <a:ext uri="{FF2B5EF4-FFF2-40B4-BE49-F238E27FC236}">
                  <a16:creationId xmlns:a16="http://schemas.microsoft.com/office/drawing/2014/main" id="{5BB4420C-CDA2-4D55-B86A-8E2127BD7C06}"/>
                </a:ext>
              </a:extLst>
            </p:cNvPr>
            <p:cNvSpPr>
              <a:spLocks/>
            </p:cNvSpPr>
            <p:nvPr/>
          </p:nvSpPr>
          <p:spPr bwMode="auto">
            <a:xfrm>
              <a:off x="10628313" y="1724025"/>
              <a:ext cx="111125" cy="117475"/>
            </a:xfrm>
            <a:custGeom>
              <a:avLst/>
              <a:gdLst>
                <a:gd name="T0" fmla="*/ 0 w 25"/>
                <a:gd name="T1" fmla="*/ 18 h 26"/>
                <a:gd name="T2" fmla="*/ 12 w 25"/>
                <a:gd name="T3" fmla="*/ 26 h 26"/>
                <a:gd name="T4" fmla="*/ 25 w 25"/>
                <a:gd name="T5" fmla="*/ 13 h 26"/>
                <a:gd name="T6" fmla="*/ 14 w 25"/>
                <a:gd name="T7" fmla="*/ 0 h 26"/>
              </a:gdLst>
              <a:ahLst/>
              <a:cxnLst>
                <a:cxn ang="0">
                  <a:pos x="T0" y="T1"/>
                </a:cxn>
                <a:cxn ang="0">
                  <a:pos x="T2" y="T3"/>
                </a:cxn>
                <a:cxn ang="0">
                  <a:pos x="T4" y="T5"/>
                </a:cxn>
                <a:cxn ang="0">
                  <a:pos x="T6" y="T7"/>
                </a:cxn>
              </a:cxnLst>
              <a:rect l="0" t="0" r="r" b="b"/>
              <a:pathLst>
                <a:path w="25" h="26">
                  <a:moveTo>
                    <a:pt x="0" y="18"/>
                  </a:moveTo>
                  <a:cubicBezTo>
                    <a:pt x="2" y="22"/>
                    <a:pt x="7" y="26"/>
                    <a:pt x="12" y="26"/>
                  </a:cubicBezTo>
                  <a:cubicBezTo>
                    <a:pt x="19" y="26"/>
                    <a:pt x="25" y="20"/>
                    <a:pt x="25" y="13"/>
                  </a:cubicBezTo>
                  <a:cubicBezTo>
                    <a:pt x="25" y="6"/>
                    <a:pt x="21" y="1"/>
                    <a:pt x="14"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Line 12">
              <a:extLst>
                <a:ext uri="{FF2B5EF4-FFF2-40B4-BE49-F238E27FC236}">
                  <a16:creationId xmlns:a16="http://schemas.microsoft.com/office/drawing/2014/main" id="{451E085C-E991-445F-908F-F3593AE2DB29}"/>
                </a:ext>
              </a:extLst>
            </p:cNvPr>
            <p:cNvSpPr>
              <a:spLocks noChangeShapeType="1"/>
            </p:cNvSpPr>
            <p:nvPr/>
          </p:nvSpPr>
          <p:spPr bwMode="auto">
            <a:xfrm flipH="1">
              <a:off x="10668001" y="1724025"/>
              <a:ext cx="22225" cy="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13">
              <a:extLst>
                <a:ext uri="{FF2B5EF4-FFF2-40B4-BE49-F238E27FC236}">
                  <a16:creationId xmlns:a16="http://schemas.microsoft.com/office/drawing/2014/main" id="{902CDB71-BC08-4798-8B9A-5AFEE29EFA8E}"/>
                </a:ext>
              </a:extLst>
            </p:cNvPr>
            <p:cNvSpPr>
              <a:spLocks/>
            </p:cNvSpPr>
            <p:nvPr/>
          </p:nvSpPr>
          <p:spPr bwMode="auto">
            <a:xfrm>
              <a:off x="10641013" y="1630363"/>
              <a:ext cx="95250" cy="93663"/>
            </a:xfrm>
            <a:custGeom>
              <a:avLst/>
              <a:gdLst>
                <a:gd name="T0" fmla="*/ 12 w 21"/>
                <a:gd name="T1" fmla="*/ 21 h 21"/>
                <a:gd name="T2" fmla="*/ 21 w 21"/>
                <a:gd name="T3" fmla="*/ 10 h 21"/>
                <a:gd name="T4" fmla="*/ 10 w 21"/>
                <a:gd name="T5" fmla="*/ 0 h 21"/>
                <a:gd name="T6" fmla="*/ 0 w 21"/>
                <a:gd name="T7" fmla="*/ 6 h 21"/>
              </a:gdLst>
              <a:ahLst/>
              <a:cxnLst>
                <a:cxn ang="0">
                  <a:pos x="T0" y="T1"/>
                </a:cxn>
                <a:cxn ang="0">
                  <a:pos x="T2" y="T3"/>
                </a:cxn>
                <a:cxn ang="0">
                  <a:pos x="T4" y="T5"/>
                </a:cxn>
                <a:cxn ang="0">
                  <a:pos x="T6" y="T7"/>
                </a:cxn>
              </a:cxnLst>
              <a:rect l="0" t="0" r="r" b="b"/>
              <a:pathLst>
                <a:path w="21" h="21">
                  <a:moveTo>
                    <a:pt x="12" y="21"/>
                  </a:moveTo>
                  <a:cubicBezTo>
                    <a:pt x="17" y="20"/>
                    <a:pt x="21" y="16"/>
                    <a:pt x="21" y="10"/>
                  </a:cubicBezTo>
                  <a:cubicBezTo>
                    <a:pt x="21" y="4"/>
                    <a:pt x="16" y="0"/>
                    <a:pt x="10" y="0"/>
                  </a:cubicBezTo>
                  <a:cubicBezTo>
                    <a:pt x="6" y="0"/>
                    <a:pt x="2" y="2"/>
                    <a:pt x="0" y="6"/>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Line 14">
              <a:extLst>
                <a:ext uri="{FF2B5EF4-FFF2-40B4-BE49-F238E27FC236}">
                  <a16:creationId xmlns:a16="http://schemas.microsoft.com/office/drawing/2014/main" id="{93072AED-A0FD-477E-BC5D-82C1B9921977}"/>
                </a:ext>
              </a:extLst>
            </p:cNvPr>
            <p:cNvSpPr>
              <a:spLocks noChangeShapeType="1"/>
            </p:cNvSpPr>
            <p:nvPr/>
          </p:nvSpPr>
          <p:spPr bwMode="auto">
            <a:xfrm flipV="1">
              <a:off x="10564813" y="1422400"/>
              <a:ext cx="0" cy="460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Line 15">
              <a:extLst>
                <a:ext uri="{FF2B5EF4-FFF2-40B4-BE49-F238E27FC236}">
                  <a16:creationId xmlns:a16="http://schemas.microsoft.com/office/drawing/2014/main" id="{EABA855D-54D1-4A55-AB6B-837ACEB0B42E}"/>
                </a:ext>
              </a:extLst>
            </p:cNvPr>
            <p:cNvSpPr>
              <a:spLocks noChangeShapeType="1"/>
            </p:cNvSpPr>
            <p:nvPr/>
          </p:nvSpPr>
          <p:spPr bwMode="auto">
            <a:xfrm flipV="1">
              <a:off x="10802938" y="1422400"/>
              <a:ext cx="0" cy="460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16">
              <a:extLst>
                <a:ext uri="{FF2B5EF4-FFF2-40B4-BE49-F238E27FC236}">
                  <a16:creationId xmlns:a16="http://schemas.microsoft.com/office/drawing/2014/main" id="{A2DC76F6-4966-4120-8EC4-0FF72D055E0C}"/>
                </a:ext>
              </a:extLst>
            </p:cNvPr>
            <p:cNvSpPr>
              <a:spLocks/>
            </p:cNvSpPr>
            <p:nvPr/>
          </p:nvSpPr>
          <p:spPr bwMode="auto">
            <a:xfrm>
              <a:off x="10483851" y="1544638"/>
              <a:ext cx="400050" cy="387350"/>
            </a:xfrm>
            <a:custGeom>
              <a:avLst/>
              <a:gdLst>
                <a:gd name="T0" fmla="*/ 252 w 252"/>
                <a:gd name="T1" fmla="*/ 0 h 244"/>
                <a:gd name="T2" fmla="*/ 252 w 252"/>
                <a:gd name="T3" fmla="*/ 244 h 244"/>
                <a:gd name="T4" fmla="*/ 0 w 252"/>
                <a:gd name="T5" fmla="*/ 244 h 244"/>
                <a:gd name="T6" fmla="*/ 0 w 252"/>
                <a:gd name="T7" fmla="*/ 31 h 244"/>
              </a:gdLst>
              <a:ahLst/>
              <a:cxnLst>
                <a:cxn ang="0">
                  <a:pos x="T0" y="T1"/>
                </a:cxn>
                <a:cxn ang="0">
                  <a:pos x="T2" y="T3"/>
                </a:cxn>
                <a:cxn ang="0">
                  <a:pos x="T4" y="T5"/>
                </a:cxn>
                <a:cxn ang="0">
                  <a:pos x="T6" y="T7"/>
                </a:cxn>
              </a:cxnLst>
              <a:rect l="0" t="0" r="r" b="b"/>
              <a:pathLst>
                <a:path w="252" h="244">
                  <a:moveTo>
                    <a:pt x="252" y="0"/>
                  </a:moveTo>
                  <a:lnTo>
                    <a:pt x="252" y="244"/>
                  </a:lnTo>
                  <a:lnTo>
                    <a:pt x="0" y="244"/>
                  </a:lnTo>
                  <a:lnTo>
                    <a:pt x="0" y="31"/>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55" name="Rectangle 54">
            <a:extLst>
              <a:ext uri="{FF2B5EF4-FFF2-40B4-BE49-F238E27FC236}">
                <a16:creationId xmlns:a16="http://schemas.microsoft.com/office/drawing/2014/main" id="{C6815520-4827-4243-B7A2-4253DD08362D}"/>
              </a:ext>
            </a:extLst>
          </p:cNvPr>
          <p:cNvSpPr/>
          <p:nvPr/>
        </p:nvSpPr>
        <p:spPr>
          <a:xfrm>
            <a:off x="863600" y="1945506"/>
            <a:ext cx="8467521" cy="418909"/>
          </a:xfrm>
          <a:prstGeom prst="rect">
            <a:avLst/>
          </a:prstGeom>
        </p:spPr>
        <p:txBody>
          <a:bodyPr wrap="square" anchor="ctr">
            <a:noAutofit/>
          </a:bodyPr>
          <a:lstStyle/>
          <a:p>
            <a:pPr lvl="0"/>
            <a:r>
              <a:rPr lang="en-GB" sz="1200" dirty="0">
                <a:solidFill>
                  <a:srgbClr val="000000"/>
                </a:solidFill>
              </a:rPr>
              <a:t>Make a meeting appointment with you buddy in 30 days and share how you have worked with you 30 days challenge. </a:t>
            </a:r>
          </a:p>
        </p:txBody>
      </p:sp>
      <p:sp>
        <p:nvSpPr>
          <p:cNvPr id="56" name="Rectangle 55">
            <a:extLst>
              <a:ext uri="{FF2B5EF4-FFF2-40B4-BE49-F238E27FC236}">
                <a16:creationId xmlns:a16="http://schemas.microsoft.com/office/drawing/2014/main" id="{43FF4C1B-1204-4221-BE01-05018F37CAE2}"/>
              </a:ext>
            </a:extLst>
          </p:cNvPr>
          <p:cNvSpPr/>
          <p:nvPr/>
        </p:nvSpPr>
        <p:spPr>
          <a:xfrm>
            <a:off x="863600" y="2743742"/>
            <a:ext cx="7281159" cy="418909"/>
          </a:xfrm>
          <a:prstGeom prst="rect">
            <a:avLst/>
          </a:prstGeom>
        </p:spPr>
        <p:txBody>
          <a:bodyPr wrap="square" anchor="ctr">
            <a:spAutoFit/>
          </a:bodyPr>
          <a:lstStyle/>
          <a:p>
            <a:pPr lvl="0"/>
            <a:r>
              <a:rPr lang="en-GB" sz="1200" dirty="0">
                <a:solidFill>
                  <a:srgbClr val="000000"/>
                </a:solidFill>
              </a:rPr>
              <a:t>See videos with Roger Martin around Advocacy and Inquiry – you will have them sent to you by the CIA (Change Impact Academy) within the next couple of weeks.</a:t>
            </a:r>
          </a:p>
        </p:txBody>
      </p:sp>
      <p:sp>
        <p:nvSpPr>
          <p:cNvPr id="59" name="Rectangle 58">
            <a:extLst>
              <a:ext uri="{FF2B5EF4-FFF2-40B4-BE49-F238E27FC236}">
                <a16:creationId xmlns:a16="http://schemas.microsoft.com/office/drawing/2014/main" id="{C5CE384F-87ED-4D0E-B116-877C84052285}"/>
              </a:ext>
            </a:extLst>
          </p:cNvPr>
          <p:cNvSpPr/>
          <p:nvPr/>
        </p:nvSpPr>
        <p:spPr>
          <a:xfrm>
            <a:off x="759474" y="3374496"/>
            <a:ext cx="8873476" cy="443638"/>
          </a:xfrm>
          <a:prstGeom prst="rect">
            <a:avLst/>
          </a:prstGeom>
          <a:solidFill>
            <a:srgbClr val="A1B5AD"/>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44000" tIns="108000" rIns="108000" bIns="108000" rtlCol="0" anchor="ctr" anchorCtr="0">
            <a:noAutofit/>
          </a:bodyPr>
          <a:lstStyle/>
          <a:p>
            <a:r>
              <a:rPr lang="en-GB" sz="1400" b="1" dirty="0"/>
              <a:t>The exam</a:t>
            </a:r>
          </a:p>
        </p:txBody>
      </p:sp>
      <p:sp>
        <p:nvSpPr>
          <p:cNvPr id="60" name="Rectangle 59">
            <a:extLst>
              <a:ext uri="{FF2B5EF4-FFF2-40B4-BE49-F238E27FC236}">
                <a16:creationId xmlns:a16="http://schemas.microsoft.com/office/drawing/2014/main" id="{15B4AE08-76C0-4CEA-AB21-3CF5FBE193E7}"/>
              </a:ext>
            </a:extLst>
          </p:cNvPr>
          <p:cNvSpPr/>
          <p:nvPr/>
        </p:nvSpPr>
        <p:spPr>
          <a:xfrm>
            <a:off x="269874" y="3374496"/>
            <a:ext cx="489600" cy="443638"/>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endParaRPr lang="en-GB" sz="1400" b="1" dirty="0"/>
          </a:p>
        </p:txBody>
      </p:sp>
      <p:cxnSp>
        <p:nvCxnSpPr>
          <p:cNvPr id="61" name="Straight Connector 60">
            <a:extLst>
              <a:ext uri="{FF2B5EF4-FFF2-40B4-BE49-F238E27FC236}">
                <a16:creationId xmlns:a16="http://schemas.microsoft.com/office/drawing/2014/main" id="{918892B5-D0C5-4E29-8162-AFDAD711E5DC}"/>
              </a:ext>
            </a:extLst>
          </p:cNvPr>
          <p:cNvCxnSpPr>
            <a:cxnSpLocks/>
          </p:cNvCxnSpPr>
          <p:nvPr/>
        </p:nvCxnSpPr>
        <p:spPr>
          <a:xfrm flipH="1">
            <a:off x="314325" y="2554078"/>
            <a:ext cx="8528018"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DCAA92D2-2229-4CA5-BE8D-4F5E9DD1912F}"/>
              </a:ext>
            </a:extLst>
          </p:cNvPr>
          <p:cNvGrpSpPr/>
          <p:nvPr/>
        </p:nvGrpSpPr>
        <p:grpSpPr>
          <a:xfrm>
            <a:off x="361699" y="3454418"/>
            <a:ext cx="305951" cy="283794"/>
            <a:chOff x="8364538" y="3322638"/>
            <a:chExt cx="468313" cy="477837"/>
          </a:xfrm>
        </p:grpSpPr>
        <p:sp>
          <p:nvSpPr>
            <p:cNvPr id="67" name="Freeform 135">
              <a:extLst>
                <a:ext uri="{FF2B5EF4-FFF2-40B4-BE49-F238E27FC236}">
                  <a16:creationId xmlns:a16="http://schemas.microsoft.com/office/drawing/2014/main" id="{1CA00576-19F7-43AC-B889-664685A14AA5}"/>
                </a:ext>
              </a:extLst>
            </p:cNvPr>
            <p:cNvSpPr>
              <a:spLocks/>
            </p:cNvSpPr>
            <p:nvPr/>
          </p:nvSpPr>
          <p:spPr bwMode="auto">
            <a:xfrm>
              <a:off x="8413751" y="3533775"/>
              <a:ext cx="215900" cy="58737"/>
            </a:xfrm>
            <a:custGeom>
              <a:avLst/>
              <a:gdLst>
                <a:gd name="T0" fmla="*/ 41 w 48"/>
                <a:gd name="T1" fmla="*/ 13 h 13"/>
                <a:gd name="T2" fmla="*/ 7 w 48"/>
                <a:gd name="T3" fmla="*/ 13 h 13"/>
                <a:gd name="T4" fmla="*/ 0 w 48"/>
                <a:gd name="T5" fmla="*/ 6 h 13"/>
                <a:gd name="T6" fmla="*/ 0 w 48"/>
                <a:gd name="T7" fmla="*/ 6 h 13"/>
                <a:gd name="T8" fmla="*/ 7 w 48"/>
                <a:gd name="T9" fmla="*/ 0 h 13"/>
                <a:gd name="T10" fmla="*/ 41 w 48"/>
                <a:gd name="T11" fmla="*/ 0 h 13"/>
                <a:gd name="T12" fmla="*/ 48 w 48"/>
                <a:gd name="T13" fmla="*/ 6 h 13"/>
                <a:gd name="T14" fmla="*/ 48 w 48"/>
                <a:gd name="T15" fmla="*/ 6 h 13"/>
                <a:gd name="T16" fmla="*/ 41 w 48"/>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3">
                  <a:moveTo>
                    <a:pt x="41" y="13"/>
                  </a:moveTo>
                  <a:cubicBezTo>
                    <a:pt x="7" y="13"/>
                    <a:pt x="7" y="13"/>
                    <a:pt x="7" y="13"/>
                  </a:cubicBezTo>
                  <a:cubicBezTo>
                    <a:pt x="3" y="13"/>
                    <a:pt x="0" y="10"/>
                    <a:pt x="0" y="6"/>
                  </a:cubicBezTo>
                  <a:cubicBezTo>
                    <a:pt x="0" y="6"/>
                    <a:pt x="0" y="6"/>
                    <a:pt x="0" y="6"/>
                  </a:cubicBezTo>
                  <a:cubicBezTo>
                    <a:pt x="0" y="3"/>
                    <a:pt x="3" y="0"/>
                    <a:pt x="7" y="0"/>
                  </a:cubicBezTo>
                  <a:cubicBezTo>
                    <a:pt x="41" y="0"/>
                    <a:pt x="41" y="0"/>
                    <a:pt x="41" y="0"/>
                  </a:cubicBezTo>
                  <a:cubicBezTo>
                    <a:pt x="44" y="0"/>
                    <a:pt x="48" y="3"/>
                    <a:pt x="48" y="6"/>
                  </a:cubicBezTo>
                  <a:cubicBezTo>
                    <a:pt x="48" y="6"/>
                    <a:pt x="48" y="6"/>
                    <a:pt x="48" y="6"/>
                  </a:cubicBezTo>
                  <a:cubicBezTo>
                    <a:pt x="48" y="10"/>
                    <a:pt x="44" y="13"/>
                    <a:pt x="41" y="13"/>
                  </a:cubicBez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136">
              <a:extLst>
                <a:ext uri="{FF2B5EF4-FFF2-40B4-BE49-F238E27FC236}">
                  <a16:creationId xmlns:a16="http://schemas.microsoft.com/office/drawing/2014/main" id="{94610A7D-AC45-44B0-900E-E230632F4890}"/>
                </a:ext>
              </a:extLst>
            </p:cNvPr>
            <p:cNvSpPr>
              <a:spLocks/>
            </p:cNvSpPr>
            <p:nvPr/>
          </p:nvSpPr>
          <p:spPr bwMode="auto">
            <a:xfrm>
              <a:off x="8553451" y="3322638"/>
              <a:ext cx="238125" cy="242887"/>
            </a:xfrm>
            <a:custGeom>
              <a:avLst/>
              <a:gdLst>
                <a:gd name="T0" fmla="*/ 0 w 150"/>
                <a:gd name="T1" fmla="*/ 153 h 153"/>
                <a:gd name="T2" fmla="*/ 0 w 150"/>
                <a:gd name="T3" fmla="*/ 122 h 153"/>
                <a:gd name="T4" fmla="*/ 122 w 150"/>
                <a:gd name="T5" fmla="*/ 0 h 153"/>
                <a:gd name="T6" fmla="*/ 150 w 150"/>
                <a:gd name="T7" fmla="*/ 28 h 153"/>
                <a:gd name="T8" fmla="*/ 31 w 150"/>
                <a:gd name="T9" fmla="*/ 150 h 153"/>
                <a:gd name="T10" fmla="*/ 0 w 150"/>
                <a:gd name="T11" fmla="*/ 153 h 153"/>
              </a:gdLst>
              <a:ahLst/>
              <a:cxnLst>
                <a:cxn ang="0">
                  <a:pos x="T0" y="T1"/>
                </a:cxn>
                <a:cxn ang="0">
                  <a:pos x="T2" y="T3"/>
                </a:cxn>
                <a:cxn ang="0">
                  <a:pos x="T4" y="T5"/>
                </a:cxn>
                <a:cxn ang="0">
                  <a:pos x="T6" y="T7"/>
                </a:cxn>
                <a:cxn ang="0">
                  <a:pos x="T8" y="T9"/>
                </a:cxn>
                <a:cxn ang="0">
                  <a:pos x="T10" y="T11"/>
                </a:cxn>
              </a:cxnLst>
              <a:rect l="0" t="0" r="r" b="b"/>
              <a:pathLst>
                <a:path w="150" h="153">
                  <a:moveTo>
                    <a:pt x="0" y="153"/>
                  </a:moveTo>
                  <a:lnTo>
                    <a:pt x="0" y="122"/>
                  </a:lnTo>
                  <a:lnTo>
                    <a:pt x="122" y="0"/>
                  </a:lnTo>
                  <a:lnTo>
                    <a:pt x="150" y="28"/>
                  </a:lnTo>
                  <a:lnTo>
                    <a:pt x="31" y="150"/>
                  </a:lnTo>
                  <a:lnTo>
                    <a:pt x="0" y="153"/>
                  </a:ln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137">
              <a:extLst>
                <a:ext uri="{FF2B5EF4-FFF2-40B4-BE49-F238E27FC236}">
                  <a16:creationId xmlns:a16="http://schemas.microsoft.com/office/drawing/2014/main" id="{CDF401A7-1F81-4D7E-A763-725498153622}"/>
                </a:ext>
              </a:extLst>
            </p:cNvPr>
            <p:cNvSpPr>
              <a:spLocks/>
            </p:cNvSpPr>
            <p:nvPr/>
          </p:nvSpPr>
          <p:spPr bwMode="auto">
            <a:xfrm>
              <a:off x="8364538" y="3340100"/>
              <a:ext cx="373063" cy="460375"/>
            </a:xfrm>
            <a:custGeom>
              <a:avLst/>
              <a:gdLst>
                <a:gd name="T0" fmla="*/ 235 w 235"/>
                <a:gd name="T1" fmla="*/ 119 h 290"/>
                <a:gd name="T2" fmla="*/ 235 w 235"/>
                <a:gd name="T3" fmla="*/ 290 h 290"/>
                <a:gd name="T4" fmla="*/ 0 w 235"/>
                <a:gd name="T5" fmla="*/ 290 h 290"/>
                <a:gd name="T6" fmla="*/ 0 w 235"/>
                <a:gd name="T7" fmla="*/ 0 h 290"/>
                <a:gd name="T8" fmla="*/ 213 w 235"/>
                <a:gd name="T9" fmla="*/ 0 h 290"/>
              </a:gdLst>
              <a:ahLst/>
              <a:cxnLst>
                <a:cxn ang="0">
                  <a:pos x="T0" y="T1"/>
                </a:cxn>
                <a:cxn ang="0">
                  <a:pos x="T2" y="T3"/>
                </a:cxn>
                <a:cxn ang="0">
                  <a:pos x="T4" y="T5"/>
                </a:cxn>
                <a:cxn ang="0">
                  <a:pos x="T6" y="T7"/>
                </a:cxn>
                <a:cxn ang="0">
                  <a:pos x="T8" y="T9"/>
                </a:cxn>
              </a:cxnLst>
              <a:rect l="0" t="0" r="r" b="b"/>
              <a:pathLst>
                <a:path w="235" h="290">
                  <a:moveTo>
                    <a:pt x="235" y="119"/>
                  </a:moveTo>
                  <a:lnTo>
                    <a:pt x="235" y="290"/>
                  </a:lnTo>
                  <a:lnTo>
                    <a:pt x="0" y="290"/>
                  </a:lnTo>
                  <a:lnTo>
                    <a:pt x="0" y="0"/>
                  </a:lnTo>
                  <a:lnTo>
                    <a:pt x="213"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138">
              <a:extLst>
                <a:ext uri="{FF2B5EF4-FFF2-40B4-BE49-F238E27FC236}">
                  <a16:creationId xmlns:a16="http://schemas.microsoft.com/office/drawing/2014/main" id="{9DC61065-7C61-488D-8DA2-6FECFBC1AE0E}"/>
                </a:ext>
              </a:extLst>
            </p:cNvPr>
            <p:cNvSpPr>
              <a:spLocks/>
            </p:cNvSpPr>
            <p:nvPr/>
          </p:nvSpPr>
          <p:spPr bwMode="auto">
            <a:xfrm>
              <a:off x="8450263" y="3322638"/>
              <a:ext cx="382588" cy="242887"/>
            </a:xfrm>
            <a:custGeom>
              <a:avLst/>
              <a:gdLst>
                <a:gd name="T0" fmla="*/ 119 w 241"/>
                <a:gd name="T1" fmla="*/ 150 h 153"/>
                <a:gd name="T2" fmla="*/ 241 w 241"/>
                <a:gd name="T3" fmla="*/ 28 h 153"/>
                <a:gd name="T4" fmla="*/ 213 w 241"/>
                <a:gd name="T5" fmla="*/ 0 h 153"/>
                <a:gd name="T6" fmla="*/ 91 w 241"/>
                <a:gd name="T7" fmla="*/ 122 h 153"/>
                <a:gd name="T8" fmla="*/ 91 w 241"/>
                <a:gd name="T9" fmla="*/ 153 h 153"/>
                <a:gd name="T10" fmla="*/ 0 w 241"/>
                <a:gd name="T11" fmla="*/ 153 h 153"/>
              </a:gdLst>
              <a:ahLst/>
              <a:cxnLst>
                <a:cxn ang="0">
                  <a:pos x="T0" y="T1"/>
                </a:cxn>
                <a:cxn ang="0">
                  <a:pos x="T2" y="T3"/>
                </a:cxn>
                <a:cxn ang="0">
                  <a:pos x="T4" y="T5"/>
                </a:cxn>
                <a:cxn ang="0">
                  <a:pos x="T6" y="T7"/>
                </a:cxn>
                <a:cxn ang="0">
                  <a:pos x="T8" y="T9"/>
                </a:cxn>
                <a:cxn ang="0">
                  <a:pos x="T10" y="T11"/>
                </a:cxn>
              </a:cxnLst>
              <a:rect l="0" t="0" r="r" b="b"/>
              <a:pathLst>
                <a:path w="241" h="153">
                  <a:moveTo>
                    <a:pt x="119" y="150"/>
                  </a:moveTo>
                  <a:lnTo>
                    <a:pt x="241" y="28"/>
                  </a:lnTo>
                  <a:lnTo>
                    <a:pt x="213" y="0"/>
                  </a:lnTo>
                  <a:lnTo>
                    <a:pt x="91" y="122"/>
                  </a:lnTo>
                  <a:lnTo>
                    <a:pt x="91" y="153"/>
                  </a:lnTo>
                  <a:lnTo>
                    <a:pt x="0" y="153"/>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352896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597CC6-746D-472C-9489-D80BED2495C7}"/>
              </a:ext>
            </a:extLst>
          </p:cNvPr>
          <p:cNvSpPr>
            <a:spLocks noGrp="1"/>
          </p:cNvSpPr>
          <p:nvPr>
            <p:ph type="title"/>
          </p:nvPr>
        </p:nvSpPr>
        <p:spPr/>
        <p:txBody>
          <a:bodyPr/>
          <a:lstStyle/>
          <a:p>
            <a:r>
              <a:rPr lang="en-GB" b="1" dirty="0"/>
              <a:t>REAL Conversation Coding (RCC)</a:t>
            </a:r>
            <a:br>
              <a:rPr lang="en-GB" b="1" dirty="0"/>
            </a:br>
            <a:endParaRPr lang="en-GB" b="1" dirty="0"/>
          </a:p>
        </p:txBody>
      </p:sp>
      <p:sp>
        <p:nvSpPr>
          <p:cNvPr id="13" name="Text Placeholder 12">
            <a:extLst>
              <a:ext uri="{FF2B5EF4-FFF2-40B4-BE49-F238E27FC236}">
                <a16:creationId xmlns:a16="http://schemas.microsoft.com/office/drawing/2014/main" id="{F88244F1-E842-4CFB-8937-BA8C947C7A35}"/>
              </a:ext>
            </a:extLst>
          </p:cNvPr>
          <p:cNvSpPr>
            <a:spLocks noGrp="1"/>
          </p:cNvSpPr>
          <p:nvPr>
            <p:ph type="body" sz="quarter" idx="13"/>
          </p:nvPr>
        </p:nvSpPr>
        <p:spPr/>
        <p:txBody>
          <a:bodyPr/>
          <a:lstStyle/>
          <a:p>
            <a:endParaRPr lang="en-GB" dirty="0"/>
          </a:p>
        </p:txBody>
      </p:sp>
      <p:sp>
        <p:nvSpPr>
          <p:cNvPr id="3" name="Footer Placeholder 2">
            <a:extLst>
              <a:ext uri="{FF2B5EF4-FFF2-40B4-BE49-F238E27FC236}">
                <a16:creationId xmlns:a16="http://schemas.microsoft.com/office/drawing/2014/main" id="{D97CA802-AEE0-479F-AFA2-F825D875EC69}"/>
              </a:ext>
            </a:extLst>
          </p:cNvPr>
          <p:cNvSpPr>
            <a:spLocks noGrp="1"/>
          </p:cNvSpPr>
          <p:nvPr>
            <p:ph type="ftr" sz="quarter" idx="3"/>
          </p:nvPr>
        </p:nvSpPr>
        <p:spPr>
          <a:xfrm>
            <a:off x="5818326" y="6502394"/>
            <a:ext cx="1195659" cy="106116"/>
          </a:xfrm>
        </p:spPr>
        <p:txBody>
          <a:bodyPr>
            <a:spAutoFit/>
          </a:bodyPr>
          <a:lstStyle/>
          <a:p>
            <a:endParaRPr lang="en-GB" dirty="0"/>
          </a:p>
        </p:txBody>
      </p:sp>
      <p:sp>
        <p:nvSpPr>
          <p:cNvPr id="14" name="Text Placeholder 13">
            <a:extLst>
              <a:ext uri="{FF2B5EF4-FFF2-40B4-BE49-F238E27FC236}">
                <a16:creationId xmlns:a16="http://schemas.microsoft.com/office/drawing/2014/main" id="{09102867-2F7A-43DC-B4B3-768B7CEBC704}"/>
              </a:ext>
            </a:extLst>
          </p:cNvPr>
          <p:cNvSpPr>
            <a:spLocks noGrp="1"/>
          </p:cNvSpPr>
          <p:nvPr>
            <p:ph type="body" sz="quarter" idx="14"/>
          </p:nvPr>
        </p:nvSpPr>
        <p:spPr/>
        <p:txBody>
          <a:bodyPr/>
          <a:lstStyle/>
          <a:p>
            <a:endParaRPr lang="en-GB" dirty="0"/>
          </a:p>
        </p:txBody>
      </p:sp>
      <p:graphicFrame>
        <p:nvGraphicFramePr>
          <p:cNvPr id="5" name="Content Placeholder 3">
            <a:extLst>
              <a:ext uri="{FF2B5EF4-FFF2-40B4-BE49-F238E27FC236}">
                <a16:creationId xmlns:a16="http://schemas.microsoft.com/office/drawing/2014/main" id="{8A29ADD3-FEA2-4D72-9F7D-FAC868FF00A5}"/>
              </a:ext>
            </a:extLst>
          </p:cNvPr>
          <p:cNvGraphicFramePr>
            <a:graphicFrameLocks/>
          </p:cNvGraphicFramePr>
          <p:nvPr>
            <p:extLst>
              <p:ext uri="{D42A27DB-BD31-4B8C-83A1-F6EECF244321}">
                <p14:modId xmlns:p14="http://schemas.microsoft.com/office/powerpoint/2010/main" val="1190255542"/>
              </p:ext>
            </p:extLst>
          </p:nvPr>
        </p:nvGraphicFramePr>
        <p:xfrm>
          <a:off x="273049" y="2732802"/>
          <a:ext cx="9365279" cy="3596313"/>
        </p:xfrm>
        <a:graphic>
          <a:graphicData uri="http://schemas.openxmlformats.org/drawingml/2006/table">
            <a:tbl>
              <a:tblPr firstRow="1" bandRow="1">
                <a:tableStyleId>{7DF18680-E054-41AD-8BC1-D1AEF772440D}</a:tableStyleId>
              </a:tblPr>
              <a:tblGrid>
                <a:gridCol w="5018079">
                  <a:extLst>
                    <a:ext uri="{9D8B030D-6E8A-4147-A177-3AD203B41FA5}">
                      <a16:colId xmlns:a16="http://schemas.microsoft.com/office/drawing/2014/main" val="20000"/>
                    </a:ext>
                  </a:extLst>
                </a:gridCol>
                <a:gridCol w="458767">
                  <a:extLst>
                    <a:ext uri="{9D8B030D-6E8A-4147-A177-3AD203B41FA5}">
                      <a16:colId xmlns:a16="http://schemas.microsoft.com/office/drawing/2014/main" val="20001"/>
                    </a:ext>
                  </a:extLst>
                </a:gridCol>
                <a:gridCol w="476524">
                  <a:extLst>
                    <a:ext uri="{9D8B030D-6E8A-4147-A177-3AD203B41FA5}">
                      <a16:colId xmlns:a16="http://schemas.microsoft.com/office/drawing/2014/main" val="20002"/>
                    </a:ext>
                  </a:extLst>
                </a:gridCol>
                <a:gridCol w="470170">
                  <a:extLst>
                    <a:ext uri="{9D8B030D-6E8A-4147-A177-3AD203B41FA5}">
                      <a16:colId xmlns:a16="http://schemas.microsoft.com/office/drawing/2014/main" val="20003"/>
                    </a:ext>
                  </a:extLst>
                </a:gridCol>
                <a:gridCol w="451109">
                  <a:extLst>
                    <a:ext uri="{9D8B030D-6E8A-4147-A177-3AD203B41FA5}">
                      <a16:colId xmlns:a16="http://schemas.microsoft.com/office/drawing/2014/main" val="20004"/>
                    </a:ext>
                  </a:extLst>
                </a:gridCol>
                <a:gridCol w="470170">
                  <a:extLst>
                    <a:ext uri="{9D8B030D-6E8A-4147-A177-3AD203B41FA5}">
                      <a16:colId xmlns:a16="http://schemas.microsoft.com/office/drawing/2014/main" val="20005"/>
                    </a:ext>
                  </a:extLst>
                </a:gridCol>
                <a:gridCol w="2020460">
                  <a:extLst>
                    <a:ext uri="{9D8B030D-6E8A-4147-A177-3AD203B41FA5}">
                      <a16:colId xmlns:a16="http://schemas.microsoft.com/office/drawing/2014/main" val="4108027274"/>
                    </a:ext>
                  </a:extLst>
                </a:gridCol>
              </a:tblGrid>
              <a:tr h="454829">
                <a:tc>
                  <a:txBody>
                    <a:bodyPr/>
                    <a:lstStyle/>
                    <a:p>
                      <a:pPr lvl="0">
                        <a:defRPr/>
                      </a:pPr>
                      <a:endParaRPr lang="en-GB" sz="1100" b="0" dirty="0">
                        <a:solidFill>
                          <a:schemeClr val="tx1"/>
                        </a:solidFill>
                      </a:endParaRPr>
                    </a:p>
                  </a:txBody>
                  <a:tcPr marL="0" marR="59505" marT="36000" marB="36000" anchor="ctr">
                    <a:lnL w="12700" cmpd="sng">
                      <a:noFill/>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algn="l" defTabSz="914400" rtl="0" eaLnBrk="1" latinLnBrk="0" hangingPunct="1">
                        <a:lnSpc>
                          <a:spcPct val="100000"/>
                        </a:lnSpc>
                        <a:spcBef>
                          <a:spcPts val="600"/>
                        </a:spcBef>
                        <a:spcAft>
                          <a:spcPts val="0"/>
                        </a:spcAft>
                        <a:tabLst/>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algn="l" defTabSz="914400" rtl="0" eaLnBrk="1" latinLnBrk="0" hangingPunct="1">
                        <a:lnSpc>
                          <a:spcPct val="100000"/>
                        </a:lnSpc>
                        <a:spcBef>
                          <a:spcPts val="600"/>
                        </a:spcBef>
                        <a:spcAft>
                          <a:spcPts val="0"/>
                        </a:spcAft>
                        <a:tabLst/>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algn="l" defTabSz="914400" rtl="0" eaLnBrk="1" latinLnBrk="0" hangingPunct="1">
                        <a:lnSpc>
                          <a:spcPct val="100000"/>
                        </a:lnSpc>
                        <a:spcBef>
                          <a:spcPts val="600"/>
                        </a:spcBef>
                        <a:spcAft>
                          <a:spcPts val="0"/>
                        </a:spcAft>
                        <a:tabLst/>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b="0" i="1" kern="1200" dirty="0">
                          <a:solidFill>
                            <a:schemeClr val="tx1"/>
                          </a:solidFill>
                          <a:latin typeface="Arial" pitchFamily="34" charset="0"/>
                          <a:ea typeface="+mn-ea"/>
                          <a:cs typeface="Arial" pitchFamily="34" charset="0"/>
                        </a:rPr>
                        <a:t>Examples (content, body language, voice)</a:t>
                      </a:r>
                    </a:p>
                  </a:txBody>
                  <a:tcPr marL="108000" marR="59505" marT="36000" marB="36000" anchor="ctr">
                    <a:lnL w="12700" cap="flat" cmpd="sng" algn="ctr">
                      <a:noFill/>
                      <a:prstDash val="dot"/>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rgbClr val="E8E5E1"/>
                    </a:solidFill>
                  </a:tcPr>
                </a:tc>
                <a:extLst>
                  <a:ext uri="{0D108BD9-81ED-4DB2-BD59-A6C34878D82A}">
                    <a16:rowId xmlns:a16="http://schemas.microsoft.com/office/drawing/2014/main" val="2461663219"/>
                  </a:ext>
                </a:extLst>
              </a:tr>
              <a:tr h="767340">
                <a:tc>
                  <a:txBody>
                    <a:bodyPr/>
                    <a:lstStyle/>
                    <a:p>
                      <a:pPr lvl="0">
                        <a:spcAft>
                          <a:spcPts val="600"/>
                        </a:spcAft>
                        <a:defRPr/>
                      </a:pPr>
                      <a:r>
                        <a:rPr lang="en-GB" sz="1100" b="1" dirty="0">
                          <a:solidFill>
                            <a:schemeClr val="tx1"/>
                          </a:solidFill>
                        </a:rPr>
                        <a:t>Relate: </a:t>
                      </a:r>
                    </a:p>
                    <a:p>
                      <a:pPr lvl="0">
                        <a:spcAft>
                          <a:spcPts val="600"/>
                        </a:spcAft>
                        <a:defRPr/>
                      </a:pPr>
                      <a:r>
                        <a:rPr lang="en-GB" sz="1100" b="0" dirty="0">
                          <a:solidFill>
                            <a:schemeClr val="tx1"/>
                          </a:solidFill>
                        </a:rPr>
                        <a:t>Being genuinely interested in the other person. Being curious. Create relatedness and willingness to share - also vulnerabilities. Being honest.</a:t>
                      </a:r>
                    </a:p>
                  </a:txBody>
                  <a:tcPr marL="108000" marR="59505" marT="36000" marB="36000" anchor="ctr">
                    <a:lnL w="12700" cmpd="sng">
                      <a:noFill/>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1</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Low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2</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3</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4</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5</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High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6350" cap="flat" cmpd="sng" algn="ctr">
                      <a:solidFill>
                        <a:srgbClr val="ACAFB1"/>
                      </a:solidFill>
                      <a:prstDash val="solid"/>
                      <a:round/>
                      <a:headEnd type="none" w="med" len="med"/>
                      <a:tailEnd type="none" w="med" len="med"/>
                    </a:lnL>
                    <a:lnR w="12700" cmpd="sng">
                      <a:noFill/>
                    </a:lnR>
                    <a:lnT w="12700" cap="flat" cmpd="sng" algn="ctr">
                      <a:noFill/>
                      <a:prstDash val="dot"/>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767340">
                <a:tc>
                  <a:txBody>
                    <a:bodyPr/>
                    <a:lstStyle/>
                    <a:p>
                      <a:pPr lvl="0">
                        <a:spcAft>
                          <a:spcPts val="600"/>
                        </a:spcAft>
                        <a:defRPr/>
                      </a:pPr>
                      <a:r>
                        <a:rPr lang="en-GB" sz="1100" b="1" dirty="0">
                          <a:solidFill>
                            <a:schemeClr val="tx1"/>
                          </a:solidFill>
                        </a:rPr>
                        <a:t>Engage: </a:t>
                      </a:r>
                    </a:p>
                    <a:p>
                      <a:pPr lvl="0">
                        <a:spcAft>
                          <a:spcPts val="600"/>
                        </a:spcAft>
                        <a:defRPr/>
                      </a:pPr>
                      <a:r>
                        <a:rPr lang="en-GB" sz="1100" dirty="0"/>
                        <a:t>Setting the direction in the conversation around something that matters. Being courageous. Challenge and evoke change talk. Create the right energy. </a:t>
                      </a:r>
                      <a:endParaRPr lang="en-GB" sz="1100" b="0" dirty="0">
                        <a:solidFill>
                          <a:schemeClr val="tx1"/>
                        </a:solidFill>
                      </a:endParaRPr>
                    </a:p>
                  </a:txBody>
                  <a:tcPr marL="108000" marR="59505" marT="36000" marB="36000" anchor="ctr">
                    <a:lnL w="12700" cmpd="sng">
                      <a:noFill/>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1</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Low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2</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3</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4</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5</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High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6350" cap="flat" cmpd="sng" algn="ctr">
                      <a:solidFill>
                        <a:srgbClr val="ACAFB1"/>
                      </a:solidFill>
                      <a:prstDash val="solid"/>
                      <a:round/>
                      <a:headEnd type="none" w="med" len="med"/>
                      <a:tailEnd type="none" w="med" len="med"/>
                    </a:lnL>
                    <a:lnR w="12700" cmpd="sng">
                      <a:noFill/>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767340">
                <a:tc>
                  <a:txBody>
                    <a:bodyPr/>
                    <a:lstStyle/>
                    <a:p>
                      <a:pPr lvl="0">
                        <a:spcAft>
                          <a:spcPts val="600"/>
                        </a:spcAft>
                        <a:defRPr/>
                      </a:pPr>
                      <a:r>
                        <a:rPr lang="en-GB" sz="1100" b="1" dirty="0">
                          <a:solidFill>
                            <a:schemeClr val="tx1"/>
                          </a:solidFill>
                        </a:rPr>
                        <a:t>Appreciate:</a:t>
                      </a:r>
                    </a:p>
                    <a:p>
                      <a:pPr lvl="0">
                        <a:spcAft>
                          <a:spcPts val="600"/>
                        </a:spcAft>
                        <a:defRPr/>
                      </a:pPr>
                      <a:r>
                        <a:rPr lang="en-GB" sz="1100" kern="1200" dirty="0">
                          <a:solidFill>
                            <a:schemeClr val="tx1"/>
                          </a:solidFill>
                          <a:latin typeface="Arial" pitchFamily="34" charset="0"/>
                          <a:ea typeface="+mn-ea"/>
                          <a:cs typeface="Arial" pitchFamily="34" charset="0"/>
                        </a:rPr>
                        <a:t>Being able to spot strengths in the other person. Thinking positively and focus on what works. Acknowledging the other person.</a:t>
                      </a:r>
                      <a:endParaRPr lang="en-GB" sz="1100" b="1" dirty="0">
                        <a:solidFill>
                          <a:schemeClr val="tx1"/>
                        </a:solidFill>
                        <a:latin typeface="Arial" pitchFamily="34" charset="0"/>
                        <a:cs typeface="Arial" pitchFamily="34" charset="0"/>
                      </a:endParaRPr>
                    </a:p>
                  </a:txBody>
                  <a:tcPr marL="108000" marR="59505" marT="36000" marB="36000" anchor="ctr">
                    <a:lnL w="12700" cmpd="sng">
                      <a:noFill/>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1</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Low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2</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3</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4</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5</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High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6350" cap="flat" cmpd="sng" algn="ctr">
                      <a:solidFill>
                        <a:srgbClr val="ACAFB1"/>
                      </a:solidFill>
                      <a:prstDash val="solid"/>
                      <a:round/>
                      <a:headEnd type="none" w="med" len="med"/>
                      <a:tailEnd type="none" w="med" len="med"/>
                    </a:lnL>
                    <a:lnR w="12700" cmpd="sng">
                      <a:noFill/>
                    </a:lnR>
                    <a:lnT w="6350" cap="flat" cmpd="sng" algn="ctr">
                      <a:solidFill>
                        <a:srgbClr val="ACAFB1"/>
                      </a:solidFill>
                      <a:prstDash val="solid"/>
                      <a:round/>
                      <a:headEnd type="none" w="med" len="med"/>
                      <a:tailEnd type="none" w="med" len="med"/>
                    </a:lnT>
                    <a:lnB w="6350" cap="flat" cmpd="sng" algn="ctr">
                      <a:solidFill>
                        <a:srgbClr val="ACAFB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839464">
                <a:tc>
                  <a:txBody>
                    <a:bodyPr/>
                    <a:lstStyle/>
                    <a:p>
                      <a:pPr>
                        <a:spcAft>
                          <a:spcPts val="600"/>
                        </a:spcAft>
                        <a:defRPr/>
                      </a:pPr>
                      <a:r>
                        <a:rPr lang="en-GB" sz="1100" b="1" dirty="0">
                          <a:solidFill>
                            <a:schemeClr val="tx1"/>
                          </a:solidFill>
                        </a:rPr>
                        <a:t>Listen: </a:t>
                      </a:r>
                    </a:p>
                    <a:p>
                      <a:pPr>
                        <a:spcAft>
                          <a:spcPts val="600"/>
                        </a:spcAft>
                        <a:defRPr/>
                      </a:pPr>
                      <a:r>
                        <a:rPr lang="en-GB" sz="1100" kern="1200" dirty="0">
                          <a:solidFill>
                            <a:schemeClr val="tx1"/>
                          </a:solidFill>
                          <a:latin typeface="Arial" pitchFamily="34" charset="0"/>
                          <a:ea typeface="+mn-ea"/>
                          <a:cs typeface="Arial" pitchFamily="34" charset="0"/>
                        </a:rPr>
                        <a:t>Paying attention/being present. Making</a:t>
                      </a:r>
                      <a:r>
                        <a:rPr lang="en-GB" sz="1100" kern="1200" baseline="0" dirty="0">
                          <a:solidFill>
                            <a:schemeClr val="tx1"/>
                          </a:solidFill>
                          <a:latin typeface="Arial" pitchFamily="34" charset="0"/>
                          <a:ea typeface="+mn-ea"/>
                          <a:cs typeface="Arial" pitchFamily="34" charset="0"/>
                        </a:rPr>
                        <a:t> an </a:t>
                      </a:r>
                      <a:r>
                        <a:rPr lang="en-GB" sz="1100" kern="1200" dirty="0">
                          <a:solidFill>
                            <a:schemeClr val="tx1"/>
                          </a:solidFill>
                          <a:latin typeface="Arial" pitchFamily="34" charset="0"/>
                          <a:ea typeface="+mn-ea"/>
                          <a:cs typeface="Arial" pitchFamily="34" charset="0"/>
                        </a:rPr>
                        <a:t>effort to understand –</a:t>
                      </a:r>
                      <a:r>
                        <a:rPr lang="en-GB" sz="1100" kern="1200" baseline="0" dirty="0">
                          <a:solidFill>
                            <a:schemeClr val="tx1"/>
                          </a:solidFill>
                          <a:latin typeface="Arial" pitchFamily="34" charset="0"/>
                          <a:ea typeface="+mn-ea"/>
                          <a:cs typeface="Arial" pitchFamily="34" charset="0"/>
                        </a:rPr>
                        <a:t> </a:t>
                      </a:r>
                      <a:r>
                        <a:rPr lang="en-GB" sz="1100" kern="1200" dirty="0">
                          <a:solidFill>
                            <a:schemeClr val="tx1"/>
                          </a:solidFill>
                          <a:latin typeface="Arial" pitchFamily="34" charset="0"/>
                          <a:ea typeface="+mn-ea"/>
                          <a:cs typeface="Arial" pitchFamily="34" charset="0"/>
                        </a:rPr>
                        <a:t>also other perspectives than your own. Reflect</a:t>
                      </a:r>
                      <a:r>
                        <a:rPr lang="en-GB" sz="1100" kern="1200" baseline="0" dirty="0">
                          <a:solidFill>
                            <a:schemeClr val="tx1"/>
                          </a:solidFill>
                          <a:latin typeface="Arial" pitchFamily="34" charset="0"/>
                          <a:ea typeface="+mn-ea"/>
                          <a:cs typeface="Arial" pitchFamily="34" charset="0"/>
                        </a:rPr>
                        <a:t> what you hear. </a:t>
                      </a:r>
                      <a:r>
                        <a:rPr lang="en-GB" sz="1100" kern="1200" dirty="0">
                          <a:solidFill>
                            <a:schemeClr val="tx1"/>
                          </a:solidFill>
                          <a:latin typeface="Arial" pitchFamily="34" charset="0"/>
                          <a:ea typeface="+mn-ea"/>
                          <a:cs typeface="Arial" pitchFamily="34" charset="0"/>
                        </a:rPr>
                        <a:t>Balancing</a:t>
                      </a:r>
                      <a:r>
                        <a:rPr lang="en-GB" sz="1100" kern="1200" baseline="0" dirty="0">
                          <a:solidFill>
                            <a:schemeClr val="tx1"/>
                          </a:solidFill>
                          <a:latin typeface="Arial" pitchFamily="34" charset="0"/>
                          <a:ea typeface="+mn-ea"/>
                          <a:cs typeface="Arial" pitchFamily="34" charset="0"/>
                        </a:rPr>
                        <a:t> inquiry and advocacy</a:t>
                      </a:r>
                      <a:endParaRPr lang="en-GB" sz="1100" b="0" dirty="0">
                        <a:solidFill>
                          <a:schemeClr val="tx1"/>
                        </a:solidFill>
                      </a:endParaRPr>
                    </a:p>
                  </a:txBody>
                  <a:tcPr marL="108000" marR="59505" marT="36000" marB="36000" anchor="ctr">
                    <a:lnL w="12700" cmpd="sng">
                      <a:noFill/>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1</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Low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2</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3</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4</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l" defTabSz="914400" rtl="0" eaLnBrk="1" latinLnBrk="0" hangingPunct="1">
                        <a:lnSpc>
                          <a:spcPct val="100000"/>
                        </a:lnSpc>
                        <a:spcBef>
                          <a:spcPts val="600"/>
                        </a:spcBef>
                        <a:spcAft>
                          <a:spcPts val="0"/>
                        </a:spcAft>
                        <a:tabLst/>
                      </a:pPr>
                      <a:r>
                        <a:rPr lang="en-GB" sz="1100" b="0" kern="1200" dirty="0">
                          <a:solidFill>
                            <a:schemeClr val="tx1"/>
                          </a:solidFill>
                          <a:latin typeface="Arial" pitchFamily="34" charset="0"/>
                          <a:ea typeface="+mn-ea"/>
                          <a:cs typeface="Arial" pitchFamily="34" charset="0"/>
                        </a:rPr>
                        <a:t>5</a:t>
                      </a:r>
                    </a:p>
                    <a:p>
                      <a:pPr marL="0" marR="0" indent="0" algn="l" defTabSz="914400" rtl="0" eaLnBrk="1" fontAlgn="auto" latinLnBrk="0" hangingPunct="1">
                        <a:lnSpc>
                          <a:spcPct val="100000"/>
                        </a:lnSpc>
                        <a:spcBef>
                          <a:spcPts val="600"/>
                        </a:spcBef>
                        <a:spcAft>
                          <a:spcPts val="0"/>
                        </a:spcAft>
                        <a:buClrTx/>
                        <a:buSzTx/>
                        <a:buFontTx/>
                        <a:buNone/>
                        <a:tabLst/>
                        <a:defRPr/>
                      </a:pPr>
                      <a:r>
                        <a:rPr lang="en-GB" sz="1100" b="0" kern="1200" dirty="0">
                          <a:solidFill>
                            <a:schemeClr val="tx1"/>
                          </a:solidFill>
                          <a:latin typeface="Arial" pitchFamily="34" charset="0"/>
                          <a:ea typeface="+mn-ea"/>
                          <a:cs typeface="Arial" pitchFamily="34" charset="0"/>
                        </a:rPr>
                        <a:t>High focus</a:t>
                      </a:r>
                    </a:p>
                  </a:txBody>
                  <a:tcPr marL="59505" marR="59505" marT="72000" marB="36000">
                    <a:lnL w="6350" cap="flat" cmpd="sng" algn="ctr">
                      <a:solidFill>
                        <a:srgbClr val="ACAFB1"/>
                      </a:solidFill>
                      <a:prstDash val="solid"/>
                      <a:round/>
                      <a:headEnd type="none" w="med" len="med"/>
                      <a:tailEnd type="none" w="med" len="med"/>
                    </a:lnL>
                    <a:lnR w="6350" cap="flat" cmpd="sng" algn="ctr">
                      <a:solidFill>
                        <a:srgbClr val="ACAFB1"/>
                      </a:solidFill>
                      <a:prstDash val="solid"/>
                      <a:round/>
                      <a:headEnd type="none" w="med" len="med"/>
                      <a:tailEnd type="none" w="med" len="med"/>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914400" rtl="0" eaLnBrk="1" fontAlgn="auto" latinLnBrk="0" hangingPunct="1">
                        <a:lnSpc>
                          <a:spcPct val="100000"/>
                        </a:lnSpc>
                        <a:spcBef>
                          <a:spcPts val="600"/>
                        </a:spcBef>
                        <a:spcAft>
                          <a:spcPts val="0"/>
                        </a:spcAft>
                        <a:buClrTx/>
                        <a:buSzTx/>
                        <a:buFontTx/>
                        <a:buNone/>
                        <a:tabLst/>
                        <a:defRPr/>
                      </a:pPr>
                      <a:endParaRPr lang="en-GB" sz="1100" b="0" kern="1200" dirty="0">
                        <a:solidFill>
                          <a:schemeClr val="tx1"/>
                        </a:solidFill>
                        <a:latin typeface="Arial" pitchFamily="34" charset="0"/>
                        <a:ea typeface="+mn-ea"/>
                        <a:cs typeface="Arial" pitchFamily="34" charset="0"/>
                      </a:endParaRPr>
                    </a:p>
                  </a:txBody>
                  <a:tcPr marL="59505" marR="59505" marT="36000" marB="36000" anchor="ctr">
                    <a:lnL w="6350" cap="flat" cmpd="sng" algn="ctr">
                      <a:solidFill>
                        <a:srgbClr val="ACAFB1"/>
                      </a:solidFill>
                      <a:prstDash val="solid"/>
                      <a:round/>
                      <a:headEnd type="none" w="med" len="med"/>
                      <a:tailEnd type="none" w="med" len="med"/>
                    </a:lnL>
                    <a:lnR w="12700" cmpd="sng">
                      <a:noFill/>
                    </a:lnR>
                    <a:lnT w="6350" cap="flat" cmpd="sng" algn="ctr">
                      <a:solidFill>
                        <a:srgbClr val="ACAFB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bl>
          </a:graphicData>
        </a:graphic>
      </p:graphicFrame>
      <p:graphicFrame>
        <p:nvGraphicFramePr>
          <p:cNvPr id="6" name="Table 5">
            <a:extLst>
              <a:ext uri="{FF2B5EF4-FFF2-40B4-BE49-F238E27FC236}">
                <a16:creationId xmlns:a16="http://schemas.microsoft.com/office/drawing/2014/main" id="{FCF1D8B9-7944-4276-94A8-633577B05A12}"/>
              </a:ext>
            </a:extLst>
          </p:cNvPr>
          <p:cNvGraphicFramePr>
            <a:graphicFrameLocks noGrp="1"/>
          </p:cNvGraphicFramePr>
          <p:nvPr>
            <p:extLst>
              <p:ext uri="{D42A27DB-BD31-4B8C-83A1-F6EECF244321}">
                <p14:modId xmlns:p14="http://schemas.microsoft.com/office/powerpoint/2010/main" val="3598931583"/>
              </p:ext>
            </p:extLst>
          </p:nvPr>
        </p:nvGraphicFramePr>
        <p:xfrm>
          <a:off x="5087939" y="979852"/>
          <a:ext cx="4550389" cy="1513636"/>
        </p:xfrm>
        <a:graphic>
          <a:graphicData uri="http://schemas.openxmlformats.org/drawingml/2006/table">
            <a:tbl>
              <a:tblPr firstRow="1" bandRow="1">
                <a:tableStyleId>{5940675A-B579-460E-94D1-54222C63F5DA}</a:tableStyleId>
              </a:tblPr>
              <a:tblGrid>
                <a:gridCol w="228905">
                  <a:extLst>
                    <a:ext uri="{9D8B030D-6E8A-4147-A177-3AD203B41FA5}">
                      <a16:colId xmlns:a16="http://schemas.microsoft.com/office/drawing/2014/main" val="3352227553"/>
                    </a:ext>
                  </a:extLst>
                </a:gridCol>
                <a:gridCol w="2015626">
                  <a:extLst>
                    <a:ext uri="{9D8B030D-6E8A-4147-A177-3AD203B41FA5}">
                      <a16:colId xmlns:a16="http://schemas.microsoft.com/office/drawing/2014/main" val="20001"/>
                    </a:ext>
                  </a:extLst>
                </a:gridCol>
                <a:gridCol w="2161448">
                  <a:extLst>
                    <a:ext uri="{9D8B030D-6E8A-4147-A177-3AD203B41FA5}">
                      <a16:colId xmlns:a16="http://schemas.microsoft.com/office/drawing/2014/main" val="20002"/>
                    </a:ext>
                  </a:extLst>
                </a:gridCol>
                <a:gridCol w="144410">
                  <a:extLst>
                    <a:ext uri="{9D8B030D-6E8A-4147-A177-3AD203B41FA5}">
                      <a16:colId xmlns:a16="http://schemas.microsoft.com/office/drawing/2014/main" val="3420267744"/>
                    </a:ext>
                  </a:extLst>
                </a:gridCol>
              </a:tblGrid>
              <a:tr h="143922">
                <a:tc>
                  <a:txBody>
                    <a:bodyPr/>
                    <a:lstStyle/>
                    <a:p>
                      <a:pPr algn="l"/>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algn="l">
                        <a:buNone/>
                      </a:pPr>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extLst>
                  <a:ext uri="{0D108BD9-81ED-4DB2-BD59-A6C34878D82A}">
                    <a16:rowId xmlns:a16="http://schemas.microsoft.com/office/drawing/2014/main" val="1007088533"/>
                  </a:ext>
                </a:extLst>
              </a:tr>
              <a:tr h="539340">
                <a:tc>
                  <a:txBody>
                    <a:bodyPr/>
                    <a:lstStyle/>
                    <a:p>
                      <a:pPr algn="l"/>
                      <a:endParaRPr lang="en-GB" sz="1200" noProof="0" dirty="0">
                        <a:solidFill>
                          <a:schemeClr val="tx1"/>
                        </a:solidFill>
                        <a:latin typeface="Arial" pitchFamily="34" charset="0"/>
                        <a:cs typeface="Arial" pitchFamily="34" charset="0"/>
                      </a:endParaRPr>
                    </a:p>
                  </a:txBody>
                  <a:tcPr marL="144000"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noProof="0" dirty="0">
                        <a:solidFill>
                          <a:schemeClr val="tx1"/>
                        </a:solidFill>
                        <a:latin typeface="Arial" pitchFamily="34" charset="0"/>
                        <a:ea typeface="+mn-ea"/>
                        <a:cs typeface="Arial" pitchFamily="34" charset="0"/>
                      </a:endParaRPr>
                    </a:p>
                  </a:txBody>
                  <a:tcPr marL="144000" marR="144000" marT="36000" marB="72000">
                    <a:lnL w="12700" cap="flat" cmpd="sng" algn="ctr">
                      <a:noFill/>
                      <a:prstDash val="solid"/>
                      <a:round/>
                      <a:headEnd type="none" w="med" len="med"/>
                      <a:tailEnd type="none" w="med" len="med"/>
                    </a:lnL>
                    <a:lnR w="12700" cap="flat" cmpd="sng" algn="ctr">
                      <a:solidFill>
                        <a:srgbClr val="ACAFB1"/>
                      </a:solidFill>
                      <a:prstDash val="sysDot"/>
                      <a:round/>
                      <a:headEnd type="none" w="med" len="med"/>
                      <a:tailEnd type="none" w="med" len="med"/>
                    </a:lnR>
                    <a:lnT w="12700" cap="flat" cmpd="sng" algn="ctr">
                      <a:noFill/>
                      <a:prstDash val="solid"/>
                      <a:round/>
                      <a:headEnd type="none" w="med" len="med"/>
                      <a:tailEnd type="none" w="med" len="med"/>
                    </a:lnT>
                    <a:lnB w="12700" cap="flat" cmpd="sng" algn="ctr">
                      <a:solidFill>
                        <a:srgbClr val="ACAFB1"/>
                      </a:solidFill>
                      <a:prstDash val="sys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chemeClr val="tx1"/>
                        </a:solidFill>
                        <a:latin typeface="Arial" pitchFamily="34" charset="0"/>
                        <a:cs typeface="Arial" pitchFamily="34" charset="0"/>
                      </a:endParaRPr>
                    </a:p>
                  </a:txBody>
                  <a:tcPr marL="144000" marR="144000" marT="36000" marB="72000">
                    <a:lnL w="12700" cap="flat" cmpd="sng" algn="ctr">
                      <a:solidFill>
                        <a:srgbClr val="ACAFB1"/>
                      </a:solidFill>
                      <a:prstDash val="sysDot"/>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ACAFB1"/>
                      </a:solidFill>
                      <a:prstDash val="sysDot"/>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2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extLst>
                  <a:ext uri="{0D108BD9-81ED-4DB2-BD59-A6C34878D82A}">
                    <a16:rowId xmlns:a16="http://schemas.microsoft.com/office/drawing/2014/main" val="10000"/>
                  </a:ext>
                </a:extLst>
              </a:tr>
              <a:tr h="685516">
                <a:tc>
                  <a:txBody>
                    <a:bodyPr/>
                    <a:lstStyle/>
                    <a:p>
                      <a:pPr algn="l"/>
                      <a:endParaRPr lang="en-GB" sz="1200" noProof="0" dirty="0">
                        <a:solidFill>
                          <a:schemeClr val="tx1"/>
                        </a:solidFill>
                        <a:latin typeface="Arial" pitchFamily="34" charset="0"/>
                        <a:cs typeface="Arial" pitchFamily="34" charset="0"/>
                      </a:endParaRPr>
                    </a:p>
                  </a:txBody>
                  <a:tcPr marL="144000"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200" b="0" kern="1200" noProof="0" dirty="0">
                        <a:solidFill>
                          <a:schemeClr val="tx1"/>
                        </a:solidFill>
                        <a:latin typeface="Arial" pitchFamily="34" charset="0"/>
                        <a:ea typeface="+mn-ea"/>
                        <a:cs typeface="Arial" pitchFamily="34" charset="0"/>
                      </a:endParaRPr>
                    </a:p>
                  </a:txBody>
                  <a:tcPr marL="144000" marR="144000" marT="72000" marB="36000">
                    <a:lnL w="12700" cap="flat" cmpd="sng" algn="ctr">
                      <a:noFill/>
                      <a:prstDash val="solid"/>
                      <a:round/>
                      <a:headEnd type="none" w="med" len="med"/>
                      <a:tailEnd type="none" w="med" len="med"/>
                    </a:lnL>
                    <a:lnR w="12700" cap="flat" cmpd="sng" algn="ctr">
                      <a:solidFill>
                        <a:srgbClr val="ACAFB1"/>
                      </a:solidFill>
                      <a:prstDash val="sysDot"/>
                      <a:round/>
                      <a:headEnd type="none" w="med" len="med"/>
                      <a:tailEnd type="none" w="med" len="med"/>
                    </a:lnR>
                    <a:lnT w="12700" cap="flat" cmpd="sng" algn="ctr">
                      <a:solidFill>
                        <a:srgbClr val="ACAFB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200" noProof="0" dirty="0">
                        <a:solidFill>
                          <a:schemeClr val="tx1"/>
                        </a:solidFill>
                        <a:latin typeface="Arial" pitchFamily="34" charset="0"/>
                        <a:cs typeface="Arial" pitchFamily="34" charset="0"/>
                      </a:endParaRPr>
                    </a:p>
                  </a:txBody>
                  <a:tcPr marL="144000" marR="144000" marT="72000" marB="36000">
                    <a:lnL w="12700" cap="flat" cmpd="sng" algn="ctr">
                      <a:solidFill>
                        <a:srgbClr val="ACAFB1"/>
                      </a:solidFill>
                      <a:prstDash val="sysDot"/>
                      <a:round/>
                      <a:headEnd type="none" w="med" len="med"/>
                      <a:tailEnd type="none" w="med" len="med"/>
                    </a:lnL>
                    <a:lnR w="12700" cap="flat" cmpd="sng" algn="ctr">
                      <a:noFill/>
                      <a:prstDash val="solid"/>
                      <a:round/>
                      <a:headEnd type="none" w="med" len="med"/>
                      <a:tailEnd type="none" w="med" len="med"/>
                    </a:lnR>
                    <a:lnT w="12700" cap="flat" cmpd="sng" algn="ctr">
                      <a:solidFill>
                        <a:srgbClr val="ACAFB1"/>
                      </a:solidFill>
                      <a:prstDash val="sysDot"/>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algn="l"/>
                      <a:endParaRPr lang="en-GB" sz="12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extLst>
                  <a:ext uri="{0D108BD9-81ED-4DB2-BD59-A6C34878D82A}">
                    <a16:rowId xmlns:a16="http://schemas.microsoft.com/office/drawing/2014/main" val="10001"/>
                  </a:ext>
                </a:extLst>
              </a:tr>
              <a:tr h="136522">
                <a:tc>
                  <a:txBody>
                    <a:bodyPr/>
                    <a:lstStyle/>
                    <a:p>
                      <a:pPr algn="l"/>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algn="l"/>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algn="l"/>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tc>
                  <a:txBody>
                    <a:bodyPr/>
                    <a:lstStyle/>
                    <a:p>
                      <a:pPr algn="l"/>
                      <a:endParaRPr lang="en-GB" sz="500" noProof="0" dirty="0">
                        <a:solidFill>
                          <a:schemeClr val="tx1"/>
                        </a:solidFill>
                        <a:latin typeface="Arial" pitchFamily="34" charset="0"/>
                        <a:cs typeface="Arial" pitchFamily="34" charset="0"/>
                      </a:endParaRPr>
                    </a:p>
                  </a:txBody>
                  <a:tcPr marL="59505" marR="59505"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3F2F0"/>
                    </a:solidFill>
                  </a:tcPr>
                </a:tc>
                <a:extLst>
                  <a:ext uri="{0D108BD9-81ED-4DB2-BD59-A6C34878D82A}">
                    <a16:rowId xmlns:a16="http://schemas.microsoft.com/office/drawing/2014/main" val="3982637663"/>
                  </a:ext>
                </a:extLst>
              </a:tr>
            </a:tbl>
          </a:graphicData>
        </a:graphic>
      </p:graphicFrame>
      <p:sp>
        <p:nvSpPr>
          <p:cNvPr id="8" name="Rectangle 7">
            <a:extLst>
              <a:ext uri="{FF2B5EF4-FFF2-40B4-BE49-F238E27FC236}">
                <a16:creationId xmlns:a16="http://schemas.microsoft.com/office/drawing/2014/main" id="{A3F7EFE1-F089-46B1-98EE-CF8FD99EA0F1}"/>
              </a:ext>
            </a:extLst>
          </p:cNvPr>
          <p:cNvSpPr/>
          <p:nvPr/>
        </p:nvSpPr>
        <p:spPr>
          <a:xfrm>
            <a:off x="273049" y="972231"/>
            <a:ext cx="4543426" cy="661642"/>
          </a:xfrm>
          <a:prstGeom prst="rect">
            <a:avLst/>
          </a:prstGeom>
          <a:solidFill>
            <a:srgbClr val="D0DAD6"/>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200" b="1" dirty="0">
                <a:solidFill>
                  <a:schemeClr val="tx1"/>
                </a:solidFill>
              </a:rPr>
              <a:t>Focus person chooses what the Observer should make a note of: </a:t>
            </a:r>
            <a:r>
              <a:rPr lang="en-GB" sz="1200" dirty="0">
                <a:solidFill>
                  <a:schemeClr val="tx1"/>
                </a:solidFill>
              </a:rPr>
              <a:t>A/I or active listening/open questions.</a:t>
            </a:r>
          </a:p>
          <a:p>
            <a:r>
              <a:rPr lang="en-GB" sz="1200" dirty="0">
                <a:solidFill>
                  <a:schemeClr val="tx1"/>
                </a:solidFill>
              </a:rPr>
              <a:t>Make a tic for every time it occurs.</a:t>
            </a:r>
          </a:p>
        </p:txBody>
      </p:sp>
      <p:sp>
        <p:nvSpPr>
          <p:cNvPr id="9" name="Rectangle 8">
            <a:extLst>
              <a:ext uri="{FF2B5EF4-FFF2-40B4-BE49-F238E27FC236}">
                <a16:creationId xmlns:a16="http://schemas.microsoft.com/office/drawing/2014/main" id="{095B80FE-F660-4716-A0B1-DE7E5688F1F4}"/>
              </a:ext>
            </a:extLst>
          </p:cNvPr>
          <p:cNvSpPr/>
          <p:nvPr/>
        </p:nvSpPr>
        <p:spPr>
          <a:xfrm>
            <a:off x="273050" y="1905186"/>
            <a:ext cx="4543425" cy="579967"/>
          </a:xfrm>
          <a:prstGeom prst="rect">
            <a:avLst/>
          </a:prstGeom>
          <a:solidFill>
            <a:srgbClr val="D0DAD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rtlCol="0" anchor="ctr"/>
          <a:lstStyle/>
          <a:p>
            <a:r>
              <a:rPr lang="en-GB" sz="1200" dirty="0">
                <a:solidFill>
                  <a:schemeClr val="tx1"/>
                </a:solidFill>
              </a:rPr>
              <a:t>Observer notes down examples of REAL elements and summarizes at the end from 1-5 on each dimension.</a:t>
            </a:r>
          </a:p>
        </p:txBody>
      </p:sp>
      <p:grpSp>
        <p:nvGrpSpPr>
          <p:cNvPr id="16" name="Group 15">
            <a:extLst>
              <a:ext uri="{FF2B5EF4-FFF2-40B4-BE49-F238E27FC236}">
                <a16:creationId xmlns:a16="http://schemas.microsoft.com/office/drawing/2014/main" id="{ECB939BD-A07A-4E64-B5BA-ACCCA3C6DCC6}"/>
              </a:ext>
            </a:extLst>
          </p:cNvPr>
          <p:cNvGrpSpPr/>
          <p:nvPr/>
        </p:nvGrpSpPr>
        <p:grpSpPr>
          <a:xfrm>
            <a:off x="4786671" y="1201298"/>
            <a:ext cx="256462" cy="203508"/>
            <a:chOff x="2936876" y="5357813"/>
            <a:chExt cx="392113" cy="311150"/>
          </a:xfrm>
        </p:grpSpPr>
        <p:sp>
          <p:nvSpPr>
            <p:cNvPr id="17" name="Freeform 88">
              <a:extLst>
                <a:ext uri="{FF2B5EF4-FFF2-40B4-BE49-F238E27FC236}">
                  <a16:creationId xmlns:a16="http://schemas.microsoft.com/office/drawing/2014/main" id="{B08203AB-CF87-471F-8D0F-DCFBE29D88DF}"/>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90">
              <a:extLst>
                <a:ext uri="{FF2B5EF4-FFF2-40B4-BE49-F238E27FC236}">
                  <a16:creationId xmlns:a16="http://schemas.microsoft.com/office/drawing/2014/main" id="{B1EEF063-10D4-4F55-97DA-C3F70D05ADDC}"/>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91">
              <a:extLst>
                <a:ext uri="{FF2B5EF4-FFF2-40B4-BE49-F238E27FC236}">
                  <a16:creationId xmlns:a16="http://schemas.microsoft.com/office/drawing/2014/main" id="{13666FD4-4E7A-463A-B4D8-19F0623644CE}"/>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 name="Group 19">
            <a:extLst>
              <a:ext uri="{FF2B5EF4-FFF2-40B4-BE49-F238E27FC236}">
                <a16:creationId xmlns:a16="http://schemas.microsoft.com/office/drawing/2014/main" id="{D01F3824-9A15-4B88-80D0-2AB11C03D9EF}"/>
              </a:ext>
            </a:extLst>
          </p:cNvPr>
          <p:cNvGrpSpPr/>
          <p:nvPr/>
        </p:nvGrpSpPr>
        <p:grpSpPr>
          <a:xfrm rot="5400000">
            <a:off x="2416531" y="2469975"/>
            <a:ext cx="256462" cy="203508"/>
            <a:chOff x="2936876" y="5357813"/>
            <a:chExt cx="392113" cy="311150"/>
          </a:xfrm>
        </p:grpSpPr>
        <p:sp>
          <p:nvSpPr>
            <p:cNvPr id="21" name="Freeform 88">
              <a:extLst>
                <a:ext uri="{FF2B5EF4-FFF2-40B4-BE49-F238E27FC236}">
                  <a16:creationId xmlns:a16="http://schemas.microsoft.com/office/drawing/2014/main" id="{9196B6E8-5294-4637-9EB1-14884CDA3109}"/>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E9C56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90">
              <a:extLst>
                <a:ext uri="{FF2B5EF4-FFF2-40B4-BE49-F238E27FC236}">
                  <a16:creationId xmlns:a16="http://schemas.microsoft.com/office/drawing/2014/main" id="{18B64A0D-E282-422E-90CF-6961154D3F58}"/>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91">
              <a:extLst>
                <a:ext uri="{FF2B5EF4-FFF2-40B4-BE49-F238E27FC236}">
                  <a16:creationId xmlns:a16="http://schemas.microsoft.com/office/drawing/2014/main" id="{FD136E32-E4AC-4E1B-B2DA-5976B6D3CFE9}"/>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4" name="Tekstfelt 3"/>
          <p:cNvSpPr txBox="1"/>
          <p:nvPr/>
        </p:nvSpPr>
        <p:spPr>
          <a:xfrm>
            <a:off x="5248387" y="1024956"/>
            <a:ext cx="1960996" cy="323165"/>
          </a:xfrm>
          <a:prstGeom prst="rect">
            <a:avLst/>
          </a:prstGeom>
          <a:noFill/>
          <a:ln w="6350">
            <a:noFill/>
            <a:prstDash val="sysDash"/>
          </a:ln>
        </p:spPr>
        <p:txBody>
          <a:bodyPr wrap="square" lIns="0" tIns="0" rIns="0" bIns="0" rtlCol="0">
            <a:spAutoFit/>
          </a:bodyPr>
          <a:lstStyle/>
          <a:p>
            <a:pPr lvl="0" algn="ctr">
              <a:defRPr/>
            </a:pPr>
            <a:r>
              <a:rPr lang="en-GB" sz="1000" b="1" dirty="0">
                <a:latin typeface="Arial" pitchFamily="34" charset="0"/>
                <a:cs typeface="Arial" pitchFamily="34" charset="0"/>
              </a:rPr>
              <a:t>Advocacy </a:t>
            </a:r>
            <a:r>
              <a:rPr lang="en-GB" sz="1000" dirty="0">
                <a:latin typeface="Arial" pitchFamily="34" charset="0"/>
                <a:cs typeface="Arial" pitchFamily="34" charset="0"/>
              </a:rPr>
              <a:t>(from my head)</a:t>
            </a:r>
          </a:p>
          <a:p>
            <a:pPr algn="l"/>
            <a:endParaRPr lang="en-GB" sz="1100" dirty="0"/>
          </a:p>
        </p:txBody>
      </p:sp>
      <p:sp>
        <p:nvSpPr>
          <p:cNvPr id="24" name="Tekstfelt 23"/>
          <p:cNvSpPr txBox="1"/>
          <p:nvPr/>
        </p:nvSpPr>
        <p:spPr>
          <a:xfrm>
            <a:off x="6844759" y="1024549"/>
            <a:ext cx="3158194" cy="323165"/>
          </a:xfrm>
          <a:prstGeom prst="rect">
            <a:avLst/>
          </a:prstGeom>
          <a:noFill/>
          <a:ln w="6350">
            <a:noFill/>
            <a:prstDash val="sysDash"/>
          </a:ln>
        </p:spPr>
        <p:txBody>
          <a:bodyPr wrap="square" lIns="0" tIns="0" rIns="0" bIns="0" rtlCol="0">
            <a:spAutoFit/>
          </a:bodyPr>
          <a:lstStyle/>
          <a:p>
            <a:pPr algn="ctr">
              <a:defRPr/>
            </a:pPr>
            <a:r>
              <a:rPr lang="en-GB" sz="1000" b="1" dirty="0">
                <a:latin typeface="Arial" pitchFamily="34" charset="0"/>
                <a:cs typeface="Arial" pitchFamily="34" charset="0"/>
              </a:rPr>
              <a:t>Active listening </a:t>
            </a:r>
            <a:r>
              <a:rPr lang="en-GB" sz="1000" dirty="0">
                <a:latin typeface="Arial" pitchFamily="34" charset="0"/>
                <a:cs typeface="Arial" pitchFamily="34" charset="0"/>
              </a:rPr>
              <a:t>(reflections)</a:t>
            </a:r>
          </a:p>
          <a:p>
            <a:pPr algn="l"/>
            <a:endParaRPr lang="en-GB" sz="1100" dirty="0"/>
          </a:p>
        </p:txBody>
      </p:sp>
      <p:sp>
        <p:nvSpPr>
          <p:cNvPr id="25" name="Tekstfelt 24"/>
          <p:cNvSpPr txBox="1"/>
          <p:nvPr/>
        </p:nvSpPr>
        <p:spPr>
          <a:xfrm>
            <a:off x="5204748" y="1709398"/>
            <a:ext cx="1960996" cy="323165"/>
          </a:xfrm>
          <a:prstGeom prst="rect">
            <a:avLst/>
          </a:prstGeom>
          <a:noFill/>
          <a:ln w="6350">
            <a:noFill/>
            <a:prstDash val="sysDash"/>
          </a:ln>
        </p:spPr>
        <p:txBody>
          <a:bodyPr wrap="square" lIns="0" tIns="0" rIns="0" bIns="0" rtlCol="0">
            <a:spAutoFit/>
          </a:bodyPr>
          <a:lstStyle/>
          <a:p>
            <a:pPr lvl="0" algn="ctr">
              <a:defRPr/>
            </a:pPr>
            <a:r>
              <a:rPr lang="en-GB" sz="1000" b="1" dirty="0">
                <a:latin typeface="Arial" pitchFamily="34" charset="0"/>
                <a:cs typeface="Arial" pitchFamily="34" charset="0"/>
              </a:rPr>
              <a:t>Inquiry </a:t>
            </a:r>
            <a:r>
              <a:rPr lang="en-GB" sz="1000" dirty="0">
                <a:latin typeface="Arial" pitchFamily="34" charset="0"/>
                <a:cs typeface="Arial" pitchFamily="34" charset="0"/>
              </a:rPr>
              <a:t>(from your head)</a:t>
            </a:r>
          </a:p>
          <a:p>
            <a:pPr algn="l"/>
            <a:endParaRPr lang="en-GB" sz="1100" dirty="0"/>
          </a:p>
        </p:txBody>
      </p:sp>
      <p:sp>
        <p:nvSpPr>
          <p:cNvPr id="26" name="Tekstfelt 25"/>
          <p:cNvSpPr txBox="1"/>
          <p:nvPr/>
        </p:nvSpPr>
        <p:spPr>
          <a:xfrm>
            <a:off x="7165744" y="1736670"/>
            <a:ext cx="2700387" cy="307777"/>
          </a:xfrm>
          <a:prstGeom prst="rect">
            <a:avLst/>
          </a:prstGeom>
          <a:noFill/>
          <a:ln w="6350">
            <a:noFill/>
            <a:prstDash val="sysDash"/>
          </a:ln>
        </p:spPr>
        <p:txBody>
          <a:bodyPr wrap="square" lIns="0" tIns="0" rIns="0" bIns="0" rtlCol="0">
            <a:spAutoFit/>
          </a:bodyPr>
          <a:lstStyle/>
          <a:p>
            <a:pPr algn="ctr">
              <a:defRPr/>
            </a:pPr>
            <a:r>
              <a:rPr lang="en-GB" sz="1000" b="1" dirty="0">
                <a:latin typeface="Arial" pitchFamily="34" charset="0"/>
                <a:cs typeface="Arial" pitchFamily="34" charset="0"/>
              </a:rPr>
              <a:t>Number of questions </a:t>
            </a:r>
            <a:r>
              <a:rPr lang="en-GB" sz="1000" dirty="0">
                <a:latin typeface="Arial" pitchFamily="34" charset="0"/>
                <a:cs typeface="Arial" pitchFamily="34" charset="0"/>
              </a:rPr>
              <a:t>(opened/closed)</a:t>
            </a:r>
          </a:p>
          <a:p>
            <a:pPr algn="l"/>
            <a:endParaRPr lang="en-GB" sz="1000" dirty="0"/>
          </a:p>
        </p:txBody>
      </p:sp>
    </p:spTree>
    <p:extLst>
      <p:ext uri="{BB962C8B-B14F-4D97-AF65-F5344CB8AC3E}">
        <p14:creationId xmlns:p14="http://schemas.microsoft.com/office/powerpoint/2010/main" val="3263611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DB3568-0FD7-444D-9A3A-1471977E2249}"/>
              </a:ext>
            </a:extLst>
          </p:cNvPr>
          <p:cNvSpPr>
            <a:spLocks noGrp="1"/>
          </p:cNvSpPr>
          <p:nvPr>
            <p:ph type="body" sz="quarter" idx="13"/>
          </p:nvPr>
        </p:nvSpPr>
        <p:spPr/>
        <p:txBody>
          <a:bodyPr/>
          <a:lstStyle/>
          <a:p>
            <a:endParaRPr lang="en-GB"/>
          </a:p>
        </p:txBody>
      </p:sp>
      <p:sp>
        <p:nvSpPr>
          <p:cNvPr id="7" name="Text Placeholder 6">
            <a:extLst>
              <a:ext uri="{FF2B5EF4-FFF2-40B4-BE49-F238E27FC236}">
                <a16:creationId xmlns:a16="http://schemas.microsoft.com/office/drawing/2014/main" id="{EDBB56DE-CCF5-4589-9AFA-BD96A541A776}"/>
              </a:ext>
            </a:extLst>
          </p:cNvPr>
          <p:cNvSpPr>
            <a:spLocks noGrp="1"/>
          </p:cNvSpPr>
          <p:nvPr>
            <p:ph type="body" sz="quarter" idx="14"/>
          </p:nvPr>
        </p:nvSpPr>
        <p:spPr/>
        <p:txBody>
          <a:bodyPr/>
          <a:lstStyle/>
          <a:p>
            <a:endParaRPr lang="en-GB"/>
          </a:p>
        </p:txBody>
      </p:sp>
      <p:sp>
        <p:nvSpPr>
          <p:cNvPr id="2" name="Title 1"/>
          <p:cNvSpPr>
            <a:spLocks noGrp="1"/>
          </p:cNvSpPr>
          <p:nvPr>
            <p:ph type="title" idx="4294967295"/>
          </p:nvPr>
        </p:nvSpPr>
        <p:spPr>
          <a:xfrm>
            <a:off x="541266" y="476595"/>
            <a:ext cx="6873875" cy="825500"/>
          </a:xfrm>
        </p:spPr>
        <p:txBody>
          <a:bodyPr/>
          <a:lstStyle/>
          <a:p>
            <a:r>
              <a:rPr lang="en-GB" dirty="0"/>
              <a:t>REAL conversations</a:t>
            </a:r>
          </a:p>
        </p:txBody>
      </p:sp>
      <p:sp>
        <p:nvSpPr>
          <p:cNvPr id="9" name="Content Placeholder 7"/>
          <p:cNvSpPr txBox="1">
            <a:spLocks/>
          </p:cNvSpPr>
          <p:nvPr/>
        </p:nvSpPr>
        <p:spPr>
          <a:xfrm>
            <a:off x="726405" y="4467329"/>
            <a:ext cx="1972407" cy="1128258"/>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Relate</a:t>
            </a:r>
            <a:r>
              <a:rPr lang="en-GB" sz="1292" dirty="0"/>
              <a:t>: </a:t>
            </a:r>
          </a:p>
          <a:p>
            <a:pPr lvl="0">
              <a:defRPr/>
            </a:pPr>
            <a:r>
              <a:rPr lang="en-GB" sz="1108" dirty="0"/>
              <a:t>Being genuinely interested in the other person. Being curious. Create relatedness and willingness to share - also vulnerabilities. Being honest.</a:t>
            </a:r>
          </a:p>
        </p:txBody>
      </p:sp>
      <p:sp>
        <p:nvSpPr>
          <p:cNvPr id="14" name="Content Placeholder 7"/>
          <p:cNvSpPr txBox="1">
            <a:spLocks/>
          </p:cNvSpPr>
          <p:nvPr/>
        </p:nvSpPr>
        <p:spPr>
          <a:xfrm>
            <a:off x="2885217" y="4467329"/>
            <a:ext cx="1973908" cy="1399294"/>
          </a:xfrm>
          <a:prstGeom prst="rect">
            <a:avLst/>
          </a:prstGeom>
        </p:spPr>
        <p:txBody>
          <a:bodyPr vert="horz" wrap="square" lIns="33231" tIns="0" rIns="33231" bIns="0" rtlCol="0" anchor="t">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Engage</a:t>
            </a:r>
            <a:r>
              <a:rPr lang="en-GB" sz="1292" dirty="0"/>
              <a:t>: </a:t>
            </a:r>
          </a:p>
          <a:p>
            <a:pPr>
              <a:defRPr/>
            </a:pPr>
            <a:r>
              <a:rPr lang="en-GB" sz="1100" dirty="0"/>
              <a:t>Setting the direction in the conversation around something that matters. Being courageous. Challenge and evoke change talk. Create the right energy – also with the body language.</a:t>
            </a:r>
          </a:p>
        </p:txBody>
      </p:sp>
      <p:sp>
        <p:nvSpPr>
          <p:cNvPr id="15" name="Content Placeholder 7"/>
          <p:cNvSpPr txBox="1">
            <a:spLocks/>
          </p:cNvSpPr>
          <p:nvPr/>
        </p:nvSpPr>
        <p:spPr>
          <a:xfrm>
            <a:off x="5045531" y="4467329"/>
            <a:ext cx="1973908" cy="1128258"/>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sz="1292" b="1" dirty="0"/>
              <a:t>Appreciate</a:t>
            </a:r>
            <a:r>
              <a:rPr lang="en-GB" sz="1292" dirty="0"/>
              <a:t>: </a:t>
            </a:r>
          </a:p>
          <a:p>
            <a:pPr lvl="0">
              <a:defRPr/>
            </a:pPr>
            <a:r>
              <a:rPr lang="en-GB" sz="1108" dirty="0"/>
              <a:t>Being able to spot strengths in the other person. Think positive and focus on what works. Acknowledge the other person.</a:t>
            </a:r>
          </a:p>
        </p:txBody>
      </p:sp>
      <p:sp>
        <p:nvSpPr>
          <p:cNvPr id="16" name="Content Placeholder 7"/>
          <p:cNvSpPr txBox="1">
            <a:spLocks/>
          </p:cNvSpPr>
          <p:nvPr/>
        </p:nvSpPr>
        <p:spPr>
          <a:xfrm>
            <a:off x="7205845" y="4467329"/>
            <a:ext cx="1973908" cy="1406924"/>
          </a:xfrm>
          <a:prstGeom prst="rect">
            <a:avLst/>
          </a:prstGeom>
        </p:spPr>
        <p:txBody>
          <a:bodyPr vert="horz" wrap="square" lIns="33231" tIns="0" rIns="33231" bIns="0" rtlCol="0">
            <a:sp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GB" sz="1292" b="1" dirty="0"/>
              <a:t>Listen: </a:t>
            </a:r>
          </a:p>
          <a:p>
            <a:pPr>
              <a:defRPr/>
            </a:pPr>
            <a:r>
              <a:rPr lang="en-GB" sz="1108" dirty="0"/>
              <a:t>Paying attention/being present. Making an effort to understand – also other perspectives than your own. Reflect what you hear. Balancing inquiry and advocacy. </a:t>
            </a:r>
            <a:endParaRPr lang="en-GB" sz="1292" dirty="0"/>
          </a:p>
        </p:txBody>
      </p:sp>
      <p:sp>
        <p:nvSpPr>
          <p:cNvPr id="8" name="AutoShape 2" descr="Image result for lions roaring"/>
          <p:cNvSpPr>
            <a:spLocks noChangeAspect="1" noChangeArrowheads="1"/>
          </p:cNvSpPr>
          <p:nvPr/>
        </p:nvSpPr>
        <p:spPr bwMode="auto">
          <a:xfrm>
            <a:off x="381000" y="130420"/>
            <a:ext cx="281354" cy="28135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84406" tIns="42203" rIns="84406" bIns="42203" numCol="1" anchor="t" anchorCtr="0" compatLnSpc="1">
            <a:prstTxWarp prst="textNoShape">
              <a:avLst/>
            </a:prstTxWarp>
          </a:bodyPr>
          <a:lstStyle/>
          <a:p>
            <a:endParaRPr lang="en-GB" sz="2215" dirty="0"/>
          </a:p>
        </p:txBody>
      </p:sp>
      <p:sp>
        <p:nvSpPr>
          <p:cNvPr id="17" name="Rektangel 16"/>
          <p:cNvSpPr/>
          <p:nvPr/>
        </p:nvSpPr>
        <p:spPr>
          <a:xfrm>
            <a:off x="633047" y="1765790"/>
            <a:ext cx="2159975" cy="966415"/>
          </a:xfrm>
          <a:prstGeom prst="rect">
            <a:avLst/>
          </a:prstGeom>
          <a:solidFill>
            <a:srgbClr val="893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R</a:t>
            </a:r>
          </a:p>
        </p:txBody>
      </p:sp>
      <p:sp>
        <p:nvSpPr>
          <p:cNvPr id="29" name="Rektangel 28"/>
          <p:cNvSpPr/>
          <p:nvPr/>
        </p:nvSpPr>
        <p:spPr>
          <a:xfrm>
            <a:off x="2792998" y="1765790"/>
            <a:ext cx="2160000" cy="966415"/>
          </a:xfrm>
          <a:prstGeom prst="rect">
            <a:avLst/>
          </a:prstGeom>
          <a:solidFill>
            <a:srgbClr val="B8BBB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E</a:t>
            </a:r>
          </a:p>
        </p:txBody>
      </p:sp>
      <p:sp>
        <p:nvSpPr>
          <p:cNvPr id="30" name="Rektangel 29"/>
          <p:cNvSpPr/>
          <p:nvPr/>
        </p:nvSpPr>
        <p:spPr>
          <a:xfrm>
            <a:off x="4952949" y="1765788"/>
            <a:ext cx="2160000" cy="966415"/>
          </a:xfrm>
          <a:prstGeom prst="rect">
            <a:avLst/>
          </a:prstGeom>
          <a:solidFill>
            <a:srgbClr val="8AA299"/>
          </a:solidFill>
          <a:ln w="9525">
            <a:solidFill>
              <a:srgbClr val="8AA2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A</a:t>
            </a:r>
          </a:p>
        </p:txBody>
      </p:sp>
      <p:sp>
        <p:nvSpPr>
          <p:cNvPr id="31" name="Rektangel 30"/>
          <p:cNvSpPr/>
          <p:nvPr/>
        </p:nvSpPr>
        <p:spPr>
          <a:xfrm>
            <a:off x="7112954" y="1765790"/>
            <a:ext cx="2160000" cy="966415"/>
          </a:xfrm>
          <a:prstGeom prst="rect">
            <a:avLst/>
          </a:prstGeom>
          <a:solidFill>
            <a:srgbClr val="E4B73B"/>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431" dirty="0">
                <a:solidFill>
                  <a:schemeClr val="bg1"/>
                </a:solidFill>
                <a:latin typeface="Impact" panose="020B0806030902050204" pitchFamily="34" charset="0"/>
              </a:rPr>
              <a:t>L</a:t>
            </a:r>
          </a:p>
        </p:txBody>
      </p:sp>
      <p:pic>
        <p:nvPicPr>
          <p:cNvPr id="18" name="Picture 2" descr="C:\Users\pke\AppData\Local\Microsoft\Windows\Temporary Internet Files\Content.Outlook\AZG39IJS\COLOURBOX11820001_holdinghands.jpg"/>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b="14060"/>
          <a:stretch/>
        </p:blipFill>
        <p:spPr bwMode="auto">
          <a:xfrm>
            <a:off x="633201" y="2983775"/>
            <a:ext cx="2160000" cy="1234325"/>
          </a:xfrm>
          <a:prstGeom prst="rect">
            <a:avLst/>
          </a:prstGeom>
          <a:extLst>
            <a:ext uri="{909E8E84-426E-40DD-AFC4-6F175D3DCCD1}">
              <a14:hiddenFill xmlns:a14="http://schemas.microsoft.com/office/drawing/2010/main">
                <a:solidFill>
                  <a:srgbClr val="FFFFFF"/>
                </a:solidFill>
              </a14:hiddenFill>
            </a:ext>
          </a:extLst>
        </p:spPr>
      </p:pic>
      <p:pic>
        <p:nvPicPr>
          <p:cNvPr id="19" name="Picture 3" descr="C:\Users\pke\AppData\Local\Microsoft\Windows\Temporary Internet Files\Content.Outlook\AZG39IJS\COLOURBOX7178663.jpg"/>
          <p:cNvPicPr>
            <a:picLocks noChangeAspect="1" noChangeArrowheads="1"/>
          </p:cNvPicPr>
          <p:nvPr/>
        </p:nvPicPr>
        <p:blipFill rotWithShape="1">
          <a:blip r:embed="rId5" cstate="print">
            <a:extLst>
              <a:ext uri="{BEBA8EAE-BF5A-486C-A8C5-ECC9F3942E4B}">
                <a14:imgProps xmlns:a14="http://schemas.microsoft.com/office/drawing/2010/main">
                  <a14:imgLayer r:embed="rId6">
                    <a14:imgEffect>
                      <a14:saturation sat="33000"/>
                    </a14:imgEffect>
                  </a14:imgLayer>
                </a14:imgProps>
              </a:ext>
              <a:ext uri="{28A0092B-C50C-407E-A947-70E740481C1C}">
                <a14:useLocalDpi xmlns:a14="http://schemas.microsoft.com/office/drawing/2010/main" val="0"/>
              </a:ext>
            </a:extLst>
          </a:blip>
          <a:srcRect b="14060"/>
          <a:stretch/>
        </p:blipFill>
        <p:spPr bwMode="auto">
          <a:xfrm>
            <a:off x="2792998" y="2983772"/>
            <a:ext cx="2160000" cy="1234326"/>
          </a:xfrm>
          <a:prstGeom prst="rect">
            <a:avLst/>
          </a:prstGeom>
          <a:extLst>
            <a:ext uri="{909E8E84-426E-40DD-AFC4-6F175D3DCCD1}">
              <a14:hiddenFill xmlns:a14="http://schemas.microsoft.com/office/drawing/2010/main">
                <a:solidFill>
                  <a:srgbClr val="FFFFFF"/>
                </a:solidFill>
              </a14:hiddenFill>
            </a:ext>
          </a:extLst>
        </p:spPr>
      </p:pic>
      <p:pic>
        <p:nvPicPr>
          <p:cNvPr id="21" name="Picture 5" descr="C:\Users\pke\AppData\Local\Microsoft\Windows\Temporary Internet Files\Content.Outlook\AZG39IJS\COLOURBOX6269647.jpg"/>
          <p:cNvPicPr>
            <a:picLocks noChangeAspect="1" noChangeArrowheads="1"/>
          </p:cNvPicPr>
          <p:nvPr/>
        </p:nvPicPr>
        <p:blipFill rotWithShape="1">
          <a:blip r:embed="rId7" cstate="print">
            <a:extLst>
              <a:ext uri="{BEBA8EAE-BF5A-486C-A8C5-ECC9F3942E4B}">
                <a14:imgProps xmlns:a14="http://schemas.microsoft.com/office/drawing/2010/main">
                  <a14:imgLayer r:embed="rId8">
                    <a14:imgEffect>
                      <a14:saturation sat="33000"/>
                    </a14:imgEffect>
                  </a14:imgLayer>
                </a14:imgProps>
              </a:ext>
              <a:ext uri="{28A0092B-C50C-407E-A947-70E740481C1C}">
                <a14:useLocalDpi xmlns:a14="http://schemas.microsoft.com/office/drawing/2010/main" val="0"/>
              </a:ext>
            </a:extLst>
          </a:blip>
          <a:srcRect l="76" t="6287" r="1" b="17806"/>
          <a:stretch/>
        </p:blipFill>
        <p:spPr bwMode="auto">
          <a:xfrm>
            <a:off x="7112954" y="2983772"/>
            <a:ext cx="2160000" cy="1234326"/>
          </a:xfrm>
          <a:prstGeom prst="rect">
            <a:avLst/>
          </a:prstGeom>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7BA16314-5035-4E5B-A92A-F58A7DBF1481}"/>
              </a:ext>
            </a:extLst>
          </p:cNvPr>
          <p:cNvPicPr>
            <a:picLocks noChangeAspect="1"/>
          </p:cNvPicPr>
          <p:nvPr/>
        </p:nvPicPr>
        <p:blipFill rotWithShape="1">
          <a:blip r:embed="rId9">
            <a:extLst>
              <a:ext uri="{BEBA8EAE-BF5A-486C-A8C5-ECC9F3942E4B}">
                <a14:imgProps xmlns:a14="http://schemas.microsoft.com/office/drawing/2010/main">
                  <a14:imgLayer r:embed="rId10">
                    <a14:imgEffect>
                      <a14:saturation sat="33000"/>
                    </a14:imgEffect>
                  </a14:imgLayer>
                </a14:imgProps>
              </a:ext>
            </a:extLst>
          </a:blip>
          <a:srcRect t="2613" b="11712"/>
          <a:stretch/>
        </p:blipFill>
        <p:spPr>
          <a:xfrm>
            <a:off x="4952976" y="2983772"/>
            <a:ext cx="2160000" cy="1234326"/>
          </a:xfrm>
          <a:prstGeom prst="rect">
            <a:avLst/>
          </a:prstGeom>
        </p:spPr>
      </p:pic>
      <p:cxnSp>
        <p:nvCxnSpPr>
          <p:cNvPr id="28" name="Straight Connector 27">
            <a:extLst>
              <a:ext uri="{FF2B5EF4-FFF2-40B4-BE49-F238E27FC236}">
                <a16:creationId xmlns:a16="http://schemas.microsoft.com/office/drawing/2014/main" id="{E6D63EF0-33D6-48E6-A9E6-27541253CEAA}"/>
              </a:ext>
            </a:extLst>
          </p:cNvPr>
          <p:cNvCxnSpPr>
            <a:cxnSpLocks/>
          </p:cNvCxnSpPr>
          <p:nvPr/>
        </p:nvCxnSpPr>
        <p:spPr>
          <a:xfrm>
            <a:off x="2792014" y="4467329"/>
            <a:ext cx="0" cy="14264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B3A5E3C-4236-4622-9372-E82D3509E0EE}"/>
              </a:ext>
            </a:extLst>
          </p:cNvPr>
          <p:cNvCxnSpPr>
            <a:cxnSpLocks/>
          </p:cNvCxnSpPr>
          <p:nvPr/>
        </p:nvCxnSpPr>
        <p:spPr>
          <a:xfrm>
            <a:off x="4952328" y="4467329"/>
            <a:ext cx="0" cy="14264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68E754CF-9B6D-4D9E-A83B-4219254AEC82}"/>
              </a:ext>
            </a:extLst>
          </p:cNvPr>
          <p:cNvCxnSpPr>
            <a:cxnSpLocks/>
          </p:cNvCxnSpPr>
          <p:nvPr/>
        </p:nvCxnSpPr>
        <p:spPr>
          <a:xfrm>
            <a:off x="7112965" y="4453657"/>
            <a:ext cx="0" cy="1440091"/>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775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4" grpId="0"/>
      <p:bldP spid="15" grpId="0"/>
      <p:bldP spid="1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a:extLst>
              <a:ext uri="{FF2B5EF4-FFF2-40B4-BE49-F238E27FC236}">
                <a16:creationId xmlns:a16="http://schemas.microsoft.com/office/drawing/2014/main" id="{2F531C3A-29CE-454C-ACF5-10B009A28770}"/>
              </a:ext>
            </a:extLst>
          </p:cNvPr>
          <p:cNvSpPr/>
          <p:nvPr/>
        </p:nvSpPr>
        <p:spPr>
          <a:xfrm>
            <a:off x="263079" y="1249176"/>
            <a:ext cx="9366252" cy="265054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19" name="Text Placeholder 18">
            <a:extLst>
              <a:ext uri="{FF2B5EF4-FFF2-40B4-BE49-F238E27FC236}">
                <a16:creationId xmlns:a16="http://schemas.microsoft.com/office/drawing/2014/main" id="{F796445B-5CDE-45B7-8CAF-1D1C6AB618AA}"/>
              </a:ext>
            </a:extLst>
          </p:cNvPr>
          <p:cNvSpPr>
            <a:spLocks noGrp="1"/>
          </p:cNvSpPr>
          <p:nvPr>
            <p:ph type="body" sz="quarter" idx="13"/>
          </p:nvPr>
        </p:nvSpPr>
        <p:spPr/>
        <p:txBody>
          <a:bodyPr/>
          <a:lstStyle/>
          <a:p>
            <a:endParaRPr lang="en-GB" dirty="0"/>
          </a:p>
        </p:txBody>
      </p:sp>
      <p:sp>
        <p:nvSpPr>
          <p:cNvPr id="30" name="Title 29">
            <a:extLst>
              <a:ext uri="{FF2B5EF4-FFF2-40B4-BE49-F238E27FC236}">
                <a16:creationId xmlns:a16="http://schemas.microsoft.com/office/drawing/2014/main" id="{4DDA5C39-A59D-4CDD-B4F9-015858594AB0}"/>
              </a:ext>
            </a:extLst>
          </p:cNvPr>
          <p:cNvSpPr>
            <a:spLocks noGrp="1"/>
          </p:cNvSpPr>
          <p:nvPr>
            <p:ph type="title"/>
          </p:nvPr>
        </p:nvSpPr>
        <p:spPr>
          <a:xfrm>
            <a:off x="269876" y="269876"/>
            <a:ext cx="8240140" cy="692336"/>
          </a:xfrm>
        </p:spPr>
        <p:txBody>
          <a:bodyPr/>
          <a:lstStyle/>
          <a:p>
            <a:r>
              <a:rPr lang="en-GB" dirty="0"/>
              <a:t>Rule #1 </a:t>
            </a:r>
            <a:r>
              <a:rPr lang="en-GB" b="1" dirty="0"/>
              <a:t>Balance advocacy and inquiry</a:t>
            </a:r>
          </a:p>
        </p:txBody>
      </p:sp>
      <p:sp>
        <p:nvSpPr>
          <p:cNvPr id="20" name="Text Placeholder 19">
            <a:extLst>
              <a:ext uri="{FF2B5EF4-FFF2-40B4-BE49-F238E27FC236}">
                <a16:creationId xmlns:a16="http://schemas.microsoft.com/office/drawing/2014/main" id="{B4CF8A77-884C-4A01-892B-33D7F17E9D87}"/>
              </a:ext>
            </a:extLst>
          </p:cNvPr>
          <p:cNvSpPr>
            <a:spLocks noGrp="1"/>
          </p:cNvSpPr>
          <p:nvPr>
            <p:ph type="body" sz="quarter" idx="14"/>
          </p:nvPr>
        </p:nvSpPr>
        <p:spPr/>
        <p:txBody>
          <a:bodyPr/>
          <a:lstStyle/>
          <a:p>
            <a:endParaRPr lang="en-GB" dirty="0"/>
          </a:p>
        </p:txBody>
      </p:sp>
      <p:grpSp>
        <p:nvGrpSpPr>
          <p:cNvPr id="24" name="Group 23">
            <a:extLst>
              <a:ext uri="{FF2B5EF4-FFF2-40B4-BE49-F238E27FC236}">
                <a16:creationId xmlns:a16="http://schemas.microsoft.com/office/drawing/2014/main" id="{523E3905-5928-4D07-BE05-C7730FFAD271}"/>
              </a:ext>
            </a:extLst>
          </p:cNvPr>
          <p:cNvGrpSpPr/>
          <p:nvPr/>
        </p:nvGrpSpPr>
        <p:grpSpPr>
          <a:xfrm>
            <a:off x="2716045" y="1544621"/>
            <a:ext cx="4473911" cy="1797493"/>
            <a:chOff x="2425700" y="3429000"/>
            <a:chExt cx="6270625" cy="2519363"/>
          </a:xfrm>
        </p:grpSpPr>
        <p:grpSp>
          <p:nvGrpSpPr>
            <p:cNvPr id="25" name="Group 24">
              <a:extLst>
                <a:ext uri="{FF2B5EF4-FFF2-40B4-BE49-F238E27FC236}">
                  <a16:creationId xmlns:a16="http://schemas.microsoft.com/office/drawing/2014/main" id="{21162826-2E02-4BBA-A945-85EA193A172F}"/>
                </a:ext>
              </a:extLst>
            </p:cNvPr>
            <p:cNvGrpSpPr/>
            <p:nvPr/>
          </p:nvGrpSpPr>
          <p:grpSpPr>
            <a:xfrm>
              <a:off x="2425700" y="3429000"/>
              <a:ext cx="6270625" cy="2519363"/>
              <a:chOff x="2425700" y="2365375"/>
              <a:chExt cx="6270625" cy="2519363"/>
            </a:xfrm>
          </p:grpSpPr>
          <p:sp>
            <p:nvSpPr>
              <p:cNvPr id="41" name="Freeform 10">
                <a:extLst>
                  <a:ext uri="{FF2B5EF4-FFF2-40B4-BE49-F238E27FC236}">
                    <a16:creationId xmlns:a16="http://schemas.microsoft.com/office/drawing/2014/main" id="{311D12F3-7F52-473A-A69A-4068E27191B0}"/>
                  </a:ext>
                </a:extLst>
              </p:cNvPr>
              <p:cNvSpPr>
                <a:spLocks/>
              </p:cNvSpPr>
              <p:nvPr/>
            </p:nvSpPr>
            <p:spPr bwMode="auto">
              <a:xfrm>
                <a:off x="5561013" y="2374900"/>
                <a:ext cx="2865438" cy="1247775"/>
              </a:xfrm>
              <a:custGeom>
                <a:avLst/>
                <a:gdLst>
                  <a:gd name="T0" fmla="*/ 0 w 636"/>
                  <a:gd name="T1" fmla="*/ 277 h 277"/>
                  <a:gd name="T2" fmla="*/ 372 w 636"/>
                  <a:gd name="T3" fmla="*/ 0 h 277"/>
                  <a:gd name="T4" fmla="*/ 636 w 636"/>
                  <a:gd name="T5" fmla="*/ 195 h 277"/>
                </a:gdLst>
                <a:ahLst/>
                <a:cxnLst>
                  <a:cxn ang="0">
                    <a:pos x="T0" y="T1"/>
                  </a:cxn>
                  <a:cxn ang="0">
                    <a:pos x="T2" y="T3"/>
                  </a:cxn>
                  <a:cxn ang="0">
                    <a:pos x="T4" y="T5"/>
                  </a:cxn>
                </a:cxnLst>
                <a:rect l="0" t="0" r="r" b="b"/>
                <a:pathLst>
                  <a:path w="636" h="277">
                    <a:moveTo>
                      <a:pt x="0" y="277"/>
                    </a:moveTo>
                    <a:cubicBezTo>
                      <a:pt x="0" y="277"/>
                      <a:pt x="127" y="0"/>
                      <a:pt x="372" y="0"/>
                    </a:cubicBezTo>
                    <a:cubicBezTo>
                      <a:pt x="496" y="0"/>
                      <a:pt x="601" y="82"/>
                      <a:pt x="636" y="195"/>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11">
                <a:extLst>
                  <a:ext uri="{FF2B5EF4-FFF2-40B4-BE49-F238E27FC236}">
                    <a16:creationId xmlns:a16="http://schemas.microsoft.com/office/drawing/2014/main" id="{89322333-7ABA-4B99-9F65-0568583FAAB3}"/>
                  </a:ext>
                </a:extLst>
              </p:cNvPr>
              <p:cNvSpPr>
                <a:spLocks noEditPoints="1"/>
              </p:cNvSpPr>
              <p:nvPr/>
            </p:nvSpPr>
            <p:spPr bwMode="auto">
              <a:xfrm>
                <a:off x="5551488" y="3613150"/>
                <a:ext cx="2943225" cy="1271588"/>
              </a:xfrm>
              <a:custGeom>
                <a:avLst/>
                <a:gdLst>
                  <a:gd name="T0" fmla="*/ 377 w 653"/>
                  <a:gd name="T1" fmla="*/ 278 h 282"/>
                  <a:gd name="T2" fmla="*/ 393 w 653"/>
                  <a:gd name="T3" fmla="*/ 281 h 282"/>
                  <a:gd name="T4" fmla="*/ 401 w 653"/>
                  <a:gd name="T5" fmla="*/ 280 h 282"/>
                  <a:gd name="T6" fmla="*/ 345 w 653"/>
                  <a:gd name="T7" fmla="*/ 280 h 282"/>
                  <a:gd name="T8" fmla="*/ 353 w 653"/>
                  <a:gd name="T9" fmla="*/ 281 h 282"/>
                  <a:gd name="T10" fmla="*/ 322 w 653"/>
                  <a:gd name="T11" fmla="*/ 273 h 282"/>
                  <a:gd name="T12" fmla="*/ 415 w 653"/>
                  <a:gd name="T13" fmla="*/ 277 h 282"/>
                  <a:gd name="T14" fmla="*/ 417 w 653"/>
                  <a:gd name="T15" fmla="*/ 278 h 282"/>
                  <a:gd name="T16" fmla="*/ 296 w 653"/>
                  <a:gd name="T17" fmla="*/ 269 h 282"/>
                  <a:gd name="T18" fmla="*/ 440 w 653"/>
                  <a:gd name="T19" fmla="*/ 273 h 282"/>
                  <a:gd name="T20" fmla="*/ 449 w 653"/>
                  <a:gd name="T21" fmla="*/ 271 h 282"/>
                  <a:gd name="T22" fmla="*/ 274 w 653"/>
                  <a:gd name="T23" fmla="*/ 265 h 282"/>
                  <a:gd name="T24" fmla="*/ 283 w 653"/>
                  <a:gd name="T25" fmla="*/ 267 h 282"/>
                  <a:gd name="T26" fmla="*/ 473 w 653"/>
                  <a:gd name="T27" fmla="*/ 261 h 282"/>
                  <a:gd name="T28" fmla="*/ 259 w 653"/>
                  <a:gd name="T29" fmla="*/ 259 h 282"/>
                  <a:gd name="T30" fmla="*/ 262 w 653"/>
                  <a:gd name="T31" fmla="*/ 258 h 282"/>
                  <a:gd name="T32" fmla="*/ 492 w 653"/>
                  <a:gd name="T33" fmla="*/ 251 h 282"/>
                  <a:gd name="T34" fmla="*/ 238 w 653"/>
                  <a:gd name="T35" fmla="*/ 250 h 282"/>
                  <a:gd name="T36" fmla="*/ 239 w 653"/>
                  <a:gd name="T37" fmla="*/ 246 h 282"/>
                  <a:gd name="T38" fmla="*/ 506 w 653"/>
                  <a:gd name="T39" fmla="*/ 244 h 282"/>
                  <a:gd name="T40" fmla="*/ 507 w 653"/>
                  <a:gd name="T41" fmla="*/ 247 h 282"/>
                  <a:gd name="T42" fmla="*/ 211 w 653"/>
                  <a:gd name="T43" fmla="*/ 231 h 282"/>
                  <a:gd name="T44" fmla="*/ 526 w 653"/>
                  <a:gd name="T45" fmla="*/ 234 h 282"/>
                  <a:gd name="T46" fmla="*/ 529 w 653"/>
                  <a:gd name="T47" fmla="*/ 235 h 282"/>
                  <a:gd name="T48" fmla="*/ 188 w 653"/>
                  <a:gd name="T49" fmla="*/ 218 h 282"/>
                  <a:gd name="T50" fmla="*/ 547 w 653"/>
                  <a:gd name="T51" fmla="*/ 221 h 282"/>
                  <a:gd name="T52" fmla="*/ 554 w 653"/>
                  <a:gd name="T53" fmla="*/ 215 h 282"/>
                  <a:gd name="T54" fmla="*/ 169 w 653"/>
                  <a:gd name="T55" fmla="*/ 207 h 282"/>
                  <a:gd name="T56" fmla="*/ 177 w 653"/>
                  <a:gd name="T57" fmla="*/ 212 h 282"/>
                  <a:gd name="T58" fmla="*/ 572 w 653"/>
                  <a:gd name="T59" fmla="*/ 196 h 282"/>
                  <a:gd name="T60" fmla="*/ 156 w 653"/>
                  <a:gd name="T61" fmla="*/ 197 h 282"/>
                  <a:gd name="T62" fmla="*/ 159 w 653"/>
                  <a:gd name="T63" fmla="*/ 197 h 282"/>
                  <a:gd name="T64" fmla="*/ 585 w 653"/>
                  <a:gd name="T65" fmla="*/ 178 h 282"/>
                  <a:gd name="T66" fmla="*/ 139 w 653"/>
                  <a:gd name="T67" fmla="*/ 182 h 282"/>
                  <a:gd name="T68" fmla="*/ 141 w 653"/>
                  <a:gd name="T69" fmla="*/ 178 h 282"/>
                  <a:gd name="T70" fmla="*/ 595 w 653"/>
                  <a:gd name="T71" fmla="*/ 166 h 282"/>
                  <a:gd name="T72" fmla="*/ 597 w 653"/>
                  <a:gd name="T73" fmla="*/ 169 h 282"/>
                  <a:gd name="T74" fmla="*/ 118 w 653"/>
                  <a:gd name="T75" fmla="*/ 157 h 282"/>
                  <a:gd name="T76" fmla="*/ 609 w 653"/>
                  <a:gd name="T77" fmla="*/ 149 h 282"/>
                  <a:gd name="T78" fmla="*/ 612 w 653"/>
                  <a:gd name="T79" fmla="*/ 148 h 282"/>
                  <a:gd name="T80" fmla="*/ 98 w 653"/>
                  <a:gd name="T81" fmla="*/ 139 h 282"/>
                  <a:gd name="T82" fmla="*/ 89 w 653"/>
                  <a:gd name="T83" fmla="*/ 131 h 282"/>
                  <a:gd name="T84" fmla="*/ 90 w 653"/>
                  <a:gd name="T85" fmla="*/ 127 h 282"/>
                  <a:gd name="T86" fmla="*/ 620 w 653"/>
                  <a:gd name="T87" fmla="*/ 125 h 282"/>
                  <a:gd name="T88" fmla="*/ 622 w 653"/>
                  <a:gd name="T89" fmla="*/ 128 h 282"/>
                  <a:gd name="T90" fmla="*/ 70 w 653"/>
                  <a:gd name="T91" fmla="*/ 103 h 282"/>
                  <a:gd name="T92" fmla="*/ 631 w 653"/>
                  <a:gd name="T93" fmla="*/ 106 h 282"/>
                  <a:gd name="T94" fmla="*/ 633 w 653"/>
                  <a:gd name="T95" fmla="*/ 105 h 282"/>
                  <a:gd name="T96" fmla="*/ 53 w 653"/>
                  <a:gd name="T97" fmla="*/ 83 h 282"/>
                  <a:gd name="T98" fmla="*/ 639 w 653"/>
                  <a:gd name="T99" fmla="*/ 83 h 282"/>
                  <a:gd name="T100" fmla="*/ 643 w 653"/>
                  <a:gd name="T101" fmla="*/ 74 h 282"/>
                  <a:gd name="T102" fmla="*/ 38 w 653"/>
                  <a:gd name="T103" fmla="*/ 66 h 282"/>
                  <a:gd name="T104" fmla="*/ 45 w 653"/>
                  <a:gd name="T105" fmla="*/ 74 h 282"/>
                  <a:gd name="T106" fmla="*/ 647 w 653"/>
                  <a:gd name="T107" fmla="*/ 48 h 282"/>
                  <a:gd name="T108" fmla="*/ 29 w 653"/>
                  <a:gd name="T109" fmla="*/ 53 h 282"/>
                  <a:gd name="T110" fmla="*/ 32 w 653"/>
                  <a:gd name="T111" fmla="*/ 54 h 282"/>
                  <a:gd name="T112" fmla="*/ 648 w 653"/>
                  <a:gd name="T113" fmla="*/ 26 h 282"/>
                  <a:gd name="T114" fmla="*/ 18 w 653"/>
                  <a:gd name="T115" fmla="*/ 34 h 282"/>
                  <a:gd name="T116" fmla="*/ 20 w 653"/>
                  <a:gd name="T117" fmla="*/ 31 h 282"/>
                  <a:gd name="T118" fmla="*/ 1 w 653"/>
                  <a:gd name="T119" fmla="*/ 4 h 282"/>
                  <a:gd name="T120" fmla="*/ 6 w 653"/>
                  <a:gd name="T121" fmla="*/ 13 h 282"/>
                  <a:gd name="T122" fmla="*/ 651 w 653"/>
                  <a:gd name="T123"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3" h="282">
                    <a:moveTo>
                      <a:pt x="374" y="282"/>
                    </a:moveTo>
                    <a:cubicBezTo>
                      <a:pt x="372" y="282"/>
                      <a:pt x="371" y="282"/>
                      <a:pt x="369" y="282"/>
                    </a:cubicBezTo>
                    <a:cubicBezTo>
                      <a:pt x="368" y="282"/>
                      <a:pt x="367" y="281"/>
                      <a:pt x="367" y="280"/>
                    </a:cubicBezTo>
                    <a:cubicBezTo>
                      <a:pt x="367" y="278"/>
                      <a:pt x="368" y="278"/>
                      <a:pt x="369" y="278"/>
                    </a:cubicBezTo>
                    <a:cubicBezTo>
                      <a:pt x="372" y="278"/>
                      <a:pt x="374" y="278"/>
                      <a:pt x="377" y="278"/>
                    </a:cubicBezTo>
                    <a:cubicBezTo>
                      <a:pt x="377" y="278"/>
                      <a:pt x="377" y="278"/>
                      <a:pt x="377" y="278"/>
                    </a:cubicBezTo>
                    <a:cubicBezTo>
                      <a:pt x="378" y="278"/>
                      <a:pt x="379" y="278"/>
                      <a:pt x="379" y="280"/>
                    </a:cubicBezTo>
                    <a:cubicBezTo>
                      <a:pt x="379" y="281"/>
                      <a:pt x="378" y="282"/>
                      <a:pt x="377" y="282"/>
                    </a:cubicBezTo>
                    <a:cubicBezTo>
                      <a:pt x="376" y="282"/>
                      <a:pt x="375" y="282"/>
                      <a:pt x="374" y="282"/>
                    </a:cubicBezTo>
                    <a:close/>
                    <a:moveTo>
                      <a:pt x="393" y="281"/>
                    </a:moveTo>
                    <a:cubicBezTo>
                      <a:pt x="392" y="281"/>
                      <a:pt x="391" y="280"/>
                      <a:pt x="391" y="279"/>
                    </a:cubicBezTo>
                    <a:cubicBezTo>
                      <a:pt x="391" y="278"/>
                      <a:pt x="392" y="277"/>
                      <a:pt x="393" y="277"/>
                    </a:cubicBezTo>
                    <a:cubicBezTo>
                      <a:pt x="396" y="277"/>
                      <a:pt x="398" y="277"/>
                      <a:pt x="401" y="276"/>
                    </a:cubicBezTo>
                    <a:cubicBezTo>
                      <a:pt x="402" y="276"/>
                      <a:pt x="403" y="277"/>
                      <a:pt x="403" y="278"/>
                    </a:cubicBezTo>
                    <a:cubicBezTo>
                      <a:pt x="403" y="279"/>
                      <a:pt x="402" y="280"/>
                      <a:pt x="401" y="280"/>
                    </a:cubicBezTo>
                    <a:cubicBezTo>
                      <a:pt x="399" y="281"/>
                      <a:pt x="396" y="281"/>
                      <a:pt x="393" y="281"/>
                    </a:cubicBezTo>
                    <a:cubicBezTo>
                      <a:pt x="393" y="281"/>
                      <a:pt x="393" y="281"/>
                      <a:pt x="393" y="281"/>
                    </a:cubicBezTo>
                    <a:close/>
                    <a:moveTo>
                      <a:pt x="353" y="281"/>
                    </a:moveTo>
                    <a:cubicBezTo>
                      <a:pt x="353" y="281"/>
                      <a:pt x="353" y="281"/>
                      <a:pt x="353" y="281"/>
                    </a:cubicBezTo>
                    <a:cubicBezTo>
                      <a:pt x="350" y="281"/>
                      <a:pt x="348" y="280"/>
                      <a:pt x="345" y="280"/>
                    </a:cubicBezTo>
                    <a:cubicBezTo>
                      <a:pt x="344" y="280"/>
                      <a:pt x="343" y="279"/>
                      <a:pt x="343" y="278"/>
                    </a:cubicBezTo>
                    <a:cubicBezTo>
                      <a:pt x="343" y="277"/>
                      <a:pt x="344" y="276"/>
                      <a:pt x="345" y="276"/>
                    </a:cubicBezTo>
                    <a:cubicBezTo>
                      <a:pt x="348" y="276"/>
                      <a:pt x="351" y="277"/>
                      <a:pt x="353" y="277"/>
                    </a:cubicBezTo>
                    <a:cubicBezTo>
                      <a:pt x="354" y="277"/>
                      <a:pt x="355" y="278"/>
                      <a:pt x="355" y="279"/>
                    </a:cubicBezTo>
                    <a:cubicBezTo>
                      <a:pt x="355" y="280"/>
                      <a:pt x="354" y="281"/>
                      <a:pt x="353" y="281"/>
                    </a:cubicBezTo>
                    <a:close/>
                    <a:moveTo>
                      <a:pt x="329" y="278"/>
                    </a:moveTo>
                    <a:cubicBezTo>
                      <a:pt x="329" y="278"/>
                      <a:pt x="329" y="278"/>
                      <a:pt x="329" y="278"/>
                    </a:cubicBezTo>
                    <a:cubicBezTo>
                      <a:pt x="326" y="278"/>
                      <a:pt x="324" y="277"/>
                      <a:pt x="321" y="277"/>
                    </a:cubicBezTo>
                    <a:cubicBezTo>
                      <a:pt x="320" y="277"/>
                      <a:pt x="319" y="276"/>
                      <a:pt x="320" y="275"/>
                    </a:cubicBezTo>
                    <a:cubicBezTo>
                      <a:pt x="320" y="274"/>
                      <a:pt x="321" y="273"/>
                      <a:pt x="322" y="273"/>
                    </a:cubicBezTo>
                    <a:cubicBezTo>
                      <a:pt x="324" y="273"/>
                      <a:pt x="327" y="274"/>
                      <a:pt x="330" y="274"/>
                    </a:cubicBezTo>
                    <a:cubicBezTo>
                      <a:pt x="331" y="274"/>
                      <a:pt x="332" y="275"/>
                      <a:pt x="331" y="277"/>
                    </a:cubicBezTo>
                    <a:cubicBezTo>
                      <a:pt x="331" y="278"/>
                      <a:pt x="330" y="278"/>
                      <a:pt x="329" y="278"/>
                    </a:cubicBezTo>
                    <a:close/>
                    <a:moveTo>
                      <a:pt x="417" y="278"/>
                    </a:moveTo>
                    <a:cubicBezTo>
                      <a:pt x="416" y="278"/>
                      <a:pt x="415" y="278"/>
                      <a:pt x="415" y="277"/>
                    </a:cubicBezTo>
                    <a:cubicBezTo>
                      <a:pt x="415" y="275"/>
                      <a:pt x="416" y="274"/>
                      <a:pt x="417" y="274"/>
                    </a:cubicBezTo>
                    <a:cubicBezTo>
                      <a:pt x="419" y="274"/>
                      <a:pt x="422" y="273"/>
                      <a:pt x="424" y="273"/>
                    </a:cubicBezTo>
                    <a:cubicBezTo>
                      <a:pt x="426" y="273"/>
                      <a:pt x="427" y="273"/>
                      <a:pt x="427" y="274"/>
                    </a:cubicBezTo>
                    <a:cubicBezTo>
                      <a:pt x="427" y="276"/>
                      <a:pt x="426" y="277"/>
                      <a:pt x="425" y="277"/>
                    </a:cubicBezTo>
                    <a:cubicBezTo>
                      <a:pt x="423" y="277"/>
                      <a:pt x="420" y="278"/>
                      <a:pt x="417" y="278"/>
                    </a:cubicBezTo>
                    <a:cubicBezTo>
                      <a:pt x="417" y="278"/>
                      <a:pt x="417" y="278"/>
                      <a:pt x="417" y="278"/>
                    </a:cubicBezTo>
                    <a:close/>
                    <a:moveTo>
                      <a:pt x="306" y="274"/>
                    </a:moveTo>
                    <a:cubicBezTo>
                      <a:pt x="306" y="274"/>
                      <a:pt x="306" y="274"/>
                      <a:pt x="305" y="274"/>
                    </a:cubicBezTo>
                    <a:cubicBezTo>
                      <a:pt x="303" y="273"/>
                      <a:pt x="300" y="272"/>
                      <a:pt x="298" y="272"/>
                    </a:cubicBezTo>
                    <a:cubicBezTo>
                      <a:pt x="296" y="271"/>
                      <a:pt x="296" y="270"/>
                      <a:pt x="296" y="269"/>
                    </a:cubicBezTo>
                    <a:cubicBezTo>
                      <a:pt x="296" y="268"/>
                      <a:pt x="298" y="268"/>
                      <a:pt x="299" y="268"/>
                    </a:cubicBezTo>
                    <a:cubicBezTo>
                      <a:pt x="301" y="269"/>
                      <a:pt x="304" y="269"/>
                      <a:pt x="306" y="270"/>
                    </a:cubicBezTo>
                    <a:cubicBezTo>
                      <a:pt x="307" y="270"/>
                      <a:pt x="308" y="271"/>
                      <a:pt x="308" y="272"/>
                    </a:cubicBezTo>
                    <a:cubicBezTo>
                      <a:pt x="308" y="273"/>
                      <a:pt x="307" y="274"/>
                      <a:pt x="306" y="274"/>
                    </a:cubicBezTo>
                    <a:close/>
                    <a:moveTo>
                      <a:pt x="440" y="273"/>
                    </a:moveTo>
                    <a:cubicBezTo>
                      <a:pt x="440" y="273"/>
                      <a:pt x="439" y="273"/>
                      <a:pt x="439" y="272"/>
                    </a:cubicBezTo>
                    <a:cubicBezTo>
                      <a:pt x="438" y="271"/>
                      <a:pt x="439" y="270"/>
                      <a:pt x="440" y="270"/>
                    </a:cubicBezTo>
                    <a:cubicBezTo>
                      <a:pt x="443" y="269"/>
                      <a:pt x="445" y="268"/>
                      <a:pt x="448" y="268"/>
                    </a:cubicBezTo>
                    <a:cubicBezTo>
                      <a:pt x="449" y="267"/>
                      <a:pt x="450" y="268"/>
                      <a:pt x="450" y="269"/>
                    </a:cubicBezTo>
                    <a:cubicBezTo>
                      <a:pt x="450" y="270"/>
                      <a:pt x="450" y="271"/>
                      <a:pt x="449" y="271"/>
                    </a:cubicBezTo>
                    <a:cubicBezTo>
                      <a:pt x="446" y="272"/>
                      <a:pt x="444" y="273"/>
                      <a:pt x="441" y="273"/>
                    </a:cubicBezTo>
                    <a:cubicBezTo>
                      <a:pt x="441" y="273"/>
                      <a:pt x="441" y="273"/>
                      <a:pt x="440" y="273"/>
                    </a:cubicBezTo>
                    <a:close/>
                    <a:moveTo>
                      <a:pt x="283" y="267"/>
                    </a:moveTo>
                    <a:cubicBezTo>
                      <a:pt x="283" y="267"/>
                      <a:pt x="282" y="267"/>
                      <a:pt x="282" y="267"/>
                    </a:cubicBezTo>
                    <a:cubicBezTo>
                      <a:pt x="280" y="266"/>
                      <a:pt x="277" y="266"/>
                      <a:pt x="274" y="265"/>
                    </a:cubicBezTo>
                    <a:cubicBezTo>
                      <a:pt x="273" y="264"/>
                      <a:pt x="273" y="263"/>
                      <a:pt x="273" y="262"/>
                    </a:cubicBezTo>
                    <a:cubicBezTo>
                      <a:pt x="274" y="261"/>
                      <a:pt x="275" y="261"/>
                      <a:pt x="276" y="261"/>
                    </a:cubicBezTo>
                    <a:cubicBezTo>
                      <a:pt x="278" y="262"/>
                      <a:pt x="281" y="263"/>
                      <a:pt x="283" y="263"/>
                    </a:cubicBezTo>
                    <a:cubicBezTo>
                      <a:pt x="284" y="264"/>
                      <a:pt x="285" y="265"/>
                      <a:pt x="285" y="266"/>
                    </a:cubicBezTo>
                    <a:cubicBezTo>
                      <a:pt x="284" y="267"/>
                      <a:pt x="284" y="267"/>
                      <a:pt x="283" y="267"/>
                    </a:cubicBezTo>
                    <a:close/>
                    <a:moveTo>
                      <a:pt x="463" y="267"/>
                    </a:moveTo>
                    <a:cubicBezTo>
                      <a:pt x="463" y="267"/>
                      <a:pt x="462" y="266"/>
                      <a:pt x="462" y="265"/>
                    </a:cubicBezTo>
                    <a:cubicBezTo>
                      <a:pt x="461" y="264"/>
                      <a:pt x="462" y="263"/>
                      <a:pt x="463" y="263"/>
                    </a:cubicBezTo>
                    <a:cubicBezTo>
                      <a:pt x="465" y="262"/>
                      <a:pt x="468" y="261"/>
                      <a:pt x="470" y="260"/>
                    </a:cubicBezTo>
                    <a:cubicBezTo>
                      <a:pt x="471" y="260"/>
                      <a:pt x="472" y="260"/>
                      <a:pt x="473" y="261"/>
                    </a:cubicBezTo>
                    <a:cubicBezTo>
                      <a:pt x="473" y="262"/>
                      <a:pt x="473" y="263"/>
                      <a:pt x="472" y="264"/>
                    </a:cubicBezTo>
                    <a:cubicBezTo>
                      <a:pt x="469" y="265"/>
                      <a:pt x="467" y="266"/>
                      <a:pt x="464" y="267"/>
                    </a:cubicBezTo>
                    <a:cubicBezTo>
                      <a:pt x="464" y="267"/>
                      <a:pt x="464" y="267"/>
                      <a:pt x="463" y="267"/>
                    </a:cubicBezTo>
                    <a:close/>
                    <a:moveTo>
                      <a:pt x="260" y="259"/>
                    </a:moveTo>
                    <a:cubicBezTo>
                      <a:pt x="260" y="259"/>
                      <a:pt x="260" y="259"/>
                      <a:pt x="259" y="259"/>
                    </a:cubicBezTo>
                    <a:cubicBezTo>
                      <a:pt x="257" y="258"/>
                      <a:pt x="254" y="257"/>
                      <a:pt x="252" y="256"/>
                    </a:cubicBezTo>
                    <a:cubicBezTo>
                      <a:pt x="251" y="256"/>
                      <a:pt x="250" y="254"/>
                      <a:pt x="251" y="253"/>
                    </a:cubicBezTo>
                    <a:cubicBezTo>
                      <a:pt x="251" y="252"/>
                      <a:pt x="253" y="252"/>
                      <a:pt x="254" y="252"/>
                    </a:cubicBezTo>
                    <a:cubicBezTo>
                      <a:pt x="256" y="253"/>
                      <a:pt x="258" y="254"/>
                      <a:pt x="261" y="255"/>
                    </a:cubicBezTo>
                    <a:cubicBezTo>
                      <a:pt x="262" y="256"/>
                      <a:pt x="262" y="257"/>
                      <a:pt x="262" y="258"/>
                    </a:cubicBezTo>
                    <a:cubicBezTo>
                      <a:pt x="262" y="259"/>
                      <a:pt x="261" y="259"/>
                      <a:pt x="260" y="259"/>
                    </a:cubicBezTo>
                    <a:close/>
                    <a:moveTo>
                      <a:pt x="486" y="258"/>
                    </a:moveTo>
                    <a:cubicBezTo>
                      <a:pt x="485" y="258"/>
                      <a:pt x="484" y="258"/>
                      <a:pt x="484" y="257"/>
                    </a:cubicBezTo>
                    <a:cubicBezTo>
                      <a:pt x="484" y="256"/>
                      <a:pt x="484" y="255"/>
                      <a:pt x="485" y="254"/>
                    </a:cubicBezTo>
                    <a:cubicBezTo>
                      <a:pt x="487" y="253"/>
                      <a:pt x="490" y="252"/>
                      <a:pt x="492" y="251"/>
                    </a:cubicBezTo>
                    <a:cubicBezTo>
                      <a:pt x="493" y="250"/>
                      <a:pt x="494" y="251"/>
                      <a:pt x="495" y="252"/>
                    </a:cubicBezTo>
                    <a:cubicBezTo>
                      <a:pt x="495" y="253"/>
                      <a:pt x="495" y="254"/>
                      <a:pt x="494" y="254"/>
                    </a:cubicBezTo>
                    <a:cubicBezTo>
                      <a:pt x="492" y="256"/>
                      <a:pt x="489" y="257"/>
                      <a:pt x="487" y="258"/>
                    </a:cubicBezTo>
                    <a:cubicBezTo>
                      <a:pt x="486" y="258"/>
                      <a:pt x="486" y="258"/>
                      <a:pt x="486" y="258"/>
                    </a:cubicBezTo>
                    <a:close/>
                    <a:moveTo>
                      <a:pt x="238" y="250"/>
                    </a:moveTo>
                    <a:cubicBezTo>
                      <a:pt x="238" y="250"/>
                      <a:pt x="238" y="249"/>
                      <a:pt x="237" y="249"/>
                    </a:cubicBezTo>
                    <a:cubicBezTo>
                      <a:pt x="235" y="248"/>
                      <a:pt x="233" y="247"/>
                      <a:pt x="230" y="246"/>
                    </a:cubicBezTo>
                    <a:cubicBezTo>
                      <a:pt x="229" y="245"/>
                      <a:pt x="229" y="244"/>
                      <a:pt x="229" y="243"/>
                    </a:cubicBezTo>
                    <a:cubicBezTo>
                      <a:pt x="230" y="242"/>
                      <a:pt x="231" y="242"/>
                      <a:pt x="232" y="242"/>
                    </a:cubicBezTo>
                    <a:cubicBezTo>
                      <a:pt x="234" y="243"/>
                      <a:pt x="237" y="245"/>
                      <a:pt x="239" y="246"/>
                    </a:cubicBezTo>
                    <a:cubicBezTo>
                      <a:pt x="240" y="246"/>
                      <a:pt x="240" y="247"/>
                      <a:pt x="240" y="248"/>
                    </a:cubicBezTo>
                    <a:cubicBezTo>
                      <a:pt x="240" y="249"/>
                      <a:pt x="239" y="250"/>
                      <a:pt x="238" y="250"/>
                    </a:cubicBezTo>
                    <a:close/>
                    <a:moveTo>
                      <a:pt x="507" y="247"/>
                    </a:moveTo>
                    <a:cubicBezTo>
                      <a:pt x="507" y="247"/>
                      <a:pt x="506" y="247"/>
                      <a:pt x="505" y="246"/>
                    </a:cubicBezTo>
                    <a:cubicBezTo>
                      <a:pt x="505" y="245"/>
                      <a:pt x="505" y="244"/>
                      <a:pt x="506" y="244"/>
                    </a:cubicBezTo>
                    <a:cubicBezTo>
                      <a:pt x="509" y="242"/>
                      <a:pt x="511" y="241"/>
                      <a:pt x="513" y="240"/>
                    </a:cubicBezTo>
                    <a:cubicBezTo>
                      <a:pt x="514" y="239"/>
                      <a:pt x="515" y="239"/>
                      <a:pt x="516" y="240"/>
                    </a:cubicBezTo>
                    <a:cubicBezTo>
                      <a:pt x="516" y="241"/>
                      <a:pt x="516" y="243"/>
                      <a:pt x="515" y="243"/>
                    </a:cubicBezTo>
                    <a:cubicBezTo>
                      <a:pt x="513" y="244"/>
                      <a:pt x="511" y="246"/>
                      <a:pt x="508" y="247"/>
                    </a:cubicBezTo>
                    <a:cubicBezTo>
                      <a:pt x="508" y="247"/>
                      <a:pt x="508" y="247"/>
                      <a:pt x="507" y="247"/>
                    </a:cubicBezTo>
                    <a:close/>
                    <a:moveTo>
                      <a:pt x="217" y="238"/>
                    </a:moveTo>
                    <a:cubicBezTo>
                      <a:pt x="217" y="238"/>
                      <a:pt x="216" y="238"/>
                      <a:pt x="216" y="238"/>
                    </a:cubicBezTo>
                    <a:cubicBezTo>
                      <a:pt x="214" y="237"/>
                      <a:pt x="211" y="235"/>
                      <a:pt x="209" y="234"/>
                    </a:cubicBezTo>
                    <a:cubicBezTo>
                      <a:pt x="208" y="233"/>
                      <a:pt x="208" y="232"/>
                      <a:pt x="208" y="231"/>
                    </a:cubicBezTo>
                    <a:cubicBezTo>
                      <a:pt x="209" y="230"/>
                      <a:pt x="210" y="230"/>
                      <a:pt x="211" y="231"/>
                    </a:cubicBezTo>
                    <a:cubicBezTo>
                      <a:pt x="213" y="232"/>
                      <a:pt x="216" y="233"/>
                      <a:pt x="218" y="235"/>
                    </a:cubicBezTo>
                    <a:cubicBezTo>
                      <a:pt x="219" y="235"/>
                      <a:pt x="219" y="236"/>
                      <a:pt x="219" y="237"/>
                    </a:cubicBezTo>
                    <a:cubicBezTo>
                      <a:pt x="218" y="238"/>
                      <a:pt x="218" y="238"/>
                      <a:pt x="217" y="238"/>
                    </a:cubicBezTo>
                    <a:close/>
                    <a:moveTo>
                      <a:pt x="528" y="235"/>
                    </a:moveTo>
                    <a:cubicBezTo>
                      <a:pt x="527" y="235"/>
                      <a:pt x="526" y="235"/>
                      <a:pt x="526" y="234"/>
                    </a:cubicBezTo>
                    <a:cubicBezTo>
                      <a:pt x="525" y="233"/>
                      <a:pt x="526" y="232"/>
                      <a:pt x="527" y="231"/>
                    </a:cubicBezTo>
                    <a:cubicBezTo>
                      <a:pt x="529" y="230"/>
                      <a:pt x="531" y="228"/>
                      <a:pt x="533" y="227"/>
                    </a:cubicBezTo>
                    <a:cubicBezTo>
                      <a:pt x="534" y="226"/>
                      <a:pt x="535" y="226"/>
                      <a:pt x="536" y="227"/>
                    </a:cubicBezTo>
                    <a:cubicBezTo>
                      <a:pt x="537" y="228"/>
                      <a:pt x="536" y="229"/>
                      <a:pt x="535" y="230"/>
                    </a:cubicBezTo>
                    <a:cubicBezTo>
                      <a:pt x="533" y="231"/>
                      <a:pt x="531" y="233"/>
                      <a:pt x="529" y="235"/>
                    </a:cubicBezTo>
                    <a:cubicBezTo>
                      <a:pt x="528" y="235"/>
                      <a:pt x="528" y="235"/>
                      <a:pt x="528" y="235"/>
                    </a:cubicBezTo>
                    <a:close/>
                    <a:moveTo>
                      <a:pt x="196" y="226"/>
                    </a:moveTo>
                    <a:cubicBezTo>
                      <a:pt x="196" y="226"/>
                      <a:pt x="196" y="226"/>
                      <a:pt x="195" y="226"/>
                    </a:cubicBezTo>
                    <a:cubicBezTo>
                      <a:pt x="193" y="224"/>
                      <a:pt x="191" y="223"/>
                      <a:pt x="189" y="221"/>
                    </a:cubicBezTo>
                    <a:cubicBezTo>
                      <a:pt x="188" y="220"/>
                      <a:pt x="188" y="219"/>
                      <a:pt x="188" y="218"/>
                    </a:cubicBezTo>
                    <a:cubicBezTo>
                      <a:pt x="189" y="217"/>
                      <a:pt x="190" y="217"/>
                      <a:pt x="191" y="218"/>
                    </a:cubicBezTo>
                    <a:cubicBezTo>
                      <a:pt x="193" y="219"/>
                      <a:pt x="195" y="221"/>
                      <a:pt x="198" y="222"/>
                    </a:cubicBezTo>
                    <a:cubicBezTo>
                      <a:pt x="198" y="223"/>
                      <a:pt x="199" y="224"/>
                      <a:pt x="198" y="225"/>
                    </a:cubicBezTo>
                    <a:cubicBezTo>
                      <a:pt x="198" y="226"/>
                      <a:pt x="197" y="226"/>
                      <a:pt x="196" y="226"/>
                    </a:cubicBezTo>
                    <a:close/>
                    <a:moveTo>
                      <a:pt x="547" y="221"/>
                    </a:moveTo>
                    <a:cubicBezTo>
                      <a:pt x="546" y="221"/>
                      <a:pt x="546" y="220"/>
                      <a:pt x="545" y="220"/>
                    </a:cubicBezTo>
                    <a:cubicBezTo>
                      <a:pt x="545" y="219"/>
                      <a:pt x="545" y="218"/>
                      <a:pt x="546" y="217"/>
                    </a:cubicBezTo>
                    <a:cubicBezTo>
                      <a:pt x="548" y="215"/>
                      <a:pt x="550" y="214"/>
                      <a:pt x="552" y="212"/>
                    </a:cubicBezTo>
                    <a:cubicBezTo>
                      <a:pt x="553" y="211"/>
                      <a:pt x="554" y="211"/>
                      <a:pt x="555" y="212"/>
                    </a:cubicBezTo>
                    <a:cubicBezTo>
                      <a:pt x="555" y="213"/>
                      <a:pt x="555" y="214"/>
                      <a:pt x="554" y="215"/>
                    </a:cubicBezTo>
                    <a:cubicBezTo>
                      <a:pt x="552" y="217"/>
                      <a:pt x="550" y="219"/>
                      <a:pt x="548" y="220"/>
                    </a:cubicBezTo>
                    <a:cubicBezTo>
                      <a:pt x="548" y="221"/>
                      <a:pt x="547" y="221"/>
                      <a:pt x="547" y="221"/>
                    </a:cubicBezTo>
                    <a:close/>
                    <a:moveTo>
                      <a:pt x="177" y="212"/>
                    </a:moveTo>
                    <a:cubicBezTo>
                      <a:pt x="176" y="212"/>
                      <a:pt x="176" y="212"/>
                      <a:pt x="176" y="212"/>
                    </a:cubicBezTo>
                    <a:cubicBezTo>
                      <a:pt x="173" y="210"/>
                      <a:pt x="171" y="209"/>
                      <a:pt x="169" y="207"/>
                    </a:cubicBezTo>
                    <a:cubicBezTo>
                      <a:pt x="168" y="206"/>
                      <a:pt x="168" y="205"/>
                      <a:pt x="169" y="204"/>
                    </a:cubicBezTo>
                    <a:cubicBezTo>
                      <a:pt x="169" y="203"/>
                      <a:pt x="171" y="203"/>
                      <a:pt x="171" y="204"/>
                    </a:cubicBezTo>
                    <a:cubicBezTo>
                      <a:pt x="174" y="205"/>
                      <a:pt x="176" y="207"/>
                      <a:pt x="178" y="209"/>
                    </a:cubicBezTo>
                    <a:cubicBezTo>
                      <a:pt x="179" y="209"/>
                      <a:pt x="179" y="211"/>
                      <a:pt x="178" y="211"/>
                    </a:cubicBezTo>
                    <a:cubicBezTo>
                      <a:pt x="178" y="212"/>
                      <a:pt x="177" y="212"/>
                      <a:pt x="177" y="212"/>
                    </a:cubicBezTo>
                    <a:close/>
                    <a:moveTo>
                      <a:pt x="565" y="205"/>
                    </a:moveTo>
                    <a:cubicBezTo>
                      <a:pt x="565" y="205"/>
                      <a:pt x="564" y="205"/>
                      <a:pt x="564" y="204"/>
                    </a:cubicBezTo>
                    <a:cubicBezTo>
                      <a:pt x="563" y="203"/>
                      <a:pt x="563" y="202"/>
                      <a:pt x="564" y="201"/>
                    </a:cubicBezTo>
                    <a:cubicBezTo>
                      <a:pt x="566" y="200"/>
                      <a:pt x="567" y="198"/>
                      <a:pt x="569" y="196"/>
                    </a:cubicBezTo>
                    <a:cubicBezTo>
                      <a:pt x="570" y="195"/>
                      <a:pt x="571" y="195"/>
                      <a:pt x="572" y="196"/>
                    </a:cubicBezTo>
                    <a:cubicBezTo>
                      <a:pt x="573" y="197"/>
                      <a:pt x="573" y="198"/>
                      <a:pt x="572" y="199"/>
                    </a:cubicBezTo>
                    <a:cubicBezTo>
                      <a:pt x="570" y="201"/>
                      <a:pt x="568" y="202"/>
                      <a:pt x="566" y="204"/>
                    </a:cubicBezTo>
                    <a:cubicBezTo>
                      <a:pt x="566" y="205"/>
                      <a:pt x="566" y="205"/>
                      <a:pt x="565" y="205"/>
                    </a:cubicBezTo>
                    <a:close/>
                    <a:moveTo>
                      <a:pt x="158" y="198"/>
                    </a:moveTo>
                    <a:cubicBezTo>
                      <a:pt x="157" y="198"/>
                      <a:pt x="157" y="197"/>
                      <a:pt x="156" y="197"/>
                    </a:cubicBezTo>
                    <a:cubicBezTo>
                      <a:pt x="154" y="195"/>
                      <a:pt x="152" y="194"/>
                      <a:pt x="150" y="192"/>
                    </a:cubicBezTo>
                    <a:cubicBezTo>
                      <a:pt x="149" y="191"/>
                      <a:pt x="149" y="190"/>
                      <a:pt x="150" y="189"/>
                    </a:cubicBezTo>
                    <a:cubicBezTo>
                      <a:pt x="151" y="188"/>
                      <a:pt x="152" y="188"/>
                      <a:pt x="153" y="189"/>
                    </a:cubicBezTo>
                    <a:cubicBezTo>
                      <a:pt x="155" y="191"/>
                      <a:pt x="157" y="192"/>
                      <a:pt x="159" y="194"/>
                    </a:cubicBezTo>
                    <a:cubicBezTo>
                      <a:pt x="160" y="195"/>
                      <a:pt x="160" y="196"/>
                      <a:pt x="159" y="197"/>
                    </a:cubicBezTo>
                    <a:cubicBezTo>
                      <a:pt x="159" y="197"/>
                      <a:pt x="158" y="198"/>
                      <a:pt x="158" y="198"/>
                    </a:cubicBezTo>
                    <a:close/>
                    <a:moveTo>
                      <a:pt x="582" y="188"/>
                    </a:moveTo>
                    <a:cubicBezTo>
                      <a:pt x="581" y="188"/>
                      <a:pt x="581" y="187"/>
                      <a:pt x="580" y="187"/>
                    </a:cubicBezTo>
                    <a:cubicBezTo>
                      <a:pt x="580" y="186"/>
                      <a:pt x="579" y="185"/>
                      <a:pt x="580" y="184"/>
                    </a:cubicBezTo>
                    <a:cubicBezTo>
                      <a:pt x="582" y="182"/>
                      <a:pt x="584" y="180"/>
                      <a:pt x="585" y="178"/>
                    </a:cubicBezTo>
                    <a:cubicBezTo>
                      <a:pt x="586" y="177"/>
                      <a:pt x="587" y="177"/>
                      <a:pt x="588" y="178"/>
                    </a:cubicBezTo>
                    <a:cubicBezTo>
                      <a:pt x="589" y="179"/>
                      <a:pt x="589" y="180"/>
                      <a:pt x="588" y="181"/>
                    </a:cubicBezTo>
                    <a:cubicBezTo>
                      <a:pt x="587" y="183"/>
                      <a:pt x="585" y="185"/>
                      <a:pt x="583" y="187"/>
                    </a:cubicBezTo>
                    <a:cubicBezTo>
                      <a:pt x="583" y="187"/>
                      <a:pt x="582" y="188"/>
                      <a:pt x="582" y="188"/>
                    </a:cubicBezTo>
                    <a:close/>
                    <a:moveTo>
                      <a:pt x="139" y="182"/>
                    </a:moveTo>
                    <a:cubicBezTo>
                      <a:pt x="139" y="182"/>
                      <a:pt x="138" y="182"/>
                      <a:pt x="138" y="181"/>
                    </a:cubicBezTo>
                    <a:cubicBezTo>
                      <a:pt x="136" y="180"/>
                      <a:pt x="134" y="178"/>
                      <a:pt x="132" y="176"/>
                    </a:cubicBezTo>
                    <a:cubicBezTo>
                      <a:pt x="131" y="175"/>
                      <a:pt x="131" y="174"/>
                      <a:pt x="132" y="173"/>
                    </a:cubicBezTo>
                    <a:cubicBezTo>
                      <a:pt x="133" y="172"/>
                      <a:pt x="134" y="172"/>
                      <a:pt x="135" y="173"/>
                    </a:cubicBezTo>
                    <a:cubicBezTo>
                      <a:pt x="137" y="175"/>
                      <a:pt x="139" y="177"/>
                      <a:pt x="141" y="178"/>
                    </a:cubicBezTo>
                    <a:cubicBezTo>
                      <a:pt x="142" y="179"/>
                      <a:pt x="142" y="180"/>
                      <a:pt x="141" y="181"/>
                    </a:cubicBezTo>
                    <a:cubicBezTo>
                      <a:pt x="141" y="182"/>
                      <a:pt x="140" y="182"/>
                      <a:pt x="139" y="182"/>
                    </a:cubicBezTo>
                    <a:close/>
                    <a:moveTo>
                      <a:pt x="597" y="169"/>
                    </a:moveTo>
                    <a:cubicBezTo>
                      <a:pt x="596" y="169"/>
                      <a:pt x="596" y="169"/>
                      <a:pt x="596" y="168"/>
                    </a:cubicBezTo>
                    <a:cubicBezTo>
                      <a:pt x="595" y="168"/>
                      <a:pt x="594" y="167"/>
                      <a:pt x="595" y="166"/>
                    </a:cubicBezTo>
                    <a:cubicBezTo>
                      <a:pt x="597" y="164"/>
                      <a:pt x="598" y="161"/>
                      <a:pt x="600" y="159"/>
                    </a:cubicBezTo>
                    <a:cubicBezTo>
                      <a:pt x="600" y="158"/>
                      <a:pt x="602" y="158"/>
                      <a:pt x="603" y="159"/>
                    </a:cubicBezTo>
                    <a:cubicBezTo>
                      <a:pt x="603" y="159"/>
                      <a:pt x="604" y="161"/>
                      <a:pt x="603" y="162"/>
                    </a:cubicBezTo>
                    <a:cubicBezTo>
                      <a:pt x="602" y="164"/>
                      <a:pt x="600" y="166"/>
                      <a:pt x="598" y="168"/>
                    </a:cubicBezTo>
                    <a:cubicBezTo>
                      <a:pt x="598" y="169"/>
                      <a:pt x="597" y="169"/>
                      <a:pt x="597" y="169"/>
                    </a:cubicBezTo>
                    <a:close/>
                    <a:moveTo>
                      <a:pt x="122" y="166"/>
                    </a:moveTo>
                    <a:cubicBezTo>
                      <a:pt x="121" y="166"/>
                      <a:pt x="121" y="165"/>
                      <a:pt x="120" y="165"/>
                    </a:cubicBezTo>
                    <a:cubicBezTo>
                      <a:pt x="119" y="163"/>
                      <a:pt x="117" y="161"/>
                      <a:pt x="115" y="159"/>
                    </a:cubicBezTo>
                    <a:cubicBezTo>
                      <a:pt x="114" y="159"/>
                      <a:pt x="114" y="157"/>
                      <a:pt x="115" y="157"/>
                    </a:cubicBezTo>
                    <a:cubicBezTo>
                      <a:pt x="116" y="156"/>
                      <a:pt x="117" y="156"/>
                      <a:pt x="118" y="157"/>
                    </a:cubicBezTo>
                    <a:cubicBezTo>
                      <a:pt x="119" y="158"/>
                      <a:pt x="121" y="160"/>
                      <a:pt x="123" y="162"/>
                    </a:cubicBezTo>
                    <a:cubicBezTo>
                      <a:pt x="124" y="163"/>
                      <a:pt x="124" y="164"/>
                      <a:pt x="123" y="165"/>
                    </a:cubicBezTo>
                    <a:cubicBezTo>
                      <a:pt x="123" y="165"/>
                      <a:pt x="122" y="166"/>
                      <a:pt x="122" y="166"/>
                    </a:cubicBezTo>
                    <a:close/>
                    <a:moveTo>
                      <a:pt x="610" y="149"/>
                    </a:moveTo>
                    <a:cubicBezTo>
                      <a:pt x="610" y="149"/>
                      <a:pt x="609" y="149"/>
                      <a:pt x="609" y="149"/>
                    </a:cubicBezTo>
                    <a:cubicBezTo>
                      <a:pt x="608" y="148"/>
                      <a:pt x="608" y="147"/>
                      <a:pt x="608" y="146"/>
                    </a:cubicBezTo>
                    <a:cubicBezTo>
                      <a:pt x="610" y="144"/>
                      <a:pt x="611" y="141"/>
                      <a:pt x="612" y="139"/>
                    </a:cubicBezTo>
                    <a:cubicBezTo>
                      <a:pt x="613" y="138"/>
                      <a:pt x="614" y="138"/>
                      <a:pt x="615" y="138"/>
                    </a:cubicBezTo>
                    <a:cubicBezTo>
                      <a:pt x="616" y="139"/>
                      <a:pt x="617" y="140"/>
                      <a:pt x="616" y="141"/>
                    </a:cubicBezTo>
                    <a:cubicBezTo>
                      <a:pt x="615" y="143"/>
                      <a:pt x="613" y="146"/>
                      <a:pt x="612" y="148"/>
                    </a:cubicBezTo>
                    <a:cubicBezTo>
                      <a:pt x="611" y="149"/>
                      <a:pt x="611" y="149"/>
                      <a:pt x="610" y="149"/>
                    </a:cubicBezTo>
                    <a:close/>
                    <a:moveTo>
                      <a:pt x="105" y="148"/>
                    </a:moveTo>
                    <a:cubicBezTo>
                      <a:pt x="105" y="148"/>
                      <a:pt x="104" y="148"/>
                      <a:pt x="104" y="148"/>
                    </a:cubicBezTo>
                    <a:cubicBezTo>
                      <a:pt x="102" y="146"/>
                      <a:pt x="100" y="144"/>
                      <a:pt x="98" y="142"/>
                    </a:cubicBezTo>
                    <a:cubicBezTo>
                      <a:pt x="97" y="141"/>
                      <a:pt x="97" y="140"/>
                      <a:pt x="98" y="139"/>
                    </a:cubicBezTo>
                    <a:cubicBezTo>
                      <a:pt x="99" y="138"/>
                      <a:pt x="100" y="138"/>
                      <a:pt x="101" y="139"/>
                    </a:cubicBezTo>
                    <a:cubicBezTo>
                      <a:pt x="103" y="141"/>
                      <a:pt x="105" y="143"/>
                      <a:pt x="107" y="145"/>
                    </a:cubicBezTo>
                    <a:cubicBezTo>
                      <a:pt x="107" y="146"/>
                      <a:pt x="107" y="147"/>
                      <a:pt x="106" y="148"/>
                    </a:cubicBezTo>
                    <a:cubicBezTo>
                      <a:pt x="106" y="148"/>
                      <a:pt x="106" y="148"/>
                      <a:pt x="105" y="148"/>
                    </a:cubicBezTo>
                    <a:close/>
                    <a:moveTo>
                      <a:pt x="89" y="131"/>
                    </a:moveTo>
                    <a:cubicBezTo>
                      <a:pt x="88" y="131"/>
                      <a:pt x="88" y="130"/>
                      <a:pt x="87" y="130"/>
                    </a:cubicBezTo>
                    <a:cubicBezTo>
                      <a:pt x="86" y="128"/>
                      <a:pt x="84" y="126"/>
                      <a:pt x="82" y="124"/>
                    </a:cubicBezTo>
                    <a:cubicBezTo>
                      <a:pt x="81" y="123"/>
                      <a:pt x="82" y="122"/>
                      <a:pt x="82" y="121"/>
                    </a:cubicBezTo>
                    <a:cubicBezTo>
                      <a:pt x="83" y="120"/>
                      <a:pt x="85" y="120"/>
                      <a:pt x="85" y="121"/>
                    </a:cubicBezTo>
                    <a:cubicBezTo>
                      <a:pt x="87" y="123"/>
                      <a:pt x="89" y="125"/>
                      <a:pt x="90" y="127"/>
                    </a:cubicBezTo>
                    <a:cubicBezTo>
                      <a:pt x="91" y="128"/>
                      <a:pt x="91" y="129"/>
                      <a:pt x="90" y="130"/>
                    </a:cubicBezTo>
                    <a:cubicBezTo>
                      <a:pt x="90" y="130"/>
                      <a:pt x="89" y="131"/>
                      <a:pt x="89" y="131"/>
                    </a:cubicBezTo>
                    <a:close/>
                    <a:moveTo>
                      <a:pt x="622" y="128"/>
                    </a:moveTo>
                    <a:cubicBezTo>
                      <a:pt x="621" y="128"/>
                      <a:pt x="621" y="128"/>
                      <a:pt x="621" y="128"/>
                    </a:cubicBezTo>
                    <a:cubicBezTo>
                      <a:pt x="620" y="127"/>
                      <a:pt x="619" y="126"/>
                      <a:pt x="620" y="125"/>
                    </a:cubicBezTo>
                    <a:cubicBezTo>
                      <a:pt x="621" y="123"/>
                      <a:pt x="622" y="120"/>
                      <a:pt x="623" y="118"/>
                    </a:cubicBezTo>
                    <a:cubicBezTo>
                      <a:pt x="624" y="117"/>
                      <a:pt x="625" y="116"/>
                      <a:pt x="626" y="117"/>
                    </a:cubicBezTo>
                    <a:cubicBezTo>
                      <a:pt x="627" y="117"/>
                      <a:pt x="628" y="119"/>
                      <a:pt x="627" y="120"/>
                    </a:cubicBezTo>
                    <a:cubicBezTo>
                      <a:pt x="626" y="122"/>
                      <a:pt x="625" y="124"/>
                      <a:pt x="624" y="127"/>
                    </a:cubicBezTo>
                    <a:cubicBezTo>
                      <a:pt x="623" y="128"/>
                      <a:pt x="623" y="128"/>
                      <a:pt x="622" y="128"/>
                    </a:cubicBezTo>
                    <a:close/>
                    <a:moveTo>
                      <a:pt x="73" y="112"/>
                    </a:moveTo>
                    <a:cubicBezTo>
                      <a:pt x="73" y="112"/>
                      <a:pt x="72" y="112"/>
                      <a:pt x="72" y="111"/>
                    </a:cubicBezTo>
                    <a:cubicBezTo>
                      <a:pt x="70" y="109"/>
                      <a:pt x="69" y="107"/>
                      <a:pt x="67" y="105"/>
                    </a:cubicBezTo>
                    <a:cubicBezTo>
                      <a:pt x="66" y="104"/>
                      <a:pt x="66" y="103"/>
                      <a:pt x="67" y="102"/>
                    </a:cubicBezTo>
                    <a:cubicBezTo>
                      <a:pt x="68" y="102"/>
                      <a:pt x="69" y="102"/>
                      <a:pt x="70" y="103"/>
                    </a:cubicBezTo>
                    <a:cubicBezTo>
                      <a:pt x="72" y="105"/>
                      <a:pt x="73" y="107"/>
                      <a:pt x="75" y="109"/>
                    </a:cubicBezTo>
                    <a:cubicBezTo>
                      <a:pt x="76" y="110"/>
                      <a:pt x="76" y="111"/>
                      <a:pt x="75" y="112"/>
                    </a:cubicBezTo>
                    <a:cubicBezTo>
                      <a:pt x="74" y="112"/>
                      <a:pt x="74" y="112"/>
                      <a:pt x="73" y="112"/>
                    </a:cubicBezTo>
                    <a:close/>
                    <a:moveTo>
                      <a:pt x="632" y="106"/>
                    </a:moveTo>
                    <a:cubicBezTo>
                      <a:pt x="631" y="106"/>
                      <a:pt x="631" y="106"/>
                      <a:pt x="631" y="106"/>
                    </a:cubicBezTo>
                    <a:cubicBezTo>
                      <a:pt x="630" y="105"/>
                      <a:pt x="629" y="104"/>
                      <a:pt x="630" y="103"/>
                    </a:cubicBezTo>
                    <a:cubicBezTo>
                      <a:pt x="631" y="101"/>
                      <a:pt x="632" y="98"/>
                      <a:pt x="633" y="96"/>
                    </a:cubicBezTo>
                    <a:cubicBezTo>
                      <a:pt x="633" y="95"/>
                      <a:pt x="634" y="94"/>
                      <a:pt x="635" y="95"/>
                    </a:cubicBezTo>
                    <a:cubicBezTo>
                      <a:pt x="636" y="95"/>
                      <a:pt x="637" y="96"/>
                      <a:pt x="636" y="97"/>
                    </a:cubicBezTo>
                    <a:cubicBezTo>
                      <a:pt x="635" y="100"/>
                      <a:pt x="634" y="102"/>
                      <a:pt x="633" y="105"/>
                    </a:cubicBezTo>
                    <a:cubicBezTo>
                      <a:pt x="633" y="106"/>
                      <a:pt x="632" y="106"/>
                      <a:pt x="632" y="106"/>
                    </a:cubicBezTo>
                    <a:close/>
                    <a:moveTo>
                      <a:pt x="59" y="93"/>
                    </a:moveTo>
                    <a:cubicBezTo>
                      <a:pt x="58" y="93"/>
                      <a:pt x="57" y="93"/>
                      <a:pt x="57" y="92"/>
                    </a:cubicBezTo>
                    <a:cubicBezTo>
                      <a:pt x="55" y="90"/>
                      <a:pt x="54" y="88"/>
                      <a:pt x="52" y="86"/>
                    </a:cubicBezTo>
                    <a:cubicBezTo>
                      <a:pt x="52" y="85"/>
                      <a:pt x="52" y="84"/>
                      <a:pt x="53" y="83"/>
                    </a:cubicBezTo>
                    <a:cubicBezTo>
                      <a:pt x="54" y="83"/>
                      <a:pt x="55" y="83"/>
                      <a:pt x="56" y="84"/>
                    </a:cubicBezTo>
                    <a:cubicBezTo>
                      <a:pt x="57" y="86"/>
                      <a:pt x="59" y="88"/>
                      <a:pt x="60" y="90"/>
                    </a:cubicBezTo>
                    <a:cubicBezTo>
                      <a:pt x="61" y="91"/>
                      <a:pt x="61" y="92"/>
                      <a:pt x="60" y="93"/>
                    </a:cubicBezTo>
                    <a:cubicBezTo>
                      <a:pt x="60" y="93"/>
                      <a:pt x="59" y="93"/>
                      <a:pt x="59" y="93"/>
                    </a:cubicBezTo>
                    <a:close/>
                    <a:moveTo>
                      <a:pt x="639" y="83"/>
                    </a:moveTo>
                    <a:cubicBezTo>
                      <a:pt x="639" y="83"/>
                      <a:pt x="639" y="83"/>
                      <a:pt x="639" y="83"/>
                    </a:cubicBezTo>
                    <a:cubicBezTo>
                      <a:pt x="638" y="83"/>
                      <a:pt x="637" y="82"/>
                      <a:pt x="637" y="81"/>
                    </a:cubicBezTo>
                    <a:cubicBezTo>
                      <a:pt x="638" y="78"/>
                      <a:pt x="639" y="76"/>
                      <a:pt x="640" y="73"/>
                    </a:cubicBezTo>
                    <a:cubicBezTo>
                      <a:pt x="640" y="72"/>
                      <a:pt x="641" y="71"/>
                      <a:pt x="642" y="72"/>
                    </a:cubicBezTo>
                    <a:cubicBezTo>
                      <a:pt x="643" y="72"/>
                      <a:pt x="644" y="73"/>
                      <a:pt x="643" y="74"/>
                    </a:cubicBezTo>
                    <a:cubicBezTo>
                      <a:pt x="643" y="77"/>
                      <a:pt x="642" y="79"/>
                      <a:pt x="641" y="82"/>
                    </a:cubicBezTo>
                    <a:cubicBezTo>
                      <a:pt x="641" y="83"/>
                      <a:pt x="640" y="83"/>
                      <a:pt x="639" y="83"/>
                    </a:cubicBezTo>
                    <a:close/>
                    <a:moveTo>
                      <a:pt x="45" y="74"/>
                    </a:moveTo>
                    <a:cubicBezTo>
                      <a:pt x="44" y="74"/>
                      <a:pt x="43" y="74"/>
                      <a:pt x="43" y="73"/>
                    </a:cubicBezTo>
                    <a:cubicBezTo>
                      <a:pt x="41" y="71"/>
                      <a:pt x="40" y="69"/>
                      <a:pt x="38" y="66"/>
                    </a:cubicBezTo>
                    <a:cubicBezTo>
                      <a:pt x="38" y="65"/>
                      <a:pt x="38" y="64"/>
                      <a:pt x="39" y="64"/>
                    </a:cubicBezTo>
                    <a:cubicBezTo>
                      <a:pt x="40" y="63"/>
                      <a:pt x="41" y="63"/>
                      <a:pt x="42" y="64"/>
                    </a:cubicBezTo>
                    <a:cubicBezTo>
                      <a:pt x="43" y="66"/>
                      <a:pt x="45" y="68"/>
                      <a:pt x="46" y="71"/>
                    </a:cubicBezTo>
                    <a:cubicBezTo>
                      <a:pt x="47" y="72"/>
                      <a:pt x="47" y="73"/>
                      <a:pt x="46" y="73"/>
                    </a:cubicBezTo>
                    <a:cubicBezTo>
                      <a:pt x="45" y="74"/>
                      <a:pt x="45" y="74"/>
                      <a:pt x="45" y="74"/>
                    </a:cubicBezTo>
                    <a:close/>
                    <a:moveTo>
                      <a:pt x="645" y="60"/>
                    </a:moveTo>
                    <a:cubicBezTo>
                      <a:pt x="645" y="60"/>
                      <a:pt x="645" y="60"/>
                      <a:pt x="645" y="60"/>
                    </a:cubicBezTo>
                    <a:cubicBezTo>
                      <a:pt x="644" y="60"/>
                      <a:pt x="643" y="59"/>
                      <a:pt x="643" y="58"/>
                    </a:cubicBezTo>
                    <a:cubicBezTo>
                      <a:pt x="644" y="55"/>
                      <a:pt x="644" y="52"/>
                      <a:pt x="645" y="50"/>
                    </a:cubicBezTo>
                    <a:cubicBezTo>
                      <a:pt x="645" y="49"/>
                      <a:pt x="646" y="48"/>
                      <a:pt x="647" y="48"/>
                    </a:cubicBezTo>
                    <a:cubicBezTo>
                      <a:pt x="648" y="48"/>
                      <a:pt x="649" y="49"/>
                      <a:pt x="649" y="51"/>
                    </a:cubicBezTo>
                    <a:cubicBezTo>
                      <a:pt x="648" y="53"/>
                      <a:pt x="648" y="56"/>
                      <a:pt x="647" y="58"/>
                    </a:cubicBezTo>
                    <a:cubicBezTo>
                      <a:pt x="647" y="59"/>
                      <a:pt x="646" y="60"/>
                      <a:pt x="645" y="60"/>
                    </a:cubicBezTo>
                    <a:close/>
                    <a:moveTo>
                      <a:pt x="31" y="54"/>
                    </a:moveTo>
                    <a:cubicBezTo>
                      <a:pt x="30" y="54"/>
                      <a:pt x="30" y="54"/>
                      <a:pt x="29" y="53"/>
                    </a:cubicBezTo>
                    <a:cubicBezTo>
                      <a:pt x="28" y="51"/>
                      <a:pt x="26" y="48"/>
                      <a:pt x="25" y="46"/>
                    </a:cubicBezTo>
                    <a:cubicBezTo>
                      <a:pt x="24" y="45"/>
                      <a:pt x="25" y="44"/>
                      <a:pt x="26" y="43"/>
                    </a:cubicBezTo>
                    <a:cubicBezTo>
                      <a:pt x="27" y="43"/>
                      <a:pt x="28" y="43"/>
                      <a:pt x="28" y="44"/>
                    </a:cubicBezTo>
                    <a:cubicBezTo>
                      <a:pt x="30" y="46"/>
                      <a:pt x="31" y="49"/>
                      <a:pt x="33" y="51"/>
                    </a:cubicBezTo>
                    <a:cubicBezTo>
                      <a:pt x="33" y="52"/>
                      <a:pt x="33" y="53"/>
                      <a:pt x="32" y="54"/>
                    </a:cubicBezTo>
                    <a:cubicBezTo>
                      <a:pt x="32" y="54"/>
                      <a:pt x="31" y="54"/>
                      <a:pt x="31" y="54"/>
                    </a:cubicBezTo>
                    <a:close/>
                    <a:moveTo>
                      <a:pt x="649" y="36"/>
                    </a:moveTo>
                    <a:cubicBezTo>
                      <a:pt x="649" y="36"/>
                      <a:pt x="649" y="36"/>
                      <a:pt x="649" y="36"/>
                    </a:cubicBezTo>
                    <a:cubicBezTo>
                      <a:pt x="648" y="36"/>
                      <a:pt x="647" y="35"/>
                      <a:pt x="647" y="34"/>
                    </a:cubicBezTo>
                    <a:cubicBezTo>
                      <a:pt x="647" y="31"/>
                      <a:pt x="648" y="29"/>
                      <a:pt x="648" y="26"/>
                    </a:cubicBezTo>
                    <a:cubicBezTo>
                      <a:pt x="648" y="25"/>
                      <a:pt x="649" y="24"/>
                      <a:pt x="650" y="24"/>
                    </a:cubicBezTo>
                    <a:cubicBezTo>
                      <a:pt x="651" y="24"/>
                      <a:pt x="652" y="25"/>
                      <a:pt x="652" y="27"/>
                    </a:cubicBezTo>
                    <a:cubicBezTo>
                      <a:pt x="652" y="29"/>
                      <a:pt x="651" y="32"/>
                      <a:pt x="651" y="35"/>
                    </a:cubicBezTo>
                    <a:cubicBezTo>
                      <a:pt x="651" y="36"/>
                      <a:pt x="650" y="36"/>
                      <a:pt x="649" y="36"/>
                    </a:cubicBezTo>
                    <a:close/>
                    <a:moveTo>
                      <a:pt x="18" y="34"/>
                    </a:moveTo>
                    <a:cubicBezTo>
                      <a:pt x="18" y="34"/>
                      <a:pt x="17" y="33"/>
                      <a:pt x="17" y="33"/>
                    </a:cubicBezTo>
                    <a:cubicBezTo>
                      <a:pt x="15" y="30"/>
                      <a:pt x="14" y="28"/>
                      <a:pt x="12" y="26"/>
                    </a:cubicBezTo>
                    <a:cubicBezTo>
                      <a:pt x="12" y="25"/>
                      <a:pt x="12" y="23"/>
                      <a:pt x="13" y="23"/>
                    </a:cubicBezTo>
                    <a:cubicBezTo>
                      <a:pt x="14" y="22"/>
                      <a:pt x="15" y="23"/>
                      <a:pt x="16" y="24"/>
                    </a:cubicBezTo>
                    <a:cubicBezTo>
                      <a:pt x="17" y="26"/>
                      <a:pt x="19" y="28"/>
                      <a:pt x="20" y="31"/>
                    </a:cubicBezTo>
                    <a:cubicBezTo>
                      <a:pt x="21" y="31"/>
                      <a:pt x="20" y="33"/>
                      <a:pt x="19" y="33"/>
                    </a:cubicBezTo>
                    <a:cubicBezTo>
                      <a:pt x="19" y="33"/>
                      <a:pt x="19" y="34"/>
                      <a:pt x="18" y="34"/>
                    </a:cubicBezTo>
                    <a:close/>
                    <a:moveTo>
                      <a:pt x="6" y="13"/>
                    </a:moveTo>
                    <a:cubicBezTo>
                      <a:pt x="6" y="13"/>
                      <a:pt x="5" y="12"/>
                      <a:pt x="4" y="12"/>
                    </a:cubicBezTo>
                    <a:cubicBezTo>
                      <a:pt x="3" y="8"/>
                      <a:pt x="1" y="6"/>
                      <a:pt x="1" y="4"/>
                    </a:cubicBezTo>
                    <a:cubicBezTo>
                      <a:pt x="0" y="3"/>
                      <a:pt x="1" y="2"/>
                      <a:pt x="2" y="2"/>
                    </a:cubicBezTo>
                    <a:cubicBezTo>
                      <a:pt x="3" y="1"/>
                      <a:pt x="4" y="2"/>
                      <a:pt x="4" y="3"/>
                    </a:cubicBezTo>
                    <a:cubicBezTo>
                      <a:pt x="5" y="4"/>
                      <a:pt x="6" y="6"/>
                      <a:pt x="8" y="10"/>
                    </a:cubicBezTo>
                    <a:cubicBezTo>
                      <a:pt x="9" y="11"/>
                      <a:pt x="8" y="12"/>
                      <a:pt x="7" y="12"/>
                    </a:cubicBezTo>
                    <a:cubicBezTo>
                      <a:pt x="7" y="13"/>
                      <a:pt x="7" y="13"/>
                      <a:pt x="6" y="13"/>
                    </a:cubicBezTo>
                    <a:close/>
                    <a:moveTo>
                      <a:pt x="651" y="12"/>
                    </a:moveTo>
                    <a:cubicBezTo>
                      <a:pt x="651" y="12"/>
                      <a:pt x="651" y="12"/>
                      <a:pt x="651" y="12"/>
                    </a:cubicBezTo>
                    <a:cubicBezTo>
                      <a:pt x="649" y="12"/>
                      <a:pt x="649" y="11"/>
                      <a:pt x="649" y="10"/>
                    </a:cubicBezTo>
                    <a:cubicBezTo>
                      <a:pt x="649" y="8"/>
                      <a:pt x="649" y="5"/>
                      <a:pt x="649" y="2"/>
                    </a:cubicBezTo>
                    <a:cubicBezTo>
                      <a:pt x="649" y="1"/>
                      <a:pt x="650" y="0"/>
                      <a:pt x="651" y="0"/>
                    </a:cubicBezTo>
                    <a:cubicBezTo>
                      <a:pt x="652" y="0"/>
                      <a:pt x="653" y="1"/>
                      <a:pt x="653" y="2"/>
                    </a:cubicBezTo>
                    <a:cubicBezTo>
                      <a:pt x="653" y="5"/>
                      <a:pt x="653" y="8"/>
                      <a:pt x="653" y="10"/>
                    </a:cubicBezTo>
                    <a:cubicBezTo>
                      <a:pt x="653" y="12"/>
                      <a:pt x="652" y="12"/>
                      <a:pt x="651" y="12"/>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12">
                <a:extLst>
                  <a:ext uri="{FF2B5EF4-FFF2-40B4-BE49-F238E27FC236}">
                    <a16:creationId xmlns:a16="http://schemas.microsoft.com/office/drawing/2014/main" id="{BE31FE2F-BC09-417A-A536-B304C3019859}"/>
                  </a:ext>
                </a:extLst>
              </p:cNvPr>
              <p:cNvSpPr>
                <a:spLocks noEditPoints="1"/>
              </p:cNvSpPr>
              <p:nvPr/>
            </p:nvSpPr>
            <p:spPr bwMode="auto">
              <a:xfrm>
                <a:off x="2713038" y="2365375"/>
                <a:ext cx="2857500" cy="1266825"/>
              </a:xfrm>
              <a:custGeom>
                <a:avLst/>
                <a:gdLst>
                  <a:gd name="T0" fmla="*/ 630 w 634"/>
                  <a:gd name="T1" fmla="*/ 271 h 281"/>
                  <a:gd name="T2" fmla="*/ 619 w 634"/>
                  <a:gd name="T3" fmla="*/ 259 h 281"/>
                  <a:gd name="T4" fmla="*/ 622 w 634"/>
                  <a:gd name="T5" fmla="*/ 260 h 281"/>
                  <a:gd name="T6" fmla="*/ 604 w 634"/>
                  <a:gd name="T7" fmla="*/ 229 h 281"/>
                  <a:gd name="T8" fmla="*/ 596 w 634"/>
                  <a:gd name="T9" fmla="*/ 219 h 281"/>
                  <a:gd name="T10" fmla="*/ 598 w 634"/>
                  <a:gd name="T11" fmla="*/ 216 h 281"/>
                  <a:gd name="T12" fmla="*/ 576 w 634"/>
                  <a:gd name="T13" fmla="*/ 192 h 281"/>
                  <a:gd name="T14" fmla="*/ 582 w 634"/>
                  <a:gd name="T15" fmla="*/ 199 h 281"/>
                  <a:gd name="T16" fmla="*/ 4 w 634"/>
                  <a:gd name="T17" fmla="*/ 173 h 281"/>
                  <a:gd name="T18" fmla="*/ 567 w 634"/>
                  <a:gd name="T19" fmla="*/ 179 h 281"/>
                  <a:gd name="T20" fmla="*/ 569 w 634"/>
                  <a:gd name="T21" fmla="*/ 179 h 281"/>
                  <a:gd name="T22" fmla="*/ 11 w 634"/>
                  <a:gd name="T23" fmla="*/ 152 h 281"/>
                  <a:gd name="T24" fmla="*/ 553 w 634"/>
                  <a:gd name="T25" fmla="*/ 161 h 281"/>
                  <a:gd name="T26" fmla="*/ 555 w 634"/>
                  <a:gd name="T27" fmla="*/ 157 h 281"/>
                  <a:gd name="T28" fmla="*/ 531 w 634"/>
                  <a:gd name="T29" fmla="*/ 136 h 281"/>
                  <a:gd name="T30" fmla="*/ 538 w 634"/>
                  <a:gd name="T31" fmla="*/ 143 h 281"/>
                  <a:gd name="T32" fmla="*/ 26 w 634"/>
                  <a:gd name="T33" fmla="*/ 131 h 281"/>
                  <a:gd name="T34" fmla="*/ 520 w 634"/>
                  <a:gd name="T35" fmla="*/ 124 h 281"/>
                  <a:gd name="T36" fmla="*/ 522 w 634"/>
                  <a:gd name="T37" fmla="*/ 124 h 281"/>
                  <a:gd name="T38" fmla="*/ 37 w 634"/>
                  <a:gd name="T39" fmla="*/ 111 h 281"/>
                  <a:gd name="T40" fmla="*/ 504 w 634"/>
                  <a:gd name="T41" fmla="*/ 108 h 281"/>
                  <a:gd name="T42" fmla="*/ 505 w 634"/>
                  <a:gd name="T43" fmla="*/ 105 h 281"/>
                  <a:gd name="T44" fmla="*/ 47 w 634"/>
                  <a:gd name="T45" fmla="*/ 99 h 281"/>
                  <a:gd name="T46" fmla="*/ 49 w 634"/>
                  <a:gd name="T47" fmla="*/ 102 h 281"/>
                  <a:gd name="T48" fmla="*/ 481 w 634"/>
                  <a:gd name="T49" fmla="*/ 84 h 281"/>
                  <a:gd name="T50" fmla="*/ 64 w 634"/>
                  <a:gd name="T51" fmla="*/ 84 h 281"/>
                  <a:gd name="T52" fmla="*/ 66 w 634"/>
                  <a:gd name="T53" fmla="*/ 84 h 281"/>
                  <a:gd name="T54" fmla="*/ 459 w 634"/>
                  <a:gd name="T55" fmla="*/ 70 h 281"/>
                  <a:gd name="T56" fmla="*/ 83 w 634"/>
                  <a:gd name="T57" fmla="*/ 68 h 281"/>
                  <a:gd name="T58" fmla="*/ 90 w 634"/>
                  <a:gd name="T59" fmla="*/ 63 h 281"/>
                  <a:gd name="T60" fmla="*/ 440 w 634"/>
                  <a:gd name="T61" fmla="*/ 59 h 281"/>
                  <a:gd name="T62" fmla="*/ 447 w 634"/>
                  <a:gd name="T63" fmla="*/ 64 h 281"/>
                  <a:gd name="T64" fmla="*/ 110 w 634"/>
                  <a:gd name="T65" fmla="*/ 46 h 281"/>
                  <a:gd name="T66" fmla="*/ 426 w 634"/>
                  <a:gd name="T67" fmla="*/ 51 h 281"/>
                  <a:gd name="T68" fmla="*/ 429 w 634"/>
                  <a:gd name="T69" fmla="*/ 50 h 281"/>
                  <a:gd name="T70" fmla="*/ 128 w 634"/>
                  <a:gd name="T71" fmla="*/ 33 h 281"/>
                  <a:gd name="T72" fmla="*/ 406 w 634"/>
                  <a:gd name="T73" fmla="*/ 39 h 281"/>
                  <a:gd name="T74" fmla="*/ 407 w 634"/>
                  <a:gd name="T75" fmla="*/ 36 h 281"/>
                  <a:gd name="T76" fmla="*/ 143 w 634"/>
                  <a:gd name="T77" fmla="*/ 26 h 281"/>
                  <a:gd name="T78" fmla="*/ 143 w 634"/>
                  <a:gd name="T79" fmla="*/ 30 h 281"/>
                  <a:gd name="T80" fmla="*/ 378 w 634"/>
                  <a:gd name="T81" fmla="*/ 23 h 281"/>
                  <a:gd name="T82" fmla="*/ 361 w 634"/>
                  <a:gd name="T83" fmla="*/ 21 h 281"/>
                  <a:gd name="T84" fmla="*/ 364 w 634"/>
                  <a:gd name="T85" fmla="*/ 20 h 281"/>
                  <a:gd name="T86" fmla="*/ 173 w 634"/>
                  <a:gd name="T87" fmla="*/ 14 h 281"/>
                  <a:gd name="T88" fmla="*/ 339 w 634"/>
                  <a:gd name="T89" fmla="*/ 14 h 281"/>
                  <a:gd name="T90" fmla="*/ 339 w 634"/>
                  <a:gd name="T91" fmla="*/ 10 h 281"/>
                  <a:gd name="T92" fmla="*/ 188 w 634"/>
                  <a:gd name="T93" fmla="*/ 10 h 281"/>
                  <a:gd name="T94" fmla="*/ 189 w 634"/>
                  <a:gd name="T95" fmla="*/ 14 h 281"/>
                  <a:gd name="T96" fmla="*/ 308 w 634"/>
                  <a:gd name="T97" fmla="*/ 4 h 281"/>
                  <a:gd name="T98" fmla="*/ 210 w 634"/>
                  <a:gd name="T99" fmla="*/ 7 h 281"/>
                  <a:gd name="T100" fmla="*/ 212 w 634"/>
                  <a:gd name="T101" fmla="*/ 8 h 281"/>
                  <a:gd name="T102" fmla="*/ 282 w 634"/>
                  <a:gd name="T103" fmla="*/ 3 h 281"/>
                  <a:gd name="T104" fmla="*/ 236 w 634"/>
                  <a:gd name="T105" fmla="*/ 5 h 281"/>
                  <a:gd name="T106" fmla="*/ 244 w 634"/>
                  <a:gd name="T107" fmla="*/ 5 h 281"/>
                  <a:gd name="T108" fmla="*/ 260 w 634"/>
                  <a:gd name="T109" fmla="*/ 4 h 281"/>
                  <a:gd name="T110" fmla="*/ 268 w 634"/>
                  <a:gd name="T111" fmla="*/ 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34" h="281">
                    <a:moveTo>
                      <a:pt x="632" y="281"/>
                    </a:moveTo>
                    <a:cubicBezTo>
                      <a:pt x="631" y="281"/>
                      <a:pt x="630" y="281"/>
                      <a:pt x="630" y="280"/>
                    </a:cubicBezTo>
                    <a:cubicBezTo>
                      <a:pt x="630" y="280"/>
                      <a:pt x="629" y="278"/>
                      <a:pt x="627" y="273"/>
                    </a:cubicBezTo>
                    <a:cubicBezTo>
                      <a:pt x="626" y="272"/>
                      <a:pt x="626" y="271"/>
                      <a:pt x="627" y="270"/>
                    </a:cubicBezTo>
                    <a:cubicBezTo>
                      <a:pt x="628" y="270"/>
                      <a:pt x="630" y="270"/>
                      <a:pt x="630" y="271"/>
                    </a:cubicBezTo>
                    <a:cubicBezTo>
                      <a:pt x="632" y="276"/>
                      <a:pt x="634" y="278"/>
                      <a:pt x="634" y="279"/>
                    </a:cubicBezTo>
                    <a:cubicBezTo>
                      <a:pt x="634" y="280"/>
                      <a:pt x="634" y="281"/>
                      <a:pt x="633" y="281"/>
                    </a:cubicBezTo>
                    <a:cubicBezTo>
                      <a:pt x="632" y="281"/>
                      <a:pt x="632" y="281"/>
                      <a:pt x="632" y="281"/>
                    </a:cubicBezTo>
                    <a:close/>
                    <a:moveTo>
                      <a:pt x="621" y="260"/>
                    </a:moveTo>
                    <a:cubicBezTo>
                      <a:pt x="620" y="260"/>
                      <a:pt x="619" y="260"/>
                      <a:pt x="619" y="259"/>
                    </a:cubicBezTo>
                    <a:cubicBezTo>
                      <a:pt x="618" y="257"/>
                      <a:pt x="617" y="254"/>
                      <a:pt x="615" y="252"/>
                    </a:cubicBezTo>
                    <a:cubicBezTo>
                      <a:pt x="615" y="251"/>
                      <a:pt x="615" y="250"/>
                      <a:pt x="616" y="249"/>
                    </a:cubicBezTo>
                    <a:cubicBezTo>
                      <a:pt x="617" y="249"/>
                      <a:pt x="618" y="249"/>
                      <a:pt x="619" y="250"/>
                    </a:cubicBezTo>
                    <a:cubicBezTo>
                      <a:pt x="620" y="252"/>
                      <a:pt x="621" y="255"/>
                      <a:pt x="623" y="257"/>
                    </a:cubicBezTo>
                    <a:cubicBezTo>
                      <a:pt x="623" y="258"/>
                      <a:pt x="623" y="259"/>
                      <a:pt x="622" y="260"/>
                    </a:cubicBezTo>
                    <a:cubicBezTo>
                      <a:pt x="621" y="260"/>
                      <a:pt x="621" y="260"/>
                      <a:pt x="621" y="260"/>
                    </a:cubicBezTo>
                    <a:close/>
                    <a:moveTo>
                      <a:pt x="609" y="239"/>
                    </a:moveTo>
                    <a:cubicBezTo>
                      <a:pt x="608" y="239"/>
                      <a:pt x="607" y="239"/>
                      <a:pt x="607" y="238"/>
                    </a:cubicBezTo>
                    <a:cubicBezTo>
                      <a:pt x="606" y="236"/>
                      <a:pt x="604" y="234"/>
                      <a:pt x="603" y="231"/>
                    </a:cubicBezTo>
                    <a:cubicBezTo>
                      <a:pt x="602" y="230"/>
                      <a:pt x="603" y="229"/>
                      <a:pt x="604" y="229"/>
                    </a:cubicBezTo>
                    <a:cubicBezTo>
                      <a:pt x="604" y="228"/>
                      <a:pt x="606" y="228"/>
                      <a:pt x="606" y="229"/>
                    </a:cubicBezTo>
                    <a:cubicBezTo>
                      <a:pt x="608" y="232"/>
                      <a:pt x="609" y="234"/>
                      <a:pt x="610" y="236"/>
                    </a:cubicBezTo>
                    <a:cubicBezTo>
                      <a:pt x="611" y="237"/>
                      <a:pt x="611" y="238"/>
                      <a:pt x="610" y="239"/>
                    </a:cubicBezTo>
                    <a:cubicBezTo>
                      <a:pt x="609" y="239"/>
                      <a:pt x="609" y="239"/>
                      <a:pt x="609" y="239"/>
                    </a:cubicBezTo>
                    <a:close/>
                    <a:moveTo>
                      <a:pt x="596" y="219"/>
                    </a:moveTo>
                    <a:cubicBezTo>
                      <a:pt x="595" y="219"/>
                      <a:pt x="595" y="218"/>
                      <a:pt x="594" y="218"/>
                    </a:cubicBezTo>
                    <a:cubicBezTo>
                      <a:pt x="593" y="216"/>
                      <a:pt x="591" y="213"/>
                      <a:pt x="590" y="211"/>
                    </a:cubicBezTo>
                    <a:cubicBezTo>
                      <a:pt x="589" y="210"/>
                      <a:pt x="590" y="209"/>
                      <a:pt x="590" y="208"/>
                    </a:cubicBezTo>
                    <a:cubicBezTo>
                      <a:pt x="591" y="208"/>
                      <a:pt x="593" y="208"/>
                      <a:pt x="593" y="209"/>
                    </a:cubicBezTo>
                    <a:cubicBezTo>
                      <a:pt x="595" y="211"/>
                      <a:pt x="596" y="213"/>
                      <a:pt x="598" y="216"/>
                    </a:cubicBezTo>
                    <a:cubicBezTo>
                      <a:pt x="598" y="217"/>
                      <a:pt x="598" y="218"/>
                      <a:pt x="597" y="218"/>
                    </a:cubicBezTo>
                    <a:cubicBezTo>
                      <a:pt x="597" y="219"/>
                      <a:pt x="596" y="219"/>
                      <a:pt x="596" y="219"/>
                    </a:cubicBezTo>
                    <a:close/>
                    <a:moveTo>
                      <a:pt x="582" y="199"/>
                    </a:moveTo>
                    <a:cubicBezTo>
                      <a:pt x="582" y="199"/>
                      <a:pt x="581" y="199"/>
                      <a:pt x="581" y="198"/>
                    </a:cubicBezTo>
                    <a:cubicBezTo>
                      <a:pt x="579" y="196"/>
                      <a:pt x="578" y="194"/>
                      <a:pt x="576" y="192"/>
                    </a:cubicBezTo>
                    <a:cubicBezTo>
                      <a:pt x="576" y="191"/>
                      <a:pt x="576" y="189"/>
                      <a:pt x="577" y="189"/>
                    </a:cubicBezTo>
                    <a:cubicBezTo>
                      <a:pt x="577" y="188"/>
                      <a:pt x="579" y="188"/>
                      <a:pt x="579" y="189"/>
                    </a:cubicBezTo>
                    <a:cubicBezTo>
                      <a:pt x="581" y="191"/>
                      <a:pt x="583" y="194"/>
                      <a:pt x="584" y="196"/>
                    </a:cubicBezTo>
                    <a:cubicBezTo>
                      <a:pt x="585" y="197"/>
                      <a:pt x="584" y="198"/>
                      <a:pt x="584" y="198"/>
                    </a:cubicBezTo>
                    <a:cubicBezTo>
                      <a:pt x="583" y="199"/>
                      <a:pt x="583" y="199"/>
                      <a:pt x="582" y="199"/>
                    </a:cubicBezTo>
                    <a:close/>
                    <a:moveTo>
                      <a:pt x="2" y="181"/>
                    </a:moveTo>
                    <a:cubicBezTo>
                      <a:pt x="2" y="181"/>
                      <a:pt x="1" y="181"/>
                      <a:pt x="1" y="180"/>
                    </a:cubicBezTo>
                    <a:cubicBezTo>
                      <a:pt x="0" y="180"/>
                      <a:pt x="0" y="179"/>
                      <a:pt x="0" y="178"/>
                    </a:cubicBezTo>
                    <a:cubicBezTo>
                      <a:pt x="0" y="177"/>
                      <a:pt x="1" y="175"/>
                      <a:pt x="1" y="174"/>
                    </a:cubicBezTo>
                    <a:cubicBezTo>
                      <a:pt x="2" y="173"/>
                      <a:pt x="3" y="173"/>
                      <a:pt x="4" y="173"/>
                    </a:cubicBezTo>
                    <a:cubicBezTo>
                      <a:pt x="5" y="174"/>
                      <a:pt x="6" y="175"/>
                      <a:pt x="5" y="176"/>
                    </a:cubicBezTo>
                    <a:cubicBezTo>
                      <a:pt x="5" y="177"/>
                      <a:pt x="4" y="178"/>
                      <a:pt x="4" y="179"/>
                    </a:cubicBezTo>
                    <a:cubicBezTo>
                      <a:pt x="3" y="180"/>
                      <a:pt x="3" y="181"/>
                      <a:pt x="2" y="181"/>
                    </a:cubicBezTo>
                    <a:close/>
                    <a:moveTo>
                      <a:pt x="568" y="180"/>
                    </a:moveTo>
                    <a:cubicBezTo>
                      <a:pt x="568" y="180"/>
                      <a:pt x="567" y="179"/>
                      <a:pt x="567" y="179"/>
                    </a:cubicBezTo>
                    <a:cubicBezTo>
                      <a:pt x="565" y="177"/>
                      <a:pt x="563" y="175"/>
                      <a:pt x="562" y="172"/>
                    </a:cubicBezTo>
                    <a:cubicBezTo>
                      <a:pt x="561" y="172"/>
                      <a:pt x="561" y="170"/>
                      <a:pt x="562" y="170"/>
                    </a:cubicBezTo>
                    <a:cubicBezTo>
                      <a:pt x="563" y="169"/>
                      <a:pt x="564" y="169"/>
                      <a:pt x="565" y="170"/>
                    </a:cubicBezTo>
                    <a:cubicBezTo>
                      <a:pt x="567" y="172"/>
                      <a:pt x="568" y="174"/>
                      <a:pt x="570" y="176"/>
                    </a:cubicBezTo>
                    <a:cubicBezTo>
                      <a:pt x="570" y="177"/>
                      <a:pt x="570" y="178"/>
                      <a:pt x="569" y="179"/>
                    </a:cubicBezTo>
                    <a:cubicBezTo>
                      <a:pt x="569" y="179"/>
                      <a:pt x="569" y="180"/>
                      <a:pt x="568" y="180"/>
                    </a:cubicBezTo>
                    <a:close/>
                    <a:moveTo>
                      <a:pt x="10" y="162"/>
                    </a:moveTo>
                    <a:cubicBezTo>
                      <a:pt x="9" y="162"/>
                      <a:pt x="9" y="162"/>
                      <a:pt x="9" y="162"/>
                    </a:cubicBezTo>
                    <a:cubicBezTo>
                      <a:pt x="8" y="162"/>
                      <a:pt x="7" y="161"/>
                      <a:pt x="8" y="160"/>
                    </a:cubicBezTo>
                    <a:cubicBezTo>
                      <a:pt x="9" y="157"/>
                      <a:pt x="10" y="155"/>
                      <a:pt x="11" y="152"/>
                    </a:cubicBezTo>
                    <a:cubicBezTo>
                      <a:pt x="12" y="151"/>
                      <a:pt x="13" y="151"/>
                      <a:pt x="14" y="151"/>
                    </a:cubicBezTo>
                    <a:cubicBezTo>
                      <a:pt x="15" y="152"/>
                      <a:pt x="16" y="153"/>
                      <a:pt x="15" y="154"/>
                    </a:cubicBezTo>
                    <a:cubicBezTo>
                      <a:pt x="14" y="156"/>
                      <a:pt x="13" y="159"/>
                      <a:pt x="12" y="161"/>
                    </a:cubicBezTo>
                    <a:cubicBezTo>
                      <a:pt x="11" y="162"/>
                      <a:pt x="10" y="162"/>
                      <a:pt x="10" y="162"/>
                    </a:cubicBezTo>
                    <a:close/>
                    <a:moveTo>
                      <a:pt x="553" y="161"/>
                    </a:moveTo>
                    <a:cubicBezTo>
                      <a:pt x="553" y="161"/>
                      <a:pt x="552" y="160"/>
                      <a:pt x="552" y="160"/>
                    </a:cubicBezTo>
                    <a:cubicBezTo>
                      <a:pt x="550" y="158"/>
                      <a:pt x="548" y="156"/>
                      <a:pt x="547" y="154"/>
                    </a:cubicBezTo>
                    <a:cubicBezTo>
                      <a:pt x="546" y="153"/>
                      <a:pt x="546" y="152"/>
                      <a:pt x="547" y="151"/>
                    </a:cubicBezTo>
                    <a:cubicBezTo>
                      <a:pt x="548" y="150"/>
                      <a:pt x="549" y="150"/>
                      <a:pt x="550" y="151"/>
                    </a:cubicBezTo>
                    <a:cubicBezTo>
                      <a:pt x="551" y="153"/>
                      <a:pt x="553" y="155"/>
                      <a:pt x="555" y="157"/>
                    </a:cubicBezTo>
                    <a:cubicBezTo>
                      <a:pt x="555" y="158"/>
                      <a:pt x="555" y="160"/>
                      <a:pt x="554" y="160"/>
                    </a:cubicBezTo>
                    <a:cubicBezTo>
                      <a:pt x="554" y="161"/>
                      <a:pt x="554" y="161"/>
                      <a:pt x="553" y="161"/>
                    </a:cubicBezTo>
                    <a:close/>
                    <a:moveTo>
                      <a:pt x="538" y="143"/>
                    </a:moveTo>
                    <a:cubicBezTo>
                      <a:pt x="537" y="143"/>
                      <a:pt x="536" y="142"/>
                      <a:pt x="536" y="142"/>
                    </a:cubicBezTo>
                    <a:cubicBezTo>
                      <a:pt x="534" y="140"/>
                      <a:pt x="532" y="138"/>
                      <a:pt x="531" y="136"/>
                    </a:cubicBezTo>
                    <a:cubicBezTo>
                      <a:pt x="530" y="135"/>
                      <a:pt x="530" y="134"/>
                      <a:pt x="531" y="133"/>
                    </a:cubicBezTo>
                    <a:cubicBezTo>
                      <a:pt x="532" y="132"/>
                      <a:pt x="533" y="132"/>
                      <a:pt x="534" y="133"/>
                    </a:cubicBezTo>
                    <a:cubicBezTo>
                      <a:pt x="535" y="135"/>
                      <a:pt x="537" y="137"/>
                      <a:pt x="539" y="139"/>
                    </a:cubicBezTo>
                    <a:cubicBezTo>
                      <a:pt x="540" y="140"/>
                      <a:pt x="540" y="141"/>
                      <a:pt x="539" y="142"/>
                    </a:cubicBezTo>
                    <a:cubicBezTo>
                      <a:pt x="538" y="142"/>
                      <a:pt x="538" y="143"/>
                      <a:pt x="538" y="143"/>
                    </a:cubicBezTo>
                    <a:close/>
                    <a:moveTo>
                      <a:pt x="21" y="141"/>
                    </a:moveTo>
                    <a:cubicBezTo>
                      <a:pt x="21" y="141"/>
                      <a:pt x="20" y="141"/>
                      <a:pt x="20" y="141"/>
                    </a:cubicBezTo>
                    <a:cubicBezTo>
                      <a:pt x="19" y="140"/>
                      <a:pt x="19" y="139"/>
                      <a:pt x="19" y="138"/>
                    </a:cubicBezTo>
                    <a:cubicBezTo>
                      <a:pt x="21" y="136"/>
                      <a:pt x="22" y="134"/>
                      <a:pt x="23" y="131"/>
                    </a:cubicBezTo>
                    <a:cubicBezTo>
                      <a:pt x="24" y="130"/>
                      <a:pt x="25" y="130"/>
                      <a:pt x="26" y="131"/>
                    </a:cubicBezTo>
                    <a:cubicBezTo>
                      <a:pt x="27" y="131"/>
                      <a:pt x="27" y="133"/>
                      <a:pt x="27" y="133"/>
                    </a:cubicBezTo>
                    <a:cubicBezTo>
                      <a:pt x="25" y="136"/>
                      <a:pt x="24" y="138"/>
                      <a:pt x="23" y="140"/>
                    </a:cubicBezTo>
                    <a:cubicBezTo>
                      <a:pt x="22" y="141"/>
                      <a:pt x="22" y="141"/>
                      <a:pt x="21" y="141"/>
                    </a:cubicBezTo>
                    <a:close/>
                    <a:moveTo>
                      <a:pt x="521" y="125"/>
                    </a:moveTo>
                    <a:cubicBezTo>
                      <a:pt x="521" y="125"/>
                      <a:pt x="520" y="125"/>
                      <a:pt x="520" y="124"/>
                    </a:cubicBezTo>
                    <a:cubicBezTo>
                      <a:pt x="518" y="123"/>
                      <a:pt x="516" y="121"/>
                      <a:pt x="514" y="119"/>
                    </a:cubicBezTo>
                    <a:cubicBezTo>
                      <a:pt x="513" y="118"/>
                      <a:pt x="513" y="117"/>
                      <a:pt x="514" y="116"/>
                    </a:cubicBezTo>
                    <a:cubicBezTo>
                      <a:pt x="515" y="115"/>
                      <a:pt x="516" y="115"/>
                      <a:pt x="517" y="116"/>
                    </a:cubicBezTo>
                    <a:cubicBezTo>
                      <a:pt x="519" y="118"/>
                      <a:pt x="521" y="120"/>
                      <a:pt x="522" y="122"/>
                    </a:cubicBezTo>
                    <a:cubicBezTo>
                      <a:pt x="523" y="122"/>
                      <a:pt x="523" y="124"/>
                      <a:pt x="522" y="124"/>
                    </a:cubicBezTo>
                    <a:cubicBezTo>
                      <a:pt x="522" y="125"/>
                      <a:pt x="522" y="125"/>
                      <a:pt x="521" y="125"/>
                    </a:cubicBezTo>
                    <a:close/>
                    <a:moveTo>
                      <a:pt x="34" y="121"/>
                    </a:moveTo>
                    <a:cubicBezTo>
                      <a:pt x="34" y="121"/>
                      <a:pt x="33" y="121"/>
                      <a:pt x="33" y="121"/>
                    </a:cubicBezTo>
                    <a:cubicBezTo>
                      <a:pt x="32" y="120"/>
                      <a:pt x="32" y="119"/>
                      <a:pt x="32" y="118"/>
                    </a:cubicBezTo>
                    <a:cubicBezTo>
                      <a:pt x="34" y="116"/>
                      <a:pt x="35" y="114"/>
                      <a:pt x="37" y="111"/>
                    </a:cubicBezTo>
                    <a:cubicBezTo>
                      <a:pt x="38" y="111"/>
                      <a:pt x="39" y="110"/>
                      <a:pt x="40" y="111"/>
                    </a:cubicBezTo>
                    <a:cubicBezTo>
                      <a:pt x="41" y="112"/>
                      <a:pt x="41" y="113"/>
                      <a:pt x="40" y="114"/>
                    </a:cubicBezTo>
                    <a:cubicBezTo>
                      <a:pt x="39" y="116"/>
                      <a:pt x="37" y="118"/>
                      <a:pt x="36" y="120"/>
                    </a:cubicBezTo>
                    <a:cubicBezTo>
                      <a:pt x="35" y="121"/>
                      <a:pt x="35" y="121"/>
                      <a:pt x="34" y="121"/>
                    </a:cubicBezTo>
                    <a:close/>
                    <a:moveTo>
                      <a:pt x="504" y="108"/>
                    </a:moveTo>
                    <a:cubicBezTo>
                      <a:pt x="503" y="108"/>
                      <a:pt x="503" y="108"/>
                      <a:pt x="502" y="108"/>
                    </a:cubicBezTo>
                    <a:cubicBezTo>
                      <a:pt x="501" y="106"/>
                      <a:pt x="499" y="104"/>
                      <a:pt x="497" y="102"/>
                    </a:cubicBezTo>
                    <a:cubicBezTo>
                      <a:pt x="496" y="102"/>
                      <a:pt x="496" y="100"/>
                      <a:pt x="496" y="100"/>
                    </a:cubicBezTo>
                    <a:cubicBezTo>
                      <a:pt x="497" y="99"/>
                      <a:pt x="498" y="99"/>
                      <a:pt x="499" y="99"/>
                    </a:cubicBezTo>
                    <a:cubicBezTo>
                      <a:pt x="501" y="101"/>
                      <a:pt x="503" y="103"/>
                      <a:pt x="505" y="105"/>
                    </a:cubicBezTo>
                    <a:cubicBezTo>
                      <a:pt x="506" y="106"/>
                      <a:pt x="506" y="107"/>
                      <a:pt x="505" y="108"/>
                    </a:cubicBezTo>
                    <a:cubicBezTo>
                      <a:pt x="505" y="108"/>
                      <a:pt x="504" y="108"/>
                      <a:pt x="504" y="108"/>
                    </a:cubicBezTo>
                    <a:close/>
                    <a:moveTo>
                      <a:pt x="49" y="102"/>
                    </a:moveTo>
                    <a:cubicBezTo>
                      <a:pt x="48" y="102"/>
                      <a:pt x="48" y="102"/>
                      <a:pt x="47" y="102"/>
                    </a:cubicBezTo>
                    <a:cubicBezTo>
                      <a:pt x="47" y="101"/>
                      <a:pt x="46" y="100"/>
                      <a:pt x="47" y="99"/>
                    </a:cubicBezTo>
                    <a:cubicBezTo>
                      <a:pt x="49" y="97"/>
                      <a:pt x="51" y="95"/>
                      <a:pt x="52" y="93"/>
                    </a:cubicBezTo>
                    <a:cubicBezTo>
                      <a:pt x="53" y="92"/>
                      <a:pt x="54" y="92"/>
                      <a:pt x="55" y="93"/>
                    </a:cubicBezTo>
                    <a:cubicBezTo>
                      <a:pt x="56" y="93"/>
                      <a:pt x="56" y="95"/>
                      <a:pt x="55" y="95"/>
                    </a:cubicBezTo>
                    <a:cubicBezTo>
                      <a:pt x="54" y="97"/>
                      <a:pt x="52" y="99"/>
                      <a:pt x="50" y="101"/>
                    </a:cubicBezTo>
                    <a:cubicBezTo>
                      <a:pt x="50" y="102"/>
                      <a:pt x="49" y="102"/>
                      <a:pt x="49" y="102"/>
                    </a:cubicBezTo>
                    <a:close/>
                    <a:moveTo>
                      <a:pt x="486" y="92"/>
                    </a:moveTo>
                    <a:cubicBezTo>
                      <a:pt x="485" y="92"/>
                      <a:pt x="485" y="92"/>
                      <a:pt x="485" y="92"/>
                    </a:cubicBezTo>
                    <a:cubicBezTo>
                      <a:pt x="483" y="90"/>
                      <a:pt x="480" y="89"/>
                      <a:pt x="478" y="87"/>
                    </a:cubicBezTo>
                    <a:cubicBezTo>
                      <a:pt x="478" y="86"/>
                      <a:pt x="477" y="85"/>
                      <a:pt x="478" y="84"/>
                    </a:cubicBezTo>
                    <a:cubicBezTo>
                      <a:pt x="479" y="83"/>
                      <a:pt x="480" y="83"/>
                      <a:pt x="481" y="84"/>
                    </a:cubicBezTo>
                    <a:cubicBezTo>
                      <a:pt x="483" y="85"/>
                      <a:pt x="485" y="87"/>
                      <a:pt x="487" y="89"/>
                    </a:cubicBezTo>
                    <a:cubicBezTo>
                      <a:pt x="488" y="90"/>
                      <a:pt x="488" y="91"/>
                      <a:pt x="487" y="92"/>
                    </a:cubicBezTo>
                    <a:cubicBezTo>
                      <a:pt x="487" y="92"/>
                      <a:pt x="486" y="92"/>
                      <a:pt x="486" y="92"/>
                    </a:cubicBezTo>
                    <a:close/>
                    <a:moveTo>
                      <a:pt x="65" y="85"/>
                    </a:moveTo>
                    <a:cubicBezTo>
                      <a:pt x="64" y="85"/>
                      <a:pt x="64" y="84"/>
                      <a:pt x="64" y="84"/>
                    </a:cubicBezTo>
                    <a:cubicBezTo>
                      <a:pt x="63" y="83"/>
                      <a:pt x="63" y="82"/>
                      <a:pt x="64" y="81"/>
                    </a:cubicBezTo>
                    <a:cubicBezTo>
                      <a:pt x="66" y="79"/>
                      <a:pt x="67" y="77"/>
                      <a:pt x="69" y="76"/>
                    </a:cubicBezTo>
                    <a:cubicBezTo>
                      <a:pt x="70" y="75"/>
                      <a:pt x="71" y="75"/>
                      <a:pt x="72" y="76"/>
                    </a:cubicBezTo>
                    <a:cubicBezTo>
                      <a:pt x="73" y="76"/>
                      <a:pt x="73" y="78"/>
                      <a:pt x="72" y="78"/>
                    </a:cubicBezTo>
                    <a:cubicBezTo>
                      <a:pt x="70" y="80"/>
                      <a:pt x="68" y="82"/>
                      <a:pt x="66" y="84"/>
                    </a:cubicBezTo>
                    <a:cubicBezTo>
                      <a:pt x="66" y="84"/>
                      <a:pt x="66" y="85"/>
                      <a:pt x="65" y="85"/>
                    </a:cubicBezTo>
                    <a:close/>
                    <a:moveTo>
                      <a:pt x="467" y="77"/>
                    </a:moveTo>
                    <a:cubicBezTo>
                      <a:pt x="467" y="77"/>
                      <a:pt x="466" y="77"/>
                      <a:pt x="466" y="77"/>
                    </a:cubicBezTo>
                    <a:cubicBezTo>
                      <a:pt x="464" y="75"/>
                      <a:pt x="462" y="74"/>
                      <a:pt x="459" y="72"/>
                    </a:cubicBezTo>
                    <a:cubicBezTo>
                      <a:pt x="459" y="72"/>
                      <a:pt x="458" y="70"/>
                      <a:pt x="459" y="70"/>
                    </a:cubicBezTo>
                    <a:cubicBezTo>
                      <a:pt x="460" y="69"/>
                      <a:pt x="461" y="68"/>
                      <a:pt x="462" y="69"/>
                    </a:cubicBezTo>
                    <a:cubicBezTo>
                      <a:pt x="464" y="71"/>
                      <a:pt x="466" y="72"/>
                      <a:pt x="468" y="74"/>
                    </a:cubicBezTo>
                    <a:cubicBezTo>
                      <a:pt x="469" y="75"/>
                      <a:pt x="469" y="76"/>
                      <a:pt x="469" y="77"/>
                    </a:cubicBezTo>
                    <a:cubicBezTo>
                      <a:pt x="468" y="77"/>
                      <a:pt x="468" y="77"/>
                      <a:pt x="467" y="77"/>
                    </a:cubicBezTo>
                    <a:close/>
                    <a:moveTo>
                      <a:pt x="83" y="68"/>
                    </a:moveTo>
                    <a:cubicBezTo>
                      <a:pt x="82" y="68"/>
                      <a:pt x="82" y="68"/>
                      <a:pt x="81" y="68"/>
                    </a:cubicBezTo>
                    <a:cubicBezTo>
                      <a:pt x="81" y="67"/>
                      <a:pt x="81" y="66"/>
                      <a:pt x="81" y="65"/>
                    </a:cubicBezTo>
                    <a:cubicBezTo>
                      <a:pt x="84" y="63"/>
                      <a:pt x="86" y="61"/>
                      <a:pt x="88" y="60"/>
                    </a:cubicBezTo>
                    <a:cubicBezTo>
                      <a:pt x="89" y="59"/>
                      <a:pt x="90" y="59"/>
                      <a:pt x="91" y="60"/>
                    </a:cubicBezTo>
                    <a:cubicBezTo>
                      <a:pt x="91" y="61"/>
                      <a:pt x="91" y="62"/>
                      <a:pt x="90" y="63"/>
                    </a:cubicBezTo>
                    <a:cubicBezTo>
                      <a:pt x="88" y="65"/>
                      <a:pt x="86" y="66"/>
                      <a:pt x="84" y="68"/>
                    </a:cubicBezTo>
                    <a:cubicBezTo>
                      <a:pt x="84" y="68"/>
                      <a:pt x="83" y="68"/>
                      <a:pt x="83" y="68"/>
                    </a:cubicBezTo>
                    <a:close/>
                    <a:moveTo>
                      <a:pt x="447" y="64"/>
                    </a:moveTo>
                    <a:cubicBezTo>
                      <a:pt x="447" y="64"/>
                      <a:pt x="447" y="63"/>
                      <a:pt x="446" y="63"/>
                    </a:cubicBezTo>
                    <a:cubicBezTo>
                      <a:pt x="444" y="62"/>
                      <a:pt x="442" y="60"/>
                      <a:pt x="440" y="59"/>
                    </a:cubicBezTo>
                    <a:cubicBezTo>
                      <a:pt x="439" y="58"/>
                      <a:pt x="439" y="57"/>
                      <a:pt x="439" y="56"/>
                    </a:cubicBezTo>
                    <a:cubicBezTo>
                      <a:pt x="440" y="55"/>
                      <a:pt x="441" y="55"/>
                      <a:pt x="442" y="55"/>
                    </a:cubicBezTo>
                    <a:cubicBezTo>
                      <a:pt x="444" y="57"/>
                      <a:pt x="446" y="58"/>
                      <a:pt x="449" y="60"/>
                    </a:cubicBezTo>
                    <a:cubicBezTo>
                      <a:pt x="450" y="60"/>
                      <a:pt x="450" y="62"/>
                      <a:pt x="449" y="63"/>
                    </a:cubicBezTo>
                    <a:cubicBezTo>
                      <a:pt x="449" y="63"/>
                      <a:pt x="448" y="64"/>
                      <a:pt x="447" y="64"/>
                    </a:cubicBezTo>
                    <a:close/>
                    <a:moveTo>
                      <a:pt x="102" y="54"/>
                    </a:moveTo>
                    <a:cubicBezTo>
                      <a:pt x="101" y="54"/>
                      <a:pt x="101" y="54"/>
                      <a:pt x="100" y="53"/>
                    </a:cubicBezTo>
                    <a:cubicBezTo>
                      <a:pt x="100" y="52"/>
                      <a:pt x="100" y="51"/>
                      <a:pt x="101" y="50"/>
                    </a:cubicBezTo>
                    <a:cubicBezTo>
                      <a:pt x="103" y="49"/>
                      <a:pt x="105" y="47"/>
                      <a:pt x="107" y="46"/>
                    </a:cubicBezTo>
                    <a:cubicBezTo>
                      <a:pt x="108" y="45"/>
                      <a:pt x="110" y="45"/>
                      <a:pt x="110" y="46"/>
                    </a:cubicBezTo>
                    <a:cubicBezTo>
                      <a:pt x="111" y="47"/>
                      <a:pt x="110" y="48"/>
                      <a:pt x="110" y="49"/>
                    </a:cubicBezTo>
                    <a:cubicBezTo>
                      <a:pt x="107" y="50"/>
                      <a:pt x="105" y="52"/>
                      <a:pt x="103" y="53"/>
                    </a:cubicBezTo>
                    <a:cubicBezTo>
                      <a:pt x="103" y="54"/>
                      <a:pt x="102" y="54"/>
                      <a:pt x="102" y="54"/>
                    </a:cubicBezTo>
                    <a:close/>
                    <a:moveTo>
                      <a:pt x="427" y="51"/>
                    </a:moveTo>
                    <a:cubicBezTo>
                      <a:pt x="427" y="51"/>
                      <a:pt x="426" y="51"/>
                      <a:pt x="426" y="51"/>
                    </a:cubicBezTo>
                    <a:cubicBezTo>
                      <a:pt x="424" y="49"/>
                      <a:pt x="422" y="48"/>
                      <a:pt x="419" y="47"/>
                    </a:cubicBezTo>
                    <a:cubicBezTo>
                      <a:pt x="418" y="46"/>
                      <a:pt x="418" y="45"/>
                      <a:pt x="418" y="44"/>
                    </a:cubicBezTo>
                    <a:cubicBezTo>
                      <a:pt x="419" y="43"/>
                      <a:pt x="420" y="43"/>
                      <a:pt x="421" y="43"/>
                    </a:cubicBezTo>
                    <a:cubicBezTo>
                      <a:pt x="424" y="44"/>
                      <a:pt x="426" y="46"/>
                      <a:pt x="428" y="47"/>
                    </a:cubicBezTo>
                    <a:cubicBezTo>
                      <a:pt x="429" y="48"/>
                      <a:pt x="429" y="49"/>
                      <a:pt x="429" y="50"/>
                    </a:cubicBezTo>
                    <a:cubicBezTo>
                      <a:pt x="429" y="50"/>
                      <a:pt x="428" y="51"/>
                      <a:pt x="427" y="51"/>
                    </a:cubicBezTo>
                    <a:close/>
                    <a:moveTo>
                      <a:pt x="122" y="41"/>
                    </a:moveTo>
                    <a:cubicBezTo>
                      <a:pt x="121" y="41"/>
                      <a:pt x="121" y="41"/>
                      <a:pt x="120" y="40"/>
                    </a:cubicBezTo>
                    <a:cubicBezTo>
                      <a:pt x="120" y="39"/>
                      <a:pt x="120" y="38"/>
                      <a:pt x="121" y="37"/>
                    </a:cubicBezTo>
                    <a:cubicBezTo>
                      <a:pt x="123" y="36"/>
                      <a:pt x="126" y="35"/>
                      <a:pt x="128" y="33"/>
                    </a:cubicBezTo>
                    <a:cubicBezTo>
                      <a:pt x="129" y="33"/>
                      <a:pt x="130" y="33"/>
                      <a:pt x="131" y="34"/>
                    </a:cubicBezTo>
                    <a:cubicBezTo>
                      <a:pt x="131" y="35"/>
                      <a:pt x="131" y="36"/>
                      <a:pt x="130" y="37"/>
                    </a:cubicBezTo>
                    <a:cubicBezTo>
                      <a:pt x="128" y="38"/>
                      <a:pt x="125" y="39"/>
                      <a:pt x="123" y="41"/>
                    </a:cubicBezTo>
                    <a:cubicBezTo>
                      <a:pt x="123" y="41"/>
                      <a:pt x="122" y="41"/>
                      <a:pt x="122" y="41"/>
                    </a:cubicBezTo>
                    <a:close/>
                    <a:moveTo>
                      <a:pt x="406" y="39"/>
                    </a:moveTo>
                    <a:cubicBezTo>
                      <a:pt x="406" y="39"/>
                      <a:pt x="405" y="39"/>
                      <a:pt x="405" y="39"/>
                    </a:cubicBezTo>
                    <a:cubicBezTo>
                      <a:pt x="403" y="38"/>
                      <a:pt x="400" y="37"/>
                      <a:pt x="398" y="36"/>
                    </a:cubicBezTo>
                    <a:cubicBezTo>
                      <a:pt x="397" y="35"/>
                      <a:pt x="397" y="34"/>
                      <a:pt x="397" y="33"/>
                    </a:cubicBezTo>
                    <a:cubicBezTo>
                      <a:pt x="398" y="32"/>
                      <a:pt x="399" y="32"/>
                      <a:pt x="400" y="32"/>
                    </a:cubicBezTo>
                    <a:cubicBezTo>
                      <a:pt x="402" y="33"/>
                      <a:pt x="405" y="34"/>
                      <a:pt x="407" y="36"/>
                    </a:cubicBezTo>
                    <a:cubicBezTo>
                      <a:pt x="408" y="36"/>
                      <a:pt x="408" y="37"/>
                      <a:pt x="408" y="38"/>
                    </a:cubicBezTo>
                    <a:cubicBezTo>
                      <a:pt x="408" y="39"/>
                      <a:pt x="407" y="39"/>
                      <a:pt x="406" y="39"/>
                    </a:cubicBezTo>
                    <a:close/>
                    <a:moveTo>
                      <a:pt x="143" y="30"/>
                    </a:moveTo>
                    <a:cubicBezTo>
                      <a:pt x="143" y="30"/>
                      <a:pt x="142" y="30"/>
                      <a:pt x="142" y="29"/>
                    </a:cubicBezTo>
                    <a:cubicBezTo>
                      <a:pt x="141" y="28"/>
                      <a:pt x="142" y="27"/>
                      <a:pt x="143" y="26"/>
                    </a:cubicBezTo>
                    <a:cubicBezTo>
                      <a:pt x="145" y="25"/>
                      <a:pt x="147" y="24"/>
                      <a:pt x="150" y="23"/>
                    </a:cubicBezTo>
                    <a:cubicBezTo>
                      <a:pt x="151" y="22"/>
                      <a:pt x="152" y="23"/>
                      <a:pt x="153" y="24"/>
                    </a:cubicBezTo>
                    <a:cubicBezTo>
                      <a:pt x="153" y="25"/>
                      <a:pt x="153" y="26"/>
                      <a:pt x="152" y="27"/>
                    </a:cubicBezTo>
                    <a:cubicBezTo>
                      <a:pt x="149" y="28"/>
                      <a:pt x="147" y="29"/>
                      <a:pt x="144" y="30"/>
                    </a:cubicBezTo>
                    <a:cubicBezTo>
                      <a:pt x="144" y="30"/>
                      <a:pt x="144" y="30"/>
                      <a:pt x="143" y="30"/>
                    </a:cubicBezTo>
                    <a:close/>
                    <a:moveTo>
                      <a:pt x="384" y="29"/>
                    </a:moveTo>
                    <a:cubicBezTo>
                      <a:pt x="384" y="29"/>
                      <a:pt x="384" y="29"/>
                      <a:pt x="383" y="29"/>
                    </a:cubicBezTo>
                    <a:cubicBezTo>
                      <a:pt x="381" y="28"/>
                      <a:pt x="379" y="27"/>
                      <a:pt x="376" y="26"/>
                    </a:cubicBezTo>
                    <a:cubicBezTo>
                      <a:pt x="375" y="26"/>
                      <a:pt x="375" y="25"/>
                      <a:pt x="375" y="24"/>
                    </a:cubicBezTo>
                    <a:cubicBezTo>
                      <a:pt x="375" y="23"/>
                      <a:pt x="377" y="22"/>
                      <a:pt x="378" y="23"/>
                    </a:cubicBezTo>
                    <a:cubicBezTo>
                      <a:pt x="380" y="23"/>
                      <a:pt x="383" y="25"/>
                      <a:pt x="385" y="26"/>
                    </a:cubicBezTo>
                    <a:cubicBezTo>
                      <a:pt x="386" y="26"/>
                      <a:pt x="387" y="27"/>
                      <a:pt x="386" y="28"/>
                    </a:cubicBezTo>
                    <a:cubicBezTo>
                      <a:pt x="386" y="29"/>
                      <a:pt x="385" y="29"/>
                      <a:pt x="384" y="29"/>
                    </a:cubicBezTo>
                    <a:close/>
                    <a:moveTo>
                      <a:pt x="362" y="21"/>
                    </a:moveTo>
                    <a:cubicBezTo>
                      <a:pt x="362" y="21"/>
                      <a:pt x="361" y="21"/>
                      <a:pt x="361" y="21"/>
                    </a:cubicBezTo>
                    <a:cubicBezTo>
                      <a:pt x="359" y="20"/>
                      <a:pt x="356" y="19"/>
                      <a:pt x="354" y="18"/>
                    </a:cubicBezTo>
                    <a:cubicBezTo>
                      <a:pt x="353" y="18"/>
                      <a:pt x="352" y="17"/>
                      <a:pt x="352" y="16"/>
                    </a:cubicBezTo>
                    <a:cubicBezTo>
                      <a:pt x="353" y="15"/>
                      <a:pt x="354" y="14"/>
                      <a:pt x="355" y="15"/>
                    </a:cubicBezTo>
                    <a:cubicBezTo>
                      <a:pt x="357" y="15"/>
                      <a:pt x="360" y="16"/>
                      <a:pt x="362" y="17"/>
                    </a:cubicBezTo>
                    <a:cubicBezTo>
                      <a:pt x="364" y="17"/>
                      <a:pt x="364" y="19"/>
                      <a:pt x="364" y="20"/>
                    </a:cubicBezTo>
                    <a:cubicBezTo>
                      <a:pt x="363" y="20"/>
                      <a:pt x="363" y="21"/>
                      <a:pt x="362" y="21"/>
                    </a:cubicBezTo>
                    <a:close/>
                    <a:moveTo>
                      <a:pt x="166" y="21"/>
                    </a:moveTo>
                    <a:cubicBezTo>
                      <a:pt x="165" y="21"/>
                      <a:pt x="164" y="20"/>
                      <a:pt x="164" y="19"/>
                    </a:cubicBezTo>
                    <a:cubicBezTo>
                      <a:pt x="163" y="18"/>
                      <a:pt x="164" y="17"/>
                      <a:pt x="165" y="17"/>
                    </a:cubicBezTo>
                    <a:cubicBezTo>
                      <a:pt x="167" y="16"/>
                      <a:pt x="170" y="15"/>
                      <a:pt x="173" y="14"/>
                    </a:cubicBezTo>
                    <a:cubicBezTo>
                      <a:pt x="174" y="14"/>
                      <a:pt x="175" y="14"/>
                      <a:pt x="175" y="16"/>
                    </a:cubicBezTo>
                    <a:cubicBezTo>
                      <a:pt x="175" y="17"/>
                      <a:pt x="175" y="18"/>
                      <a:pt x="174" y="18"/>
                    </a:cubicBezTo>
                    <a:cubicBezTo>
                      <a:pt x="171" y="19"/>
                      <a:pt x="169" y="20"/>
                      <a:pt x="166" y="21"/>
                    </a:cubicBezTo>
                    <a:cubicBezTo>
                      <a:pt x="166" y="21"/>
                      <a:pt x="166" y="21"/>
                      <a:pt x="166" y="21"/>
                    </a:cubicBezTo>
                    <a:close/>
                    <a:moveTo>
                      <a:pt x="339" y="14"/>
                    </a:moveTo>
                    <a:cubicBezTo>
                      <a:pt x="339" y="14"/>
                      <a:pt x="339" y="14"/>
                      <a:pt x="338" y="14"/>
                    </a:cubicBezTo>
                    <a:cubicBezTo>
                      <a:pt x="336" y="13"/>
                      <a:pt x="333" y="13"/>
                      <a:pt x="331" y="12"/>
                    </a:cubicBezTo>
                    <a:cubicBezTo>
                      <a:pt x="330" y="12"/>
                      <a:pt x="329" y="11"/>
                      <a:pt x="329" y="10"/>
                    </a:cubicBezTo>
                    <a:cubicBezTo>
                      <a:pt x="329" y="9"/>
                      <a:pt x="330" y="8"/>
                      <a:pt x="332" y="8"/>
                    </a:cubicBezTo>
                    <a:cubicBezTo>
                      <a:pt x="334" y="9"/>
                      <a:pt x="337" y="10"/>
                      <a:pt x="339" y="10"/>
                    </a:cubicBezTo>
                    <a:cubicBezTo>
                      <a:pt x="340" y="10"/>
                      <a:pt x="341" y="12"/>
                      <a:pt x="341" y="13"/>
                    </a:cubicBezTo>
                    <a:cubicBezTo>
                      <a:pt x="341" y="14"/>
                      <a:pt x="340" y="14"/>
                      <a:pt x="339" y="14"/>
                    </a:cubicBezTo>
                    <a:close/>
                    <a:moveTo>
                      <a:pt x="189" y="14"/>
                    </a:moveTo>
                    <a:cubicBezTo>
                      <a:pt x="188" y="14"/>
                      <a:pt x="187" y="13"/>
                      <a:pt x="187" y="12"/>
                    </a:cubicBezTo>
                    <a:cubicBezTo>
                      <a:pt x="186" y="11"/>
                      <a:pt x="187" y="10"/>
                      <a:pt x="188" y="10"/>
                    </a:cubicBezTo>
                    <a:cubicBezTo>
                      <a:pt x="191" y="9"/>
                      <a:pt x="193" y="8"/>
                      <a:pt x="196" y="8"/>
                    </a:cubicBezTo>
                    <a:cubicBezTo>
                      <a:pt x="197" y="7"/>
                      <a:pt x="198" y="8"/>
                      <a:pt x="198" y="9"/>
                    </a:cubicBezTo>
                    <a:cubicBezTo>
                      <a:pt x="199" y="10"/>
                      <a:pt x="198" y="11"/>
                      <a:pt x="197" y="12"/>
                    </a:cubicBezTo>
                    <a:cubicBezTo>
                      <a:pt x="194" y="12"/>
                      <a:pt x="192" y="13"/>
                      <a:pt x="189" y="14"/>
                    </a:cubicBezTo>
                    <a:cubicBezTo>
                      <a:pt x="189" y="14"/>
                      <a:pt x="189" y="14"/>
                      <a:pt x="189" y="14"/>
                    </a:cubicBezTo>
                    <a:close/>
                    <a:moveTo>
                      <a:pt x="315" y="9"/>
                    </a:moveTo>
                    <a:cubicBezTo>
                      <a:pt x="315" y="9"/>
                      <a:pt x="315" y="9"/>
                      <a:pt x="315" y="9"/>
                    </a:cubicBezTo>
                    <a:cubicBezTo>
                      <a:pt x="312" y="9"/>
                      <a:pt x="310" y="8"/>
                      <a:pt x="307" y="8"/>
                    </a:cubicBezTo>
                    <a:cubicBezTo>
                      <a:pt x="306" y="8"/>
                      <a:pt x="305" y="7"/>
                      <a:pt x="306" y="5"/>
                    </a:cubicBezTo>
                    <a:cubicBezTo>
                      <a:pt x="306" y="4"/>
                      <a:pt x="307" y="4"/>
                      <a:pt x="308" y="4"/>
                    </a:cubicBezTo>
                    <a:cubicBezTo>
                      <a:pt x="310" y="4"/>
                      <a:pt x="313" y="5"/>
                      <a:pt x="316" y="5"/>
                    </a:cubicBezTo>
                    <a:cubicBezTo>
                      <a:pt x="317" y="5"/>
                      <a:pt x="318" y="6"/>
                      <a:pt x="317" y="7"/>
                    </a:cubicBezTo>
                    <a:cubicBezTo>
                      <a:pt x="317" y="8"/>
                      <a:pt x="316" y="9"/>
                      <a:pt x="315" y="9"/>
                    </a:cubicBezTo>
                    <a:close/>
                    <a:moveTo>
                      <a:pt x="212" y="8"/>
                    </a:moveTo>
                    <a:cubicBezTo>
                      <a:pt x="211" y="8"/>
                      <a:pt x="210" y="8"/>
                      <a:pt x="210" y="7"/>
                    </a:cubicBezTo>
                    <a:cubicBezTo>
                      <a:pt x="210" y="6"/>
                      <a:pt x="211" y="5"/>
                      <a:pt x="212" y="4"/>
                    </a:cubicBezTo>
                    <a:cubicBezTo>
                      <a:pt x="214" y="4"/>
                      <a:pt x="217" y="4"/>
                      <a:pt x="220" y="3"/>
                    </a:cubicBezTo>
                    <a:cubicBezTo>
                      <a:pt x="221" y="3"/>
                      <a:pt x="222" y="4"/>
                      <a:pt x="222" y="5"/>
                    </a:cubicBezTo>
                    <a:cubicBezTo>
                      <a:pt x="222" y="6"/>
                      <a:pt x="221" y="7"/>
                      <a:pt x="220" y="7"/>
                    </a:cubicBezTo>
                    <a:cubicBezTo>
                      <a:pt x="218" y="8"/>
                      <a:pt x="215" y="8"/>
                      <a:pt x="212" y="8"/>
                    </a:cubicBezTo>
                    <a:cubicBezTo>
                      <a:pt x="212" y="8"/>
                      <a:pt x="212" y="8"/>
                      <a:pt x="212" y="8"/>
                    </a:cubicBezTo>
                    <a:close/>
                    <a:moveTo>
                      <a:pt x="292" y="6"/>
                    </a:moveTo>
                    <a:cubicBezTo>
                      <a:pt x="292" y="6"/>
                      <a:pt x="292" y="6"/>
                      <a:pt x="291" y="6"/>
                    </a:cubicBezTo>
                    <a:cubicBezTo>
                      <a:pt x="289" y="6"/>
                      <a:pt x="286" y="5"/>
                      <a:pt x="284" y="5"/>
                    </a:cubicBezTo>
                    <a:cubicBezTo>
                      <a:pt x="282" y="5"/>
                      <a:pt x="282" y="4"/>
                      <a:pt x="282" y="3"/>
                    </a:cubicBezTo>
                    <a:cubicBezTo>
                      <a:pt x="282" y="2"/>
                      <a:pt x="283" y="1"/>
                      <a:pt x="284" y="1"/>
                    </a:cubicBezTo>
                    <a:cubicBezTo>
                      <a:pt x="286" y="1"/>
                      <a:pt x="289" y="2"/>
                      <a:pt x="292" y="2"/>
                    </a:cubicBezTo>
                    <a:cubicBezTo>
                      <a:pt x="293" y="2"/>
                      <a:pt x="294" y="3"/>
                      <a:pt x="294" y="4"/>
                    </a:cubicBezTo>
                    <a:cubicBezTo>
                      <a:pt x="294" y="5"/>
                      <a:pt x="293" y="6"/>
                      <a:pt x="292" y="6"/>
                    </a:cubicBezTo>
                    <a:close/>
                    <a:moveTo>
                      <a:pt x="236" y="5"/>
                    </a:moveTo>
                    <a:cubicBezTo>
                      <a:pt x="235" y="5"/>
                      <a:pt x="234" y="5"/>
                      <a:pt x="234" y="3"/>
                    </a:cubicBezTo>
                    <a:cubicBezTo>
                      <a:pt x="234" y="2"/>
                      <a:pt x="234" y="1"/>
                      <a:pt x="236" y="1"/>
                    </a:cubicBezTo>
                    <a:cubicBezTo>
                      <a:pt x="238" y="1"/>
                      <a:pt x="241" y="1"/>
                      <a:pt x="244" y="1"/>
                    </a:cubicBezTo>
                    <a:cubicBezTo>
                      <a:pt x="245" y="1"/>
                      <a:pt x="246" y="1"/>
                      <a:pt x="246" y="3"/>
                    </a:cubicBezTo>
                    <a:cubicBezTo>
                      <a:pt x="246" y="4"/>
                      <a:pt x="245" y="5"/>
                      <a:pt x="244" y="5"/>
                    </a:cubicBezTo>
                    <a:cubicBezTo>
                      <a:pt x="241" y="5"/>
                      <a:pt x="239" y="5"/>
                      <a:pt x="236" y="5"/>
                    </a:cubicBezTo>
                    <a:cubicBezTo>
                      <a:pt x="236" y="5"/>
                      <a:pt x="236" y="5"/>
                      <a:pt x="236" y="5"/>
                    </a:cubicBezTo>
                    <a:close/>
                    <a:moveTo>
                      <a:pt x="268" y="4"/>
                    </a:moveTo>
                    <a:cubicBezTo>
                      <a:pt x="268" y="4"/>
                      <a:pt x="268" y="4"/>
                      <a:pt x="268" y="4"/>
                    </a:cubicBezTo>
                    <a:cubicBezTo>
                      <a:pt x="265" y="4"/>
                      <a:pt x="263" y="4"/>
                      <a:pt x="260" y="4"/>
                    </a:cubicBezTo>
                    <a:cubicBezTo>
                      <a:pt x="260" y="4"/>
                      <a:pt x="260" y="4"/>
                      <a:pt x="260" y="4"/>
                    </a:cubicBezTo>
                    <a:cubicBezTo>
                      <a:pt x="259" y="4"/>
                      <a:pt x="258" y="3"/>
                      <a:pt x="258" y="2"/>
                    </a:cubicBezTo>
                    <a:cubicBezTo>
                      <a:pt x="258" y="1"/>
                      <a:pt x="259" y="0"/>
                      <a:pt x="260" y="0"/>
                    </a:cubicBezTo>
                    <a:cubicBezTo>
                      <a:pt x="260" y="0"/>
                      <a:pt x="260" y="0"/>
                      <a:pt x="260" y="0"/>
                    </a:cubicBezTo>
                    <a:cubicBezTo>
                      <a:pt x="263" y="0"/>
                      <a:pt x="265" y="0"/>
                      <a:pt x="268" y="0"/>
                    </a:cubicBezTo>
                    <a:cubicBezTo>
                      <a:pt x="269" y="0"/>
                      <a:pt x="270" y="1"/>
                      <a:pt x="270" y="2"/>
                    </a:cubicBezTo>
                    <a:cubicBezTo>
                      <a:pt x="270" y="3"/>
                      <a:pt x="269" y="4"/>
                      <a:pt x="268"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13">
                <a:extLst>
                  <a:ext uri="{FF2B5EF4-FFF2-40B4-BE49-F238E27FC236}">
                    <a16:creationId xmlns:a16="http://schemas.microsoft.com/office/drawing/2014/main" id="{B0470A2E-1C33-421A-9547-21CC09E9ADB0}"/>
                  </a:ext>
                </a:extLst>
              </p:cNvPr>
              <p:cNvSpPr>
                <a:spLocks/>
              </p:cNvSpPr>
              <p:nvPr/>
            </p:nvSpPr>
            <p:spPr bwMode="auto">
              <a:xfrm>
                <a:off x="2636838" y="3622675"/>
                <a:ext cx="2924175" cy="1252538"/>
              </a:xfrm>
              <a:custGeom>
                <a:avLst/>
                <a:gdLst>
                  <a:gd name="T0" fmla="*/ 0 w 649"/>
                  <a:gd name="T1" fmla="*/ 0 h 278"/>
                  <a:gd name="T2" fmla="*/ 277 w 649"/>
                  <a:gd name="T3" fmla="*/ 278 h 278"/>
                  <a:gd name="T4" fmla="*/ 649 w 649"/>
                  <a:gd name="T5" fmla="*/ 0 h 278"/>
                </a:gdLst>
                <a:ahLst/>
                <a:cxnLst>
                  <a:cxn ang="0">
                    <a:pos x="T0" y="T1"/>
                  </a:cxn>
                  <a:cxn ang="0">
                    <a:pos x="T2" y="T3"/>
                  </a:cxn>
                  <a:cxn ang="0">
                    <a:pos x="T4" y="T5"/>
                  </a:cxn>
                </a:cxnLst>
                <a:rect l="0" t="0" r="r" b="b"/>
                <a:pathLst>
                  <a:path w="649" h="278">
                    <a:moveTo>
                      <a:pt x="0" y="0"/>
                    </a:moveTo>
                    <a:cubicBezTo>
                      <a:pt x="0" y="154"/>
                      <a:pt x="124" y="278"/>
                      <a:pt x="277" y="278"/>
                    </a:cubicBezTo>
                    <a:cubicBezTo>
                      <a:pt x="511" y="278"/>
                      <a:pt x="649" y="0"/>
                      <a:pt x="649"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14">
                <a:extLst>
                  <a:ext uri="{FF2B5EF4-FFF2-40B4-BE49-F238E27FC236}">
                    <a16:creationId xmlns:a16="http://schemas.microsoft.com/office/drawing/2014/main" id="{4430CFE6-DF68-46D7-A94B-19943B23019F}"/>
                  </a:ext>
                </a:extLst>
              </p:cNvPr>
              <p:cNvSpPr>
                <a:spLocks/>
              </p:cNvSpPr>
              <p:nvPr/>
            </p:nvSpPr>
            <p:spPr bwMode="auto">
              <a:xfrm>
                <a:off x="2425700" y="3497263"/>
                <a:ext cx="422275" cy="211138"/>
              </a:xfrm>
              <a:custGeom>
                <a:avLst/>
                <a:gdLst>
                  <a:gd name="T0" fmla="*/ 0 w 266"/>
                  <a:gd name="T1" fmla="*/ 133 h 133"/>
                  <a:gd name="T2" fmla="*/ 133 w 266"/>
                  <a:gd name="T3" fmla="*/ 0 h 133"/>
                  <a:gd name="T4" fmla="*/ 266 w 266"/>
                  <a:gd name="T5" fmla="*/ 133 h 133"/>
                </a:gdLst>
                <a:ahLst/>
                <a:cxnLst>
                  <a:cxn ang="0">
                    <a:pos x="T0" y="T1"/>
                  </a:cxn>
                  <a:cxn ang="0">
                    <a:pos x="T2" y="T3"/>
                  </a:cxn>
                  <a:cxn ang="0">
                    <a:pos x="T4" y="T5"/>
                  </a:cxn>
                </a:cxnLst>
                <a:rect l="0" t="0" r="r" b="b"/>
                <a:pathLst>
                  <a:path w="266" h="133">
                    <a:moveTo>
                      <a:pt x="0" y="133"/>
                    </a:moveTo>
                    <a:lnTo>
                      <a:pt x="133" y="0"/>
                    </a:lnTo>
                    <a:lnTo>
                      <a:pt x="266" y="133"/>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Freeform 15">
                <a:extLst>
                  <a:ext uri="{FF2B5EF4-FFF2-40B4-BE49-F238E27FC236}">
                    <a16:creationId xmlns:a16="http://schemas.microsoft.com/office/drawing/2014/main" id="{F38C0F6F-6C6F-4701-A7FF-A147D68D2E89}"/>
                  </a:ext>
                </a:extLst>
              </p:cNvPr>
              <p:cNvSpPr>
                <a:spLocks/>
              </p:cNvSpPr>
              <p:nvPr/>
            </p:nvSpPr>
            <p:spPr bwMode="auto">
              <a:xfrm>
                <a:off x="8274050" y="3497263"/>
                <a:ext cx="422275" cy="211138"/>
              </a:xfrm>
              <a:custGeom>
                <a:avLst/>
                <a:gdLst>
                  <a:gd name="T0" fmla="*/ 0 w 266"/>
                  <a:gd name="T1" fmla="*/ 133 h 133"/>
                  <a:gd name="T2" fmla="*/ 133 w 266"/>
                  <a:gd name="T3" fmla="*/ 0 h 133"/>
                  <a:gd name="T4" fmla="*/ 266 w 266"/>
                  <a:gd name="T5" fmla="*/ 133 h 133"/>
                </a:gdLst>
                <a:ahLst/>
                <a:cxnLst>
                  <a:cxn ang="0">
                    <a:pos x="T0" y="T1"/>
                  </a:cxn>
                  <a:cxn ang="0">
                    <a:pos x="T2" y="T3"/>
                  </a:cxn>
                  <a:cxn ang="0">
                    <a:pos x="T4" y="T5"/>
                  </a:cxn>
                </a:cxnLst>
                <a:rect l="0" t="0" r="r" b="b"/>
                <a:pathLst>
                  <a:path w="266" h="133">
                    <a:moveTo>
                      <a:pt x="0" y="133"/>
                    </a:moveTo>
                    <a:lnTo>
                      <a:pt x="133" y="0"/>
                    </a:lnTo>
                    <a:lnTo>
                      <a:pt x="266" y="133"/>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6" name="Group 25">
              <a:extLst>
                <a:ext uri="{FF2B5EF4-FFF2-40B4-BE49-F238E27FC236}">
                  <a16:creationId xmlns:a16="http://schemas.microsoft.com/office/drawing/2014/main" id="{978D95F7-FCDB-47E6-9461-B8DF03F96FE9}"/>
                </a:ext>
              </a:extLst>
            </p:cNvPr>
            <p:cNvGrpSpPr/>
            <p:nvPr/>
          </p:nvGrpSpPr>
          <p:grpSpPr>
            <a:xfrm>
              <a:off x="6748682" y="4191794"/>
              <a:ext cx="869510" cy="930100"/>
              <a:chOff x="9412288" y="1506538"/>
              <a:chExt cx="455613" cy="487362"/>
            </a:xfrm>
          </p:grpSpPr>
          <p:sp>
            <p:nvSpPr>
              <p:cNvPr id="39" name="Freeform 65">
                <a:extLst>
                  <a:ext uri="{FF2B5EF4-FFF2-40B4-BE49-F238E27FC236}">
                    <a16:creationId xmlns:a16="http://schemas.microsoft.com/office/drawing/2014/main" id="{067B0B20-8030-45E9-B86B-1679A1A47B86}"/>
                  </a:ext>
                </a:extLst>
              </p:cNvPr>
              <p:cNvSpPr>
                <a:spLocks/>
              </p:cNvSpPr>
              <p:nvPr/>
            </p:nvSpPr>
            <p:spPr bwMode="auto">
              <a:xfrm>
                <a:off x="9604376" y="1730375"/>
                <a:ext cx="263525" cy="263525"/>
              </a:xfrm>
              <a:custGeom>
                <a:avLst/>
                <a:gdLst>
                  <a:gd name="T0" fmla="*/ 53 w 59"/>
                  <a:gd name="T1" fmla="*/ 53 h 59"/>
                  <a:gd name="T2" fmla="*/ 53 w 59"/>
                  <a:gd name="T3" fmla="*/ 53 h 59"/>
                  <a:gd name="T4" fmla="*/ 30 w 59"/>
                  <a:gd name="T5" fmla="*/ 53 h 59"/>
                  <a:gd name="T6" fmla="*/ 6 w 59"/>
                  <a:gd name="T7" fmla="*/ 29 h 59"/>
                  <a:gd name="T8" fmla="*/ 6 w 59"/>
                  <a:gd name="T9" fmla="*/ 6 h 59"/>
                  <a:gd name="T10" fmla="*/ 6 w 59"/>
                  <a:gd name="T11" fmla="*/ 6 h 59"/>
                  <a:gd name="T12" fmla="*/ 29 w 59"/>
                  <a:gd name="T13" fmla="*/ 6 h 59"/>
                  <a:gd name="T14" fmla="*/ 53 w 59"/>
                  <a:gd name="T15" fmla="*/ 30 h 59"/>
                  <a:gd name="T16" fmla="*/ 53 w 59"/>
                  <a:gd name="T17" fmla="*/ 5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9" h="59">
                    <a:moveTo>
                      <a:pt x="53" y="53"/>
                    </a:moveTo>
                    <a:cubicBezTo>
                      <a:pt x="53" y="53"/>
                      <a:pt x="53" y="53"/>
                      <a:pt x="53" y="53"/>
                    </a:cubicBezTo>
                    <a:cubicBezTo>
                      <a:pt x="47" y="59"/>
                      <a:pt x="37" y="59"/>
                      <a:pt x="30" y="53"/>
                    </a:cubicBezTo>
                    <a:cubicBezTo>
                      <a:pt x="6" y="29"/>
                      <a:pt x="6" y="29"/>
                      <a:pt x="6" y="29"/>
                    </a:cubicBezTo>
                    <a:cubicBezTo>
                      <a:pt x="0" y="23"/>
                      <a:pt x="0" y="12"/>
                      <a:pt x="6" y="6"/>
                    </a:cubicBezTo>
                    <a:cubicBezTo>
                      <a:pt x="6" y="6"/>
                      <a:pt x="6" y="6"/>
                      <a:pt x="6" y="6"/>
                    </a:cubicBezTo>
                    <a:cubicBezTo>
                      <a:pt x="13" y="0"/>
                      <a:pt x="23" y="0"/>
                      <a:pt x="29" y="6"/>
                    </a:cubicBezTo>
                    <a:cubicBezTo>
                      <a:pt x="53" y="30"/>
                      <a:pt x="53" y="30"/>
                      <a:pt x="53" y="30"/>
                    </a:cubicBezTo>
                    <a:cubicBezTo>
                      <a:pt x="59" y="37"/>
                      <a:pt x="59" y="47"/>
                      <a:pt x="53" y="53"/>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6">
                <a:extLst>
                  <a:ext uri="{FF2B5EF4-FFF2-40B4-BE49-F238E27FC236}">
                    <a16:creationId xmlns:a16="http://schemas.microsoft.com/office/drawing/2014/main" id="{93BC194F-F552-47A0-874B-CCC2BE12FBFA}"/>
                  </a:ext>
                </a:extLst>
              </p:cNvPr>
              <p:cNvSpPr>
                <a:spLocks/>
              </p:cNvSpPr>
              <p:nvPr/>
            </p:nvSpPr>
            <p:spPr bwMode="auto">
              <a:xfrm>
                <a:off x="9412288" y="1506538"/>
                <a:ext cx="441325" cy="420688"/>
              </a:xfrm>
              <a:custGeom>
                <a:avLst/>
                <a:gdLst>
                  <a:gd name="T0" fmla="*/ 72 w 99"/>
                  <a:gd name="T1" fmla="*/ 54 h 94"/>
                  <a:gd name="T2" fmla="*/ 75 w 99"/>
                  <a:gd name="T3" fmla="*/ 45 h 94"/>
                  <a:gd name="T4" fmla="*/ 75 w 99"/>
                  <a:gd name="T5" fmla="*/ 35 h 94"/>
                  <a:gd name="T6" fmla="*/ 42 w 99"/>
                  <a:gd name="T7" fmla="*/ 2 h 94"/>
                  <a:gd name="T8" fmla="*/ 2 w 99"/>
                  <a:gd name="T9" fmla="*/ 41 h 94"/>
                  <a:gd name="T10" fmla="*/ 36 w 99"/>
                  <a:gd name="T11" fmla="*/ 75 h 94"/>
                  <a:gd name="T12" fmla="*/ 62 w 99"/>
                  <a:gd name="T13" fmla="*/ 67 h 94"/>
                  <a:gd name="T14" fmla="*/ 71 w 99"/>
                  <a:gd name="T15" fmla="*/ 67 h 94"/>
                  <a:gd name="T16" fmla="*/ 73 w 99"/>
                  <a:gd name="T17" fmla="*/ 69 h 94"/>
                  <a:gd name="T18" fmla="*/ 99 w 99"/>
                  <a:gd name="T19" fmla="*/ 94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 h="94">
                    <a:moveTo>
                      <a:pt x="72" y="54"/>
                    </a:moveTo>
                    <a:cubicBezTo>
                      <a:pt x="73" y="51"/>
                      <a:pt x="74" y="48"/>
                      <a:pt x="75" y="45"/>
                    </a:cubicBezTo>
                    <a:cubicBezTo>
                      <a:pt x="75" y="42"/>
                      <a:pt x="76" y="38"/>
                      <a:pt x="75" y="35"/>
                    </a:cubicBezTo>
                    <a:cubicBezTo>
                      <a:pt x="74" y="17"/>
                      <a:pt x="59" y="3"/>
                      <a:pt x="42" y="2"/>
                    </a:cubicBezTo>
                    <a:cubicBezTo>
                      <a:pt x="19" y="0"/>
                      <a:pt x="0" y="19"/>
                      <a:pt x="2" y="41"/>
                    </a:cubicBezTo>
                    <a:cubicBezTo>
                      <a:pt x="3" y="59"/>
                      <a:pt x="18" y="74"/>
                      <a:pt x="36" y="75"/>
                    </a:cubicBezTo>
                    <a:cubicBezTo>
                      <a:pt x="45" y="76"/>
                      <a:pt x="55" y="73"/>
                      <a:pt x="62" y="67"/>
                    </a:cubicBezTo>
                    <a:cubicBezTo>
                      <a:pt x="65" y="65"/>
                      <a:pt x="69" y="65"/>
                      <a:pt x="71" y="67"/>
                    </a:cubicBezTo>
                    <a:cubicBezTo>
                      <a:pt x="73" y="69"/>
                      <a:pt x="73" y="69"/>
                      <a:pt x="73" y="69"/>
                    </a:cubicBezTo>
                    <a:cubicBezTo>
                      <a:pt x="99" y="94"/>
                      <a:pt x="99" y="94"/>
                      <a:pt x="99" y="9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7" name="Group 26">
              <a:extLst>
                <a:ext uri="{FF2B5EF4-FFF2-40B4-BE49-F238E27FC236}">
                  <a16:creationId xmlns:a16="http://schemas.microsoft.com/office/drawing/2014/main" id="{637C105C-5234-4DE0-99CB-137FB122087E}"/>
                </a:ext>
              </a:extLst>
            </p:cNvPr>
            <p:cNvGrpSpPr/>
            <p:nvPr/>
          </p:nvGrpSpPr>
          <p:grpSpPr>
            <a:xfrm>
              <a:off x="3718473" y="4147727"/>
              <a:ext cx="557458" cy="978576"/>
              <a:chOff x="6243638" y="1714501"/>
              <a:chExt cx="292101" cy="512763"/>
            </a:xfrm>
          </p:grpSpPr>
          <p:sp>
            <p:nvSpPr>
              <p:cNvPr id="28" name="Freeform 122">
                <a:extLst>
                  <a:ext uri="{FF2B5EF4-FFF2-40B4-BE49-F238E27FC236}">
                    <a16:creationId xmlns:a16="http://schemas.microsoft.com/office/drawing/2014/main" id="{AE35603D-FEEF-4B7E-915F-70277321CD0E}"/>
                  </a:ext>
                </a:extLst>
              </p:cNvPr>
              <p:cNvSpPr>
                <a:spLocks/>
              </p:cNvSpPr>
              <p:nvPr/>
            </p:nvSpPr>
            <p:spPr bwMode="auto">
              <a:xfrm>
                <a:off x="6243638" y="1714501"/>
                <a:ext cx="252413" cy="512763"/>
              </a:xfrm>
              <a:custGeom>
                <a:avLst/>
                <a:gdLst>
                  <a:gd name="T0" fmla="*/ 52 w 56"/>
                  <a:gd name="T1" fmla="*/ 17 h 114"/>
                  <a:gd name="T2" fmla="*/ 46 w 56"/>
                  <a:gd name="T3" fmla="*/ 22 h 114"/>
                  <a:gd name="T4" fmla="*/ 46 w 56"/>
                  <a:gd name="T5" fmla="*/ 13 h 114"/>
                  <a:gd name="T6" fmla="*/ 42 w 56"/>
                  <a:gd name="T7" fmla="*/ 8 h 114"/>
                  <a:gd name="T8" fmla="*/ 36 w 56"/>
                  <a:gd name="T9" fmla="*/ 13 h 114"/>
                  <a:gd name="T10" fmla="*/ 36 w 56"/>
                  <a:gd name="T11" fmla="*/ 6 h 114"/>
                  <a:gd name="T12" fmla="*/ 31 w 56"/>
                  <a:gd name="T13" fmla="*/ 0 h 114"/>
                  <a:gd name="T14" fmla="*/ 26 w 56"/>
                  <a:gd name="T15" fmla="*/ 6 h 114"/>
                  <a:gd name="T16" fmla="*/ 26 w 56"/>
                  <a:gd name="T17" fmla="*/ 13 h 114"/>
                  <a:gd name="T18" fmla="*/ 21 w 56"/>
                  <a:gd name="T19" fmla="*/ 8 h 114"/>
                  <a:gd name="T20" fmla="*/ 16 w 56"/>
                  <a:gd name="T21" fmla="*/ 13 h 114"/>
                  <a:gd name="T22" fmla="*/ 16 w 56"/>
                  <a:gd name="T23" fmla="*/ 26 h 114"/>
                  <a:gd name="T24" fmla="*/ 5 w 56"/>
                  <a:gd name="T25" fmla="*/ 33 h 114"/>
                  <a:gd name="T26" fmla="*/ 0 w 56"/>
                  <a:gd name="T27" fmla="*/ 32 h 114"/>
                  <a:gd name="T28" fmla="*/ 0 w 56"/>
                  <a:gd name="T29" fmla="*/ 32 h 114"/>
                  <a:gd name="T30" fmla="*/ 5 w 56"/>
                  <a:gd name="T31" fmla="*/ 65 h 114"/>
                  <a:gd name="T32" fmla="*/ 22 w 56"/>
                  <a:gd name="T33" fmla="*/ 85 h 114"/>
                  <a:gd name="T34" fmla="*/ 23 w 56"/>
                  <a:gd name="T35" fmla="*/ 114 h 114"/>
                  <a:gd name="T36" fmla="*/ 51 w 56"/>
                  <a:gd name="T37" fmla="*/ 114 h 114"/>
                  <a:gd name="T38" fmla="*/ 49 w 56"/>
                  <a:gd name="T39" fmla="*/ 81 h 114"/>
                  <a:gd name="T40" fmla="*/ 56 w 56"/>
                  <a:gd name="T41" fmla="*/ 63 h 114"/>
                  <a:gd name="T42" fmla="*/ 56 w 56"/>
                  <a:gd name="T43" fmla="*/ 47 h 114"/>
                  <a:gd name="T44" fmla="*/ 56 w 56"/>
                  <a:gd name="T45" fmla="*/ 43 h 114"/>
                  <a:gd name="T46" fmla="*/ 56 w 56"/>
                  <a:gd name="T47" fmla="*/ 22 h 114"/>
                  <a:gd name="T48" fmla="*/ 52 w 56"/>
                  <a:gd name="T4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14">
                    <a:moveTo>
                      <a:pt x="52" y="17"/>
                    </a:moveTo>
                    <a:cubicBezTo>
                      <a:pt x="49" y="17"/>
                      <a:pt x="46" y="19"/>
                      <a:pt x="46" y="22"/>
                    </a:cubicBezTo>
                    <a:cubicBezTo>
                      <a:pt x="46" y="13"/>
                      <a:pt x="46" y="13"/>
                      <a:pt x="46" y="13"/>
                    </a:cubicBezTo>
                    <a:cubicBezTo>
                      <a:pt x="46" y="10"/>
                      <a:pt x="45" y="8"/>
                      <a:pt x="42" y="8"/>
                    </a:cubicBezTo>
                    <a:cubicBezTo>
                      <a:pt x="39" y="7"/>
                      <a:pt x="36" y="10"/>
                      <a:pt x="36" y="13"/>
                    </a:cubicBezTo>
                    <a:cubicBezTo>
                      <a:pt x="36" y="6"/>
                      <a:pt x="36" y="6"/>
                      <a:pt x="36" y="6"/>
                    </a:cubicBezTo>
                    <a:cubicBezTo>
                      <a:pt x="36" y="3"/>
                      <a:pt x="34" y="1"/>
                      <a:pt x="31" y="0"/>
                    </a:cubicBezTo>
                    <a:cubicBezTo>
                      <a:pt x="28" y="0"/>
                      <a:pt x="26" y="3"/>
                      <a:pt x="26" y="6"/>
                    </a:cubicBezTo>
                    <a:cubicBezTo>
                      <a:pt x="26" y="13"/>
                      <a:pt x="26" y="13"/>
                      <a:pt x="26" y="13"/>
                    </a:cubicBezTo>
                    <a:cubicBezTo>
                      <a:pt x="26" y="10"/>
                      <a:pt x="24" y="7"/>
                      <a:pt x="21" y="8"/>
                    </a:cubicBezTo>
                    <a:cubicBezTo>
                      <a:pt x="18" y="8"/>
                      <a:pt x="16" y="10"/>
                      <a:pt x="16" y="13"/>
                    </a:cubicBezTo>
                    <a:cubicBezTo>
                      <a:pt x="16" y="26"/>
                      <a:pt x="16" y="26"/>
                      <a:pt x="16" y="26"/>
                    </a:cubicBezTo>
                    <a:cubicBezTo>
                      <a:pt x="16" y="31"/>
                      <a:pt x="10" y="35"/>
                      <a:pt x="5" y="33"/>
                    </a:cubicBezTo>
                    <a:cubicBezTo>
                      <a:pt x="3" y="32"/>
                      <a:pt x="1" y="31"/>
                      <a:pt x="0" y="32"/>
                    </a:cubicBezTo>
                    <a:cubicBezTo>
                      <a:pt x="0" y="32"/>
                      <a:pt x="0" y="32"/>
                      <a:pt x="0" y="32"/>
                    </a:cubicBezTo>
                    <a:cubicBezTo>
                      <a:pt x="5" y="65"/>
                      <a:pt x="5" y="65"/>
                      <a:pt x="5" y="65"/>
                    </a:cubicBezTo>
                    <a:cubicBezTo>
                      <a:pt x="7" y="74"/>
                      <a:pt x="14" y="82"/>
                      <a:pt x="22" y="85"/>
                    </a:cubicBezTo>
                    <a:cubicBezTo>
                      <a:pt x="23" y="114"/>
                      <a:pt x="23" y="114"/>
                      <a:pt x="23" y="114"/>
                    </a:cubicBezTo>
                    <a:cubicBezTo>
                      <a:pt x="51" y="114"/>
                      <a:pt x="51" y="114"/>
                      <a:pt x="51" y="114"/>
                    </a:cubicBezTo>
                    <a:cubicBezTo>
                      <a:pt x="52" y="100"/>
                      <a:pt x="50" y="85"/>
                      <a:pt x="49" y="81"/>
                    </a:cubicBezTo>
                    <a:cubicBezTo>
                      <a:pt x="54" y="76"/>
                      <a:pt x="56" y="70"/>
                      <a:pt x="56" y="63"/>
                    </a:cubicBezTo>
                    <a:cubicBezTo>
                      <a:pt x="56" y="47"/>
                      <a:pt x="56" y="47"/>
                      <a:pt x="56" y="47"/>
                    </a:cubicBezTo>
                    <a:cubicBezTo>
                      <a:pt x="56" y="43"/>
                      <a:pt x="56" y="43"/>
                      <a:pt x="56" y="43"/>
                    </a:cubicBezTo>
                    <a:cubicBezTo>
                      <a:pt x="56" y="22"/>
                      <a:pt x="56" y="22"/>
                      <a:pt x="56" y="22"/>
                    </a:cubicBezTo>
                    <a:cubicBezTo>
                      <a:pt x="56" y="20"/>
                      <a:pt x="55" y="18"/>
                      <a:pt x="52" y="17"/>
                    </a:cubicBez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123">
                <a:extLst>
                  <a:ext uri="{FF2B5EF4-FFF2-40B4-BE49-F238E27FC236}">
                    <a16:creationId xmlns:a16="http://schemas.microsoft.com/office/drawing/2014/main" id="{3F896432-FBA4-4C15-8484-9D732071728C}"/>
                  </a:ext>
                </a:extLst>
              </p:cNvPr>
              <p:cNvSpPr>
                <a:spLocks/>
              </p:cNvSpPr>
              <p:nvPr/>
            </p:nvSpPr>
            <p:spPr bwMode="auto">
              <a:xfrm>
                <a:off x="6486526" y="2087563"/>
                <a:ext cx="9525" cy="9525"/>
              </a:xfrm>
              <a:custGeom>
                <a:avLst/>
                <a:gdLst>
                  <a:gd name="T0" fmla="*/ 0 w 2"/>
                  <a:gd name="T1" fmla="*/ 2 h 2"/>
                  <a:gd name="T2" fmla="*/ 2 w 2"/>
                  <a:gd name="T3" fmla="*/ 0 h 2"/>
                </a:gdLst>
                <a:ahLst/>
                <a:cxnLst>
                  <a:cxn ang="0">
                    <a:pos x="T0" y="T1"/>
                  </a:cxn>
                  <a:cxn ang="0">
                    <a:pos x="T2" y="T3"/>
                  </a:cxn>
                </a:cxnLst>
                <a:rect l="0" t="0" r="r" b="b"/>
                <a:pathLst>
                  <a:path w="2" h="2">
                    <a:moveTo>
                      <a:pt x="0" y="2"/>
                    </a:moveTo>
                    <a:cubicBezTo>
                      <a:pt x="1" y="2"/>
                      <a:pt x="2" y="1"/>
                      <a:pt x="2"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124">
                <a:extLst>
                  <a:ext uri="{FF2B5EF4-FFF2-40B4-BE49-F238E27FC236}">
                    <a16:creationId xmlns:a16="http://schemas.microsoft.com/office/drawing/2014/main" id="{53F574FE-F869-4CCA-B5B2-6938C0EDD1AA}"/>
                  </a:ext>
                </a:extLst>
              </p:cNvPr>
              <p:cNvSpPr>
                <a:spLocks/>
              </p:cNvSpPr>
              <p:nvPr/>
            </p:nvSpPr>
            <p:spPr bwMode="auto">
              <a:xfrm>
                <a:off x="6283326" y="1857376"/>
                <a:ext cx="112713" cy="244475"/>
              </a:xfrm>
              <a:custGeom>
                <a:avLst/>
                <a:gdLst>
                  <a:gd name="T0" fmla="*/ 0 w 25"/>
                  <a:gd name="T1" fmla="*/ 0 h 54"/>
                  <a:gd name="T2" fmla="*/ 5 w 25"/>
                  <a:gd name="T3" fmla="*/ 34 h 54"/>
                  <a:gd name="T4" fmla="*/ 25 w 25"/>
                  <a:gd name="T5" fmla="*/ 54 h 54"/>
                </a:gdLst>
                <a:ahLst/>
                <a:cxnLst>
                  <a:cxn ang="0">
                    <a:pos x="T0" y="T1"/>
                  </a:cxn>
                  <a:cxn ang="0">
                    <a:pos x="T2" y="T3"/>
                  </a:cxn>
                  <a:cxn ang="0">
                    <a:pos x="T4" y="T5"/>
                  </a:cxn>
                </a:cxnLst>
                <a:rect l="0" t="0" r="r" b="b"/>
                <a:pathLst>
                  <a:path w="25" h="54">
                    <a:moveTo>
                      <a:pt x="0" y="0"/>
                    </a:moveTo>
                    <a:cubicBezTo>
                      <a:pt x="5" y="34"/>
                      <a:pt x="5" y="34"/>
                      <a:pt x="5" y="34"/>
                    </a:cubicBezTo>
                    <a:cubicBezTo>
                      <a:pt x="7" y="44"/>
                      <a:pt x="15" y="52"/>
                      <a:pt x="25" y="5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125">
                <a:extLst>
                  <a:ext uri="{FF2B5EF4-FFF2-40B4-BE49-F238E27FC236}">
                    <a16:creationId xmlns:a16="http://schemas.microsoft.com/office/drawing/2014/main" id="{F8E11E6B-C022-4DDF-8756-170A68F57B52}"/>
                  </a:ext>
                </a:extLst>
              </p:cNvPr>
              <p:cNvSpPr>
                <a:spLocks/>
              </p:cNvSpPr>
              <p:nvPr/>
            </p:nvSpPr>
            <p:spPr bwMode="auto">
              <a:xfrm>
                <a:off x="6283326" y="1857376"/>
                <a:ext cx="73025" cy="104775"/>
              </a:xfrm>
              <a:custGeom>
                <a:avLst/>
                <a:gdLst>
                  <a:gd name="T0" fmla="*/ 16 w 16"/>
                  <a:gd name="T1" fmla="*/ 23 h 23"/>
                  <a:gd name="T2" fmla="*/ 11 w 16"/>
                  <a:gd name="T3" fmla="*/ 9 h 23"/>
                  <a:gd name="T4" fmla="*/ 0 w 16"/>
                  <a:gd name="T5" fmla="*/ 0 h 23"/>
                  <a:gd name="T6" fmla="*/ 0 w 16"/>
                  <a:gd name="T7" fmla="*/ 0 h 23"/>
                </a:gdLst>
                <a:ahLst/>
                <a:cxnLst>
                  <a:cxn ang="0">
                    <a:pos x="T0" y="T1"/>
                  </a:cxn>
                  <a:cxn ang="0">
                    <a:pos x="T2" y="T3"/>
                  </a:cxn>
                  <a:cxn ang="0">
                    <a:pos x="T4" y="T5"/>
                  </a:cxn>
                  <a:cxn ang="0">
                    <a:pos x="T6" y="T7"/>
                  </a:cxn>
                </a:cxnLst>
                <a:rect l="0" t="0" r="r" b="b"/>
                <a:pathLst>
                  <a:path w="16" h="23">
                    <a:moveTo>
                      <a:pt x="16" y="23"/>
                    </a:moveTo>
                    <a:cubicBezTo>
                      <a:pt x="11" y="9"/>
                      <a:pt x="11" y="9"/>
                      <a:pt x="11" y="9"/>
                    </a:cubicBezTo>
                    <a:cubicBezTo>
                      <a:pt x="9" y="3"/>
                      <a:pt x="5" y="0"/>
                      <a:pt x="0" y="0"/>
                    </a:cubicBezTo>
                    <a:cubicBezTo>
                      <a:pt x="0" y="0"/>
                      <a:pt x="0" y="0"/>
                      <a:pt x="0"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126">
                <a:extLst>
                  <a:ext uri="{FF2B5EF4-FFF2-40B4-BE49-F238E27FC236}">
                    <a16:creationId xmlns:a16="http://schemas.microsoft.com/office/drawing/2014/main" id="{DD8E3D93-DD36-4E07-A044-C8671CF0DA89}"/>
                  </a:ext>
                </a:extLst>
              </p:cNvPr>
              <p:cNvSpPr>
                <a:spLocks/>
              </p:cNvSpPr>
              <p:nvPr/>
            </p:nvSpPr>
            <p:spPr bwMode="auto">
              <a:xfrm>
                <a:off x="6356351" y="1717676"/>
                <a:ext cx="179388" cy="369888"/>
              </a:xfrm>
              <a:custGeom>
                <a:avLst/>
                <a:gdLst>
                  <a:gd name="T0" fmla="*/ 31 w 40"/>
                  <a:gd name="T1" fmla="*/ 82 h 82"/>
                  <a:gd name="T2" fmla="*/ 40 w 40"/>
                  <a:gd name="T3" fmla="*/ 63 h 82"/>
                  <a:gd name="T4" fmla="*/ 40 w 40"/>
                  <a:gd name="T5" fmla="*/ 47 h 82"/>
                  <a:gd name="T6" fmla="*/ 40 w 40"/>
                  <a:gd name="T7" fmla="*/ 42 h 82"/>
                  <a:gd name="T8" fmla="*/ 40 w 40"/>
                  <a:gd name="T9" fmla="*/ 22 h 82"/>
                  <a:gd name="T10" fmla="*/ 36 w 40"/>
                  <a:gd name="T11" fmla="*/ 17 h 82"/>
                  <a:gd name="T12" fmla="*/ 30 w 40"/>
                  <a:gd name="T13" fmla="*/ 22 h 82"/>
                  <a:gd name="T14" fmla="*/ 30 w 40"/>
                  <a:gd name="T15" fmla="*/ 12 h 82"/>
                  <a:gd name="T16" fmla="*/ 26 w 40"/>
                  <a:gd name="T17" fmla="*/ 7 h 82"/>
                  <a:gd name="T18" fmla="*/ 20 w 40"/>
                  <a:gd name="T19" fmla="*/ 12 h 82"/>
                  <a:gd name="T20" fmla="*/ 20 w 40"/>
                  <a:gd name="T21" fmla="*/ 5 h 82"/>
                  <a:gd name="T22" fmla="*/ 15 w 40"/>
                  <a:gd name="T23" fmla="*/ 0 h 82"/>
                  <a:gd name="T24" fmla="*/ 10 w 40"/>
                  <a:gd name="T25" fmla="*/ 5 h 82"/>
                  <a:gd name="T26" fmla="*/ 10 w 40"/>
                  <a:gd name="T27" fmla="*/ 12 h 82"/>
                  <a:gd name="T28" fmla="*/ 5 w 40"/>
                  <a:gd name="T29" fmla="*/ 7 h 82"/>
                  <a:gd name="T30" fmla="*/ 0 w 40"/>
                  <a:gd name="T31" fmla="*/ 13 h 82"/>
                  <a:gd name="T32" fmla="*/ 0 w 40"/>
                  <a:gd name="T33" fmla="*/ 39 h 82"/>
                  <a:gd name="T34" fmla="*/ 0 w 40"/>
                  <a:gd name="T35" fmla="*/ 42 h 82"/>
                  <a:gd name="T36" fmla="*/ 0 w 40"/>
                  <a:gd name="T37" fmla="*/ 54 h 82"/>
                  <a:gd name="T38" fmla="*/ 14 w 40"/>
                  <a:gd name="T3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82">
                    <a:moveTo>
                      <a:pt x="31" y="82"/>
                    </a:moveTo>
                    <a:cubicBezTo>
                      <a:pt x="37" y="78"/>
                      <a:pt x="40" y="71"/>
                      <a:pt x="40" y="63"/>
                    </a:cubicBezTo>
                    <a:cubicBezTo>
                      <a:pt x="40" y="47"/>
                      <a:pt x="40" y="47"/>
                      <a:pt x="40" y="47"/>
                    </a:cubicBezTo>
                    <a:cubicBezTo>
                      <a:pt x="40" y="42"/>
                      <a:pt x="40" y="42"/>
                      <a:pt x="40" y="42"/>
                    </a:cubicBezTo>
                    <a:cubicBezTo>
                      <a:pt x="40" y="22"/>
                      <a:pt x="40" y="22"/>
                      <a:pt x="40" y="22"/>
                    </a:cubicBezTo>
                    <a:cubicBezTo>
                      <a:pt x="40" y="20"/>
                      <a:pt x="39" y="17"/>
                      <a:pt x="36" y="17"/>
                    </a:cubicBezTo>
                    <a:cubicBezTo>
                      <a:pt x="33" y="16"/>
                      <a:pt x="30" y="19"/>
                      <a:pt x="30" y="22"/>
                    </a:cubicBezTo>
                    <a:cubicBezTo>
                      <a:pt x="30" y="12"/>
                      <a:pt x="30" y="12"/>
                      <a:pt x="30" y="12"/>
                    </a:cubicBezTo>
                    <a:cubicBezTo>
                      <a:pt x="30" y="10"/>
                      <a:pt x="29" y="8"/>
                      <a:pt x="26" y="7"/>
                    </a:cubicBezTo>
                    <a:cubicBezTo>
                      <a:pt x="23" y="7"/>
                      <a:pt x="20" y="9"/>
                      <a:pt x="20" y="12"/>
                    </a:cubicBezTo>
                    <a:cubicBezTo>
                      <a:pt x="20" y="5"/>
                      <a:pt x="20" y="5"/>
                      <a:pt x="20" y="5"/>
                    </a:cubicBezTo>
                    <a:cubicBezTo>
                      <a:pt x="20" y="3"/>
                      <a:pt x="18" y="0"/>
                      <a:pt x="15" y="0"/>
                    </a:cubicBezTo>
                    <a:cubicBezTo>
                      <a:pt x="12" y="0"/>
                      <a:pt x="10" y="2"/>
                      <a:pt x="10" y="5"/>
                    </a:cubicBezTo>
                    <a:cubicBezTo>
                      <a:pt x="10" y="12"/>
                      <a:pt x="10" y="12"/>
                      <a:pt x="10" y="12"/>
                    </a:cubicBezTo>
                    <a:cubicBezTo>
                      <a:pt x="10" y="9"/>
                      <a:pt x="7" y="7"/>
                      <a:pt x="5" y="7"/>
                    </a:cubicBezTo>
                    <a:cubicBezTo>
                      <a:pt x="2" y="7"/>
                      <a:pt x="0" y="10"/>
                      <a:pt x="0" y="13"/>
                    </a:cubicBezTo>
                    <a:cubicBezTo>
                      <a:pt x="0" y="39"/>
                      <a:pt x="0" y="39"/>
                      <a:pt x="0" y="39"/>
                    </a:cubicBezTo>
                    <a:cubicBezTo>
                      <a:pt x="0" y="42"/>
                      <a:pt x="0" y="42"/>
                      <a:pt x="0" y="42"/>
                    </a:cubicBezTo>
                    <a:cubicBezTo>
                      <a:pt x="0" y="54"/>
                      <a:pt x="0" y="54"/>
                      <a:pt x="0" y="54"/>
                    </a:cubicBezTo>
                    <a:cubicBezTo>
                      <a:pt x="0" y="54"/>
                      <a:pt x="14" y="55"/>
                      <a:pt x="14" y="69"/>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127">
                <a:extLst>
                  <a:ext uri="{FF2B5EF4-FFF2-40B4-BE49-F238E27FC236}">
                    <a16:creationId xmlns:a16="http://schemas.microsoft.com/office/drawing/2014/main" id="{1AA70169-51D9-424B-8767-AE9324CA2635}"/>
                  </a:ext>
                </a:extLst>
              </p:cNvPr>
              <p:cNvSpPr>
                <a:spLocks noChangeShapeType="1"/>
              </p:cNvSpPr>
              <p:nvPr/>
            </p:nvSpPr>
            <p:spPr bwMode="auto">
              <a:xfrm>
                <a:off x="6400801" y="1771651"/>
                <a:ext cx="0" cy="14922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Line 128">
                <a:extLst>
                  <a:ext uri="{FF2B5EF4-FFF2-40B4-BE49-F238E27FC236}">
                    <a16:creationId xmlns:a16="http://schemas.microsoft.com/office/drawing/2014/main" id="{E36B7618-268F-42F6-93E7-D563CC63AB21}"/>
                  </a:ext>
                </a:extLst>
              </p:cNvPr>
              <p:cNvSpPr>
                <a:spLocks noChangeShapeType="1"/>
              </p:cNvSpPr>
              <p:nvPr/>
            </p:nvSpPr>
            <p:spPr bwMode="auto">
              <a:xfrm>
                <a:off x="6445251" y="1771651"/>
                <a:ext cx="0" cy="14922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129">
                <a:extLst>
                  <a:ext uri="{FF2B5EF4-FFF2-40B4-BE49-F238E27FC236}">
                    <a16:creationId xmlns:a16="http://schemas.microsoft.com/office/drawing/2014/main" id="{883D5CE9-4D70-4905-9DE7-5D9E032BEA54}"/>
                  </a:ext>
                </a:extLst>
              </p:cNvPr>
              <p:cNvSpPr>
                <a:spLocks noChangeShapeType="1"/>
              </p:cNvSpPr>
              <p:nvPr/>
            </p:nvSpPr>
            <p:spPr bwMode="auto">
              <a:xfrm>
                <a:off x="6491288" y="1771651"/>
                <a:ext cx="0" cy="14922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Freeform 130">
                <a:extLst>
                  <a:ext uri="{FF2B5EF4-FFF2-40B4-BE49-F238E27FC236}">
                    <a16:creationId xmlns:a16="http://schemas.microsoft.com/office/drawing/2014/main" id="{1AB8FF6B-B6DB-44B5-B4A0-1DBC4FA5013D}"/>
                  </a:ext>
                </a:extLst>
              </p:cNvPr>
              <p:cNvSpPr>
                <a:spLocks/>
              </p:cNvSpPr>
              <p:nvPr/>
            </p:nvSpPr>
            <p:spPr bwMode="auto">
              <a:xfrm>
                <a:off x="6503988" y="2087563"/>
                <a:ext cx="19050" cy="139700"/>
              </a:xfrm>
              <a:custGeom>
                <a:avLst/>
                <a:gdLst>
                  <a:gd name="T0" fmla="*/ 0 w 4"/>
                  <a:gd name="T1" fmla="*/ 0 h 31"/>
                  <a:gd name="T2" fmla="*/ 3 w 4"/>
                  <a:gd name="T3" fmla="*/ 31 h 31"/>
                </a:gdLst>
                <a:ahLst/>
                <a:cxnLst>
                  <a:cxn ang="0">
                    <a:pos x="T0" y="T1"/>
                  </a:cxn>
                  <a:cxn ang="0">
                    <a:pos x="T2" y="T3"/>
                  </a:cxn>
                </a:cxnLst>
                <a:rect l="0" t="0" r="r" b="b"/>
                <a:pathLst>
                  <a:path w="4" h="31">
                    <a:moveTo>
                      <a:pt x="0" y="0"/>
                    </a:moveTo>
                    <a:cubicBezTo>
                      <a:pt x="0" y="0"/>
                      <a:pt x="4" y="15"/>
                      <a:pt x="3" y="31"/>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131">
                <a:extLst>
                  <a:ext uri="{FF2B5EF4-FFF2-40B4-BE49-F238E27FC236}">
                    <a16:creationId xmlns:a16="http://schemas.microsoft.com/office/drawing/2014/main" id="{6C7E850C-B593-4641-9A55-2A327AEE3959}"/>
                  </a:ext>
                </a:extLst>
              </p:cNvPr>
              <p:cNvSpPr>
                <a:spLocks/>
              </p:cNvSpPr>
              <p:nvPr/>
            </p:nvSpPr>
            <p:spPr bwMode="auto">
              <a:xfrm>
                <a:off x="6383338" y="2101851"/>
                <a:ext cx="7938" cy="125413"/>
              </a:xfrm>
              <a:custGeom>
                <a:avLst/>
                <a:gdLst>
                  <a:gd name="T0" fmla="*/ 0 w 2"/>
                  <a:gd name="T1" fmla="*/ 0 h 28"/>
                  <a:gd name="T2" fmla="*/ 1 w 2"/>
                  <a:gd name="T3" fmla="*/ 28 h 28"/>
                </a:gdLst>
                <a:ahLst/>
                <a:cxnLst>
                  <a:cxn ang="0">
                    <a:pos x="T0" y="T1"/>
                  </a:cxn>
                  <a:cxn ang="0">
                    <a:pos x="T2" y="T3"/>
                  </a:cxn>
                </a:cxnLst>
                <a:rect l="0" t="0" r="r" b="b"/>
                <a:pathLst>
                  <a:path w="2" h="28">
                    <a:moveTo>
                      <a:pt x="0" y="0"/>
                    </a:moveTo>
                    <a:cubicBezTo>
                      <a:pt x="0" y="0"/>
                      <a:pt x="2" y="12"/>
                      <a:pt x="1" y="28"/>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58" name="Rectangle 57">
            <a:extLst>
              <a:ext uri="{FF2B5EF4-FFF2-40B4-BE49-F238E27FC236}">
                <a16:creationId xmlns:a16="http://schemas.microsoft.com/office/drawing/2014/main" id="{219AFC2F-CDFB-4252-80AC-7FCAE3578115}"/>
              </a:ext>
            </a:extLst>
          </p:cNvPr>
          <p:cNvSpPr/>
          <p:nvPr/>
        </p:nvSpPr>
        <p:spPr>
          <a:xfrm>
            <a:off x="2395890" y="4428753"/>
            <a:ext cx="2025271" cy="557076"/>
          </a:xfrm>
          <a:prstGeom prst="rect">
            <a:avLst/>
          </a:prstGeom>
        </p:spPr>
        <p:txBody>
          <a:bodyPr wrap="square" anchor="ctr">
            <a:spAutoFit/>
          </a:bodyPr>
          <a:lstStyle/>
          <a:p>
            <a:pPr marL="216000" lvl="1" indent="-216000" defTabSz="742950">
              <a:lnSpc>
                <a:spcPct val="90000"/>
              </a:lnSpc>
              <a:spcAft>
                <a:spcPts val="600"/>
              </a:spcAft>
              <a:buFont typeface="Arial" panose="020B0604020202020204" pitchFamily="34" charset="0"/>
              <a:buChar char="•"/>
              <a:defRPr/>
            </a:pPr>
            <a:r>
              <a:rPr lang="en-GB" sz="1400" dirty="0">
                <a:solidFill>
                  <a:srgbClr val="1F2023"/>
                </a:solidFill>
              </a:rPr>
              <a:t>No naked advocacy!</a:t>
            </a:r>
          </a:p>
          <a:p>
            <a:pPr marL="216000" lvl="1" indent="-216000" defTabSz="742950">
              <a:lnSpc>
                <a:spcPct val="90000"/>
              </a:lnSpc>
              <a:spcAft>
                <a:spcPts val="600"/>
              </a:spcAft>
              <a:buFont typeface="Arial" panose="020B0604020202020204" pitchFamily="34" charset="0"/>
              <a:buChar char="•"/>
              <a:defRPr/>
            </a:pPr>
            <a:r>
              <a:rPr lang="en-GB" sz="1400" dirty="0">
                <a:solidFill>
                  <a:srgbClr val="1F2023"/>
                </a:solidFill>
              </a:rPr>
              <a:t>No naked inquiry!</a:t>
            </a:r>
          </a:p>
        </p:txBody>
      </p:sp>
      <p:grpSp>
        <p:nvGrpSpPr>
          <p:cNvPr id="47" name="Group 46">
            <a:extLst>
              <a:ext uri="{FF2B5EF4-FFF2-40B4-BE49-F238E27FC236}">
                <a16:creationId xmlns:a16="http://schemas.microsoft.com/office/drawing/2014/main" id="{BC3AB757-7A17-48B6-A363-1C27A30C7BFC}"/>
              </a:ext>
            </a:extLst>
          </p:cNvPr>
          <p:cNvGrpSpPr/>
          <p:nvPr/>
        </p:nvGrpSpPr>
        <p:grpSpPr>
          <a:xfrm>
            <a:off x="5519462" y="4546764"/>
            <a:ext cx="435379" cy="335316"/>
            <a:chOff x="7351713" y="5183188"/>
            <a:chExt cx="649288" cy="500062"/>
          </a:xfrm>
        </p:grpSpPr>
        <p:sp>
          <p:nvSpPr>
            <p:cNvPr id="48" name="Freeform 32">
              <a:extLst>
                <a:ext uri="{FF2B5EF4-FFF2-40B4-BE49-F238E27FC236}">
                  <a16:creationId xmlns:a16="http://schemas.microsoft.com/office/drawing/2014/main" id="{E7DCF53A-1598-4DAF-9E2B-55B4B3B96268}"/>
                </a:ext>
              </a:extLst>
            </p:cNvPr>
            <p:cNvSpPr>
              <a:spLocks/>
            </p:cNvSpPr>
            <p:nvPr/>
          </p:nvSpPr>
          <p:spPr bwMode="auto">
            <a:xfrm>
              <a:off x="7351713" y="5183188"/>
              <a:ext cx="649288" cy="500062"/>
            </a:xfrm>
            <a:custGeom>
              <a:avLst/>
              <a:gdLst>
                <a:gd name="T0" fmla="*/ 138 w 145"/>
                <a:gd name="T1" fmla="*/ 5 h 112"/>
                <a:gd name="T2" fmla="*/ 117 w 145"/>
                <a:gd name="T3" fmla="*/ 7 h 112"/>
                <a:gd name="T4" fmla="*/ 57 w 145"/>
                <a:gd name="T5" fmla="*/ 73 h 112"/>
                <a:gd name="T6" fmla="*/ 29 w 145"/>
                <a:gd name="T7" fmla="*/ 41 h 112"/>
                <a:gd name="T8" fmla="*/ 18 w 145"/>
                <a:gd name="T9" fmla="*/ 36 h 112"/>
                <a:gd name="T10" fmla="*/ 7 w 145"/>
                <a:gd name="T11" fmla="*/ 40 h 112"/>
                <a:gd name="T12" fmla="*/ 6 w 145"/>
                <a:gd name="T13" fmla="*/ 62 h 112"/>
                <a:gd name="T14" fmla="*/ 46 w 145"/>
                <a:gd name="T15" fmla="*/ 107 h 112"/>
                <a:gd name="T16" fmla="*/ 57 w 145"/>
                <a:gd name="T17" fmla="*/ 112 h 112"/>
                <a:gd name="T18" fmla="*/ 69 w 145"/>
                <a:gd name="T19" fmla="*/ 107 h 112"/>
                <a:gd name="T20" fmla="*/ 139 w 145"/>
                <a:gd name="T21" fmla="*/ 27 h 112"/>
                <a:gd name="T22" fmla="*/ 138 w 145"/>
                <a:gd name="T23" fmla="*/ 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5" h="112">
                  <a:moveTo>
                    <a:pt x="138" y="5"/>
                  </a:moveTo>
                  <a:cubicBezTo>
                    <a:pt x="132" y="0"/>
                    <a:pt x="122" y="0"/>
                    <a:pt x="117" y="7"/>
                  </a:cubicBezTo>
                  <a:cubicBezTo>
                    <a:pt x="57" y="73"/>
                    <a:pt x="57" y="73"/>
                    <a:pt x="57" y="73"/>
                  </a:cubicBezTo>
                  <a:cubicBezTo>
                    <a:pt x="29" y="41"/>
                    <a:pt x="29" y="41"/>
                    <a:pt x="29" y="41"/>
                  </a:cubicBezTo>
                  <a:cubicBezTo>
                    <a:pt x="26" y="38"/>
                    <a:pt x="22" y="37"/>
                    <a:pt x="18" y="36"/>
                  </a:cubicBezTo>
                  <a:cubicBezTo>
                    <a:pt x="14" y="36"/>
                    <a:pt x="10" y="38"/>
                    <a:pt x="7" y="40"/>
                  </a:cubicBezTo>
                  <a:cubicBezTo>
                    <a:pt x="1" y="46"/>
                    <a:pt x="0" y="56"/>
                    <a:pt x="6" y="62"/>
                  </a:cubicBezTo>
                  <a:cubicBezTo>
                    <a:pt x="46" y="107"/>
                    <a:pt x="46" y="107"/>
                    <a:pt x="46" y="107"/>
                  </a:cubicBezTo>
                  <a:cubicBezTo>
                    <a:pt x="49" y="110"/>
                    <a:pt x="53" y="112"/>
                    <a:pt x="57" y="112"/>
                  </a:cubicBezTo>
                  <a:cubicBezTo>
                    <a:pt x="61" y="112"/>
                    <a:pt x="66" y="110"/>
                    <a:pt x="69" y="107"/>
                  </a:cubicBezTo>
                  <a:cubicBezTo>
                    <a:pt x="139" y="27"/>
                    <a:pt x="139" y="27"/>
                    <a:pt x="139" y="27"/>
                  </a:cubicBezTo>
                  <a:cubicBezTo>
                    <a:pt x="145" y="21"/>
                    <a:pt x="145" y="11"/>
                    <a:pt x="138" y="5"/>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33">
              <a:extLst>
                <a:ext uri="{FF2B5EF4-FFF2-40B4-BE49-F238E27FC236}">
                  <a16:creationId xmlns:a16="http://schemas.microsoft.com/office/drawing/2014/main" id="{23D71580-5461-44D1-B3ED-C5546F4504E3}"/>
                </a:ext>
              </a:extLst>
            </p:cNvPr>
            <p:cNvSpPr>
              <a:spLocks/>
            </p:cNvSpPr>
            <p:nvPr/>
          </p:nvSpPr>
          <p:spPr bwMode="auto">
            <a:xfrm>
              <a:off x="7472363" y="5257800"/>
              <a:ext cx="492125" cy="354012"/>
            </a:xfrm>
            <a:custGeom>
              <a:avLst/>
              <a:gdLst>
                <a:gd name="T0" fmla="*/ 0 w 310"/>
                <a:gd name="T1" fmla="*/ 99 h 223"/>
                <a:gd name="T2" fmla="*/ 110 w 310"/>
                <a:gd name="T3" fmla="*/ 223 h 223"/>
                <a:gd name="T4" fmla="*/ 310 w 310"/>
                <a:gd name="T5" fmla="*/ 0 h 223"/>
              </a:gdLst>
              <a:ahLst/>
              <a:cxnLst>
                <a:cxn ang="0">
                  <a:pos x="T0" y="T1"/>
                </a:cxn>
                <a:cxn ang="0">
                  <a:pos x="T2" y="T3"/>
                </a:cxn>
                <a:cxn ang="0">
                  <a:pos x="T4" y="T5"/>
                </a:cxn>
              </a:cxnLst>
              <a:rect l="0" t="0" r="r" b="b"/>
              <a:pathLst>
                <a:path w="310" h="223">
                  <a:moveTo>
                    <a:pt x="0" y="99"/>
                  </a:moveTo>
                  <a:lnTo>
                    <a:pt x="110" y="223"/>
                  </a:lnTo>
                  <a:lnTo>
                    <a:pt x="310"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50" name="Group 49">
            <a:extLst>
              <a:ext uri="{FF2B5EF4-FFF2-40B4-BE49-F238E27FC236}">
                <a16:creationId xmlns:a16="http://schemas.microsoft.com/office/drawing/2014/main" id="{C8DDACE4-C581-4D62-B28A-E09A65F05FFF}"/>
              </a:ext>
            </a:extLst>
          </p:cNvPr>
          <p:cNvGrpSpPr/>
          <p:nvPr/>
        </p:nvGrpSpPr>
        <p:grpSpPr>
          <a:xfrm>
            <a:off x="1898674" y="4518373"/>
            <a:ext cx="344897" cy="338510"/>
            <a:chOff x="8523288" y="1428750"/>
            <a:chExt cx="514350" cy="504825"/>
          </a:xfrm>
        </p:grpSpPr>
        <p:sp>
          <p:nvSpPr>
            <p:cNvPr id="51" name="Freeform 63">
              <a:extLst>
                <a:ext uri="{FF2B5EF4-FFF2-40B4-BE49-F238E27FC236}">
                  <a16:creationId xmlns:a16="http://schemas.microsoft.com/office/drawing/2014/main" id="{B483C711-D7C9-452C-AD6A-227156F32D36}"/>
                </a:ext>
              </a:extLst>
            </p:cNvPr>
            <p:cNvSpPr>
              <a:spLocks/>
            </p:cNvSpPr>
            <p:nvPr/>
          </p:nvSpPr>
          <p:spPr bwMode="auto">
            <a:xfrm>
              <a:off x="8523288" y="1428750"/>
              <a:ext cx="514350" cy="504825"/>
            </a:xfrm>
            <a:custGeom>
              <a:avLst/>
              <a:gdLst>
                <a:gd name="T0" fmla="*/ 80 w 115"/>
                <a:gd name="T1" fmla="*/ 58 h 113"/>
                <a:gd name="T2" fmla="*/ 109 w 115"/>
                <a:gd name="T3" fmla="*/ 29 h 113"/>
                <a:gd name="T4" fmla="*/ 109 w 115"/>
                <a:gd name="T5" fmla="*/ 7 h 113"/>
                <a:gd name="T6" fmla="*/ 86 w 115"/>
                <a:gd name="T7" fmla="*/ 7 h 113"/>
                <a:gd name="T8" fmla="*/ 58 w 115"/>
                <a:gd name="T9" fmla="*/ 35 h 113"/>
                <a:gd name="T10" fmla="*/ 29 w 115"/>
                <a:gd name="T11" fmla="*/ 7 h 113"/>
                <a:gd name="T12" fmla="*/ 7 w 115"/>
                <a:gd name="T13" fmla="*/ 7 h 113"/>
                <a:gd name="T14" fmla="*/ 7 w 115"/>
                <a:gd name="T15" fmla="*/ 29 h 113"/>
                <a:gd name="T16" fmla="*/ 35 w 115"/>
                <a:gd name="T17" fmla="*/ 58 h 113"/>
                <a:gd name="T18" fmla="*/ 7 w 115"/>
                <a:gd name="T19" fmla="*/ 86 h 113"/>
                <a:gd name="T20" fmla="*/ 7 w 115"/>
                <a:gd name="T21" fmla="*/ 109 h 113"/>
                <a:gd name="T22" fmla="*/ 18 w 115"/>
                <a:gd name="T23" fmla="*/ 113 h 113"/>
                <a:gd name="T24" fmla="*/ 29 w 115"/>
                <a:gd name="T25" fmla="*/ 109 h 113"/>
                <a:gd name="T26" fmla="*/ 58 w 115"/>
                <a:gd name="T27" fmla="*/ 80 h 113"/>
                <a:gd name="T28" fmla="*/ 86 w 115"/>
                <a:gd name="T29" fmla="*/ 108 h 113"/>
                <a:gd name="T30" fmla="*/ 97 w 115"/>
                <a:gd name="T31" fmla="*/ 113 h 113"/>
                <a:gd name="T32" fmla="*/ 108 w 115"/>
                <a:gd name="T33" fmla="*/ 108 h 113"/>
                <a:gd name="T34" fmla="*/ 108 w 115"/>
                <a:gd name="T35" fmla="*/ 86 h 113"/>
                <a:gd name="T36" fmla="*/ 80 w 115"/>
                <a:gd name="T37" fmla="*/ 5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5" h="113">
                  <a:moveTo>
                    <a:pt x="80" y="58"/>
                  </a:moveTo>
                  <a:cubicBezTo>
                    <a:pt x="109" y="29"/>
                    <a:pt x="109" y="29"/>
                    <a:pt x="109" y="29"/>
                  </a:cubicBezTo>
                  <a:cubicBezTo>
                    <a:pt x="115" y="23"/>
                    <a:pt x="115" y="13"/>
                    <a:pt x="109" y="7"/>
                  </a:cubicBezTo>
                  <a:cubicBezTo>
                    <a:pt x="102" y="0"/>
                    <a:pt x="92" y="0"/>
                    <a:pt x="86" y="7"/>
                  </a:cubicBezTo>
                  <a:cubicBezTo>
                    <a:pt x="58" y="35"/>
                    <a:pt x="58" y="35"/>
                    <a:pt x="58" y="35"/>
                  </a:cubicBezTo>
                  <a:cubicBezTo>
                    <a:pt x="29" y="7"/>
                    <a:pt x="29" y="7"/>
                    <a:pt x="29" y="7"/>
                  </a:cubicBezTo>
                  <a:cubicBezTo>
                    <a:pt x="23" y="0"/>
                    <a:pt x="13" y="0"/>
                    <a:pt x="7" y="7"/>
                  </a:cubicBezTo>
                  <a:cubicBezTo>
                    <a:pt x="0" y="13"/>
                    <a:pt x="0" y="23"/>
                    <a:pt x="7" y="29"/>
                  </a:cubicBezTo>
                  <a:cubicBezTo>
                    <a:pt x="35" y="58"/>
                    <a:pt x="35" y="58"/>
                    <a:pt x="35" y="58"/>
                  </a:cubicBezTo>
                  <a:cubicBezTo>
                    <a:pt x="7" y="86"/>
                    <a:pt x="7" y="86"/>
                    <a:pt x="7" y="86"/>
                  </a:cubicBezTo>
                  <a:cubicBezTo>
                    <a:pt x="0" y="92"/>
                    <a:pt x="0" y="102"/>
                    <a:pt x="7" y="109"/>
                  </a:cubicBezTo>
                  <a:cubicBezTo>
                    <a:pt x="10" y="112"/>
                    <a:pt x="14" y="113"/>
                    <a:pt x="18" y="113"/>
                  </a:cubicBezTo>
                  <a:cubicBezTo>
                    <a:pt x="22" y="113"/>
                    <a:pt x="26" y="112"/>
                    <a:pt x="29" y="109"/>
                  </a:cubicBezTo>
                  <a:cubicBezTo>
                    <a:pt x="58" y="80"/>
                    <a:pt x="58" y="80"/>
                    <a:pt x="58" y="80"/>
                  </a:cubicBezTo>
                  <a:cubicBezTo>
                    <a:pt x="86" y="108"/>
                    <a:pt x="86" y="108"/>
                    <a:pt x="86" y="108"/>
                  </a:cubicBezTo>
                  <a:cubicBezTo>
                    <a:pt x="89" y="112"/>
                    <a:pt x="93" y="113"/>
                    <a:pt x="97" y="113"/>
                  </a:cubicBezTo>
                  <a:cubicBezTo>
                    <a:pt x="101" y="113"/>
                    <a:pt x="105" y="112"/>
                    <a:pt x="108" y="108"/>
                  </a:cubicBezTo>
                  <a:cubicBezTo>
                    <a:pt x="115" y="102"/>
                    <a:pt x="115" y="92"/>
                    <a:pt x="108" y="86"/>
                  </a:cubicBezTo>
                  <a:lnTo>
                    <a:pt x="80" y="58"/>
                  </a:lnTo>
                  <a:close/>
                </a:path>
              </a:pathLst>
            </a:custGeom>
            <a:solidFill>
              <a:srgbClr val="D0B2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Line 64">
              <a:extLst>
                <a:ext uri="{FF2B5EF4-FFF2-40B4-BE49-F238E27FC236}">
                  <a16:creationId xmlns:a16="http://schemas.microsoft.com/office/drawing/2014/main" id="{9CC8FA18-BA24-42B6-8132-9C925B035DE1}"/>
                </a:ext>
              </a:extLst>
            </p:cNvPr>
            <p:cNvSpPr>
              <a:spLocks noChangeShapeType="1"/>
            </p:cNvSpPr>
            <p:nvPr/>
          </p:nvSpPr>
          <p:spPr bwMode="auto">
            <a:xfrm>
              <a:off x="8643938" y="1509713"/>
              <a:ext cx="152400" cy="147637"/>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Line 65">
              <a:extLst>
                <a:ext uri="{FF2B5EF4-FFF2-40B4-BE49-F238E27FC236}">
                  <a16:creationId xmlns:a16="http://schemas.microsoft.com/office/drawing/2014/main" id="{FA5A82FE-FC2F-4C46-B715-95D41AD06043}"/>
                </a:ext>
              </a:extLst>
            </p:cNvPr>
            <p:cNvSpPr>
              <a:spLocks noChangeShapeType="1"/>
            </p:cNvSpPr>
            <p:nvPr/>
          </p:nvSpPr>
          <p:spPr bwMode="auto">
            <a:xfrm>
              <a:off x="8850313" y="1709738"/>
              <a:ext cx="147638" cy="152400"/>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Line 66">
              <a:extLst>
                <a:ext uri="{FF2B5EF4-FFF2-40B4-BE49-F238E27FC236}">
                  <a16:creationId xmlns:a16="http://schemas.microsoft.com/office/drawing/2014/main" id="{0B245A16-5C8C-40E6-81C8-D68DEDF81BD5}"/>
                </a:ext>
              </a:extLst>
            </p:cNvPr>
            <p:cNvSpPr>
              <a:spLocks noChangeShapeType="1"/>
            </p:cNvSpPr>
            <p:nvPr/>
          </p:nvSpPr>
          <p:spPr bwMode="auto">
            <a:xfrm flipH="1">
              <a:off x="8643938" y="1509713"/>
              <a:ext cx="358775" cy="35242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59" name="Rectangle 58">
            <a:extLst>
              <a:ext uri="{FF2B5EF4-FFF2-40B4-BE49-F238E27FC236}">
                <a16:creationId xmlns:a16="http://schemas.microsoft.com/office/drawing/2014/main" id="{9718978E-BAF8-4673-8E11-CE7DBD036B09}"/>
              </a:ext>
            </a:extLst>
          </p:cNvPr>
          <p:cNvSpPr/>
          <p:nvPr/>
        </p:nvSpPr>
        <p:spPr>
          <a:xfrm>
            <a:off x="6061919" y="4428753"/>
            <a:ext cx="2226675" cy="674031"/>
          </a:xfrm>
          <a:prstGeom prst="rect">
            <a:avLst/>
          </a:prstGeom>
        </p:spPr>
        <p:txBody>
          <a:bodyPr wrap="square" anchor="t">
            <a:spAutoFit/>
          </a:bodyPr>
          <a:lstStyle/>
          <a:p>
            <a:pPr marL="216000" lvl="1" indent="-216000" defTabSz="742950">
              <a:lnSpc>
                <a:spcPct val="90000"/>
              </a:lnSpc>
              <a:spcAft>
                <a:spcPts val="600"/>
              </a:spcAft>
              <a:buFont typeface="Arial" panose="020B0604020202020204" pitchFamily="34" charset="0"/>
              <a:buChar char="•"/>
              <a:defRPr/>
            </a:pPr>
            <a:r>
              <a:rPr lang="en-GB" sz="1400" dirty="0">
                <a:solidFill>
                  <a:srgbClr val="1F2023"/>
                </a:solidFill>
              </a:rPr>
              <a:t>Always advocate your point of view and combine with inquiry</a:t>
            </a:r>
          </a:p>
        </p:txBody>
      </p:sp>
      <p:cxnSp>
        <p:nvCxnSpPr>
          <p:cNvPr id="60" name="Straight Connector 59">
            <a:extLst>
              <a:ext uri="{FF2B5EF4-FFF2-40B4-BE49-F238E27FC236}">
                <a16:creationId xmlns:a16="http://schemas.microsoft.com/office/drawing/2014/main" id="{EF126DCE-916C-4DE2-947C-D0E8221C3F9A}"/>
              </a:ext>
            </a:extLst>
          </p:cNvPr>
          <p:cNvCxnSpPr>
            <a:cxnSpLocks/>
          </p:cNvCxnSpPr>
          <p:nvPr/>
        </p:nvCxnSpPr>
        <p:spPr>
          <a:xfrm rot="5400000">
            <a:off x="4261513" y="4963900"/>
            <a:ext cx="1382974" cy="0"/>
          </a:xfrm>
          <a:prstGeom prst="line">
            <a:avLst/>
          </a:prstGeom>
          <a:ln w="22225" cap="rnd">
            <a:solidFill>
              <a:srgbClr val="595F62"/>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4221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82">
            <a:extLst>
              <a:ext uri="{FF2B5EF4-FFF2-40B4-BE49-F238E27FC236}">
                <a16:creationId xmlns:a16="http://schemas.microsoft.com/office/drawing/2014/main" id="{D59751E5-E886-4A54-BCA5-E8D73DB5FDD0}"/>
              </a:ext>
            </a:extLst>
          </p:cNvPr>
          <p:cNvSpPr/>
          <p:nvPr/>
        </p:nvSpPr>
        <p:spPr>
          <a:xfrm>
            <a:off x="3584696" y="1627188"/>
            <a:ext cx="6321304" cy="4689475"/>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84" name="Rectangle 83">
            <a:extLst>
              <a:ext uri="{FF2B5EF4-FFF2-40B4-BE49-F238E27FC236}">
                <a16:creationId xmlns:a16="http://schemas.microsoft.com/office/drawing/2014/main" id="{5003BF2F-C1FD-4665-94F9-F124DA402704}"/>
              </a:ext>
            </a:extLst>
          </p:cNvPr>
          <p:cNvSpPr/>
          <p:nvPr/>
        </p:nvSpPr>
        <p:spPr>
          <a:xfrm>
            <a:off x="269875" y="2202823"/>
            <a:ext cx="3710290" cy="3636486"/>
          </a:xfrm>
          <a:prstGeom prst="rect">
            <a:avLst/>
          </a:prstGeom>
          <a:solidFill>
            <a:srgbClr val="FCFB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nchorCtr="0"/>
          <a:lstStyle/>
          <a:p>
            <a:pPr algn="l"/>
            <a:endParaRPr lang="en-GB" sz="1000" noProof="0" dirty="0">
              <a:solidFill>
                <a:srgbClr val="2F363B"/>
              </a:solidFill>
            </a:endParaRPr>
          </a:p>
        </p:txBody>
      </p:sp>
      <p:sp>
        <p:nvSpPr>
          <p:cNvPr id="30" name="Title 29">
            <a:extLst>
              <a:ext uri="{FF2B5EF4-FFF2-40B4-BE49-F238E27FC236}">
                <a16:creationId xmlns:a16="http://schemas.microsoft.com/office/drawing/2014/main" id="{4DDA5C39-A59D-4CDD-B4F9-015858594AB0}"/>
              </a:ext>
            </a:extLst>
          </p:cNvPr>
          <p:cNvSpPr>
            <a:spLocks noGrp="1"/>
          </p:cNvSpPr>
          <p:nvPr>
            <p:ph type="title"/>
          </p:nvPr>
        </p:nvSpPr>
        <p:spPr/>
        <p:txBody>
          <a:bodyPr/>
          <a:lstStyle/>
          <a:p>
            <a:r>
              <a:rPr lang="en-GB" dirty="0"/>
              <a:t>Rule #2: </a:t>
            </a:r>
            <a:r>
              <a:rPr lang="en-GB" b="1" dirty="0"/>
              <a:t>There is always a ladder of inference</a:t>
            </a:r>
          </a:p>
        </p:txBody>
      </p:sp>
      <p:sp>
        <p:nvSpPr>
          <p:cNvPr id="65" name="Text Placeholder 64">
            <a:extLst>
              <a:ext uri="{FF2B5EF4-FFF2-40B4-BE49-F238E27FC236}">
                <a16:creationId xmlns:a16="http://schemas.microsoft.com/office/drawing/2014/main" id="{6EB17088-116C-464B-B4FB-5EDC9E94623E}"/>
              </a:ext>
            </a:extLst>
          </p:cNvPr>
          <p:cNvSpPr>
            <a:spLocks noGrp="1"/>
          </p:cNvSpPr>
          <p:nvPr>
            <p:ph type="body" sz="quarter" idx="13"/>
          </p:nvPr>
        </p:nvSpPr>
        <p:spPr/>
        <p:txBody>
          <a:bodyPr/>
          <a:lstStyle/>
          <a:p>
            <a:endParaRPr lang="en-GB" dirty="0"/>
          </a:p>
        </p:txBody>
      </p:sp>
      <p:sp>
        <p:nvSpPr>
          <p:cNvPr id="66" name="Text Placeholder 65">
            <a:extLst>
              <a:ext uri="{FF2B5EF4-FFF2-40B4-BE49-F238E27FC236}">
                <a16:creationId xmlns:a16="http://schemas.microsoft.com/office/drawing/2014/main" id="{994215F6-4D77-4990-8C84-EE3CD54362EF}"/>
              </a:ext>
            </a:extLst>
          </p:cNvPr>
          <p:cNvSpPr>
            <a:spLocks noGrp="1"/>
          </p:cNvSpPr>
          <p:nvPr>
            <p:ph type="body" sz="quarter" idx="14"/>
          </p:nvPr>
        </p:nvSpPr>
        <p:spPr/>
        <p:txBody>
          <a:bodyPr/>
          <a:lstStyle/>
          <a:p>
            <a:endParaRPr lang="en-GB" dirty="0"/>
          </a:p>
        </p:txBody>
      </p:sp>
      <p:grpSp>
        <p:nvGrpSpPr>
          <p:cNvPr id="28724" name="Group 28723">
            <a:extLst>
              <a:ext uri="{FF2B5EF4-FFF2-40B4-BE49-F238E27FC236}">
                <a16:creationId xmlns:a16="http://schemas.microsoft.com/office/drawing/2014/main" id="{77593F97-C34C-4AB0-8278-AF009C223477}"/>
              </a:ext>
            </a:extLst>
          </p:cNvPr>
          <p:cNvGrpSpPr/>
          <p:nvPr/>
        </p:nvGrpSpPr>
        <p:grpSpPr>
          <a:xfrm>
            <a:off x="4443260" y="2261964"/>
            <a:ext cx="4604176" cy="3419922"/>
            <a:chOff x="3725214" y="2394457"/>
            <a:chExt cx="4604176" cy="3419922"/>
          </a:xfrm>
        </p:grpSpPr>
        <p:sp>
          <p:nvSpPr>
            <p:cNvPr id="5" name="Oval 6">
              <a:extLst>
                <a:ext uri="{FF2B5EF4-FFF2-40B4-BE49-F238E27FC236}">
                  <a16:creationId xmlns:a16="http://schemas.microsoft.com/office/drawing/2014/main" id="{C72FC33D-D795-4D03-ACC6-1AD5F3C8AE57}"/>
                </a:ext>
              </a:extLst>
            </p:cNvPr>
            <p:cNvSpPr>
              <a:spLocks noChangeArrowheads="1"/>
            </p:cNvSpPr>
            <p:nvPr/>
          </p:nvSpPr>
          <p:spPr bwMode="auto">
            <a:xfrm>
              <a:off x="5842040" y="4495505"/>
              <a:ext cx="182791" cy="175850"/>
            </a:xfrm>
            <a:prstGeom prst="ellipse">
              <a:avLst/>
            </a:pr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 name="Oval 7">
              <a:extLst>
                <a:ext uri="{FF2B5EF4-FFF2-40B4-BE49-F238E27FC236}">
                  <a16:creationId xmlns:a16="http://schemas.microsoft.com/office/drawing/2014/main" id="{F64C92C4-6E2C-4D7B-BF57-BFBA4DAE9768}"/>
                </a:ext>
              </a:extLst>
            </p:cNvPr>
            <p:cNvSpPr>
              <a:spLocks noChangeArrowheads="1"/>
            </p:cNvSpPr>
            <p:nvPr/>
          </p:nvSpPr>
          <p:spPr bwMode="auto">
            <a:xfrm>
              <a:off x="6263156" y="4817124"/>
              <a:ext cx="182791" cy="175850"/>
            </a:xfrm>
            <a:prstGeom prst="ellipse">
              <a:avLst/>
            </a:pr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Oval 8">
              <a:extLst>
                <a:ext uri="{FF2B5EF4-FFF2-40B4-BE49-F238E27FC236}">
                  <a16:creationId xmlns:a16="http://schemas.microsoft.com/office/drawing/2014/main" id="{2E716327-3B05-4510-AF90-1FA1E3FC5184}"/>
                </a:ext>
              </a:extLst>
            </p:cNvPr>
            <p:cNvSpPr>
              <a:spLocks noChangeArrowheads="1"/>
            </p:cNvSpPr>
            <p:nvPr/>
          </p:nvSpPr>
          <p:spPr bwMode="auto">
            <a:xfrm>
              <a:off x="6670386" y="4238671"/>
              <a:ext cx="182791" cy="182792"/>
            </a:xfrm>
            <a:prstGeom prst="ellipse">
              <a:avLst/>
            </a:pr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 name="Line 25">
              <a:extLst>
                <a:ext uri="{FF2B5EF4-FFF2-40B4-BE49-F238E27FC236}">
                  <a16:creationId xmlns:a16="http://schemas.microsoft.com/office/drawing/2014/main" id="{1148FF32-868E-4F32-9B59-F61D5D8C8920}"/>
                </a:ext>
              </a:extLst>
            </p:cNvPr>
            <p:cNvSpPr>
              <a:spLocks noChangeShapeType="1"/>
            </p:cNvSpPr>
            <p:nvPr/>
          </p:nvSpPr>
          <p:spPr bwMode="auto">
            <a:xfrm>
              <a:off x="3725214" y="5131803"/>
              <a:ext cx="925526"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27">
              <a:extLst>
                <a:ext uri="{FF2B5EF4-FFF2-40B4-BE49-F238E27FC236}">
                  <a16:creationId xmlns:a16="http://schemas.microsoft.com/office/drawing/2014/main" id="{335673B6-E57D-4015-9CD0-0D8F5ADAF17F}"/>
                </a:ext>
              </a:extLst>
            </p:cNvPr>
            <p:cNvSpPr>
              <a:spLocks/>
            </p:cNvSpPr>
            <p:nvPr/>
          </p:nvSpPr>
          <p:spPr bwMode="auto">
            <a:xfrm>
              <a:off x="5416299" y="3569981"/>
              <a:ext cx="2913091" cy="2047726"/>
            </a:xfrm>
            <a:custGeom>
              <a:avLst/>
              <a:gdLst>
                <a:gd name="T0" fmla="*/ 1259 w 1259"/>
                <a:gd name="T1" fmla="*/ 0 h 885"/>
                <a:gd name="T2" fmla="*/ 1259 w 1259"/>
                <a:gd name="T3" fmla="*/ 885 h 885"/>
                <a:gd name="T4" fmla="*/ 0 w 1259"/>
                <a:gd name="T5" fmla="*/ 885 h 885"/>
              </a:gdLst>
              <a:ahLst/>
              <a:cxnLst>
                <a:cxn ang="0">
                  <a:pos x="T0" y="T1"/>
                </a:cxn>
                <a:cxn ang="0">
                  <a:pos x="T2" y="T3"/>
                </a:cxn>
                <a:cxn ang="0">
                  <a:pos x="T4" y="T5"/>
                </a:cxn>
              </a:cxnLst>
              <a:rect l="0" t="0" r="r" b="b"/>
              <a:pathLst>
                <a:path w="1259" h="885">
                  <a:moveTo>
                    <a:pt x="1259" y="0"/>
                  </a:moveTo>
                  <a:lnTo>
                    <a:pt x="1259" y="885"/>
                  </a:lnTo>
                  <a:lnTo>
                    <a:pt x="0" y="885"/>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2" name="Freeform 28">
              <a:extLst>
                <a:ext uri="{FF2B5EF4-FFF2-40B4-BE49-F238E27FC236}">
                  <a16:creationId xmlns:a16="http://schemas.microsoft.com/office/drawing/2014/main" id="{27612EAD-DA6B-4FF4-888B-82BA21BB9462}"/>
                </a:ext>
              </a:extLst>
            </p:cNvPr>
            <p:cNvSpPr>
              <a:spLocks/>
            </p:cNvSpPr>
            <p:nvPr/>
          </p:nvSpPr>
          <p:spPr bwMode="auto">
            <a:xfrm>
              <a:off x="4650740" y="3569981"/>
              <a:ext cx="2720732" cy="2047726"/>
            </a:xfrm>
            <a:custGeom>
              <a:avLst/>
              <a:gdLst>
                <a:gd name="T0" fmla="*/ 190 w 1387"/>
                <a:gd name="T1" fmla="*/ 885 h 885"/>
                <a:gd name="T2" fmla="*/ 0 w 1387"/>
                <a:gd name="T3" fmla="*/ 885 h 885"/>
                <a:gd name="T4" fmla="*/ 0 w 1387"/>
                <a:gd name="T5" fmla="*/ 0 h 885"/>
                <a:gd name="T6" fmla="*/ 1387 w 1387"/>
                <a:gd name="T7" fmla="*/ 0 h 885"/>
              </a:gdLst>
              <a:ahLst/>
              <a:cxnLst>
                <a:cxn ang="0">
                  <a:pos x="T0" y="T1"/>
                </a:cxn>
                <a:cxn ang="0">
                  <a:pos x="T2" y="T3"/>
                </a:cxn>
                <a:cxn ang="0">
                  <a:pos x="T4" y="T5"/>
                </a:cxn>
                <a:cxn ang="0">
                  <a:pos x="T6" y="T7"/>
                </a:cxn>
              </a:cxnLst>
              <a:rect l="0" t="0" r="r" b="b"/>
              <a:pathLst>
                <a:path w="1387" h="885">
                  <a:moveTo>
                    <a:pt x="190" y="885"/>
                  </a:moveTo>
                  <a:lnTo>
                    <a:pt x="0" y="885"/>
                  </a:lnTo>
                  <a:lnTo>
                    <a:pt x="0" y="0"/>
                  </a:lnTo>
                  <a:lnTo>
                    <a:pt x="1387" y="0"/>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3" name="Line 29">
              <a:extLst>
                <a:ext uri="{FF2B5EF4-FFF2-40B4-BE49-F238E27FC236}">
                  <a16:creationId xmlns:a16="http://schemas.microsoft.com/office/drawing/2014/main" id="{14EA5828-9B41-4014-90F8-C2FEAD6C8E89}"/>
                </a:ext>
              </a:extLst>
            </p:cNvPr>
            <p:cNvSpPr>
              <a:spLocks noChangeShapeType="1"/>
            </p:cNvSpPr>
            <p:nvPr/>
          </p:nvSpPr>
          <p:spPr bwMode="auto">
            <a:xfrm>
              <a:off x="7188680" y="3581548"/>
              <a:ext cx="0" cy="2029216"/>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5" name="Freeform 30">
              <a:extLst>
                <a:ext uri="{FF2B5EF4-FFF2-40B4-BE49-F238E27FC236}">
                  <a16:creationId xmlns:a16="http://schemas.microsoft.com/office/drawing/2014/main" id="{A9666B43-1B5E-4A7D-8CF5-7DF84D773B0C}"/>
                </a:ext>
              </a:extLst>
            </p:cNvPr>
            <p:cNvSpPr>
              <a:spLocks/>
            </p:cNvSpPr>
            <p:nvPr/>
          </p:nvSpPr>
          <p:spPr bwMode="auto">
            <a:xfrm>
              <a:off x="7477907" y="3384876"/>
              <a:ext cx="129574" cy="2205065"/>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6" name="Freeform 31">
              <a:extLst>
                <a:ext uri="{FF2B5EF4-FFF2-40B4-BE49-F238E27FC236}">
                  <a16:creationId xmlns:a16="http://schemas.microsoft.com/office/drawing/2014/main" id="{72900DEF-51F8-4A8B-833E-1D737823D82B}"/>
                </a:ext>
              </a:extLst>
            </p:cNvPr>
            <p:cNvSpPr>
              <a:spLocks/>
            </p:cNvSpPr>
            <p:nvPr/>
          </p:nvSpPr>
          <p:spPr bwMode="auto">
            <a:xfrm>
              <a:off x="7942982" y="3384876"/>
              <a:ext cx="131886" cy="2205065"/>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7" name="Line 32">
              <a:extLst>
                <a:ext uri="{FF2B5EF4-FFF2-40B4-BE49-F238E27FC236}">
                  <a16:creationId xmlns:a16="http://schemas.microsoft.com/office/drawing/2014/main" id="{D01212B0-2A79-4780-A379-2589E497FAE5}"/>
                </a:ext>
              </a:extLst>
            </p:cNvPr>
            <p:cNvSpPr>
              <a:spLocks noChangeShapeType="1"/>
            </p:cNvSpPr>
            <p:nvPr/>
          </p:nvSpPr>
          <p:spPr bwMode="auto">
            <a:xfrm>
              <a:off x="7614422" y="3910111"/>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8" name="Line 33">
              <a:extLst>
                <a:ext uri="{FF2B5EF4-FFF2-40B4-BE49-F238E27FC236}">
                  <a16:creationId xmlns:a16="http://schemas.microsoft.com/office/drawing/2014/main" id="{4F4B4E3D-0F17-4A11-BC67-29B5F3AD297A}"/>
                </a:ext>
              </a:extLst>
            </p:cNvPr>
            <p:cNvSpPr>
              <a:spLocks noChangeShapeType="1"/>
            </p:cNvSpPr>
            <p:nvPr/>
          </p:nvSpPr>
          <p:spPr bwMode="auto">
            <a:xfrm>
              <a:off x="7614422" y="3574608"/>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79" name="Line 34">
              <a:extLst>
                <a:ext uri="{FF2B5EF4-FFF2-40B4-BE49-F238E27FC236}">
                  <a16:creationId xmlns:a16="http://schemas.microsoft.com/office/drawing/2014/main" id="{F7D69A84-02F4-471B-851B-31E40330B45F}"/>
                </a:ext>
              </a:extLst>
            </p:cNvPr>
            <p:cNvSpPr>
              <a:spLocks noChangeShapeType="1"/>
            </p:cNvSpPr>
            <p:nvPr/>
          </p:nvSpPr>
          <p:spPr bwMode="auto">
            <a:xfrm>
              <a:off x="7614422" y="4252555"/>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80" name="Line 35">
              <a:extLst>
                <a:ext uri="{FF2B5EF4-FFF2-40B4-BE49-F238E27FC236}">
                  <a16:creationId xmlns:a16="http://schemas.microsoft.com/office/drawing/2014/main" id="{B333F131-6B7A-4AAE-9308-E69BB2C438D2}"/>
                </a:ext>
              </a:extLst>
            </p:cNvPr>
            <p:cNvSpPr>
              <a:spLocks noChangeShapeType="1"/>
            </p:cNvSpPr>
            <p:nvPr/>
          </p:nvSpPr>
          <p:spPr bwMode="auto">
            <a:xfrm>
              <a:off x="7614422" y="4585744"/>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81" name="Line 36">
              <a:extLst>
                <a:ext uri="{FF2B5EF4-FFF2-40B4-BE49-F238E27FC236}">
                  <a16:creationId xmlns:a16="http://schemas.microsoft.com/office/drawing/2014/main" id="{244B0121-722E-4F89-A9F2-7D58C5DB9C0C}"/>
                </a:ext>
              </a:extLst>
            </p:cNvPr>
            <p:cNvSpPr>
              <a:spLocks noChangeShapeType="1"/>
            </p:cNvSpPr>
            <p:nvPr/>
          </p:nvSpPr>
          <p:spPr bwMode="auto">
            <a:xfrm>
              <a:off x="7614422" y="4928188"/>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82" name="Line 37">
              <a:extLst>
                <a:ext uri="{FF2B5EF4-FFF2-40B4-BE49-F238E27FC236}">
                  <a16:creationId xmlns:a16="http://schemas.microsoft.com/office/drawing/2014/main" id="{E0242037-4AA7-4783-B4C3-0260D5113D69}"/>
                </a:ext>
              </a:extLst>
            </p:cNvPr>
            <p:cNvSpPr>
              <a:spLocks noChangeShapeType="1"/>
            </p:cNvSpPr>
            <p:nvPr/>
          </p:nvSpPr>
          <p:spPr bwMode="auto">
            <a:xfrm>
              <a:off x="7614422" y="5268320"/>
              <a:ext cx="460449"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89" name="Line 44">
              <a:extLst>
                <a:ext uri="{FF2B5EF4-FFF2-40B4-BE49-F238E27FC236}">
                  <a16:creationId xmlns:a16="http://schemas.microsoft.com/office/drawing/2014/main" id="{F2455367-3B7C-4D5C-8366-11D7FA7A600C}"/>
                </a:ext>
              </a:extLst>
            </p:cNvPr>
            <p:cNvSpPr>
              <a:spLocks noChangeShapeType="1"/>
            </p:cNvSpPr>
            <p:nvPr/>
          </p:nvSpPr>
          <p:spPr bwMode="auto">
            <a:xfrm>
              <a:off x="5966987" y="4053566"/>
              <a:ext cx="0" cy="402604"/>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0" name="Line 45">
              <a:extLst>
                <a:ext uri="{FF2B5EF4-FFF2-40B4-BE49-F238E27FC236}">
                  <a16:creationId xmlns:a16="http://schemas.microsoft.com/office/drawing/2014/main" id="{22D77187-A7A2-4E0D-A916-229F4D993083}"/>
                </a:ext>
              </a:extLst>
            </p:cNvPr>
            <p:cNvSpPr>
              <a:spLocks noChangeShapeType="1"/>
            </p:cNvSpPr>
            <p:nvPr/>
          </p:nvSpPr>
          <p:spPr bwMode="auto">
            <a:xfrm>
              <a:off x="6381160" y="4053566"/>
              <a:ext cx="0" cy="645555"/>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1" name="Line 46">
              <a:extLst>
                <a:ext uri="{FF2B5EF4-FFF2-40B4-BE49-F238E27FC236}">
                  <a16:creationId xmlns:a16="http://schemas.microsoft.com/office/drawing/2014/main" id="{A89A7BE4-6D8A-4CFD-867A-B6814D47A372}"/>
                </a:ext>
              </a:extLst>
            </p:cNvPr>
            <p:cNvSpPr>
              <a:spLocks noChangeShapeType="1"/>
            </p:cNvSpPr>
            <p:nvPr/>
          </p:nvSpPr>
          <p:spPr bwMode="auto">
            <a:xfrm>
              <a:off x="6793019" y="4053566"/>
              <a:ext cx="0" cy="152711"/>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2" name="Line 47">
              <a:extLst>
                <a:ext uri="{FF2B5EF4-FFF2-40B4-BE49-F238E27FC236}">
                  <a16:creationId xmlns:a16="http://schemas.microsoft.com/office/drawing/2014/main" id="{BE734A1C-2639-45B9-B0ED-5B06F0C6B73D}"/>
                </a:ext>
              </a:extLst>
            </p:cNvPr>
            <p:cNvSpPr>
              <a:spLocks noChangeShapeType="1"/>
            </p:cNvSpPr>
            <p:nvPr/>
          </p:nvSpPr>
          <p:spPr bwMode="auto">
            <a:xfrm>
              <a:off x="5966987" y="4731514"/>
              <a:ext cx="0" cy="458134"/>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3" name="Line 48">
              <a:extLst>
                <a:ext uri="{FF2B5EF4-FFF2-40B4-BE49-F238E27FC236}">
                  <a16:creationId xmlns:a16="http://schemas.microsoft.com/office/drawing/2014/main" id="{75EBE361-63BD-430A-87E6-C08BE0EDDEA0}"/>
                </a:ext>
              </a:extLst>
            </p:cNvPr>
            <p:cNvSpPr>
              <a:spLocks noChangeShapeType="1"/>
            </p:cNvSpPr>
            <p:nvPr/>
          </p:nvSpPr>
          <p:spPr bwMode="auto">
            <a:xfrm>
              <a:off x="6381160" y="4960582"/>
              <a:ext cx="0" cy="229068"/>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4" name="Line 49">
              <a:extLst>
                <a:ext uri="{FF2B5EF4-FFF2-40B4-BE49-F238E27FC236}">
                  <a16:creationId xmlns:a16="http://schemas.microsoft.com/office/drawing/2014/main" id="{F1009DAA-34B7-4A95-A990-44AB5D1C3533}"/>
                </a:ext>
              </a:extLst>
            </p:cNvPr>
            <p:cNvSpPr>
              <a:spLocks noChangeShapeType="1"/>
            </p:cNvSpPr>
            <p:nvPr/>
          </p:nvSpPr>
          <p:spPr bwMode="auto">
            <a:xfrm>
              <a:off x="6793019" y="4488564"/>
              <a:ext cx="0" cy="701086"/>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5" name="Oval 50">
              <a:extLst>
                <a:ext uri="{FF2B5EF4-FFF2-40B4-BE49-F238E27FC236}">
                  <a16:creationId xmlns:a16="http://schemas.microsoft.com/office/drawing/2014/main" id="{E2BFD6E9-337D-4328-AE10-91778B8E0D61}"/>
                </a:ext>
              </a:extLst>
            </p:cNvPr>
            <p:cNvSpPr>
              <a:spLocks noChangeArrowheads="1"/>
            </p:cNvSpPr>
            <p:nvPr/>
          </p:nvSpPr>
          <p:spPr bwMode="auto">
            <a:xfrm>
              <a:off x="5874434" y="4456170"/>
              <a:ext cx="178162" cy="182792"/>
            </a:xfrm>
            <a:prstGeom prst="ellipse">
              <a:avLst/>
            </a:pr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6" name="Oval 51">
              <a:extLst>
                <a:ext uri="{FF2B5EF4-FFF2-40B4-BE49-F238E27FC236}">
                  <a16:creationId xmlns:a16="http://schemas.microsoft.com/office/drawing/2014/main" id="{80DAEF0E-FB7B-4B54-BBFA-7B49D9AB1F28}"/>
                </a:ext>
              </a:extLst>
            </p:cNvPr>
            <p:cNvSpPr>
              <a:spLocks noChangeArrowheads="1"/>
            </p:cNvSpPr>
            <p:nvPr/>
          </p:nvSpPr>
          <p:spPr bwMode="auto">
            <a:xfrm>
              <a:off x="6295548" y="4777791"/>
              <a:ext cx="175850" cy="182792"/>
            </a:xfrm>
            <a:prstGeom prst="ellipse">
              <a:avLst/>
            </a:pr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7" name="Oval 52">
              <a:extLst>
                <a:ext uri="{FF2B5EF4-FFF2-40B4-BE49-F238E27FC236}">
                  <a16:creationId xmlns:a16="http://schemas.microsoft.com/office/drawing/2014/main" id="{3602D55A-C038-492F-9AF5-5FFB5BB69B23}"/>
                </a:ext>
              </a:extLst>
            </p:cNvPr>
            <p:cNvSpPr>
              <a:spLocks noChangeArrowheads="1"/>
            </p:cNvSpPr>
            <p:nvPr/>
          </p:nvSpPr>
          <p:spPr bwMode="auto">
            <a:xfrm>
              <a:off x="6702780" y="4206279"/>
              <a:ext cx="175850" cy="182792"/>
            </a:xfrm>
            <a:prstGeom prst="ellipse">
              <a:avLst/>
            </a:pr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28713" name="Group 28712">
              <a:extLst>
                <a:ext uri="{FF2B5EF4-FFF2-40B4-BE49-F238E27FC236}">
                  <a16:creationId xmlns:a16="http://schemas.microsoft.com/office/drawing/2014/main" id="{A2E5FC7F-3FB5-407F-B185-9881423047B1}"/>
                </a:ext>
              </a:extLst>
            </p:cNvPr>
            <p:cNvGrpSpPr/>
            <p:nvPr/>
          </p:nvGrpSpPr>
          <p:grpSpPr>
            <a:xfrm>
              <a:off x="5284413" y="2394457"/>
              <a:ext cx="1048704" cy="1175417"/>
              <a:chOff x="10157490" y="2741976"/>
              <a:chExt cx="1743319" cy="1953960"/>
            </a:xfrm>
          </p:grpSpPr>
          <p:sp>
            <p:nvSpPr>
              <p:cNvPr id="4" name="Freeform 5">
                <a:extLst>
                  <a:ext uri="{FF2B5EF4-FFF2-40B4-BE49-F238E27FC236}">
                    <a16:creationId xmlns:a16="http://schemas.microsoft.com/office/drawing/2014/main" id="{C3E143A0-BA0F-428E-9EBC-0CCD9E42F7E0}"/>
                  </a:ext>
                </a:extLst>
              </p:cNvPr>
              <p:cNvSpPr>
                <a:spLocks/>
              </p:cNvSpPr>
              <p:nvPr/>
            </p:nvSpPr>
            <p:spPr bwMode="auto">
              <a:xfrm>
                <a:off x="10527567" y="3193516"/>
                <a:ext cx="904244" cy="1149799"/>
              </a:xfrm>
              <a:custGeom>
                <a:avLst/>
                <a:gdLst>
                  <a:gd name="T0" fmla="*/ 184 w 274"/>
                  <a:gd name="T1" fmla="*/ 348 h 348"/>
                  <a:gd name="T2" fmla="*/ 197 w 274"/>
                  <a:gd name="T3" fmla="*/ 335 h 348"/>
                  <a:gd name="T4" fmla="*/ 197 w 274"/>
                  <a:gd name="T5" fmla="*/ 300 h 348"/>
                  <a:gd name="T6" fmla="*/ 224 w 274"/>
                  <a:gd name="T7" fmla="*/ 252 h 348"/>
                  <a:gd name="T8" fmla="*/ 274 w 274"/>
                  <a:gd name="T9" fmla="*/ 139 h 348"/>
                  <a:gd name="T10" fmla="*/ 137 w 274"/>
                  <a:gd name="T11" fmla="*/ 0 h 348"/>
                  <a:gd name="T12" fmla="*/ 0 w 274"/>
                  <a:gd name="T13" fmla="*/ 139 h 348"/>
                  <a:gd name="T14" fmla="*/ 49 w 274"/>
                  <a:gd name="T15" fmla="*/ 252 h 348"/>
                  <a:gd name="T16" fmla="*/ 77 w 274"/>
                  <a:gd name="T17" fmla="*/ 300 h 348"/>
                  <a:gd name="T18" fmla="*/ 77 w 274"/>
                  <a:gd name="T19" fmla="*/ 335 h 348"/>
                  <a:gd name="T20" fmla="*/ 89 w 274"/>
                  <a:gd name="T21" fmla="*/ 348 h 348"/>
                  <a:gd name="T22" fmla="*/ 184 w 274"/>
                  <a:gd name="T23"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4" h="348">
                    <a:moveTo>
                      <a:pt x="184" y="348"/>
                    </a:moveTo>
                    <a:cubicBezTo>
                      <a:pt x="191" y="348"/>
                      <a:pt x="197" y="342"/>
                      <a:pt x="197" y="335"/>
                    </a:cubicBezTo>
                    <a:cubicBezTo>
                      <a:pt x="197" y="300"/>
                      <a:pt x="197" y="300"/>
                      <a:pt x="197" y="300"/>
                    </a:cubicBezTo>
                    <a:cubicBezTo>
                      <a:pt x="197" y="270"/>
                      <a:pt x="224" y="252"/>
                      <a:pt x="224" y="252"/>
                    </a:cubicBezTo>
                    <a:cubicBezTo>
                      <a:pt x="224" y="252"/>
                      <a:pt x="274" y="213"/>
                      <a:pt x="274" y="139"/>
                    </a:cubicBezTo>
                    <a:cubicBezTo>
                      <a:pt x="274" y="64"/>
                      <a:pt x="218" y="0"/>
                      <a:pt x="137" y="0"/>
                    </a:cubicBezTo>
                    <a:cubicBezTo>
                      <a:pt x="56" y="0"/>
                      <a:pt x="0" y="64"/>
                      <a:pt x="0" y="139"/>
                    </a:cubicBezTo>
                    <a:cubicBezTo>
                      <a:pt x="0" y="213"/>
                      <a:pt x="49" y="252"/>
                      <a:pt x="49" y="252"/>
                    </a:cubicBezTo>
                    <a:cubicBezTo>
                      <a:pt x="49" y="252"/>
                      <a:pt x="77" y="270"/>
                      <a:pt x="77" y="300"/>
                    </a:cubicBezTo>
                    <a:cubicBezTo>
                      <a:pt x="77" y="335"/>
                      <a:pt x="77" y="335"/>
                      <a:pt x="77" y="335"/>
                    </a:cubicBezTo>
                    <a:cubicBezTo>
                      <a:pt x="77" y="342"/>
                      <a:pt x="83" y="348"/>
                      <a:pt x="89" y="348"/>
                    </a:cubicBezTo>
                    <a:lnTo>
                      <a:pt x="184" y="348"/>
                    </a:lnTo>
                    <a:close/>
                  </a:path>
                </a:pathLst>
              </a:cu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3" name="Line 10">
                <a:extLst>
                  <a:ext uri="{FF2B5EF4-FFF2-40B4-BE49-F238E27FC236}">
                    <a16:creationId xmlns:a16="http://schemas.microsoft.com/office/drawing/2014/main" id="{DF718B62-177E-43C6-A684-32AA7D7CDA2F}"/>
                  </a:ext>
                </a:extLst>
              </p:cNvPr>
              <p:cNvSpPr>
                <a:spLocks noChangeShapeType="1"/>
              </p:cNvSpPr>
              <p:nvPr/>
            </p:nvSpPr>
            <p:spPr bwMode="auto">
              <a:xfrm flipH="1">
                <a:off x="10837129" y="4435253"/>
                <a:ext cx="366585"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1">
                <a:extLst>
                  <a:ext uri="{FF2B5EF4-FFF2-40B4-BE49-F238E27FC236}">
                    <a16:creationId xmlns:a16="http://schemas.microsoft.com/office/drawing/2014/main" id="{12CADC2C-DFB9-4F36-B30E-DB1C2FE1E9E0}"/>
                  </a:ext>
                </a:extLst>
              </p:cNvPr>
              <p:cNvSpPr>
                <a:spLocks/>
              </p:cNvSpPr>
              <p:nvPr/>
            </p:nvSpPr>
            <p:spPr bwMode="auto">
              <a:xfrm>
                <a:off x="10569463" y="3150458"/>
                <a:ext cx="905409" cy="1146308"/>
              </a:xfrm>
              <a:custGeom>
                <a:avLst/>
                <a:gdLst>
                  <a:gd name="T0" fmla="*/ 231 w 274"/>
                  <a:gd name="T1" fmla="*/ 241 h 347"/>
                  <a:gd name="T2" fmla="*/ 274 w 274"/>
                  <a:gd name="T3" fmla="*/ 144 h 347"/>
                  <a:gd name="T4" fmla="*/ 137 w 274"/>
                  <a:gd name="T5" fmla="*/ 0 h 347"/>
                  <a:gd name="T6" fmla="*/ 0 w 274"/>
                  <a:gd name="T7" fmla="*/ 138 h 347"/>
                  <a:gd name="T8" fmla="*/ 50 w 274"/>
                  <a:gd name="T9" fmla="*/ 252 h 347"/>
                  <a:gd name="T10" fmla="*/ 78 w 274"/>
                  <a:gd name="T11" fmla="*/ 299 h 347"/>
                  <a:gd name="T12" fmla="*/ 78 w 274"/>
                  <a:gd name="T13" fmla="*/ 347 h 347"/>
                  <a:gd name="T14" fmla="*/ 136 w 274"/>
                  <a:gd name="T15" fmla="*/ 347 h 347"/>
                  <a:gd name="T16" fmla="*/ 136 w 274"/>
                  <a:gd name="T17" fmla="*/ 290 h 347"/>
                  <a:gd name="T18" fmla="*/ 152 w 274"/>
                  <a:gd name="T19" fmla="*/ 253 h 347"/>
                  <a:gd name="T20" fmla="*/ 176 w 274"/>
                  <a:gd name="T21" fmla="*/ 206 h 347"/>
                  <a:gd name="T22" fmla="*/ 126 w 274"/>
                  <a:gd name="T23" fmla="*/ 158 h 347"/>
                  <a:gd name="T24" fmla="*/ 97 w 274"/>
                  <a:gd name="T25" fmla="*/ 206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4" h="347">
                    <a:moveTo>
                      <a:pt x="231" y="241"/>
                    </a:moveTo>
                    <a:cubicBezTo>
                      <a:pt x="231" y="241"/>
                      <a:pt x="274" y="207"/>
                      <a:pt x="274" y="144"/>
                    </a:cubicBezTo>
                    <a:cubicBezTo>
                      <a:pt x="274" y="66"/>
                      <a:pt x="218" y="0"/>
                      <a:pt x="137" y="0"/>
                    </a:cubicBezTo>
                    <a:cubicBezTo>
                      <a:pt x="57" y="0"/>
                      <a:pt x="0" y="64"/>
                      <a:pt x="0" y="138"/>
                    </a:cubicBezTo>
                    <a:cubicBezTo>
                      <a:pt x="0" y="213"/>
                      <a:pt x="50" y="252"/>
                      <a:pt x="50" y="252"/>
                    </a:cubicBezTo>
                    <a:cubicBezTo>
                      <a:pt x="50" y="252"/>
                      <a:pt x="78" y="270"/>
                      <a:pt x="78" y="299"/>
                    </a:cubicBezTo>
                    <a:cubicBezTo>
                      <a:pt x="78" y="329"/>
                      <a:pt x="78" y="347"/>
                      <a:pt x="78" y="347"/>
                    </a:cubicBezTo>
                    <a:cubicBezTo>
                      <a:pt x="136" y="347"/>
                      <a:pt x="136" y="347"/>
                      <a:pt x="136" y="347"/>
                    </a:cubicBezTo>
                    <a:cubicBezTo>
                      <a:pt x="136" y="290"/>
                      <a:pt x="136" y="290"/>
                      <a:pt x="136" y="290"/>
                    </a:cubicBezTo>
                    <a:cubicBezTo>
                      <a:pt x="136" y="276"/>
                      <a:pt x="142" y="263"/>
                      <a:pt x="152" y="253"/>
                    </a:cubicBezTo>
                    <a:cubicBezTo>
                      <a:pt x="163" y="243"/>
                      <a:pt x="176" y="227"/>
                      <a:pt x="176" y="206"/>
                    </a:cubicBezTo>
                    <a:cubicBezTo>
                      <a:pt x="176" y="169"/>
                      <a:pt x="158" y="151"/>
                      <a:pt x="126" y="158"/>
                    </a:cubicBezTo>
                    <a:cubicBezTo>
                      <a:pt x="94" y="165"/>
                      <a:pt x="97" y="206"/>
                      <a:pt x="97" y="20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5" name="Line 12">
                <a:extLst>
                  <a:ext uri="{FF2B5EF4-FFF2-40B4-BE49-F238E27FC236}">
                    <a16:creationId xmlns:a16="http://schemas.microsoft.com/office/drawing/2014/main" id="{197CB68A-5F81-4CCB-94E1-674BF6B707D8}"/>
                  </a:ext>
                </a:extLst>
              </p:cNvPr>
              <p:cNvSpPr>
                <a:spLocks noChangeShapeType="1"/>
              </p:cNvSpPr>
              <p:nvPr/>
            </p:nvSpPr>
            <p:spPr bwMode="auto">
              <a:xfrm>
                <a:off x="10157490" y="3629928"/>
                <a:ext cx="194348"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6" name="Line 13">
                <a:extLst>
                  <a:ext uri="{FF2B5EF4-FFF2-40B4-BE49-F238E27FC236}">
                    <a16:creationId xmlns:a16="http://schemas.microsoft.com/office/drawing/2014/main" id="{269EB6E4-A7E8-41E7-8500-AE22C2320E4C}"/>
                  </a:ext>
                </a:extLst>
              </p:cNvPr>
              <p:cNvSpPr>
                <a:spLocks noChangeShapeType="1"/>
              </p:cNvSpPr>
              <p:nvPr/>
            </p:nvSpPr>
            <p:spPr bwMode="auto">
              <a:xfrm>
                <a:off x="11706461" y="3629928"/>
                <a:ext cx="194348"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7" name="Line 14">
                <a:extLst>
                  <a:ext uri="{FF2B5EF4-FFF2-40B4-BE49-F238E27FC236}">
                    <a16:creationId xmlns:a16="http://schemas.microsoft.com/office/drawing/2014/main" id="{A7715DC0-83E8-4F25-BD9C-C1760056A8DA}"/>
                  </a:ext>
                </a:extLst>
              </p:cNvPr>
              <p:cNvSpPr>
                <a:spLocks noChangeShapeType="1"/>
              </p:cNvSpPr>
              <p:nvPr/>
            </p:nvSpPr>
            <p:spPr bwMode="auto">
              <a:xfrm flipV="1">
                <a:off x="11029150" y="2741976"/>
                <a:ext cx="0" cy="201332"/>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15">
                <a:extLst>
                  <a:ext uri="{FF2B5EF4-FFF2-40B4-BE49-F238E27FC236}">
                    <a16:creationId xmlns:a16="http://schemas.microsoft.com/office/drawing/2014/main" id="{94E068F2-F2DC-464A-8F29-6D2A898DF9AC}"/>
                  </a:ext>
                </a:extLst>
              </p:cNvPr>
              <p:cNvSpPr>
                <a:spLocks noChangeShapeType="1"/>
              </p:cNvSpPr>
              <p:nvPr/>
            </p:nvSpPr>
            <p:spPr bwMode="auto">
              <a:xfrm flipV="1">
                <a:off x="10407700" y="4104744"/>
                <a:ext cx="122195" cy="122196"/>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Line 16">
                <a:extLst>
                  <a:ext uri="{FF2B5EF4-FFF2-40B4-BE49-F238E27FC236}">
                    <a16:creationId xmlns:a16="http://schemas.microsoft.com/office/drawing/2014/main" id="{C547C133-94FF-48FB-8523-99D1F1C22B7B}"/>
                  </a:ext>
                </a:extLst>
              </p:cNvPr>
              <p:cNvSpPr>
                <a:spLocks noChangeShapeType="1"/>
              </p:cNvSpPr>
              <p:nvPr/>
            </p:nvSpPr>
            <p:spPr bwMode="auto">
              <a:xfrm flipV="1">
                <a:off x="11487673" y="2995677"/>
                <a:ext cx="152453" cy="152453"/>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Line 17">
                <a:extLst>
                  <a:ext uri="{FF2B5EF4-FFF2-40B4-BE49-F238E27FC236}">
                    <a16:creationId xmlns:a16="http://schemas.microsoft.com/office/drawing/2014/main" id="{53C7076E-3776-4A17-8F72-C75BB91DA13C}"/>
                  </a:ext>
                </a:extLst>
              </p:cNvPr>
              <p:cNvSpPr>
                <a:spLocks noChangeShapeType="1"/>
              </p:cNvSpPr>
              <p:nvPr/>
            </p:nvSpPr>
            <p:spPr bwMode="auto">
              <a:xfrm flipH="1" flipV="1">
                <a:off x="11478363" y="4098925"/>
                <a:ext cx="154780" cy="151289"/>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Line 18">
                <a:extLst>
                  <a:ext uri="{FF2B5EF4-FFF2-40B4-BE49-F238E27FC236}">
                    <a16:creationId xmlns:a16="http://schemas.microsoft.com/office/drawing/2014/main" id="{7FFF83C6-58F5-4E04-8DA8-F65029B06C68}"/>
                  </a:ext>
                </a:extLst>
              </p:cNvPr>
              <p:cNvSpPr>
                <a:spLocks noChangeShapeType="1"/>
              </p:cNvSpPr>
              <p:nvPr/>
            </p:nvSpPr>
            <p:spPr bwMode="auto">
              <a:xfrm flipH="1" flipV="1">
                <a:off x="10398390" y="3015461"/>
                <a:ext cx="125687" cy="125687"/>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Line 19">
                <a:extLst>
                  <a:ext uri="{FF2B5EF4-FFF2-40B4-BE49-F238E27FC236}">
                    <a16:creationId xmlns:a16="http://schemas.microsoft.com/office/drawing/2014/main" id="{E9682778-1CAD-4498-9077-01EF4EDF8F69}"/>
                  </a:ext>
                </a:extLst>
              </p:cNvPr>
              <p:cNvSpPr>
                <a:spLocks noChangeShapeType="1"/>
              </p:cNvSpPr>
              <p:nvPr/>
            </p:nvSpPr>
            <p:spPr bwMode="auto">
              <a:xfrm flipV="1">
                <a:off x="10827819" y="4165260"/>
                <a:ext cx="0" cy="372405"/>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20">
                <a:extLst>
                  <a:ext uri="{FF2B5EF4-FFF2-40B4-BE49-F238E27FC236}">
                    <a16:creationId xmlns:a16="http://schemas.microsoft.com/office/drawing/2014/main" id="{C37A32AC-BB79-4125-8A0B-85C2EB49B226}"/>
                  </a:ext>
                </a:extLst>
              </p:cNvPr>
              <p:cNvSpPr>
                <a:spLocks noChangeShapeType="1"/>
              </p:cNvSpPr>
              <p:nvPr/>
            </p:nvSpPr>
            <p:spPr bwMode="auto">
              <a:xfrm>
                <a:off x="11210697" y="4309567"/>
                <a:ext cx="0" cy="228098"/>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88" name="Freeform 43">
                <a:extLst>
                  <a:ext uri="{FF2B5EF4-FFF2-40B4-BE49-F238E27FC236}">
                    <a16:creationId xmlns:a16="http://schemas.microsoft.com/office/drawing/2014/main" id="{BD4E4E9E-76D2-4A99-B19D-5C0988A4F07D}"/>
                  </a:ext>
                </a:extLst>
              </p:cNvPr>
              <p:cNvSpPr>
                <a:spLocks/>
              </p:cNvSpPr>
              <p:nvPr/>
            </p:nvSpPr>
            <p:spPr bwMode="auto">
              <a:xfrm>
                <a:off x="10649763" y="4537664"/>
                <a:ext cx="762265" cy="158272"/>
              </a:xfrm>
              <a:custGeom>
                <a:avLst/>
                <a:gdLst>
                  <a:gd name="T0" fmla="*/ 231 w 231"/>
                  <a:gd name="T1" fmla="*/ 33 h 48"/>
                  <a:gd name="T2" fmla="*/ 231 w 231"/>
                  <a:gd name="T3" fmla="*/ 33 h 48"/>
                  <a:gd name="T4" fmla="*/ 199 w 231"/>
                  <a:gd name="T5" fmla="*/ 0 h 48"/>
                  <a:gd name="T6" fmla="*/ 165 w 231"/>
                  <a:gd name="T7" fmla="*/ 1 h 48"/>
                  <a:gd name="T8" fmla="*/ 65 w 231"/>
                  <a:gd name="T9" fmla="*/ 0 h 48"/>
                  <a:gd name="T10" fmla="*/ 33 w 231"/>
                  <a:gd name="T11" fmla="*/ 0 h 48"/>
                  <a:gd name="T12" fmla="*/ 0 w 231"/>
                  <a:gd name="T13" fmla="*/ 33 h 48"/>
                  <a:gd name="T14" fmla="*/ 0 w 231"/>
                  <a:gd name="T15" fmla="*/ 33 h 48"/>
                  <a:gd name="T16" fmla="*/ 0 w 231"/>
                  <a:gd name="T1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1" h="48">
                    <a:moveTo>
                      <a:pt x="231" y="33"/>
                    </a:moveTo>
                    <a:cubicBezTo>
                      <a:pt x="231" y="33"/>
                      <a:pt x="231" y="33"/>
                      <a:pt x="231" y="33"/>
                    </a:cubicBezTo>
                    <a:cubicBezTo>
                      <a:pt x="231" y="15"/>
                      <a:pt x="217" y="0"/>
                      <a:pt x="199" y="0"/>
                    </a:cubicBezTo>
                    <a:cubicBezTo>
                      <a:pt x="165" y="1"/>
                      <a:pt x="165" y="1"/>
                      <a:pt x="165" y="1"/>
                    </a:cubicBezTo>
                    <a:cubicBezTo>
                      <a:pt x="65" y="0"/>
                      <a:pt x="65" y="0"/>
                      <a:pt x="65" y="0"/>
                    </a:cubicBezTo>
                    <a:cubicBezTo>
                      <a:pt x="33" y="0"/>
                      <a:pt x="33" y="0"/>
                      <a:pt x="33" y="0"/>
                    </a:cubicBezTo>
                    <a:cubicBezTo>
                      <a:pt x="15" y="0"/>
                      <a:pt x="0" y="15"/>
                      <a:pt x="0" y="33"/>
                    </a:cubicBezTo>
                    <a:cubicBezTo>
                      <a:pt x="0" y="33"/>
                      <a:pt x="0" y="33"/>
                      <a:pt x="0" y="33"/>
                    </a:cubicBezTo>
                    <a:cubicBezTo>
                      <a:pt x="0" y="48"/>
                      <a:pt x="0" y="48"/>
                      <a:pt x="0" y="48"/>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698" name="Line 53">
                <a:extLst>
                  <a:ext uri="{FF2B5EF4-FFF2-40B4-BE49-F238E27FC236}">
                    <a16:creationId xmlns:a16="http://schemas.microsoft.com/office/drawing/2014/main" id="{284301BC-DE98-4DD3-B90D-89D9956DB3AD}"/>
                  </a:ext>
                </a:extLst>
              </p:cNvPr>
              <p:cNvSpPr>
                <a:spLocks noChangeShapeType="1"/>
              </p:cNvSpPr>
              <p:nvPr/>
            </p:nvSpPr>
            <p:spPr bwMode="auto">
              <a:xfrm>
                <a:off x="11412028" y="4647058"/>
                <a:ext cx="0"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8716" name="Group 28715">
              <a:extLst>
                <a:ext uri="{FF2B5EF4-FFF2-40B4-BE49-F238E27FC236}">
                  <a16:creationId xmlns:a16="http://schemas.microsoft.com/office/drawing/2014/main" id="{03600A8F-08C5-4F04-9262-B02F1F70BEE8}"/>
                </a:ext>
              </a:extLst>
            </p:cNvPr>
            <p:cNvGrpSpPr/>
            <p:nvPr/>
          </p:nvGrpSpPr>
          <p:grpSpPr>
            <a:xfrm>
              <a:off x="5072075" y="4895009"/>
              <a:ext cx="380182" cy="919370"/>
              <a:chOff x="4555561" y="4035056"/>
              <a:chExt cx="735793" cy="1779323"/>
            </a:xfrm>
          </p:grpSpPr>
          <p:sp>
            <p:nvSpPr>
              <p:cNvPr id="12" name="Freeform 9">
                <a:extLst>
                  <a:ext uri="{FF2B5EF4-FFF2-40B4-BE49-F238E27FC236}">
                    <a16:creationId xmlns:a16="http://schemas.microsoft.com/office/drawing/2014/main" id="{1722C025-AF2F-4FB1-B1E1-1C3939A83B55}"/>
                  </a:ext>
                </a:extLst>
              </p:cNvPr>
              <p:cNvSpPr>
                <a:spLocks/>
              </p:cNvSpPr>
              <p:nvPr/>
            </p:nvSpPr>
            <p:spPr bwMode="auto">
              <a:xfrm>
                <a:off x="4555561" y="4035056"/>
                <a:ext cx="735793" cy="1779323"/>
              </a:xfrm>
              <a:custGeom>
                <a:avLst/>
                <a:gdLst>
                  <a:gd name="T0" fmla="*/ 111 w 112"/>
                  <a:gd name="T1" fmla="*/ 140 h 271"/>
                  <a:gd name="T2" fmla="*/ 102 w 112"/>
                  <a:gd name="T3" fmla="*/ 132 h 271"/>
                  <a:gd name="T4" fmla="*/ 86 w 112"/>
                  <a:gd name="T5" fmla="*/ 99 h 271"/>
                  <a:gd name="T6" fmla="*/ 74 w 112"/>
                  <a:gd name="T7" fmla="*/ 57 h 271"/>
                  <a:gd name="T8" fmla="*/ 61 w 112"/>
                  <a:gd name="T9" fmla="*/ 52 h 271"/>
                  <a:gd name="T10" fmla="*/ 56 w 112"/>
                  <a:gd name="T11" fmla="*/ 52 h 271"/>
                  <a:gd name="T12" fmla="*/ 62 w 112"/>
                  <a:gd name="T13" fmla="*/ 42 h 271"/>
                  <a:gd name="T14" fmla="*/ 65 w 112"/>
                  <a:gd name="T15" fmla="*/ 29 h 271"/>
                  <a:gd name="T16" fmla="*/ 59 w 112"/>
                  <a:gd name="T17" fmla="*/ 7 h 271"/>
                  <a:gd name="T18" fmla="*/ 43 w 112"/>
                  <a:gd name="T19" fmla="*/ 0 h 271"/>
                  <a:gd name="T20" fmla="*/ 26 w 112"/>
                  <a:gd name="T21" fmla="*/ 7 h 271"/>
                  <a:gd name="T22" fmla="*/ 20 w 112"/>
                  <a:gd name="T23" fmla="*/ 29 h 271"/>
                  <a:gd name="T24" fmla="*/ 30 w 112"/>
                  <a:gd name="T25" fmla="*/ 52 h 271"/>
                  <a:gd name="T26" fmla="*/ 28 w 112"/>
                  <a:gd name="T27" fmla="*/ 52 h 271"/>
                  <a:gd name="T28" fmla="*/ 28 w 112"/>
                  <a:gd name="T29" fmla="*/ 52 h 271"/>
                  <a:gd name="T30" fmla="*/ 0 w 112"/>
                  <a:gd name="T31" fmla="*/ 86 h 271"/>
                  <a:gd name="T32" fmla="*/ 12 w 112"/>
                  <a:gd name="T33" fmla="*/ 124 h 271"/>
                  <a:gd name="T34" fmla="*/ 12 w 112"/>
                  <a:gd name="T35" fmla="*/ 132 h 271"/>
                  <a:gd name="T36" fmla="*/ 21 w 112"/>
                  <a:gd name="T37" fmla="*/ 267 h 271"/>
                  <a:gd name="T38" fmla="*/ 25 w 112"/>
                  <a:gd name="T39" fmla="*/ 271 h 271"/>
                  <a:gd name="T40" fmla="*/ 41 w 112"/>
                  <a:gd name="T41" fmla="*/ 271 h 271"/>
                  <a:gd name="T42" fmla="*/ 45 w 112"/>
                  <a:gd name="T43" fmla="*/ 266 h 271"/>
                  <a:gd name="T44" fmla="*/ 47 w 112"/>
                  <a:gd name="T45" fmla="*/ 174 h 271"/>
                  <a:gd name="T46" fmla="*/ 76 w 112"/>
                  <a:gd name="T47" fmla="*/ 268 h 271"/>
                  <a:gd name="T48" fmla="*/ 80 w 112"/>
                  <a:gd name="T49" fmla="*/ 271 h 271"/>
                  <a:gd name="T50" fmla="*/ 93 w 112"/>
                  <a:gd name="T51" fmla="*/ 271 h 271"/>
                  <a:gd name="T52" fmla="*/ 98 w 112"/>
                  <a:gd name="T53" fmla="*/ 266 h 271"/>
                  <a:gd name="T54" fmla="*/ 74 w 112"/>
                  <a:gd name="T55" fmla="*/ 144 h 271"/>
                  <a:gd name="T56" fmla="*/ 74 w 112"/>
                  <a:gd name="T57" fmla="*/ 141 h 271"/>
                  <a:gd name="T58" fmla="*/ 93 w 112"/>
                  <a:gd name="T59" fmla="*/ 152 h 271"/>
                  <a:gd name="T60" fmla="*/ 94 w 112"/>
                  <a:gd name="T61" fmla="*/ 152 h 271"/>
                  <a:gd name="T62" fmla="*/ 108 w 112"/>
                  <a:gd name="T63" fmla="*/ 150 h 271"/>
                  <a:gd name="T64" fmla="*/ 111 w 112"/>
                  <a:gd name="T65" fmla="*/ 14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71">
                    <a:moveTo>
                      <a:pt x="111" y="140"/>
                    </a:moveTo>
                    <a:cubicBezTo>
                      <a:pt x="109" y="135"/>
                      <a:pt x="103" y="133"/>
                      <a:pt x="102" y="132"/>
                    </a:cubicBezTo>
                    <a:cubicBezTo>
                      <a:pt x="101" y="132"/>
                      <a:pt x="82" y="125"/>
                      <a:pt x="86" y="99"/>
                    </a:cubicBezTo>
                    <a:cubicBezTo>
                      <a:pt x="87" y="86"/>
                      <a:pt x="83" y="67"/>
                      <a:pt x="74" y="57"/>
                    </a:cubicBezTo>
                    <a:cubicBezTo>
                      <a:pt x="71" y="53"/>
                      <a:pt x="66" y="51"/>
                      <a:pt x="61" y="52"/>
                    </a:cubicBezTo>
                    <a:cubicBezTo>
                      <a:pt x="60" y="52"/>
                      <a:pt x="58" y="52"/>
                      <a:pt x="56" y="52"/>
                    </a:cubicBezTo>
                    <a:cubicBezTo>
                      <a:pt x="59" y="48"/>
                      <a:pt x="61" y="43"/>
                      <a:pt x="62" y="42"/>
                    </a:cubicBezTo>
                    <a:cubicBezTo>
                      <a:pt x="63" y="38"/>
                      <a:pt x="65" y="34"/>
                      <a:pt x="65" y="29"/>
                    </a:cubicBezTo>
                    <a:cubicBezTo>
                      <a:pt x="66" y="20"/>
                      <a:pt x="64" y="12"/>
                      <a:pt x="59" y="7"/>
                    </a:cubicBezTo>
                    <a:cubicBezTo>
                      <a:pt x="55" y="2"/>
                      <a:pt x="49" y="0"/>
                      <a:pt x="43" y="0"/>
                    </a:cubicBezTo>
                    <a:cubicBezTo>
                      <a:pt x="36" y="0"/>
                      <a:pt x="30" y="2"/>
                      <a:pt x="26" y="7"/>
                    </a:cubicBezTo>
                    <a:cubicBezTo>
                      <a:pt x="22" y="12"/>
                      <a:pt x="19" y="20"/>
                      <a:pt x="20" y="29"/>
                    </a:cubicBezTo>
                    <a:cubicBezTo>
                      <a:pt x="21" y="39"/>
                      <a:pt x="25" y="47"/>
                      <a:pt x="30" y="52"/>
                    </a:cubicBezTo>
                    <a:cubicBezTo>
                      <a:pt x="29" y="52"/>
                      <a:pt x="28" y="52"/>
                      <a:pt x="28" y="52"/>
                    </a:cubicBezTo>
                    <a:cubicBezTo>
                      <a:pt x="28" y="52"/>
                      <a:pt x="28" y="52"/>
                      <a:pt x="28" y="52"/>
                    </a:cubicBezTo>
                    <a:cubicBezTo>
                      <a:pt x="15" y="52"/>
                      <a:pt x="1" y="61"/>
                      <a:pt x="0" y="86"/>
                    </a:cubicBezTo>
                    <a:cubicBezTo>
                      <a:pt x="0" y="101"/>
                      <a:pt x="4" y="114"/>
                      <a:pt x="12" y="124"/>
                    </a:cubicBezTo>
                    <a:cubicBezTo>
                      <a:pt x="12" y="132"/>
                      <a:pt x="12" y="132"/>
                      <a:pt x="12" y="132"/>
                    </a:cubicBezTo>
                    <a:cubicBezTo>
                      <a:pt x="21" y="267"/>
                      <a:pt x="21" y="267"/>
                      <a:pt x="21" y="267"/>
                    </a:cubicBezTo>
                    <a:cubicBezTo>
                      <a:pt x="21" y="269"/>
                      <a:pt x="23" y="271"/>
                      <a:pt x="25" y="271"/>
                    </a:cubicBezTo>
                    <a:cubicBezTo>
                      <a:pt x="41" y="271"/>
                      <a:pt x="41" y="271"/>
                      <a:pt x="41" y="271"/>
                    </a:cubicBezTo>
                    <a:cubicBezTo>
                      <a:pt x="43" y="271"/>
                      <a:pt x="45" y="269"/>
                      <a:pt x="45" y="266"/>
                    </a:cubicBezTo>
                    <a:cubicBezTo>
                      <a:pt x="47" y="174"/>
                      <a:pt x="47" y="174"/>
                      <a:pt x="47" y="174"/>
                    </a:cubicBezTo>
                    <a:cubicBezTo>
                      <a:pt x="76" y="268"/>
                      <a:pt x="76" y="268"/>
                      <a:pt x="76" y="268"/>
                    </a:cubicBezTo>
                    <a:cubicBezTo>
                      <a:pt x="76" y="270"/>
                      <a:pt x="78" y="271"/>
                      <a:pt x="80" y="271"/>
                    </a:cubicBezTo>
                    <a:cubicBezTo>
                      <a:pt x="93" y="271"/>
                      <a:pt x="93" y="271"/>
                      <a:pt x="93" y="271"/>
                    </a:cubicBezTo>
                    <a:cubicBezTo>
                      <a:pt x="96" y="271"/>
                      <a:pt x="98" y="269"/>
                      <a:pt x="98" y="266"/>
                    </a:cubicBezTo>
                    <a:cubicBezTo>
                      <a:pt x="74" y="144"/>
                      <a:pt x="74" y="144"/>
                      <a:pt x="74" y="144"/>
                    </a:cubicBezTo>
                    <a:cubicBezTo>
                      <a:pt x="74" y="141"/>
                      <a:pt x="74" y="141"/>
                      <a:pt x="74" y="141"/>
                    </a:cubicBezTo>
                    <a:cubicBezTo>
                      <a:pt x="81" y="148"/>
                      <a:pt x="88" y="151"/>
                      <a:pt x="93" y="152"/>
                    </a:cubicBezTo>
                    <a:cubicBezTo>
                      <a:pt x="93" y="152"/>
                      <a:pt x="94" y="152"/>
                      <a:pt x="94" y="152"/>
                    </a:cubicBezTo>
                    <a:cubicBezTo>
                      <a:pt x="100" y="154"/>
                      <a:pt x="105" y="154"/>
                      <a:pt x="108" y="150"/>
                    </a:cubicBezTo>
                    <a:cubicBezTo>
                      <a:pt x="111" y="148"/>
                      <a:pt x="112" y="144"/>
                      <a:pt x="111" y="140"/>
                    </a:cubicBezTo>
                    <a:close/>
                  </a:path>
                </a:pathLst>
              </a:custGeom>
              <a:solidFill>
                <a:srgbClr val="C2A8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699" name="Freeform 54">
                <a:extLst>
                  <a:ext uri="{FF2B5EF4-FFF2-40B4-BE49-F238E27FC236}">
                    <a16:creationId xmlns:a16="http://schemas.microsoft.com/office/drawing/2014/main" id="{7AC34AC9-4BCE-48AC-9DA7-ADFB4C122D7B}"/>
                  </a:ext>
                </a:extLst>
              </p:cNvPr>
              <p:cNvSpPr>
                <a:spLocks/>
              </p:cNvSpPr>
              <p:nvPr/>
            </p:nvSpPr>
            <p:spPr bwMode="auto">
              <a:xfrm>
                <a:off x="4712901" y="4659785"/>
                <a:ext cx="57845" cy="1129141"/>
              </a:xfrm>
              <a:custGeom>
                <a:avLst/>
                <a:gdLst>
                  <a:gd name="T0" fmla="*/ 25 w 25"/>
                  <a:gd name="T1" fmla="*/ 488 h 488"/>
                  <a:gd name="T2" fmla="*/ 0 w 25"/>
                  <a:gd name="T3" fmla="*/ 102 h 488"/>
                  <a:gd name="T4" fmla="*/ 6 w 25"/>
                  <a:gd name="T5" fmla="*/ 0 h 488"/>
                </a:gdLst>
                <a:ahLst/>
                <a:cxnLst>
                  <a:cxn ang="0">
                    <a:pos x="T0" y="T1"/>
                  </a:cxn>
                  <a:cxn ang="0">
                    <a:pos x="T2" y="T3"/>
                  </a:cxn>
                  <a:cxn ang="0">
                    <a:pos x="T4" y="T5"/>
                  </a:cxn>
                </a:cxnLst>
                <a:rect l="0" t="0" r="r" b="b"/>
                <a:pathLst>
                  <a:path w="25" h="488">
                    <a:moveTo>
                      <a:pt x="25" y="488"/>
                    </a:moveTo>
                    <a:lnTo>
                      <a:pt x="0" y="102"/>
                    </a:lnTo>
                    <a:lnTo>
                      <a:pt x="6" y="0"/>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0" name="Freeform 55">
                <a:extLst>
                  <a:ext uri="{FF2B5EF4-FFF2-40B4-BE49-F238E27FC236}">
                    <a16:creationId xmlns:a16="http://schemas.microsoft.com/office/drawing/2014/main" id="{7FD5A7CD-2ECD-4D04-81EA-A5E338061B0F}"/>
                  </a:ext>
                </a:extLst>
              </p:cNvPr>
              <p:cNvSpPr>
                <a:spLocks/>
              </p:cNvSpPr>
              <p:nvPr/>
            </p:nvSpPr>
            <p:spPr bwMode="auto">
              <a:xfrm>
                <a:off x="5073855" y="4659785"/>
                <a:ext cx="171223" cy="1133767"/>
              </a:xfrm>
              <a:custGeom>
                <a:avLst/>
                <a:gdLst>
                  <a:gd name="T0" fmla="*/ 0 w 74"/>
                  <a:gd name="T1" fmla="*/ 0 h 490"/>
                  <a:gd name="T2" fmla="*/ 6 w 74"/>
                  <a:gd name="T3" fmla="*/ 139 h 490"/>
                  <a:gd name="T4" fmla="*/ 74 w 74"/>
                  <a:gd name="T5" fmla="*/ 490 h 490"/>
                </a:gdLst>
                <a:ahLst/>
                <a:cxnLst>
                  <a:cxn ang="0">
                    <a:pos x="T0" y="T1"/>
                  </a:cxn>
                  <a:cxn ang="0">
                    <a:pos x="T2" y="T3"/>
                  </a:cxn>
                  <a:cxn ang="0">
                    <a:pos x="T4" y="T5"/>
                  </a:cxn>
                </a:cxnLst>
                <a:rect l="0" t="0" r="r" b="b"/>
                <a:pathLst>
                  <a:path w="74" h="490">
                    <a:moveTo>
                      <a:pt x="0" y="0"/>
                    </a:moveTo>
                    <a:lnTo>
                      <a:pt x="6" y="139"/>
                    </a:lnTo>
                    <a:lnTo>
                      <a:pt x="74" y="490"/>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1" name="Line 56">
                <a:extLst>
                  <a:ext uri="{FF2B5EF4-FFF2-40B4-BE49-F238E27FC236}">
                    <a16:creationId xmlns:a16="http://schemas.microsoft.com/office/drawing/2014/main" id="{EBA5C7C0-9C3A-419C-9D1F-5EC57A79144E}"/>
                  </a:ext>
                </a:extLst>
              </p:cNvPr>
              <p:cNvSpPr>
                <a:spLocks noChangeShapeType="1"/>
              </p:cNvSpPr>
              <p:nvPr/>
            </p:nvSpPr>
            <p:spPr bwMode="auto">
              <a:xfrm>
                <a:off x="4909575" y="5060076"/>
                <a:ext cx="224440" cy="73348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2" name="Line 57">
                <a:extLst>
                  <a:ext uri="{FF2B5EF4-FFF2-40B4-BE49-F238E27FC236}">
                    <a16:creationId xmlns:a16="http://schemas.microsoft.com/office/drawing/2014/main" id="{834BAE0E-C12C-4F91-9FF8-EDD60D0B4C79}"/>
                  </a:ext>
                </a:extLst>
              </p:cNvPr>
              <p:cNvSpPr>
                <a:spLocks noChangeShapeType="1"/>
              </p:cNvSpPr>
              <p:nvPr/>
            </p:nvSpPr>
            <p:spPr bwMode="auto">
              <a:xfrm flipV="1">
                <a:off x="4895691" y="5060076"/>
                <a:ext cx="13884" cy="728852"/>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3" name="Freeform 58">
                <a:extLst>
                  <a:ext uri="{FF2B5EF4-FFF2-40B4-BE49-F238E27FC236}">
                    <a16:creationId xmlns:a16="http://schemas.microsoft.com/office/drawing/2014/main" id="{E4A575F3-195E-48A0-93BD-1E54931E28BB}"/>
                  </a:ext>
                </a:extLst>
              </p:cNvPr>
              <p:cNvSpPr>
                <a:spLocks/>
              </p:cNvSpPr>
              <p:nvPr/>
            </p:nvSpPr>
            <p:spPr bwMode="auto">
              <a:xfrm>
                <a:off x="4627290" y="4377500"/>
                <a:ext cx="657123" cy="596963"/>
              </a:xfrm>
              <a:custGeom>
                <a:avLst/>
                <a:gdLst>
                  <a:gd name="T0" fmla="*/ 100 w 100"/>
                  <a:gd name="T1" fmla="*/ 82 h 91"/>
                  <a:gd name="T2" fmla="*/ 82 w 100"/>
                  <a:gd name="T3" fmla="*/ 46 h 91"/>
                  <a:gd name="T4" fmla="*/ 60 w 100"/>
                  <a:gd name="T5" fmla="*/ 2 h 91"/>
                  <a:gd name="T6" fmla="*/ 27 w 100"/>
                  <a:gd name="T7" fmla="*/ 2 h 91"/>
                  <a:gd name="T8" fmla="*/ 2 w 100"/>
                  <a:gd name="T9" fmla="*/ 34 h 91"/>
                  <a:gd name="T10" fmla="*/ 52 w 100"/>
                  <a:gd name="T11" fmla="*/ 91 h 91"/>
                </a:gdLst>
                <a:ahLst/>
                <a:cxnLst>
                  <a:cxn ang="0">
                    <a:pos x="T0" y="T1"/>
                  </a:cxn>
                  <a:cxn ang="0">
                    <a:pos x="T2" y="T3"/>
                  </a:cxn>
                  <a:cxn ang="0">
                    <a:pos x="T4" y="T5"/>
                  </a:cxn>
                  <a:cxn ang="0">
                    <a:pos x="T6" y="T7"/>
                  </a:cxn>
                  <a:cxn ang="0">
                    <a:pos x="T8" y="T9"/>
                  </a:cxn>
                  <a:cxn ang="0">
                    <a:pos x="T10" y="T11"/>
                  </a:cxn>
                </a:cxnLst>
                <a:rect l="0" t="0" r="r" b="b"/>
                <a:pathLst>
                  <a:path w="100" h="91">
                    <a:moveTo>
                      <a:pt x="100" y="82"/>
                    </a:moveTo>
                    <a:cubicBezTo>
                      <a:pt x="100" y="82"/>
                      <a:pt x="78" y="75"/>
                      <a:pt x="82" y="46"/>
                    </a:cubicBezTo>
                    <a:cubicBezTo>
                      <a:pt x="84" y="30"/>
                      <a:pt x="76" y="0"/>
                      <a:pt x="60" y="2"/>
                    </a:cubicBezTo>
                    <a:cubicBezTo>
                      <a:pt x="44" y="3"/>
                      <a:pt x="27" y="2"/>
                      <a:pt x="27" y="2"/>
                    </a:cubicBezTo>
                    <a:cubicBezTo>
                      <a:pt x="10" y="2"/>
                      <a:pt x="2" y="18"/>
                      <a:pt x="2" y="34"/>
                    </a:cubicBezTo>
                    <a:cubicBezTo>
                      <a:pt x="0" y="84"/>
                      <a:pt x="52" y="91"/>
                      <a:pt x="52" y="91"/>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4" name="Line 59">
                <a:extLst>
                  <a:ext uri="{FF2B5EF4-FFF2-40B4-BE49-F238E27FC236}">
                    <a16:creationId xmlns:a16="http://schemas.microsoft.com/office/drawing/2014/main" id="{8CE1E5C6-FD3C-4FE2-9B6F-F6A315C94587}"/>
                  </a:ext>
                </a:extLst>
              </p:cNvPr>
              <p:cNvSpPr>
                <a:spLocks noChangeShapeType="1"/>
              </p:cNvSpPr>
              <p:nvPr/>
            </p:nvSpPr>
            <p:spPr bwMode="auto">
              <a:xfrm>
                <a:off x="5002126" y="4303459"/>
                <a:ext cx="0" cy="0"/>
              </a:xfrm>
              <a:prstGeom prst="line">
                <a:avLst/>
              </a:prstGeom>
              <a:noFill/>
              <a:ln w="17463"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705" name="Freeform 60">
                <a:extLst>
                  <a:ext uri="{FF2B5EF4-FFF2-40B4-BE49-F238E27FC236}">
                    <a16:creationId xmlns:a16="http://schemas.microsoft.com/office/drawing/2014/main" id="{F87E0F99-D1F8-45FB-B634-6D976D677FCA}"/>
                  </a:ext>
                </a:extLst>
              </p:cNvPr>
              <p:cNvSpPr>
                <a:spLocks/>
              </p:cNvSpPr>
              <p:nvPr/>
            </p:nvSpPr>
            <p:spPr bwMode="auto">
              <a:xfrm>
                <a:off x="4759176" y="4041999"/>
                <a:ext cx="275344" cy="347073"/>
              </a:xfrm>
              <a:custGeom>
                <a:avLst/>
                <a:gdLst>
                  <a:gd name="T0" fmla="*/ 21 w 42"/>
                  <a:gd name="T1" fmla="*/ 53 h 53"/>
                  <a:gd name="T2" fmla="*/ 2 w 42"/>
                  <a:gd name="T3" fmla="*/ 26 h 53"/>
                  <a:gd name="T4" fmla="*/ 21 w 42"/>
                  <a:gd name="T5" fmla="*/ 0 h 53"/>
                  <a:gd name="T6" fmla="*/ 41 w 42"/>
                  <a:gd name="T7" fmla="*/ 26 h 53"/>
                  <a:gd name="T8" fmla="*/ 38 w 42"/>
                  <a:gd name="T9" fmla="*/ 39 h 53"/>
                </a:gdLst>
                <a:ahLst/>
                <a:cxnLst>
                  <a:cxn ang="0">
                    <a:pos x="T0" y="T1"/>
                  </a:cxn>
                  <a:cxn ang="0">
                    <a:pos x="T2" y="T3"/>
                  </a:cxn>
                  <a:cxn ang="0">
                    <a:pos x="T4" y="T5"/>
                  </a:cxn>
                  <a:cxn ang="0">
                    <a:pos x="T6" y="T7"/>
                  </a:cxn>
                  <a:cxn ang="0">
                    <a:pos x="T8" y="T9"/>
                  </a:cxn>
                </a:cxnLst>
                <a:rect l="0" t="0" r="r" b="b"/>
                <a:pathLst>
                  <a:path w="42" h="53">
                    <a:moveTo>
                      <a:pt x="21" y="53"/>
                    </a:moveTo>
                    <a:cubicBezTo>
                      <a:pt x="13" y="53"/>
                      <a:pt x="3" y="43"/>
                      <a:pt x="2" y="26"/>
                    </a:cubicBezTo>
                    <a:cubicBezTo>
                      <a:pt x="0" y="12"/>
                      <a:pt x="7" y="0"/>
                      <a:pt x="21" y="0"/>
                    </a:cubicBezTo>
                    <a:cubicBezTo>
                      <a:pt x="36" y="0"/>
                      <a:pt x="42" y="12"/>
                      <a:pt x="41" y="26"/>
                    </a:cubicBezTo>
                    <a:cubicBezTo>
                      <a:pt x="41" y="31"/>
                      <a:pt x="40" y="35"/>
                      <a:pt x="38" y="39"/>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sp>
        <p:nvSpPr>
          <p:cNvPr id="28723" name="Rectangle 28722">
            <a:extLst>
              <a:ext uri="{FF2B5EF4-FFF2-40B4-BE49-F238E27FC236}">
                <a16:creationId xmlns:a16="http://schemas.microsoft.com/office/drawing/2014/main" id="{8BA225DA-3053-4B53-879C-F0BEFF978433}"/>
              </a:ext>
            </a:extLst>
          </p:cNvPr>
          <p:cNvSpPr/>
          <p:nvPr/>
        </p:nvSpPr>
        <p:spPr>
          <a:xfrm>
            <a:off x="1038824" y="2871879"/>
            <a:ext cx="2628773" cy="480131"/>
          </a:xfrm>
          <a:prstGeom prst="rect">
            <a:avLst/>
          </a:prstGeom>
        </p:spPr>
        <p:txBody>
          <a:bodyPr wrap="square">
            <a:spAutoFit/>
          </a:bodyPr>
          <a:lstStyle/>
          <a:p>
            <a:pPr marL="0" lvl="1" defTabSz="742950">
              <a:lnSpc>
                <a:spcPct val="90000"/>
              </a:lnSpc>
              <a:buClr>
                <a:srgbClr val="1F2023"/>
              </a:buClr>
              <a:defRPr/>
            </a:pPr>
            <a:r>
              <a:rPr lang="en-GB" sz="1400" dirty="0">
                <a:solidFill>
                  <a:srgbClr val="1F2023"/>
                </a:solidFill>
                <a:latin typeface="Arial" panose="020B0604020202020204" pitchFamily="34" charset="0"/>
                <a:cs typeface="Arial" panose="020B0604020202020204" pitchFamily="34" charset="0"/>
              </a:rPr>
              <a:t>If you don’t inquire into the ladder, you fill it in yourself</a:t>
            </a:r>
          </a:p>
        </p:txBody>
      </p:sp>
      <p:sp>
        <p:nvSpPr>
          <p:cNvPr id="28726" name="Rectangle 28725">
            <a:extLst>
              <a:ext uri="{FF2B5EF4-FFF2-40B4-BE49-F238E27FC236}">
                <a16:creationId xmlns:a16="http://schemas.microsoft.com/office/drawing/2014/main" id="{4B9266BD-35E8-40B2-A4FA-BE116AECACC3}"/>
              </a:ext>
            </a:extLst>
          </p:cNvPr>
          <p:cNvSpPr/>
          <p:nvPr/>
        </p:nvSpPr>
        <p:spPr>
          <a:xfrm>
            <a:off x="1038824" y="4690122"/>
            <a:ext cx="2560509" cy="480131"/>
          </a:xfrm>
          <a:prstGeom prst="rect">
            <a:avLst/>
          </a:prstGeom>
        </p:spPr>
        <p:txBody>
          <a:bodyPr wrap="square">
            <a:spAutoFit/>
          </a:bodyPr>
          <a:lstStyle/>
          <a:p>
            <a:pPr marL="0" lvl="1" defTabSz="742950">
              <a:lnSpc>
                <a:spcPct val="90000"/>
              </a:lnSpc>
              <a:buClr>
                <a:srgbClr val="1F2023"/>
              </a:buClr>
              <a:defRPr/>
            </a:pPr>
            <a:r>
              <a:rPr lang="en-GB" sz="1400" dirty="0">
                <a:solidFill>
                  <a:srgbClr val="1F2023"/>
                </a:solidFill>
                <a:latin typeface="Arial" panose="020B0604020202020204" pitchFamily="34" charset="0"/>
                <a:cs typeface="Arial" panose="020B0604020202020204" pitchFamily="34" charset="0"/>
              </a:rPr>
              <a:t>Would you rather have them guessing?</a:t>
            </a:r>
          </a:p>
        </p:txBody>
      </p:sp>
      <p:cxnSp>
        <p:nvCxnSpPr>
          <p:cNvPr id="89" name="Straight Connector 88">
            <a:extLst>
              <a:ext uri="{FF2B5EF4-FFF2-40B4-BE49-F238E27FC236}">
                <a16:creationId xmlns:a16="http://schemas.microsoft.com/office/drawing/2014/main" id="{C782695F-8923-4636-ADC7-90C2E606A7A4}"/>
              </a:ext>
            </a:extLst>
          </p:cNvPr>
          <p:cNvCxnSpPr>
            <a:cxnSpLocks/>
          </p:cNvCxnSpPr>
          <p:nvPr/>
        </p:nvCxnSpPr>
        <p:spPr>
          <a:xfrm>
            <a:off x="621445" y="4021066"/>
            <a:ext cx="3007150"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nvGrpSpPr>
          <p:cNvPr id="119" name="Group 118">
            <a:extLst>
              <a:ext uri="{FF2B5EF4-FFF2-40B4-BE49-F238E27FC236}">
                <a16:creationId xmlns:a16="http://schemas.microsoft.com/office/drawing/2014/main" id="{206CF765-B0C1-4889-AAB1-F5BADEE7DBC6}"/>
              </a:ext>
            </a:extLst>
          </p:cNvPr>
          <p:cNvGrpSpPr/>
          <p:nvPr/>
        </p:nvGrpSpPr>
        <p:grpSpPr>
          <a:xfrm>
            <a:off x="531984" y="2912484"/>
            <a:ext cx="402998" cy="359270"/>
            <a:chOff x="10747375" y="3321050"/>
            <a:chExt cx="541338" cy="482600"/>
          </a:xfrm>
        </p:grpSpPr>
        <p:sp>
          <p:nvSpPr>
            <p:cNvPr id="120" name="Freeform 86">
              <a:extLst>
                <a:ext uri="{FF2B5EF4-FFF2-40B4-BE49-F238E27FC236}">
                  <a16:creationId xmlns:a16="http://schemas.microsoft.com/office/drawing/2014/main" id="{FD7E2E4C-3034-4317-8082-E194D4AD0E77}"/>
                </a:ext>
              </a:extLst>
            </p:cNvPr>
            <p:cNvSpPr>
              <a:spLocks/>
            </p:cNvSpPr>
            <p:nvPr/>
          </p:nvSpPr>
          <p:spPr bwMode="auto">
            <a:xfrm>
              <a:off x="10747375" y="3630613"/>
              <a:ext cx="469900" cy="173037"/>
            </a:xfrm>
            <a:custGeom>
              <a:avLst/>
              <a:gdLst>
                <a:gd name="T0" fmla="*/ 0 w 105"/>
                <a:gd name="T1" fmla="*/ 0 h 39"/>
                <a:gd name="T2" fmla="*/ 7 w 105"/>
                <a:gd name="T3" fmla="*/ 28 h 39"/>
                <a:gd name="T4" fmla="*/ 21 w 105"/>
                <a:gd name="T5" fmla="*/ 39 h 39"/>
                <a:gd name="T6" fmla="*/ 84 w 105"/>
                <a:gd name="T7" fmla="*/ 39 h 39"/>
                <a:gd name="T8" fmla="*/ 98 w 105"/>
                <a:gd name="T9" fmla="*/ 28 h 39"/>
                <a:gd name="T10" fmla="*/ 105 w 105"/>
                <a:gd name="T11" fmla="*/ 0 h 39"/>
                <a:gd name="T12" fmla="*/ 0 w 105"/>
                <a:gd name="T13" fmla="*/ 0 h 39"/>
              </a:gdLst>
              <a:ahLst/>
              <a:cxnLst>
                <a:cxn ang="0">
                  <a:pos x="T0" y="T1"/>
                </a:cxn>
                <a:cxn ang="0">
                  <a:pos x="T2" y="T3"/>
                </a:cxn>
                <a:cxn ang="0">
                  <a:pos x="T4" y="T5"/>
                </a:cxn>
                <a:cxn ang="0">
                  <a:pos x="T6" y="T7"/>
                </a:cxn>
                <a:cxn ang="0">
                  <a:pos x="T8" y="T9"/>
                </a:cxn>
                <a:cxn ang="0">
                  <a:pos x="T10" y="T11"/>
                </a:cxn>
                <a:cxn ang="0">
                  <a:pos x="T12" y="T13"/>
                </a:cxn>
              </a:cxnLst>
              <a:rect l="0" t="0" r="r" b="b"/>
              <a:pathLst>
                <a:path w="105" h="39">
                  <a:moveTo>
                    <a:pt x="0" y="0"/>
                  </a:moveTo>
                  <a:cubicBezTo>
                    <a:pt x="7" y="28"/>
                    <a:pt x="7" y="28"/>
                    <a:pt x="7" y="28"/>
                  </a:cubicBezTo>
                  <a:cubicBezTo>
                    <a:pt x="8" y="35"/>
                    <a:pt x="14" y="39"/>
                    <a:pt x="21" y="39"/>
                  </a:cubicBezTo>
                  <a:cubicBezTo>
                    <a:pt x="84" y="39"/>
                    <a:pt x="84" y="39"/>
                    <a:pt x="84" y="39"/>
                  </a:cubicBezTo>
                  <a:cubicBezTo>
                    <a:pt x="90" y="39"/>
                    <a:pt x="96" y="35"/>
                    <a:pt x="98" y="28"/>
                  </a:cubicBezTo>
                  <a:cubicBezTo>
                    <a:pt x="105" y="0"/>
                    <a:pt x="105" y="0"/>
                    <a:pt x="105" y="0"/>
                  </a:cubicBezTo>
                  <a:lnTo>
                    <a:pt x="0" y="0"/>
                  </a:lnTo>
                  <a:close/>
                </a:path>
              </a:pathLst>
            </a:custGeom>
            <a:solidFill>
              <a:srgbClr val="EFD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87">
              <a:extLst>
                <a:ext uri="{FF2B5EF4-FFF2-40B4-BE49-F238E27FC236}">
                  <a16:creationId xmlns:a16="http://schemas.microsoft.com/office/drawing/2014/main" id="{8E37C4AD-9DDA-4631-B96D-DD5BE5BC1392}"/>
                </a:ext>
              </a:extLst>
            </p:cNvPr>
            <p:cNvSpPr>
              <a:spLocks/>
            </p:cNvSpPr>
            <p:nvPr/>
          </p:nvSpPr>
          <p:spPr bwMode="auto">
            <a:xfrm>
              <a:off x="10788650" y="3321050"/>
              <a:ext cx="500063" cy="482600"/>
            </a:xfrm>
            <a:custGeom>
              <a:avLst/>
              <a:gdLst>
                <a:gd name="T0" fmla="*/ 63 w 112"/>
                <a:gd name="T1" fmla="*/ 55 h 108"/>
                <a:gd name="T2" fmla="*/ 112 w 112"/>
                <a:gd name="T3" fmla="*/ 55 h 108"/>
                <a:gd name="T4" fmla="*/ 101 w 112"/>
                <a:gd name="T5" fmla="*/ 97 h 108"/>
                <a:gd name="T6" fmla="*/ 87 w 112"/>
                <a:gd name="T7" fmla="*/ 108 h 108"/>
                <a:gd name="T8" fmla="*/ 24 w 112"/>
                <a:gd name="T9" fmla="*/ 108 h 108"/>
                <a:gd name="T10" fmla="*/ 10 w 112"/>
                <a:gd name="T11" fmla="*/ 97 h 108"/>
                <a:gd name="T12" fmla="*/ 0 w 112"/>
                <a:gd name="T13" fmla="*/ 55 h 108"/>
                <a:gd name="T14" fmla="*/ 51 w 112"/>
                <a:gd name="T15" fmla="*/ 55 h 108"/>
                <a:gd name="T16" fmla="*/ 51 w 112"/>
                <a:gd name="T17" fmla="*/ 0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2" h="108">
                  <a:moveTo>
                    <a:pt x="63" y="55"/>
                  </a:moveTo>
                  <a:cubicBezTo>
                    <a:pt x="112" y="55"/>
                    <a:pt x="112" y="55"/>
                    <a:pt x="112" y="55"/>
                  </a:cubicBezTo>
                  <a:cubicBezTo>
                    <a:pt x="101" y="97"/>
                    <a:pt x="101" y="97"/>
                    <a:pt x="101" y="97"/>
                  </a:cubicBezTo>
                  <a:cubicBezTo>
                    <a:pt x="99" y="104"/>
                    <a:pt x="94" y="108"/>
                    <a:pt x="87" y="108"/>
                  </a:cubicBezTo>
                  <a:cubicBezTo>
                    <a:pt x="24" y="108"/>
                    <a:pt x="24" y="108"/>
                    <a:pt x="24" y="108"/>
                  </a:cubicBezTo>
                  <a:cubicBezTo>
                    <a:pt x="17" y="108"/>
                    <a:pt x="12" y="104"/>
                    <a:pt x="10" y="97"/>
                  </a:cubicBezTo>
                  <a:cubicBezTo>
                    <a:pt x="0" y="55"/>
                    <a:pt x="0" y="55"/>
                    <a:pt x="0" y="55"/>
                  </a:cubicBezTo>
                  <a:cubicBezTo>
                    <a:pt x="51" y="55"/>
                    <a:pt x="51" y="55"/>
                    <a:pt x="51" y="55"/>
                  </a:cubicBezTo>
                  <a:cubicBezTo>
                    <a:pt x="51" y="0"/>
                    <a:pt x="51" y="0"/>
                    <a:pt x="51"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122" name="Group 121">
            <a:extLst>
              <a:ext uri="{FF2B5EF4-FFF2-40B4-BE49-F238E27FC236}">
                <a16:creationId xmlns:a16="http://schemas.microsoft.com/office/drawing/2014/main" id="{8404A8BA-C30D-45E6-A243-19AEB66C314C}"/>
              </a:ext>
            </a:extLst>
          </p:cNvPr>
          <p:cNvGrpSpPr/>
          <p:nvPr/>
        </p:nvGrpSpPr>
        <p:grpSpPr>
          <a:xfrm>
            <a:off x="589302" y="4710785"/>
            <a:ext cx="288362" cy="428996"/>
            <a:chOff x="6305551" y="3308350"/>
            <a:chExt cx="387350" cy="576263"/>
          </a:xfrm>
        </p:grpSpPr>
        <p:sp>
          <p:nvSpPr>
            <p:cNvPr id="123" name="Oval 47">
              <a:extLst>
                <a:ext uri="{FF2B5EF4-FFF2-40B4-BE49-F238E27FC236}">
                  <a16:creationId xmlns:a16="http://schemas.microsoft.com/office/drawing/2014/main" id="{860051A3-27E7-4B06-88C5-A5E610A7458F}"/>
                </a:ext>
              </a:extLst>
            </p:cNvPr>
            <p:cNvSpPr>
              <a:spLocks noChangeArrowheads="1"/>
            </p:cNvSpPr>
            <p:nvPr/>
          </p:nvSpPr>
          <p:spPr bwMode="auto">
            <a:xfrm>
              <a:off x="6305551" y="3308350"/>
              <a:ext cx="387350" cy="392113"/>
            </a:xfrm>
            <a:prstGeom prst="ellipse">
              <a:avLst/>
            </a:prstGeom>
            <a:solidFill>
              <a:srgbClr val="EFD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48">
              <a:extLst>
                <a:ext uri="{FF2B5EF4-FFF2-40B4-BE49-F238E27FC236}">
                  <a16:creationId xmlns:a16="http://schemas.microsoft.com/office/drawing/2014/main" id="{F92B60C2-3478-4CAA-A6EB-94E10E2C82BE}"/>
                </a:ext>
              </a:extLst>
            </p:cNvPr>
            <p:cNvSpPr>
              <a:spLocks/>
            </p:cNvSpPr>
            <p:nvPr/>
          </p:nvSpPr>
          <p:spPr bwMode="auto">
            <a:xfrm>
              <a:off x="6453188" y="3556000"/>
              <a:ext cx="127000" cy="328613"/>
            </a:xfrm>
            <a:custGeom>
              <a:avLst/>
              <a:gdLst>
                <a:gd name="T0" fmla="*/ 14 w 28"/>
                <a:gd name="T1" fmla="*/ 73 h 73"/>
                <a:gd name="T2" fmla="*/ 14 w 28"/>
                <a:gd name="T3" fmla="*/ 73 h 73"/>
                <a:gd name="T4" fmla="*/ 0 w 28"/>
                <a:gd name="T5" fmla="*/ 59 h 73"/>
                <a:gd name="T6" fmla="*/ 0 w 28"/>
                <a:gd name="T7" fmla="*/ 14 h 73"/>
                <a:gd name="T8" fmla="*/ 14 w 28"/>
                <a:gd name="T9" fmla="*/ 0 h 73"/>
                <a:gd name="T10" fmla="*/ 14 w 28"/>
                <a:gd name="T11" fmla="*/ 0 h 73"/>
                <a:gd name="T12" fmla="*/ 28 w 28"/>
                <a:gd name="T13" fmla="*/ 14 h 73"/>
                <a:gd name="T14" fmla="*/ 28 w 28"/>
                <a:gd name="T15" fmla="*/ 59 h 73"/>
                <a:gd name="T16" fmla="*/ 14 w 28"/>
                <a:gd name="T17" fmla="*/ 7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3">
                  <a:moveTo>
                    <a:pt x="14" y="73"/>
                  </a:moveTo>
                  <a:cubicBezTo>
                    <a:pt x="14" y="73"/>
                    <a:pt x="14" y="73"/>
                    <a:pt x="14" y="73"/>
                  </a:cubicBezTo>
                  <a:cubicBezTo>
                    <a:pt x="6" y="73"/>
                    <a:pt x="0" y="67"/>
                    <a:pt x="0" y="59"/>
                  </a:cubicBezTo>
                  <a:cubicBezTo>
                    <a:pt x="0" y="14"/>
                    <a:pt x="0" y="14"/>
                    <a:pt x="0" y="14"/>
                  </a:cubicBezTo>
                  <a:cubicBezTo>
                    <a:pt x="0" y="7"/>
                    <a:pt x="6" y="0"/>
                    <a:pt x="14" y="0"/>
                  </a:cubicBezTo>
                  <a:cubicBezTo>
                    <a:pt x="14" y="0"/>
                    <a:pt x="14" y="0"/>
                    <a:pt x="14" y="0"/>
                  </a:cubicBezTo>
                  <a:cubicBezTo>
                    <a:pt x="21" y="0"/>
                    <a:pt x="28" y="7"/>
                    <a:pt x="28" y="14"/>
                  </a:cubicBezTo>
                  <a:cubicBezTo>
                    <a:pt x="28" y="59"/>
                    <a:pt x="28" y="59"/>
                    <a:pt x="28" y="59"/>
                  </a:cubicBezTo>
                  <a:cubicBezTo>
                    <a:pt x="28" y="67"/>
                    <a:pt x="21" y="73"/>
                    <a:pt x="14" y="73"/>
                  </a:cubicBezTo>
                  <a:close/>
                </a:path>
              </a:pathLst>
            </a:custGeom>
            <a:solidFill>
              <a:srgbClr val="EFD4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5" name="Oval 49">
              <a:extLst>
                <a:ext uri="{FF2B5EF4-FFF2-40B4-BE49-F238E27FC236}">
                  <a16:creationId xmlns:a16="http://schemas.microsoft.com/office/drawing/2014/main" id="{31211CA9-4726-40D1-B6DC-5FD1687D848C}"/>
                </a:ext>
              </a:extLst>
            </p:cNvPr>
            <p:cNvSpPr>
              <a:spLocks noChangeArrowheads="1"/>
            </p:cNvSpPr>
            <p:nvPr/>
          </p:nvSpPr>
          <p:spPr bwMode="auto">
            <a:xfrm>
              <a:off x="6507163" y="3817938"/>
              <a:ext cx="41275" cy="44450"/>
            </a:xfrm>
            <a:prstGeom prst="ellipse">
              <a:avLst/>
            </a:pr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6" name="Freeform 50">
              <a:extLst>
                <a:ext uri="{FF2B5EF4-FFF2-40B4-BE49-F238E27FC236}">
                  <a16:creationId xmlns:a16="http://schemas.microsoft.com/office/drawing/2014/main" id="{7BA855DD-A238-431D-8611-2C2F9879133F}"/>
                </a:ext>
              </a:extLst>
            </p:cNvPr>
            <p:cNvSpPr>
              <a:spLocks/>
            </p:cNvSpPr>
            <p:nvPr/>
          </p:nvSpPr>
          <p:spPr bwMode="auto">
            <a:xfrm>
              <a:off x="6413501" y="3376613"/>
              <a:ext cx="225425" cy="341313"/>
            </a:xfrm>
            <a:custGeom>
              <a:avLst/>
              <a:gdLst>
                <a:gd name="T0" fmla="*/ 0 w 50"/>
                <a:gd name="T1" fmla="*/ 25 h 76"/>
                <a:gd name="T2" fmla="*/ 25 w 50"/>
                <a:gd name="T3" fmla="*/ 0 h 76"/>
                <a:gd name="T4" fmla="*/ 50 w 50"/>
                <a:gd name="T5" fmla="*/ 25 h 76"/>
                <a:gd name="T6" fmla="*/ 25 w 50"/>
                <a:gd name="T7" fmla="*/ 49 h 76"/>
                <a:gd name="T8" fmla="*/ 25 w 50"/>
                <a:gd name="T9" fmla="*/ 76 h 76"/>
              </a:gdLst>
              <a:ahLst/>
              <a:cxnLst>
                <a:cxn ang="0">
                  <a:pos x="T0" y="T1"/>
                </a:cxn>
                <a:cxn ang="0">
                  <a:pos x="T2" y="T3"/>
                </a:cxn>
                <a:cxn ang="0">
                  <a:pos x="T4" y="T5"/>
                </a:cxn>
                <a:cxn ang="0">
                  <a:pos x="T6" y="T7"/>
                </a:cxn>
                <a:cxn ang="0">
                  <a:pos x="T8" y="T9"/>
                </a:cxn>
              </a:cxnLst>
              <a:rect l="0" t="0" r="r" b="b"/>
              <a:pathLst>
                <a:path w="50" h="76">
                  <a:moveTo>
                    <a:pt x="0" y="25"/>
                  </a:moveTo>
                  <a:cubicBezTo>
                    <a:pt x="0" y="11"/>
                    <a:pt x="11" y="0"/>
                    <a:pt x="25" y="0"/>
                  </a:cubicBezTo>
                  <a:cubicBezTo>
                    <a:pt x="39" y="0"/>
                    <a:pt x="50" y="11"/>
                    <a:pt x="50" y="25"/>
                  </a:cubicBezTo>
                  <a:cubicBezTo>
                    <a:pt x="50" y="38"/>
                    <a:pt x="39" y="49"/>
                    <a:pt x="25" y="49"/>
                  </a:cubicBezTo>
                  <a:cubicBezTo>
                    <a:pt x="25" y="76"/>
                    <a:pt x="25" y="76"/>
                    <a:pt x="25" y="7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327727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 name="Title 144">
            <a:extLst>
              <a:ext uri="{FF2B5EF4-FFF2-40B4-BE49-F238E27FC236}">
                <a16:creationId xmlns:a16="http://schemas.microsoft.com/office/drawing/2014/main" id="{7575CBAC-C1C5-4EE7-8B7D-C576AA754931}"/>
              </a:ext>
            </a:extLst>
          </p:cNvPr>
          <p:cNvSpPr>
            <a:spLocks noGrp="1"/>
          </p:cNvSpPr>
          <p:nvPr>
            <p:ph type="title"/>
          </p:nvPr>
        </p:nvSpPr>
        <p:spPr>
          <a:xfrm>
            <a:off x="269876" y="269876"/>
            <a:ext cx="8240140" cy="692336"/>
          </a:xfrm>
        </p:spPr>
        <p:txBody>
          <a:bodyPr/>
          <a:lstStyle/>
          <a:p>
            <a:r>
              <a:rPr lang="en-GB" dirty="0"/>
              <a:t>Rule #3: </a:t>
            </a:r>
            <a:r>
              <a:rPr lang="en-GB" b="1" dirty="0"/>
              <a:t>The left-hand side can’t be ignored</a:t>
            </a:r>
          </a:p>
        </p:txBody>
      </p:sp>
      <p:sp>
        <p:nvSpPr>
          <p:cNvPr id="89" name="Rectangle 88">
            <a:extLst>
              <a:ext uri="{FF2B5EF4-FFF2-40B4-BE49-F238E27FC236}">
                <a16:creationId xmlns:a16="http://schemas.microsoft.com/office/drawing/2014/main" id="{F4FD5BC0-6A10-431B-9698-1F5ABA20B6FF}"/>
              </a:ext>
            </a:extLst>
          </p:cNvPr>
          <p:cNvSpPr/>
          <p:nvPr/>
        </p:nvSpPr>
        <p:spPr>
          <a:xfrm>
            <a:off x="0" y="1678809"/>
            <a:ext cx="9906000" cy="4105274"/>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136" name="Text Placeholder 135">
            <a:extLst>
              <a:ext uri="{FF2B5EF4-FFF2-40B4-BE49-F238E27FC236}">
                <a16:creationId xmlns:a16="http://schemas.microsoft.com/office/drawing/2014/main" id="{53E40F03-AC79-45B3-89E3-A273F2D8235B}"/>
              </a:ext>
            </a:extLst>
          </p:cNvPr>
          <p:cNvSpPr>
            <a:spLocks noGrp="1"/>
          </p:cNvSpPr>
          <p:nvPr>
            <p:ph type="body" sz="quarter" idx="13"/>
          </p:nvPr>
        </p:nvSpPr>
        <p:spPr/>
        <p:txBody>
          <a:bodyPr/>
          <a:lstStyle/>
          <a:p>
            <a:endParaRPr lang="en-GB" dirty="0"/>
          </a:p>
        </p:txBody>
      </p:sp>
      <p:sp>
        <p:nvSpPr>
          <p:cNvPr id="137" name="Text Placeholder 136">
            <a:extLst>
              <a:ext uri="{FF2B5EF4-FFF2-40B4-BE49-F238E27FC236}">
                <a16:creationId xmlns:a16="http://schemas.microsoft.com/office/drawing/2014/main" id="{CB7D5B8C-41B2-4CA9-AB7E-423A6022E0DA}"/>
              </a:ext>
            </a:extLst>
          </p:cNvPr>
          <p:cNvSpPr>
            <a:spLocks noGrp="1"/>
          </p:cNvSpPr>
          <p:nvPr>
            <p:ph type="body" sz="quarter" idx="14"/>
          </p:nvPr>
        </p:nvSpPr>
        <p:spPr/>
        <p:txBody>
          <a:bodyPr/>
          <a:lstStyle/>
          <a:p>
            <a:endParaRPr lang="en-GB" dirty="0"/>
          </a:p>
        </p:txBody>
      </p:sp>
      <p:grpSp>
        <p:nvGrpSpPr>
          <p:cNvPr id="6" name="Group 5">
            <a:extLst>
              <a:ext uri="{FF2B5EF4-FFF2-40B4-BE49-F238E27FC236}">
                <a16:creationId xmlns:a16="http://schemas.microsoft.com/office/drawing/2014/main" id="{D0D26192-87EC-4C0A-A354-9EAE26AF0D09}"/>
              </a:ext>
            </a:extLst>
          </p:cNvPr>
          <p:cNvGrpSpPr/>
          <p:nvPr/>
        </p:nvGrpSpPr>
        <p:grpSpPr>
          <a:xfrm flipH="1">
            <a:off x="4794244" y="2707316"/>
            <a:ext cx="311156" cy="578722"/>
            <a:chOff x="6283326" y="1714502"/>
            <a:chExt cx="275691" cy="512763"/>
          </a:xfrm>
          <a:solidFill>
            <a:srgbClr val="E4B73B"/>
          </a:solidFill>
        </p:grpSpPr>
        <p:sp>
          <p:nvSpPr>
            <p:cNvPr id="8" name="Freeform 122">
              <a:extLst>
                <a:ext uri="{FF2B5EF4-FFF2-40B4-BE49-F238E27FC236}">
                  <a16:creationId xmlns:a16="http://schemas.microsoft.com/office/drawing/2014/main" id="{EDCDE2E3-B6A1-40C6-8394-47B469837597}"/>
                </a:ext>
              </a:extLst>
            </p:cNvPr>
            <p:cNvSpPr>
              <a:spLocks/>
            </p:cNvSpPr>
            <p:nvPr/>
          </p:nvSpPr>
          <p:spPr bwMode="auto">
            <a:xfrm>
              <a:off x="6306604" y="1714502"/>
              <a:ext cx="252413" cy="512763"/>
            </a:xfrm>
            <a:custGeom>
              <a:avLst/>
              <a:gdLst>
                <a:gd name="T0" fmla="*/ 52 w 56"/>
                <a:gd name="T1" fmla="*/ 17 h 114"/>
                <a:gd name="T2" fmla="*/ 46 w 56"/>
                <a:gd name="T3" fmla="*/ 22 h 114"/>
                <a:gd name="T4" fmla="*/ 46 w 56"/>
                <a:gd name="T5" fmla="*/ 13 h 114"/>
                <a:gd name="T6" fmla="*/ 42 w 56"/>
                <a:gd name="T7" fmla="*/ 8 h 114"/>
                <a:gd name="T8" fmla="*/ 36 w 56"/>
                <a:gd name="T9" fmla="*/ 13 h 114"/>
                <a:gd name="T10" fmla="*/ 36 w 56"/>
                <a:gd name="T11" fmla="*/ 6 h 114"/>
                <a:gd name="T12" fmla="*/ 31 w 56"/>
                <a:gd name="T13" fmla="*/ 0 h 114"/>
                <a:gd name="T14" fmla="*/ 26 w 56"/>
                <a:gd name="T15" fmla="*/ 6 h 114"/>
                <a:gd name="T16" fmla="*/ 26 w 56"/>
                <a:gd name="T17" fmla="*/ 13 h 114"/>
                <a:gd name="T18" fmla="*/ 21 w 56"/>
                <a:gd name="T19" fmla="*/ 8 h 114"/>
                <a:gd name="T20" fmla="*/ 16 w 56"/>
                <a:gd name="T21" fmla="*/ 13 h 114"/>
                <a:gd name="T22" fmla="*/ 16 w 56"/>
                <a:gd name="T23" fmla="*/ 26 h 114"/>
                <a:gd name="T24" fmla="*/ 5 w 56"/>
                <a:gd name="T25" fmla="*/ 33 h 114"/>
                <a:gd name="T26" fmla="*/ 0 w 56"/>
                <a:gd name="T27" fmla="*/ 32 h 114"/>
                <a:gd name="T28" fmla="*/ 0 w 56"/>
                <a:gd name="T29" fmla="*/ 32 h 114"/>
                <a:gd name="T30" fmla="*/ 5 w 56"/>
                <a:gd name="T31" fmla="*/ 65 h 114"/>
                <a:gd name="T32" fmla="*/ 22 w 56"/>
                <a:gd name="T33" fmla="*/ 85 h 114"/>
                <a:gd name="T34" fmla="*/ 23 w 56"/>
                <a:gd name="T35" fmla="*/ 114 h 114"/>
                <a:gd name="T36" fmla="*/ 51 w 56"/>
                <a:gd name="T37" fmla="*/ 114 h 114"/>
                <a:gd name="T38" fmla="*/ 49 w 56"/>
                <a:gd name="T39" fmla="*/ 81 h 114"/>
                <a:gd name="T40" fmla="*/ 56 w 56"/>
                <a:gd name="T41" fmla="*/ 63 h 114"/>
                <a:gd name="T42" fmla="*/ 56 w 56"/>
                <a:gd name="T43" fmla="*/ 47 h 114"/>
                <a:gd name="T44" fmla="*/ 56 w 56"/>
                <a:gd name="T45" fmla="*/ 43 h 114"/>
                <a:gd name="T46" fmla="*/ 56 w 56"/>
                <a:gd name="T47" fmla="*/ 22 h 114"/>
                <a:gd name="T48" fmla="*/ 52 w 56"/>
                <a:gd name="T49" fmla="*/ 1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14">
                  <a:moveTo>
                    <a:pt x="52" y="17"/>
                  </a:moveTo>
                  <a:cubicBezTo>
                    <a:pt x="49" y="17"/>
                    <a:pt x="46" y="19"/>
                    <a:pt x="46" y="22"/>
                  </a:cubicBezTo>
                  <a:cubicBezTo>
                    <a:pt x="46" y="13"/>
                    <a:pt x="46" y="13"/>
                    <a:pt x="46" y="13"/>
                  </a:cubicBezTo>
                  <a:cubicBezTo>
                    <a:pt x="46" y="10"/>
                    <a:pt x="45" y="8"/>
                    <a:pt x="42" y="8"/>
                  </a:cubicBezTo>
                  <a:cubicBezTo>
                    <a:pt x="39" y="7"/>
                    <a:pt x="36" y="10"/>
                    <a:pt x="36" y="13"/>
                  </a:cubicBezTo>
                  <a:cubicBezTo>
                    <a:pt x="36" y="6"/>
                    <a:pt x="36" y="6"/>
                    <a:pt x="36" y="6"/>
                  </a:cubicBezTo>
                  <a:cubicBezTo>
                    <a:pt x="36" y="3"/>
                    <a:pt x="34" y="1"/>
                    <a:pt x="31" y="0"/>
                  </a:cubicBezTo>
                  <a:cubicBezTo>
                    <a:pt x="28" y="0"/>
                    <a:pt x="26" y="3"/>
                    <a:pt x="26" y="6"/>
                  </a:cubicBezTo>
                  <a:cubicBezTo>
                    <a:pt x="26" y="13"/>
                    <a:pt x="26" y="13"/>
                    <a:pt x="26" y="13"/>
                  </a:cubicBezTo>
                  <a:cubicBezTo>
                    <a:pt x="26" y="10"/>
                    <a:pt x="24" y="7"/>
                    <a:pt x="21" y="8"/>
                  </a:cubicBezTo>
                  <a:cubicBezTo>
                    <a:pt x="18" y="8"/>
                    <a:pt x="16" y="10"/>
                    <a:pt x="16" y="13"/>
                  </a:cubicBezTo>
                  <a:cubicBezTo>
                    <a:pt x="16" y="26"/>
                    <a:pt x="16" y="26"/>
                    <a:pt x="16" y="26"/>
                  </a:cubicBezTo>
                  <a:cubicBezTo>
                    <a:pt x="16" y="31"/>
                    <a:pt x="10" y="35"/>
                    <a:pt x="5" y="33"/>
                  </a:cubicBezTo>
                  <a:cubicBezTo>
                    <a:pt x="3" y="32"/>
                    <a:pt x="1" y="31"/>
                    <a:pt x="0" y="32"/>
                  </a:cubicBezTo>
                  <a:cubicBezTo>
                    <a:pt x="0" y="32"/>
                    <a:pt x="0" y="32"/>
                    <a:pt x="0" y="32"/>
                  </a:cubicBezTo>
                  <a:cubicBezTo>
                    <a:pt x="5" y="65"/>
                    <a:pt x="5" y="65"/>
                    <a:pt x="5" y="65"/>
                  </a:cubicBezTo>
                  <a:cubicBezTo>
                    <a:pt x="7" y="74"/>
                    <a:pt x="14" y="82"/>
                    <a:pt x="22" y="85"/>
                  </a:cubicBezTo>
                  <a:cubicBezTo>
                    <a:pt x="23" y="114"/>
                    <a:pt x="23" y="114"/>
                    <a:pt x="23" y="114"/>
                  </a:cubicBezTo>
                  <a:cubicBezTo>
                    <a:pt x="51" y="114"/>
                    <a:pt x="51" y="114"/>
                    <a:pt x="51" y="114"/>
                  </a:cubicBezTo>
                  <a:cubicBezTo>
                    <a:pt x="52" y="100"/>
                    <a:pt x="50" y="85"/>
                    <a:pt x="49" y="81"/>
                  </a:cubicBezTo>
                  <a:cubicBezTo>
                    <a:pt x="54" y="76"/>
                    <a:pt x="56" y="70"/>
                    <a:pt x="56" y="63"/>
                  </a:cubicBezTo>
                  <a:cubicBezTo>
                    <a:pt x="56" y="47"/>
                    <a:pt x="56" y="47"/>
                    <a:pt x="56" y="47"/>
                  </a:cubicBezTo>
                  <a:cubicBezTo>
                    <a:pt x="56" y="43"/>
                    <a:pt x="56" y="43"/>
                    <a:pt x="56" y="43"/>
                  </a:cubicBezTo>
                  <a:cubicBezTo>
                    <a:pt x="56" y="22"/>
                    <a:pt x="56" y="22"/>
                    <a:pt x="56" y="22"/>
                  </a:cubicBezTo>
                  <a:cubicBezTo>
                    <a:pt x="56" y="20"/>
                    <a:pt x="55" y="18"/>
                    <a:pt x="52"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 name="Freeform 123">
              <a:extLst>
                <a:ext uri="{FF2B5EF4-FFF2-40B4-BE49-F238E27FC236}">
                  <a16:creationId xmlns:a16="http://schemas.microsoft.com/office/drawing/2014/main" id="{EF27C481-EA91-4328-A8ED-3FCBF21F0E9D}"/>
                </a:ext>
              </a:extLst>
            </p:cNvPr>
            <p:cNvSpPr>
              <a:spLocks/>
            </p:cNvSpPr>
            <p:nvPr/>
          </p:nvSpPr>
          <p:spPr bwMode="auto">
            <a:xfrm>
              <a:off x="6486526" y="2087563"/>
              <a:ext cx="9525" cy="9525"/>
            </a:xfrm>
            <a:custGeom>
              <a:avLst/>
              <a:gdLst>
                <a:gd name="T0" fmla="*/ 0 w 2"/>
                <a:gd name="T1" fmla="*/ 2 h 2"/>
                <a:gd name="T2" fmla="*/ 2 w 2"/>
                <a:gd name="T3" fmla="*/ 0 h 2"/>
              </a:gdLst>
              <a:ahLst/>
              <a:cxnLst>
                <a:cxn ang="0">
                  <a:pos x="T0" y="T1"/>
                </a:cxn>
                <a:cxn ang="0">
                  <a:pos x="T2" y="T3"/>
                </a:cxn>
              </a:cxnLst>
              <a:rect l="0" t="0" r="r" b="b"/>
              <a:pathLst>
                <a:path w="2" h="2">
                  <a:moveTo>
                    <a:pt x="0" y="2"/>
                  </a:moveTo>
                  <a:cubicBezTo>
                    <a:pt x="1" y="2"/>
                    <a:pt x="2" y="1"/>
                    <a:pt x="2" y="0"/>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2" name="Freeform 124">
              <a:extLst>
                <a:ext uri="{FF2B5EF4-FFF2-40B4-BE49-F238E27FC236}">
                  <a16:creationId xmlns:a16="http://schemas.microsoft.com/office/drawing/2014/main" id="{1C1D1B21-D05E-41AF-9C1F-A8BA948FF541}"/>
                </a:ext>
              </a:extLst>
            </p:cNvPr>
            <p:cNvSpPr>
              <a:spLocks/>
            </p:cNvSpPr>
            <p:nvPr/>
          </p:nvSpPr>
          <p:spPr bwMode="auto">
            <a:xfrm>
              <a:off x="6283326" y="1857376"/>
              <a:ext cx="112713" cy="244475"/>
            </a:xfrm>
            <a:custGeom>
              <a:avLst/>
              <a:gdLst>
                <a:gd name="T0" fmla="*/ 0 w 25"/>
                <a:gd name="T1" fmla="*/ 0 h 54"/>
                <a:gd name="T2" fmla="*/ 5 w 25"/>
                <a:gd name="T3" fmla="*/ 34 h 54"/>
                <a:gd name="T4" fmla="*/ 25 w 25"/>
                <a:gd name="T5" fmla="*/ 54 h 54"/>
              </a:gdLst>
              <a:ahLst/>
              <a:cxnLst>
                <a:cxn ang="0">
                  <a:pos x="T0" y="T1"/>
                </a:cxn>
                <a:cxn ang="0">
                  <a:pos x="T2" y="T3"/>
                </a:cxn>
                <a:cxn ang="0">
                  <a:pos x="T4" y="T5"/>
                </a:cxn>
              </a:cxnLst>
              <a:rect l="0" t="0" r="r" b="b"/>
              <a:pathLst>
                <a:path w="25" h="54">
                  <a:moveTo>
                    <a:pt x="0" y="0"/>
                  </a:moveTo>
                  <a:cubicBezTo>
                    <a:pt x="5" y="34"/>
                    <a:pt x="5" y="34"/>
                    <a:pt x="5" y="34"/>
                  </a:cubicBezTo>
                  <a:cubicBezTo>
                    <a:pt x="7" y="44"/>
                    <a:pt x="15" y="52"/>
                    <a:pt x="25" y="54"/>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3" name="Freeform 125">
              <a:extLst>
                <a:ext uri="{FF2B5EF4-FFF2-40B4-BE49-F238E27FC236}">
                  <a16:creationId xmlns:a16="http://schemas.microsoft.com/office/drawing/2014/main" id="{DDA31080-C633-4377-95C8-631552C0E15E}"/>
                </a:ext>
              </a:extLst>
            </p:cNvPr>
            <p:cNvSpPr>
              <a:spLocks/>
            </p:cNvSpPr>
            <p:nvPr/>
          </p:nvSpPr>
          <p:spPr bwMode="auto">
            <a:xfrm>
              <a:off x="6283326" y="1857376"/>
              <a:ext cx="73025" cy="104775"/>
            </a:xfrm>
            <a:custGeom>
              <a:avLst/>
              <a:gdLst>
                <a:gd name="T0" fmla="*/ 16 w 16"/>
                <a:gd name="T1" fmla="*/ 23 h 23"/>
                <a:gd name="T2" fmla="*/ 11 w 16"/>
                <a:gd name="T3" fmla="*/ 9 h 23"/>
                <a:gd name="T4" fmla="*/ 0 w 16"/>
                <a:gd name="T5" fmla="*/ 0 h 23"/>
                <a:gd name="T6" fmla="*/ 0 w 16"/>
                <a:gd name="T7" fmla="*/ 0 h 23"/>
              </a:gdLst>
              <a:ahLst/>
              <a:cxnLst>
                <a:cxn ang="0">
                  <a:pos x="T0" y="T1"/>
                </a:cxn>
                <a:cxn ang="0">
                  <a:pos x="T2" y="T3"/>
                </a:cxn>
                <a:cxn ang="0">
                  <a:pos x="T4" y="T5"/>
                </a:cxn>
                <a:cxn ang="0">
                  <a:pos x="T6" y="T7"/>
                </a:cxn>
              </a:cxnLst>
              <a:rect l="0" t="0" r="r" b="b"/>
              <a:pathLst>
                <a:path w="16" h="23">
                  <a:moveTo>
                    <a:pt x="16" y="23"/>
                  </a:moveTo>
                  <a:cubicBezTo>
                    <a:pt x="11" y="9"/>
                    <a:pt x="11" y="9"/>
                    <a:pt x="11" y="9"/>
                  </a:cubicBezTo>
                  <a:cubicBezTo>
                    <a:pt x="9" y="3"/>
                    <a:pt x="5" y="0"/>
                    <a:pt x="0" y="0"/>
                  </a:cubicBezTo>
                  <a:cubicBezTo>
                    <a:pt x="0" y="0"/>
                    <a:pt x="0" y="0"/>
                    <a:pt x="0" y="0"/>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4" name="Freeform 126">
              <a:extLst>
                <a:ext uri="{FF2B5EF4-FFF2-40B4-BE49-F238E27FC236}">
                  <a16:creationId xmlns:a16="http://schemas.microsoft.com/office/drawing/2014/main" id="{D9621B1F-ECC2-455F-BB01-6EAE373E473B}"/>
                </a:ext>
              </a:extLst>
            </p:cNvPr>
            <p:cNvSpPr>
              <a:spLocks/>
            </p:cNvSpPr>
            <p:nvPr/>
          </p:nvSpPr>
          <p:spPr bwMode="auto">
            <a:xfrm>
              <a:off x="6356351" y="1717676"/>
              <a:ext cx="179388" cy="369888"/>
            </a:xfrm>
            <a:custGeom>
              <a:avLst/>
              <a:gdLst>
                <a:gd name="T0" fmla="*/ 31 w 40"/>
                <a:gd name="T1" fmla="*/ 82 h 82"/>
                <a:gd name="T2" fmla="*/ 40 w 40"/>
                <a:gd name="T3" fmla="*/ 63 h 82"/>
                <a:gd name="T4" fmla="*/ 40 w 40"/>
                <a:gd name="T5" fmla="*/ 47 h 82"/>
                <a:gd name="T6" fmla="*/ 40 w 40"/>
                <a:gd name="T7" fmla="*/ 42 h 82"/>
                <a:gd name="T8" fmla="*/ 40 w 40"/>
                <a:gd name="T9" fmla="*/ 22 h 82"/>
                <a:gd name="T10" fmla="*/ 36 w 40"/>
                <a:gd name="T11" fmla="*/ 17 h 82"/>
                <a:gd name="T12" fmla="*/ 30 w 40"/>
                <a:gd name="T13" fmla="*/ 22 h 82"/>
                <a:gd name="T14" fmla="*/ 30 w 40"/>
                <a:gd name="T15" fmla="*/ 12 h 82"/>
                <a:gd name="T16" fmla="*/ 26 w 40"/>
                <a:gd name="T17" fmla="*/ 7 h 82"/>
                <a:gd name="T18" fmla="*/ 20 w 40"/>
                <a:gd name="T19" fmla="*/ 12 h 82"/>
                <a:gd name="T20" fmla="*/ 20 w 40"/>
                <a:gd name="T21" fmla="*/ 5 h 82"/>
                <a:gd name="T22" fmla="*/ 15 w 40"/>
                <a:gd name="T23" fmla="*/ 0 h 82"/>
                <a:gd name="T24" fmla="*/ 10 w 40"/>
                <a:gd name="T25" fmla="*/ 5 h 82"/>
                <a:gd name="T26" fmla="*/ 10 w 40"/>
                <a:gd name="T27" fmla="*/ 12 h 82"/>
                <a:gd name="T28" fmla="*/ 5 w 40"/>
                <a:gd name="T29" fmla="*/ 7 h 82"/>
                <a:gd name="T30" fmla="*/ 0 w 40"/>
                <a:gd name="T31" fmla="*/ 13 h 82"/>
                <a:gd name="T32" fmla="*/ 0 w 40"/>
                <a:gd name="T33" fmla="*/ 39 h 82"/>
                <a:gd name="T34" fmla="*/ 0 w 40"/>
                <a:gd name="T35" fmla="*/ 42 h 82"/>
                <a:gd name="T36" fmla="*/ 0 w 40"/>
                <a:gd name="T37" fmla="*/ 54 h 82"/>
                <a:gd name="T38" fmla="*/ 14 w 40"/>
                <a:gd name="T39" fmla="*/ 6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82">
                  <a:moveTo>
                    <a:pt x="31" y="82"/>
                  </a:moveTo>
                  <a:cubicBezTo>
                    <a:pt x="37" y="78"/>
                    <a:pt x="40" y="71"/>
                    <a:pt x="40" y="63"/>
                  </a:cubicBezTo>
                  <a:cubicBezTo>
                    <a:pt x="40" y="47"/>
                    <a:pt x="40" y="47"/>
                    <a:pt x="40" y="47"/>
                  </a:cubicBezTo>
                  <a:cubicBezTo>
                    <a:pt x="40" y="42"/>
                    <a:pt x="40" y="42"/>
                    <a:pt x="40" y="42"/>
                  </a:cubicBezTo>
                  <a:cubicBezTo>
                    <a:pt x="40" y="22"/>
                    <a:pt x="40" y="22"/>
                    <a:pt x="40" y="22"/>
                  </a:cubicBezTo>
                  <a:cubicBezTo>
                    <a:pt x="40" y="20"/>
                    <a:pt x="39" y="17"/>
                    <a:pt x="36" y="17"/>
                  </a:cubicBezTo>
                  <a:cubicBezTo>
                    <a:pt x="33" y="16"/>
                    <a:pt x="30" y="19"/>
                    <a:pt x="30" y="22"/>
                  </a:cubicBezTo>
                  <a:cubicBezTo>
                    <a:pt x="30" y="12"/>
                    <a:pt x="30" y="12"/>
                    <a:pt x="30" y="12"/>
                  </a:cubicBezTo>
                  <a:cubicBezTo>
                    <a:pt x="30" y="10"/>
                    <a:pt x="29" y="8"/>
                    <a:pt x="26" y="7"/>
                  </a:cubicBezTo>
                  <a:cubicBezTo>
                    <a:pt x="23" y="7"/>
                    <a:pt x="20" y="9"/>
                    <a:pt x="20" y="12"/>
                  </a:cubicBezTo>
                  <a:cubicBezTo>
                    <a:pt x="20" y="5"/>
                    <a:pt x="20" y="5"/>
                    <a:pt x="20" y="5"/>
                  </a:cubicBezTo>
                  <a:cubicBezTo>
                    <a:pt x="20" y="3"/>
                    <a:pt x="18" y="0"/>
                    <a:pt x="15" y="0"/>
                  </a:cubicBezTo>
                  <a:cubicBezTo>
                    <a:pt x="12" y="0"/>
                    <a:pt x="10" y="2"/>
                    <a:pt x="10" y="5"/>
                  </a:cubicBezTo>
                  <a:cubicBezTo>
                    <a:pt x="10" y="12"/>
                    <a:pt x="10" y="12"/>
                    <a:pt x="10" y="12"/>
                  </a:cubicBezTo>
                  <a:cubicBezTo>
                    <a:pt x="10" y="9"/>
                    <a:pt x="7" y="7"/>
                    <a:pt x="5" y="7"/>
                  </a:cubicBezTo>
                  <a:cubicBezTo>
                    <a:pt x="2" y="7"/>
                    <a:pt x="0" y="10"/>
                    <a:pt x="0" y="13"/>
                  </a:cubicBezTo>
                  <a:cubicBezTo>
                    <a:pt x="0" y="39"/>
                    <a:pt x="0" y="39"/>
                    <a:pt x="0" y="39"/>
                  </a:cubicBezTo>
                  <a:cubicBezTo>
                    <a:pt x="0" y="42"/>
                    <a:pt x="0" y="42"/>
                    <a:pt x="0" y="42"/>
                  </a:cubicBezTo>
                  <a:cubicBezTo>
                    <a:pt x="0" y="54"/>
                    <a:pt x="0" y="54"/>
                    <a:pt x="0" y="54"/>
                  </a:cubicBezTo>
                  <a:cubicBezTo>
                    <a:pt x="0" y="54"/>
                    <a:pt x="14" y="55"/>
                    <a:pt x="14" y="69"/>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5" name="Line 127">
              <a:extLst>
                <a:ext uri="{FF2B5EF4-FFF2-40B4-BE49-F238E27FC236}">
                  <a16:creationId xmlns:a16="http://schemas.microsoft.com/office/drawing/2014/main" id="{571B2499-0EA7-4A19-A310-58181DCC90E6}"/>
                </a:ext>
              </a:extLst>
            </p:cNvPr>
            <p:cNvSpPr>
              <a:spLocks noChangeShapeType="1"/>
            </p:cNvSpPr>
            <p:nvPr/>
          </p:nvSpPr>
          <p:spPr bwMode="auto">
            <a:xfrm>
              <a:off x="6400801" y="1771651"/>
              <a:ext cx="0" cy="149225"/>
            </a:xfrm>
            <a:prstGeom prst="line">
              <a:avLst/>
            </a:pr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6" name="Line 128">
              <a:extLst>
                <a:ext uri="{FF2B5EF4-FFF2-40B4-BE49-F238E27FC236}">
                  <a16:creationId xmlns:a16="http://schemas.microsoft.com/office/drawing/2014/main" id="{9E76ABAE-BCC1-431A-86DF-969401721C70}"/>
                </a:ext>
              </a:extLst>
            </p:cNvPr>
            <p:cNvSpPr>
              <a:spLocks noChangeShapeType="1"/>
            </p:cNvSpPr>
            <p:nvPr/>
          </p:nvSpPr>
          <p:spPr bwMode="auto">
            <a:xfrm>
              <a:off x="6445251" y="1771651"/>
              <a:ext cx="0" cy="149225"/>
            </a:xfrm>
            <a:prstGeom prst="line">
              <a:avLst/>
            </a:pr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7" name="Line 129">
              <a:extLst>
                <a:ext uri="{FF2B5EF4-FFF2-40B4-BE49-F238E27FC236}">
                  <a16:creationId xmlns:a16="http://schemas.microsoft.com/office/drawing/2014/main" id="{8A9BBDA2-B5FD-47CF-8EE1-E0BDEB3C3D5C}"/>
                </a:ext>
              </a:extLst>
            </p:cNvPr>
            <p:cNvSpPr>
              <a:spLocks noChangeShapeType="1"/>
            </p:cNvSpPr>
            <p:nvPr/>
          </p:nvSpPr>
          <p:spPr bwMode="auto">
            <a:xfrm>
              <a:off x="6491288" y="1771651"/>
              <a:ext cx="0" cy="149225"/>
            </a:xfrm>
            <a:prstGeom prst="line">
              <a:avLst/>
            </a:pr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8" name="Freeform 130">
              <a:extLst>
                <a:ext uri="{FF2B5EF4-FFF2-40B4-BE49-F238E27FC236}">
                  <a16:creationId xmlns:a16="http://schemas.microsoft.com/office/drawing/2014/main" id="{906C8482-C9BD-45FD-99B6-7D1CD68225ED}"/>
                </a:ext>
              </a:extLst>
            </p:cNvPr>
            <p:cNvSpPr>
              <a:spLocks/>
            </p:cNvSpPr>
            <p:nvPr/>
          </p:nvSpPr>
          <p:spPr bwMode="auto">
            <a:xfrm>
              <a:off x="6503988" y="2087563"/>
              <a:ext cx="19050" cy="139700"/>
            </a:xfrm>
            <a:custGeom>
              <a:avLst/>
              <a:gdLst>
                <a:gd name="T0" fmla="*/ 0 w 4"/>
                <a:gd name="T1" fmla="*/ 0 h 31"/>
                <a:gd name="T2" fmla="*/ 3 w 4"/>
                <a:gd name="T3" fmla="*/ 31 h 31"/>
              </a:gdLst>
              <a:ahLst/>
              <a:cxnLst>
                <a:cxn ang="0">
                  <a:pos x="T0" y="T1"/>
                </a:cxn>
                <a:cxn ang="0">
                  <a:pos x="T2" y="T3"/>
                </a:cxn>
              </a:cxnLst>
              <a:rect l="0" t="0" r="r" b="b"/>
              <a:pathLst>
                <a:path w="4" h="31">
                  <a:moveTo>
                    <a:pt x="0" y="0"/>
                  </a:moveTo>
                  <a:cubicBezTo>
                    <a:pt x="0" y="0"/>
                    <a:pt x="4" y="15"/>
                    <a:pt x="3" y="31"/>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19" name="Freeform 131">
              <a:extLst>
                <a:ext uri="{FF2B5EF4-FFF2-40B4-BE49-F238E27FC236}">
                  <a16:creationId xmlns:a16="http://schemas.microsoft.com/office/drawing/2014/main" id="{09C12734-E0F1-4701-AB80-A976C74A4F5E}"/>
                </a:ext>
              </a:extLst>
            </p:cNvPr>
            <p:cNvSpPr>
              <a:spLocks/>
            </p:cNvSpPr>
            <p:nvPr/>
          </p:nvSpPr>
          <p:spPr bwMode="auto">
            <a:xfrm>
              <a:off x="6383338" y="2101851"/>
              <a:ext cx="7938" cy="125413"/>
            </a:xfrm>
            <a:custGeom>
              <a:avLst/>
              <a:gdLst>
                <a:gd name="T0" fmla="*/ 0 w 2"/>
                <a:gd name="T1" fmla="*/ 0 h 28"/>
                <a:gd name="T2" fmla="*/ 1 w 2"/>
                <a:gd name="T3" fmla="*/ 28 h 28"/>
              </a:gdLst>
              <a:ahLst/>
              <a:cxnLst>
                <a:cxn ang="0">
                  <a:pos x="T0" y="T1"/>
                </a:cxn>
                <a:cxn ang="0">
                  <a:pos x="T2" y="T3"/>
                </a:cxn>
              </a:cxnLst>
              <a:rect l="0" t="0" r="r" b="b"/>
              <a:pathLst>
                <a:path w="2" h="28">
                  <a:moveTo>
                    <a:pt x="0" y="0"/>
                  </a:moveTo>
                  <a:cubicBezTo>
                    <a:pt x="0" y="0"/>
                    <a:pt x="2" y="12"/>
                    <a:pt x="1" y="28"/>
                  </a:cubicBezTo>
                </a:path>
              </a:pathLst>
            </a:custGeom>
            <a:grpFill/>
            <a:ln w="14288"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grpSp>
      <p:grpSp>
        <p:nvGrpSpPr>
          <p:cNvPr id="20" name="Group 19">
            <a:extLst>
              <a:ext uri="{FF2B5EF4-FFF2-40B4-BE49-F238E27FC236}">
                <a16:creationId xmlns:a16="http://schemas.microsoft.com/office/drawing/2014/main" id="{8C3924C4-85CF-41B0-810F-01C20811E5D1}"/>
              </a:ext>
            </a:extLst>
          </p:cNvPr>
          <p:cNvGrpSpPr/>
          <p:nvPr/>
        </p:nvGrpSpPr>
        <p:grpSpPr>
          <a:xfrm>
            <a:off x="1490625" y="2796593"/>
            <a:ext cx="517525" cy="485775"/>
            <a:chOff x="8318500" y="1587501"/>
            <a:chExt cx="517525" cy="485775"/>
          </a:xfrm>
        </p:grpSpPr>
        <p:sp>
          <p:nvSpPr>
            <p:cNvPr id="21" name="Freeform 91">
              <a:extLst>
                <a:ext uri="{FF2B5EF4-FFF2-40B4-BE49-F238E27FC236}">
                  <a16:creationId xmlns:a16="http://schemas.microsoft.com/office/drawing/2014/main" id="{7548F364-CEEC-46E8-89BD-2F71421649E8}"/>
                </a:ext>
              </a:extLst>
            </p:cNvPr>
            <p:cNvSpPr>
              <a:spLocks/>
            </p:cNvSpPr>
            <p:nvPr/>
          </p:nvSpPr>
          <p:spPr bwMode="auto">
            <a:xfrm>
              <a:off x="8367713" y="1785938"/>
              <a:ext cx="288925" cy="287338"/>
            </a:xfrm>
            <a:custGeom>
              <a:avLst/>
              <a:gdLst>
                <a:gd name="T0" fmla="*/ 20 w 64"/>
                <a:gd name="T1" fmla="*/ 64 h 64"/>
                <a:gd name="T2" fmla="*/ 9 w 64"/>
                <a:gd name="T3" fmla="*/ 26 h 64"/>
                <a:gd name="T4" fmla="*/ 37 w 64"/>
                <a:gd name="T5" fmla="*/ 0 h 64"/>
                <a:gd name="T6" fmla="*/ 39 w 64"/>
                <a:gd name="T7" fmla="*/ 63 h 64"/>
              </a:gdLst>
              <a:ahLst/>
              <a:cxnLst>
                <a:cxn ang="0">
                  <a:pos x="T0" y="T1"/>
                </a:cxn>
                <a:cxn ang="0">
                  <a:pos x="T2" y="T3"/>
                </a:cxn>
                <a:cxn ang="0">
                  <a:pos x="T4" y="T5"/>
                </a:cxn>
                <a:cxn ang="0">
                  <a:pos x="T6" y="T7"/>
                </a:cxn>
              </a:cxnLst>
              <a:rect l="0" t="0" r="r" b="b"/>
              <a:pathLst>
                <a:path w="64" h="64">
                  <a:moveTo>
                    <a:pt x="20" y="64"/>
                  </a:moveTo>
                  <a:cubicBezTo>
                    <a:pt x="8" y="59"/>
                    <a:pt x="0" y="42"/>
                    <a:pt x="9" y="26"/>
                  </a:cubicBezTo>
                  <a:cubicBezTo>
                    <a:pt x="15" y="51"/>
                    <a:pt x="46" y="37"/>
                    <a:pt x="37" y="0"/>
                  </a:cubicBezTo>
                  <a:cubicBezTo>
                    <a:pt x="51" y="10"/>
                    <a:pt x="64" y="43"/>
                    <a:pt x="39" y="63"/>
                  </a:cubicBezTo>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2" name="Freeform 92">
              <a:extLst>
                <a:ext uri="{FF2B5EF4-FFF2-40B4-BE49-F238E27FC236}">
                  <a16:creationId xmlns:a16="http://schemas.microsoft.com/office/drawing/2014/main" id="{854D7C59-8D65-4F74-B261-17D1B878C045}"/>
                </a:ext>
              </a:extLst>
            </p:cNvPr>
            <p:cNvSpPr>
              <a:spLocks/>
            </p:cNvSpPr>
            <p:nvPr/>
          </p:nvSpPr>
          <p:spPr bwMode="auto">
            <a:xfrm>
              <a:off x="8318500" y="1587501"/>
              <a:ext cx="517525" cy="485775"/>
            </a:xfrm>
            <a:custGeom>
              <a:avLst/>
              <a:gdLst>
                <a:gd name="T0" fmla="*/ 23 w 115"/>
                <a:gd name="T1" fmla="*/ 107 h 108"/>
                <a:gd name="T2" fmla="*/ 5 w 115"/>
                <a:gd name="T3" fmla="*/ 67 h 108"/>
                <a:gd name="T4" fmla="*/ 41 w 115"/>
                <a:gd name="T5" fmla="*/ 0 h 108"/>
                <a:gd name="T6" fmla="*/ 72 w 115"/>
                <a:gd name="T7" fmla="*/ 108 h 108"/>
              </a:gdLst>
              <a:ahLst/>
              <a:cxnLst>
                <a:cxn ang="0">
                  <a:pos x="T0" y="T1"/>
                </a:cxn>
                <a:cxn ang="0">
                  <a:pos x="T2" y="T3"/>
                </a:cxn>
                <a:cxn ang="0">
                  <a:pos x="T4" y="T5"/>
                </a:cxn>
                <a:cxn ang="0">
                  <a:pos x="T6" y="T7"/>
                </a:cxn>
              </a:cxnLst>
              <a:rect l="0" t="0" r="r" b="b"/>
              <a:pathLst>
                <a:path w="115" h="108">
                  <a:moveTo>
                    <a:pt x="23" y="107"/>
                  </a:moveTo>
                  <a:cubicBezTo>
                    <a:pt x="10" y="100"/>
                    <a:pt x="0" y="84"/>
                    <a:pt x="5" y="67"/>
                  </a:cubicBezTo>
                  <a:cubicBezTo>
                    <a:pt x="12" y="45"/>
                    <a:pt x="52" y="39"/>
                    <a:pt x="41" y="0"/>
                  </a:cubicBezTo>
                  <a:cubicBezTo>
                    <a:pt x="115" y="45"/>
                    <a:pt x="87" y="102"/>
                    <a:pt x="72" y="108"/>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Freeform 93">
              <a:extLst>
                <a:ext uri="{FF2B5EF4-FFF2-40B4-BE49-F238E27FC236}">
                  <a16:creationId xmlns:a16="http://schemas.microsoft.com/office/drawing/2014/main" id="{B8696420-8103-4E70-BF1C-8DB06E3AA966}"/>
                </a:ext>
              </a:extLst>
            </p:cNvPr>
            <p:cNvSpPr>
              <a:spLocks/>
            </p:cNvSpPr>
            <p:nvPr/>
          </p:nvSpPr>
          <p:spPr bwMode="auto">
            <a:xfrm>
              <a:off x="8404225" y="1785938"/>
              <a:ext cx="292100" cy="287338"/>
            </a:xfrm>
            <a:custGeom>
              <a:avLst/>
              <a:gdLst>
                <a:gd name="T0" fmla="*/ 21 w 65"/>
                <a:gd name="T1" fmla="*/ 64 h 64"/>
                <a:gd name="T2" fmla="*/ 10 w 65"/>
                <a:gd name="T3" fmla="*/ 26 h 64"/>
                <a:gd name="T4" fmla="*/ 38 w 65"/>
                <a:gd name="T5" fmla="*/ 0 h 64"/>
                <a:gd name="T6" fmla="*/ 40 w 65"/>
                <a:gd name="T7" fmla="*/ 63 h 64"/>
              </a:gdLst>
              <a:ahLst/>
              <a:cxnLst>
                <a:cxn ang="0">
                  <a:pos x="T0" y="T1"/>
                </a:cxn>
                <a:cxn ang="0">
                  <a:pos x="T2" y="T3"/>
                </a:cxn>
                <a:cxn ang="0">
                  <a:pos x="T4" y="T5"/>
                </a:cxn>
                <a:cxn ang="0">
                  <a:pos x="T6" y="T7"/>
                </a:cxn>
              </a:cxnLst>
              <a:rect l="0" t="0" r="r" b="b"/>
              <a:pathLst>
                <a:path w="65" h="64">
                  <a:moveTo>
                    <a:pt x="21" y="64"/>
                  </a:moveTo>
                  <a:cubicBezTo>
                    <a:pt x="9" y="59"/>
                    <a:pt x="0" y="42"/>
                    <a:pt x="10" y="26"/>
                  </a:cubicBezTo>
                  <a:cubicBezTo>
                    <a:pt x="16" y="51"/>
                    <a:pt x="47" y="37"/>
                    <a:pt x="38" y="0"/>
                  </a:cubicBezTo>
                  <a:cubicBezTo>
                    <a:pt x="51" y="10"/>
                    <a:pt x="65" y="43"/>
                    <a:pt x="40" y="63"/>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26" name="TextBox 25">
            <a:extLst>
              <a:ext uri="{FF2B5EF4-FFF2-40B4-BE49-F238E27FC236}">
                <a16:creationId xmlns:a16="http://schemas.microsoft.com/office/drawing/2014/main" id="{C5D835C1-D383-4ACD-AA27-EC4BAE93F785}"/>
              </a:ext>
            </a:extLst>
          </p:cNvPr>
          <p:cNvSpPr txBox="1"/>
          <p:nvPr/>
        </p:nvSpPr>
        <p:spPr>
          <a:xfrm>
            <a:off x="278090" y="3465275"/>
            <a:ext cx="2942595" cy="1259506"/>
          </a:xfrm>
          <a:prstGeom prst="rect">
            <a:avLst/>
          </a:prstGeom>
          <a:solidFill>
            <a:srgbClr val="66817F"/>
          </a:solidFill>
        </p:spPr>
        <p:txBody>
          <a:bodyPr wrap="square" lIns="540000" tIns="72000" rIns="540000" bIns="0" rtlCol="0" anchor="ctr">
            <a:noAutofit/>
          </a:bodyPr>
          <a:lstStyle/>
          <a:p>
            <a:pPr algn="ctr">
              <a:spcBef>
                <a:spcPts val="600"/>
              </a:spcBef>
            </a:pPr>
            <a:r>
              <a:rPr lang="en-GB" sz="1400" b="1" dirty="0">
                <a:solidFill>
                  <a:schemeClr val="bg1"/>
                </a:solidFill>
                <a:latin typeface="Arial" pitchFamily="34" charset="0"/>
                <a:cs typeface="Arial" pitchFamily="34" charset="0"/>
              </a:rPr>
              <a:t>It gets hotter and hotter</a:t>
            </a:r>
          </a:p>
        </p:txBody>
      </p:sp>
      <p:sp>
        <p:nvSpPr>
          <p:cNvPr id="27" name="Isosceles Triangle 26">
            <a:extLst>
              <a:ext uri="{FF2B5EF4-FFF2-40B4-BE49-F238E27FC236}">
                <a16:creationId xmlns:a16="http://schemas.microsoft.com/office/drawing/2014/main" id="{06994838-FD2F-4E58-AA25-437235765157}"/>
              </a:ext>
            </a:extLst>
          </p:cNvPr>
          <p:cNvSpPr/>
          <p:nvPr/>
        </p:nvSpPr>
        <p:spPr>
          <a:xfrm rot="10800000">
            <a:off x="1637026" y="3462225"/>
            <a:ext cx="224724" cy="79333"/>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39" name="TextBox 38">
            <a:extLst>
              <a:ext uri="{FF2B5EF4-FFF2-40B4-BE49-F238E27FC236}">
                <a16:creationId xmlns:a16="http://schemas.microsoft.com/office/drawing/2014/main" id="{0D9DFB0C-8725-4B3E-A23C-3C881A8F2E10}"/>
              </a:ext>
            </a:extLst>
          </p:cNvPr>
          <p:cNvSpPr txBox="1"/>
          <p:nvPr/>
        </p:nvSpPr>
        <p:spPr>
          <a:xfrm>
            <a:off x="3482467" y="3462225"/>
            <a:ext cx="2934711" cy="1264583"/>
          </a:xfrm>
          <a:prstGeom prst="rect">
            <a:avLst/>
          </a:prstGeom>
          <a:solidFill>
            <a:srgbClr val="8CA09F"/>
          </a:solidFill>
        </p:spPr>
        <p:txBody>
          <a:bodyPr wrap="square" lIns="540000" tIns="72000" rIns="540000" bIns="0" rtlCol="0" anchor="ctr">
            <a:noAutofit/>
          </a:bodyPr>
          <a:lstStyle/>
          <a:p>
            <a:pPr algn="ctr">
              <a:spcBef>
                <a:spcPts val="600"/>
              </a:spcBef>
            </a:pPr>
            <a:r>
              <a:rPr lang="en-GB" sz="1400" b="1" dirty="0">
                <a:solidFill>
                  <a:schemeClr val="bg1"/>
                </a:solidFill>
                <a:latin typeface="Arial" pitchFamily="34" charset="0"/>
                <a:cs typeface="Arial" pitchFamily="34" charset="0"/>
              </a:rPr>
              <a:t>It bleeds into the right-hand side</a:t>
            </a:r>
          </a:p>
        </p:txBody>
      </p:sp>
      <p:sp>
        <p:nvSpPr>
          <p:cNvPr id="41" name="Isosceles Triangle 40">
            <a:extLst>
              <a:ext uri="{FF2B5EF4-FFF2-40B4-BE49-F238E27FC236}">
                <a16:creationId xmlns:a16="http://schemas.microsoft.com/office/drawing/2014/main" id="{54745EF9-49FB-41B1-B514-A987E7A1EBD7}"/>
              </a:ext>
            </a:extLst>
          </p:cNvPr>
          <p:cNvSpPr/>
          <p:nvPr/>
        </p:nvSpPr>
        <p:spPr>
          <a:xfrm rot="10800000">
            <a:off x="4837460" y="3462225"/>
            <a:ext cx="224724" cy="79333"/>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sp>
        <p:nvSpPr>
          <p:cNvPr id="62" name="TextBox 61">
            <a:extLst>
              <a:ext uri="{FF2B5EF4-FFF2-40B4-BE49-F238E27FC236}">
                <a16:creationId xmlns:a16="http://schemas.microsoft.com/office/drawing/2014/main" id="{87D587BB-5F52-41B3-9D7D-F3BF1C994381}"/>
              </a:ext>
            </a:extLst>
          </p:cNvPr>
          <p:cNvSpPr txBox="1"/>
          <p:nvPr/>
        </p:nvSpPr>
        <p:spPr>
          <a:xfrm>
            <a:off x="6698238" y="3462225"/>
            <a:ext cx="2934711" cy="1264583"/>
          </a:xfrm>
          <a:prstGeom prst="rect">
            <a:avLst/>
          </a:prstGeom>
          <a:solidFill>
            <a:srgbClr val="B9C7C2"/>
          </a:solidFill>
        </p:spPr>
        <p:txBody>
          <a:bodyPr wrap="square" lIns="540000" tIns="72000" rIns="540000" bIns="0" rtlCol="0" anchor="ctr">
            <a:noAutofit/>
          </a:bodyPr>
          <a:lstStyle/>
          <a:p>
            <a:pPr algn="ctr">
              <a:spcBef>
                <a:spcPts val="600"/>
              </a:spcBef>
            </a:pPr>
            <a:r>
              <a:rPr lang="en-GB" sz="1400" b="1" dirty="0">
                <a:solidFill>
                  <a:schemeClr val="bg1"/>
                </a:solidFill>
                <a:latin typeface="Arial" pitchFamily="34" charset="0"/>
                <a:cs typeface="Arial" pitchFamily="34" charset="0"/>
              </a:rPr>
              <a:t>The other feels that something is wrong</a:t>
            </a:r>
          </a:p>
        </p:txBody>
      </p:sp>
      <p:sp>
        <p:nvSpPr>
          <p:cNvPr id="63" name="Isosceles Triangle 62">
            <a:extLst>
              <a:ext uri="{FF2B5EF4-FFF2-40B4-BE49-F238E27FC236}">
                <a16:creationId xmlns:a16="http://schemas.microsoft.com/office/drawing/2014/main" id="{ECBA0C8F-C65A-4172-BA50-AB88C168C74A}"/>
              </a:ext>
            </a:extLst>
          </p:cNvPr>
          <p:cNvSpPr/>
          <p:nvPr/>
        </p:nvSpPr>
        <p:spPr>
          <a:xfrm rot="10800000">
            <a:off x="8053231" y="3462225"/>
            <a:ext cx="224724" cy="79333"/>
          </a:xfrm>
          <a:prstGeom prst="triangle">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75" name="Group 74">
            <a:extLst>
              <a:ext uri="{FF2B5EF4-FFF2-40B4-BE49-F238E27FC236}">
                <a16:creationId xmlns:a16="http://schemas.microsoft.com/office/drawing/2014/main" id="{FBC5F316-468D-4F53-8DE7-1DEF5BAC7DD4}"/>
              </a:ext>
            </a:extLst>
          </p:cNvPr>
          <p:cNvGrpSpPr/>
          <p:nvPr/>
        </p:nvGrpSpPr>
        <p:grpSpPr>
          <a:xfrm>
            <a:off x="7901274" y="2795005"/>
            <a:ext cx="528638" cy="488950"/>
            <a:chOff x="8572500" y="3311525"/>
            <a:chExt cx="528638" cy="488950"/>
          </a:xfrm>
        </p:grpSpPr>
        <p:sp>
          <p:nvSpPr>
            <p:cNvPr id="76" name="Freeform 73">
              <a:extLst>
                <a:ext uri="{FF2B5EF4-FFF2-40B4-BE49-F238E27FC236}">
                  <a16:creationId xmlns:a16="http://schemas.microsoft.com/office/drawing/2014/main" id="{7999454A-9AAB-4830-A5D4-A3C0889AA182}"/>
                </a:ext>
              </a:extLst>
            </p:cNvPr>
            <p:cNvSpPr>
              <a:spLocks/>
            </p:cNvSpPr>
            <p:nvPr/>
          </p:nvSpPr>
          <p:spPr bwMode="auto">
            <a:xfrm>
              <a:off x="8742363" y="3414713"/>
              <a:ext cx="125413" cy="344487"/>
            </a:xfrm>
            <a:custGeom>
              <a:avLst/>
              <a:gdLst>
                <a:gd name="T0" fmla="*/ 14 w 28"/>
                <a:gd name="T1" fmla="*/ 77 h 77"/>
                <a:gd name="T2" fmla="*/ 14 w 28"/>
                <a:gd name="T3" fmla="*/ 77 h 77"/>
                <a:gd name="T4" fmla="*/ 0 w 28"/>
                <a:gd name="T5" fmla="*/ 63 h 77"/>
                <a:gd name="T6" fmla="*/ 0 w 28"/>
                <a:gd name="T7" fmla="*/ 14 h 77"/>
                <a:gd name="T8" fmla="*/ 14 w 28"/>
                <a:gd name="T9" fmla="*/ 0 h 77"/>
                <a:gd name="T10" fmla="*/ 14 w 28"/>
                <a:gd name="T11" fmla="*/ 0 h 77"/>
                <a:gd name="T12" fmla="*/ 28 w 28"/>
                <a:gd name="T13" fmla="*/ 14 h 77"/>
                <a:gd name="T14" fmla="*/ 28 w 28"/>
                <a:gd name="T15" fmla="*/ 63 h 77"/>
                <a:gd name="T16" fmla="*/ 14 w 28"/>
                <a:gd name="T17"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77">
                  <a:moveTo>
                    <a:pt x="14" y="77"/>
                  </a:moveTo>
                  <a:cubicBezTo>
                    <a:pt x="14" y="77"/>
                    <a:pt x="14" y="77"/>
                    <a:pt x="14" y="77"/>
                  </a:cubicBezTo>
                  <a:cubicBezTo>
                    <a:pt x="7" y="77"/>
                    <a:pt x="0" y="70"/>
                    <a:pt x="0" y="63"/>
                  </a:cubicBezTo>
                  <a:cubicBezTo>
                    <a:pt x="0" y="14"/>
                    <a:pt x="0" y="14"/>
                    <a:pt x="0" y="14"/>
                  </a:cubicBezTo>
                  <a:cubicBezTo>
                    <a:pt x="0" y="7"/>
                    <a:pt x="7" y="0"/>
                    <a:pt x="14" y="0"/>
                  </a:cubicBezTo>
                  <a:cubicBezTo>
                    <a:pt x="14" y="0"/>
                    <a:pt x="14" y="0"/>
                    <a:pt x="14" y="0"/>
                  </a:cubicBezTo>
                  <a:cubicBezTo>
                    <a:pt x="22" y="0"/>
                    <a:pt x="28" y="7"/>
                    <a:pt x="28" y="14"/>
                  </a:cubicBezTo>
                  <a:cubicBezTo>
                    <a:pt x="28" y="63"/>
                    <a:pt x="28" y="63"/>
                    <a:pt x="28" y="63"/>
                  </a:cubicBezTo>
                  <a:cubicBezTo>
                    <a:pt x="28" y="70"/>
                    <a:pt x="22" y="77"/>
                    <a:pt x="14" y="77"/>
                  </a:cubicBezTo>
                  <a:close/>
                </a:path>
              </a:pathLst>
            </a:custGeom>
            <a:solidFill>
              <a:srgbClr val="E4B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7" name="Oval 74">
              <a:extLst>
                <a:ext uri="{FF2B5EF4-FFF2-40B4-BE49-F238E27FC236}">
                  <a16:creationId xmlns:a16="http://schemas.microsoft.com/office/drawing/2014/main" id="{7FDDC383-DC71-40CB-A5FC-5A3C2D96E103}"/>
                </a:ext>
              </a:extLst>
            </p:cNvPr>
            <p:cNvSpPr>
              <a:spLocks noChangeArrowheads="1"/>
            </p:cNvSpPr>
            <p:nvPr/>
          </p:nvSpPr>
          <p:spPr bwMode="auto">
            <a:xfrm>
              <a:off x="8818563" y="3656013"/>
              <a:ext cx="31750" cy="36512"/>
            </a:xfrm>
            <a:prstGeom prst="ellipse">
              <a:avLst/>
            </a:pr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75">
              <a:extLst>
                <a:ext uri="{FF2B5EF4-FFF2-40B4-BE49-F238E27FC236}">
                  <a16:creationId xmlns:a16="http://schemas.microsoft.com/office/drawing/2014/main" id="{69834C6C-CEE7-4577-924A-5A339305F045}"/>
                </a:ext>
              </a:extLst>
            </p:cNvPr>
            <p:cNvSpPr>
              <a:spLocks/>
            </p:cNvSpPr>
            <p:nvPr/>
          </p:nvSpPr>
          <p:spPr bwMode="auto">
            <a:xfrm>
              <a:off x="8572500" y="3311525"/>
              <a:ext cx="528638" cy="488950"/>
            </a:xfrm>
            <a:custGeom>
              <a:avLst/>
              <a:gdLst>
                <a:gd name="T0" fmla="*/ 115 w 118"/>
                <a:gd name="T1" fmla="*/ 95 h 109"/>
                <a:gd name="T2" fmla="*/ 106 w 118"/>
                <a:gd name="T3" fmla="*/ 109 h 109"/>
                <a:gd name="T4" fmla="*/ 12 w 118"/>
                <a:gd name="T5" fmla="*/ 109 h 109"/>
                <a:gd name="T6" fmla="*/ 3 w 118"/>
                <a:gd name="T7" fmla="*/ 95 h 109"/>
                <a:gd name="T8" fmla="*/ 50 w 118"/>
                <a:gd name="T9" fmla="*/ 7 h 109"/>
                <a:gd name="T10" fmla="*/ 68 w 118"/>
                <a:gd name="T11" fmla="*/ 7 h 109"/>
                <a:gd name="T12" fmla="*/ 103 w 118"/>
                <a:gd name="T13" fmla="*/ 72 h 109"/>
              </a:gdLst>
              <a:ahLst/>
              <a:cxnLst>
                <a:cxn ang="0">
                  <a:pos x="T0" y="T1"/>
                </a:cxn>
                <a:cxn ang="0">
                  <a:pos x="T2" y="T3"/>
                </a:cxn>
                <a:cxn ang="0">
                  <a:pos x="T4" y="T5"/>
                </a:cxn>
                <a:cxn ang="0">
                  <a:pos x="T6" y="T7"/>
                </a:cxn>
                <a:cxn ang="0">
                  <a:pos x="T8" y="T9"/>
                </a:cxn>
                <a:cxn ang="0">
                  <a:pos x="T10" y="T11"/>
                </a:cxn>
                <a:cxn ang="0">
                  <a:pos x="T12" y="T13"/>
                </a:cxn>
              </a:cxnLst>
              <a:rect l="0" t="0" r="r" b="b"/>
              <a:pathLst>
                <a:path w="118" h="109">
                  <a:moveTo>
                    <a:pt x="115" y="95"/>
                  </a:moveTo>
                  <a:cubicBezTo>
                    <a:pt x="118" y="101"/>
                    <a:pt x="113" y="109"/>
                    <a:pt x="106" y="109"/>
                  </a:cubicBezTo>
                  <a:cubicBezTo>
                    <a:pt x="12" y="109"/>
                    <a:pt x="12" y="109"/>
                    <a:pt x="12" y="109"/>
                  </a:cubicBezTo>
                  <a:cubicBezTo>
                    <a:pt x="5" y="109"/>
                    <a:pt x="0" y="101"/>
                    <a:pt x="3" y="95"/>
                  </a:cubicBezTo>
                  <a:cubicBezTo>
                    <a:pt x="50" y="7"/>
                    <a:pt x="50" y="7"/>
                    <a:pt x="50" y="7"/>
                  </a:cubicBezTo>
                  <a:cubicBezTo>
                    <a:pt x="54" y="0"/>
                    <a:pt x="64" y="0"/>
                    <a:pt x="68" y="7"/>
                  </a:cubicBezTo>
                  <a:cubicBezTo>
                    <a:pt x="103" y="72"/>
                    <a:pt x="103" y="72"/>
                    <a:pt x="103" y="72"/>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9" name="Line 76">
              <a:extLst>
                <a:ext uri="{FF2B5EF4-FFF2-40B4-BE49-F238E27FC236}">
                  <a16:creationId xmlns:a16="http://schemas.microsoft.com/office/drawing/2014/main" id="{C55C9AA6-2EE4-4F5D-A5B3-BD0DA7E8C6CB}"/>
                </a:ext>
              </a:extLst>
            </p:cNvPr>
            <p:cNvSpPr>
              <a:spLocks noChangeShapeType="1"/>
            </p:cNvSpPr>
            <p:nvPr/>
          </p:nvSpPr>
          <p:spPr bwMode="auto">
            <a:xfrm>
              <a:off x="8837613" y="3473450"/>
              <a:ext cx="0" cy="138112"/>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229999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267" name="think-cell Slide" r:id="rId18" imgW="270" imgH="270" progId="TCLayout.ActiveDocument.1">
                  <p:embed/>
                </p:oleObj>
              </mc:Choice>
              <mc:Fallback>
                <p:oleObj name="think-cell Slide" r:id="rId18" imgW="270" imgH="270" progId="TCLayout.ActiveDocument.1">
                  <p:embed/>
                  <p:pic>
                    <p:nvPicPr>
                      <p:cNvPr id="8" name="Objekt 7" hidden="1"/>
                      <p:cNvPicPr/>
                      <p:nvPr/>
                    </p:nvPicPr>
                    <p:blipFill>
                      <a:blip r:embed="rId19"/>
                      <a:stretch>
                        <a:fillRect/>
                      </a:stretch>
                    </p:blipFill>
                    <p:spPr>
                      <a:xfrm>
                        <a:off x="0" y="0"/>
                        <a:ext cx="158750" cy="158750"/>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p>
            <a:r>
              <a:rPr lang="en-GB" dirty="0"/>
              <a:t>Rule #4: Know how you intervene</a:t>
            </a:r>
          </a:p>
        </p:txBody>
      </p:sp>
      <p:sp>
        <p:nvSpPr>
          <p:cNvPr id="72" name="Text Placeholder 71">
            <a:extLst>
              <a:ext uri="{FF2B5EF4-FFF2-40B4-BE49-F238E27FC236}">
                <a16:creationId xmlns:a16="http://schemas.microsoft.com/office/drawing/2014/main" id="{02756574-757A-4CD5-9F40-516DFF7806A8}"/>
              </a:ext>
            </a:extLst>
          </p:cNvPr>
          <p:cNvSpPr>
            <a:spLocks noGrp="1"/>
          </p:cNvSpPr>
          <p:nvPr>
            <p:ph type="body" sz="quarter" idx="13"/>
          </p:nvPr>
        </p:nvSpPr>
        <p:spPr/>
        <p:txBody>
          <a:bodyPr/>
          <a:lstStyle/>
          <a:p>
            <a:endParaRPr lang="en-GB" dirty="0"/>
          </a:p>
        </p:txBody>
      </p:sp>
      <p:sp>
        <p:nvSpPr>
          <p:cNvPr id="73" name="Text Placeholder 72">
            <a:extLst>
              <a:ext uri="{FF2B5EF4-FFF2-40B4-BE49-F238E27FC236}">
                <a16:creationId xmlns:a16="http://schemas.microsoft.com/office/drawing/2014/main" id="{2DD08CD0-C2F5-49F8-9C57-89159EA9ECBD}"/>
              </a:ext>
            </a:extLst>
          </p:cNvPr>
          <p:cNvSpPr>
            <a:spLocks noGrp="1"/>
          </p:cNvSpPr>
          <p:nvPr>
            <p:ph type="body" sz="quarter" idx="14"/>
          </p:nvPr>
        </p:nvSpPr>
        <p:spPr/>
        <p:txBody>
          <a:bodyPr/>
          <a:lstStyle/>
          <a:p>
            <a:endParaRPr lang="en-GB" dirty="0"/>
          </a:p>
        </p:txBody>
      </p:sp>
      <p:sp>
        <p:nvSpPr>
          <p:cNvPr id="19" name="Rectangle 18">
            <a:extLst>
              <a:ext uri="{FF2B5EF4-FFF2-40B4-BE49-F238E27FC236}">
                <a16:creationId xmlns:a16="http://schemas.microsoft.com/office/drawing/2014/main" id="{04032124-73D0-4EA5-9C5B-B10438B3C196}"/>
              </a:ext>
            </a:extLst>
          </p:cNvPr>
          <p:cNvSpPr/>
          <p:nvPr/>
        </p:nvSpPr>
        <p:spPr>
          <a:xfrm>
            <a:off x="4744826" y="4684390"/>
            <a:ext cx="2410719" cy="142848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66" name="Rectangle 65">
            <a:extLst>
              <a:ext uri="{FF2B5EF4-FFF2-40B4-BE49-F238E27FC236}">
                <a16:creationId xmlns:a16="http://schemas.microsoft.com/office/drawing/2014/main" id="{24D5FD15-F5DB-4B15-A9B2-6FA5EF53F310}"/>
              </a:ext>
            </a:extLst>
          </p:cNvPr>
          <p:cNvSpPr/>
          <p:nvPr/>
        </p:nvSpPr>
        <p:spPr>
          <a:xfrm>
            <a:off x="4744826" y="3038143"/>
            <a:ext cx="2410719" cy="142848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67" name="Rectangle 66">
            <a:extLst>
              <a:ext uri="{FF2B5EF4-FFF2-40B4-BE49-F238E27FC236}">
                <a16:creationId xmlns:a16="http://schemas.microsoft.com/office/drawing/2014/main" id="{91D8B3B9-1B40-4795-89DE-A0DF4459FD9C}"/>
              </a:ext>
            </a:extLst>
          </p:cNvPr>
          <p:cNvSpPr/>
          <p:nvPr/>
        </p:nvSpPr>
        <p:spPr>
          <a:xfrm>
            <a:off x="4744826" y="1393139"/>
            <a:ext cx="2410719" cy="1428480"/>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9" name="Rektangel 28"/>
          <p:cNvSpPr/>
          <p:nvPr>
            <p:custDataLst>
              <p:tags r:id="rId4"/>
            </p:custDataLst>
          </p:nvPr>
        </p:nvSpPr>
        <p:spPr>
          <a:xfrm>
            <a:off x="2750456" y="1393139"/>
            <a:ext cx="1719653" cy="1428480"/>
          </a:xfrm>
          <a:prstGeom prst="rect">
            <a:avLst/>
          </a:prstGeom>
          <a:solidFill>
            <a:srgbClr val="893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r>
              <a:rPr lang="en-GB" sz="1200" dirty="0">
                <a:solidFill>
                  <a:schemeClr val="bg1"/>
                </a:solidFill>
              </a:rPr>
              <a:t>NAME THE FEELING</a:t>
            </a:r>
          </a:p>
        </p:txBody>
      </p:sp>
      <p:sp>
        <p:nvSpPr>
          <p:cNvPr id="30" name="Rektangel 29"/>
          <p:cNvSpPr/>
          <p:nvPr>
            <p:custDataLst>
              <p:tags r:id="rId5"/>
            </p:custDataLst>
          </p:nvPr>
        </p:nvSpPr>
        <p:spPr>
          <a:xfrm>
            <a:off x="2750456" y="3038143"/>
            <a:ext cx="1719653" cy="1428480"/>
          </a:xfrm>
          <a:prstGeom prst="rect">
            <a:avLst/>
          </a:prstGeom>
          <a:solidFill>
            <a:srgbClr val="E0BCA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defRPr/>
            </a:pPr>
            <a:r>
              <a:rPr lang="en-GB" sz="1200" dirty="0">
                <a:solidFill>
                  <a:srgbClr val="1F2023"/>
                </a:solidFill>
              </a:rPr>
              <a:t>INQUIRE INTO THE UNDERSTANDING</a:t>
            </a:r>
          </a:p>
        </p:txBody>
      </p:sp>
      <p:sp>
        <p:nvSpPr>
          <p:cNvPr id="31" name="Rektangel 30"/>
          <p:cNvSpPr/>
          <p:nvPr>
            <p:custDataLst>
              <p:tags r:id="rId6"/>
            </p:custDataLst>
          </p:nvPr>
        </p:nvSpPr>
        <p:spPr>
          <a:xfrm>
            <a:off x="2750456" y="4684390"/>
            <a:ext cx="1719653" cy="1428480"/>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a:defRPr/>
            </a:pPr>
            <a:r>
              <a:rPr lang="en-GB" sz="1200" dirty="0">
                <a:solidFill>
                  <a:srgbClr val="1F2023"/>
                </a:solidFill>
              </a:rPr>
              <a:t>COMBINE AS USUAL</a:t>
            </a:r>
          </a:p>
        </p:txBody>
      </p:sp>
      <p:sp>
        <p:nvSpPr>
          <p:cNvPr id="4" name="Rektangel 3"/>
          <p:cNvSpPr/>
          <p:nvPr>
            <p:custDataLst>
              <p:tags r:id="rId7"/>
            </p:custDataLst>
          </p:nvPr>
        </p:nvSpPr>
        <p:spPr>
          <a:xfrm>
            <a:off x="1321976" y="1393139"/>
            <a:ext cx="1428480" cy="1428480"/>
          </a:xfrm>
          <a:prstGeom prst="rect">
            <a:avLst/>
          </a:prstGeom>
          <a:solidFill>
            <a:srgbClr val="F3F2F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44000" rtlCol="0" anchor="b"/>
          <a:lstStyle/>
          <a:p>
            <a:pPr algn="ctr"/>
            <a:r>
              <a:rPr lang="en-GB" sz="1400" b="1" dirty="0">
                <a:solidFill>
                  <a:srgbClr val="1F2023"/>
                </a:solidFill>
              </a:rPr>
              <a:t>1%</a:t>
            </a:r>
          </a:p>
        </p:txBody>
      </p:sp>
      <p:sp>
        <p:nvSpPr>
          <p:cNvPr id="23" name="Rektangel 22"/>
          <p:cNvSpPr/>
          <p:nvPr>
            <p:custDataLst>
              <p:tags r:id="rId8"/>
            </p:custDataLst>
          </p:nvPr>
        </p:nvSpPr>
        <p:spPr>
          <a:xfrm>
            <a:off x="1321976" y="3038143"/>
            <a:ext cx="1428480" cy="1428480"/>
          </a:xfrm>
          <a:prstGeom prst="rect">
            <a:avLst/>
          </a:prstGeom>
          <a:solidFill>
            <a:srgbClr val="F3F2F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44000" rtlCol="0" anchor="b"/>
          <a:lstStyle/>
          <a:p>
            <a:pPr algn="ctr"/>
            <a:r>
              <a:rPr lang="en-GB" sz="1400" b="1" dirty="0">
                <a:solidFill>
                  <a:srgbClr val="1F2023"/>
                </a:solidFill>
              </a:rPr>
              <a:t>4%</a:t>
            </a:r>
          </a:p>
        </p:txBody>
      </p:sp>
      <p:sp>
        <p:nvSpPr>
          <p:cNvPr id="24" name="Rektangel 23"/>
          <p:cNvSpPr/>
          <p:nvPr>
            <p:custDataLst>
              <p:tags r:id="rId9"/>
            </p:custDataLst>
          </p:nvPr>
        </p:nvSpPr>
        <p:spPr>
          <a:xfrm>
            <a:off x="1321976" y="4684390"/>
            <a:ext cx="1428480" cy="1428480"/>
          </a:xfrm>
          <a:prstGeom prst="rect">
            <a:avLst/>
          </a:prstGeom>
          <a:solidFill>
            <a:srgbClr val="F3F2F0"/>
          </a:solidFill>
          <a:ln w="9525">
            <a:noFill/>
          </a:ln>
        </p:spPr>
        <p:style>
          <a:lnRef idx="2">
            <a:schemeClr val="accent1">
              <a:shade val="50000"/>
            </a:schemeClr>
          </a:lnRef>
          <a:fillRef idx="1">
            <a:schemeClr val="accent1"/>
          </a:fillRef>
          <a:effectRef idx="0">
            <a:schemeClr val="accent1"/>
          </a:effectRef>
          <a:fontRef idx="minor">
            <a:schemeClr val="lt1"/>
          </a:fontRef>
        </p:style>
        <p:txBody>
          <a:bodyPr bIns="144000" rtlCol="0" anchor="b"/>
          <a:lstStyle/>
          <a:p>
            <a:pPr algn="ctr"/>
            <a:r>
              <a:rPr lang="en-GB" sz="1400" b="1" dirty="0">
                <a:solidFill>
                  <a:srgbClr val="1F2023"/>
                </a:solidFill>
              </a:rPr>
              <a:t>95%</a:t>
            </a:r>
          </a:p>
        </p:txBody>
      </p:sp>
      <p:pic>
        <p:nvPicPr>
          <p:cNvPr id="34818" name="Picture 2" descr="C:\Users\Kumaravel\Downloads\the-warmth-of-bonfire.jpg"/>
          <p:cNvPicPr>
            <a:picLocks noChangeAspect="1" noChangeArrowheads="1"/>
          </p:cNvPicPr>
          <p:nvPr>
            <p:custDataLst>
              <p:tags r:id="rId10"/>
            </p:custDataLst>
          </p:nvPr>
        </p:nvPicPr>
        <p:blipFill rotWithShape="1">
          <a:blip r:embed="rId20">
            <a:extLst>
              <a:ext uri="{28A0092B-C50C-407E-A947-70E740481C1C}">
                <a14:useLocalDpi xmlns:a14="http://schemas.microsoft.com/office/drawing/2010/main" val="0"/>
              </a:ext>
            </a:extLst>
          </a:blip>
          <a:srcRect t="13143"/>
          <a:stretch/>
        </p:blipFill>
        <p:spPr bwMode="auto">
          <a:xfrm>
            <a:off x="4986835" y="3126122"/>
            <a:ext cx="1922732" cy="1252522"/>
          </a:xfrm>
          <a:prstGeom prst="rect">
            <a:avLst/>
          </a:prstGeom>
          <a:noFill/>
          <a:extLst>
            <a:ext uri="{909E8E84-426E-40DD-AFC4-6F175D3DCCD1}">
              <a14:hiddenFill xmlns:a14="http://schemas.microsoft.com/office/drawing/2010/main">
                <a:solidFill>
                  <a:srgbClr val="FFFFFF"/>
                </a:solidFill>
              </a14:hiddenFill>
            </a:ext>
          </a:extLst>
        </p:spPr>
      </p:pic>
      <p:pic>
        <p:nvPicPr>
          <p:cNvPr id="35844" name="Picture 4" descr="\\Server\d\Mail folder\Job 10 – Pernille Koch Erichsen - Implement - PLS USE THE FILE SENT FROM KARTHIK - DEADLINE TODAY\image\cold.jpg"/>
          <p:cNvPicPr>
            <a:picLocks noChangeAspect="1" noChangeArrowheads="1"/>
          </p:cNvPicPr>
          <p:nvPr>
            <p:custDataLst>
              <p:tags r:id="rId11"/>
            </p:custDataLst>
          </p:nvPr>
        </p:nvPicPr>
        <p:blipFill>
          <a:blip r:embed="rId21"/>
          <a:srcRect l="14035"/>
          <a:stretch>
            <a:fillRect/>
          </a:stretch>
        </p:blipFill>
        <p:spPr bwMode="auto">
          <a:xfrm>
            <a:off x="4986835" y="4772370"/>
            <a:ext cx="1922732" cy="1252522"/>
          </a:xfrm>
          <a:prstGeom prst="rect">
            <a:avLst/>
          </a:prstGeom>
          <a:noFill/>
        </p:spPr>
      </p:pic>
      <p:pic>
        <p:nvPicPr>
          <p:cNvPr id="21" name="Picture 3" descr="\\Server\d\Mail folder\Job 10 – Pernille Koch Erichsen - Implement - PLS USE THE FILE SENT FROM KARTHIK - DEADLINE TODAY\image\warm.jpg"/>
          <p:cNvPicPr>
            <a:picLocks noChangeAspect="1" noChangeArrowheads="1"/>
          </p:cNvPicPr>
          <p:nvPr>
            <p:custDataLst>
              <p:tags r:id="rId12"/>
            </p:custDataLst>
          </p:nvPr>
        </p:nvPicPr>
        <p:blipFill>
          <a:blip r:embed="rId22"/>
          <a:srcRect r="6442"/>
          <a:stretch>
            <a:fillRect/>
          </a:stretch>
        </p:blipFill>
        <p:spPr bwMode="auto">
          <a:xfrm>
            <a:off x="4986835" y="1481118"/>
            <a:ext cx="1922732" cy="1252522"/>
          </a:xfrm>
          <a:prstGeom prst="rect">
            <a:avLst/>
          </a:prstGeom>
          <a:noFill/>
        </p:spPr>
      </p:pic>
      <p:sp>
        <p:nvSpPr>
          <p:cNvPr id="35" name="Rektangel 34"/>
          <p:cNvSpPr/>
          <p:nvPr>
            <p:custDataLst>
              <p:tags r:id="rId13"/>
            </p:custDataLst>
          </p:nvPr>
        </p:nvSpPr>
        <p:spPr>
          <a:xfrm>
            <a:off x="7155545" y="1393139"/>
            <a:ext cx="1428480" cy="1428480"/>
          </a:xfrm>
          <a:prstGeom prst="rect">
            <a:avLst/>
          </a:prstGeom>
          <a:solidFill>
            <a:srgbClr val="893E45"/>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bIns="288000" rtlCol="0" anchor="b"/>
          <a:lstStyle/>
          <a:p>
            <a:pPr algn="ctr"/>
            <a:r>
              <a:rPr lang="en-GB" sz="1400" b="1" dirty="0">
                <a:solidFill>
                  <a:schemeClr val="bg1"/>
                </a:solidFill>
              </a:rPr>
              <a:t>HOT </a:t>
            </a:r>
          </a:p>
        </p:txBody>
      </p:sp>
      <p:sp>
        <p:nvSpPr>
          <p:cNvPr id="36" name="Rektangel 35"/>
          <p:cNvSpPr/>
          <p:nvPr>
            <p:custDataLst>
              <p:tags r:id="rId14"/>
            </p:custDataLst>
          </p:nvPr>
        </p:nvSpPr>
        <p:spPr>
          <a:xfrm>
            <a:off x="7155545" y="3038143"/>
            <a:ext cx="1428480" cy="1428480"/>
          </a:xfrm>
          <a:prstGeom prst="rect">
            <a:avLst/>
          </a:prstGeom>
          <a:solidFill>
            <a:srgbClr val="E0BCA6"/>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bIns="288000" rtlCol="0" anchor="b"/>
          <a:lstStyle/>
          <a:p>
            <a:pPr algn="ctr"/>
            <a:r>
              <a:rPr lang="en-GB" sz="1400" b="1" dirty="0">
                <a:solidFill>
                  <a:schemeClr val="bg1"/>
                </a:solidFill>
              </a:rPr>
              <a:t>WARM</a:t>
            </a:r>
          </a:p>
        </p:txBody>
      </p:sp>
      <p:sp>
        <p:nvSpPr>
          <p:cNvPr id="37" name="Rektangel 36"/>
          <p:cNvSpPr/>
          <p:nvPr>
            <p:custDataLst>
              <p:tags r:id="rId15"/>
            </p:custDataLst>
          </p:nvPr>
        </p:nvSpPr>
        <p:spPr>
          <a:xfrm>
            <a:off x="7155545" y="4684390"/>
            <a:ext cx="1428480" cy="1428480"/>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36000" bIns="288000" rtlCol="0" anchor="b"/>
          <a:lstStyle/>
          <a:p>
            <a:pPr algn="ctr"/>
            <a:r>
              <a:rPr lang="en-GB" sz="1400" b="1" dirty="0">
                <a:solidFill>
                  <a:schemeClr val="bg1"/>
                </a:solidFill>
              </a:rPr>
              <a:t>COLD</a:t>
            </a:r>
          </a:p>
        </p:txBody>
      </p:sp>
      <p:graphicFrame>
        <p:nvGraphicFramePr>
          <p:cNvPr id="18" name="Chart 17">
            <a:extLst>
              <a:ext uri="{FF2B5EF4-FFF2-40B4-BE49-F238E27FC236}">
                <a16:creationId xmlns:a16="http://schemas.microsoft.com/office/drawing/2014/main" id="{7B890ACA-F744-4C8B-AC8A-868D6AB37E01}"/>
              </a:ext>
            </a:extLst>
          </p:cNvPr>
          <p:cNvGraphicFramePr/>
          <p:nvPr>
            <p:extLst/>
          </p:nvPr>
        </p:nvGraphicFramePr>
        <p:xfrm>
          <a:off x="1252090" y="1280161"/>
          <a:ext cx="1568252" cy="1652562"/>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32" name="Chart 31">
            <a:extLst>
              <a:ext uri="{FF2B5EF4-FFF2-40B4-BE49-F238E27FC236}">
                <a16:creationId xmlns:a16="http://schemas.microsoft.com/office/drawing/2014/main" id="{6FA720EF-2932-4697-BEB3-935A4E7274EF}"/>
              </a:ext>
            </a:extLst>
          </p:cNvPr>
          <p:cNvGraphicFramePr/>
          <p:nvPr>
            <p:extLst/>
          </p:nvPr>
        </p:nvGraphicFramePr>
        <p:xfrm>
          <a:off x="1252090" y="2925165"/>
          <a:ext cx="1568252" cy="1652562"/>
        </p:xfrm>
        <a:graphic>
          <a:graphicData uri="http://schemas.openxmlformats.org/drawingml/2006/chart">
            <c:chart xmlns:c="http://schemas.openxmlformats.org/drawingml/2006/chart" xmlns:r="http://schemas.openxmlformats.org/officeDocument/2006/relationships" r:id="rId24"/>
          </a:graphicData>
        </a:graphic>
      </p:graphicFrame>
      <p:graphicFrame>
        <p:nvGraphicFramePr>
          <p:cNvPr id="33" name="Chart 32">
            <a:extLst>
              <a:ext uri="{FF2B5EF4-FFF2-40B4-BE49-F238E27FC236}">
                <a16:creationId xmlns:a16="http://schemas.microsoft.com/office/drawing/2014/main" id="{C80E257B-DCB1-401D-911D-14E561A0DCC0}"/>
              </a:ext>
            </a:extLst>
          </p:cNvPr>
          <p:cNvGraphicFramePr/>
          <p:nvPr>
            <p:extLst/>
          </p:nvPr>
        </p:nvGraphicFramePr>
        <p:xfrm>
          <a:off x="1252090" y="4563471"/>
          <a:ext cx="1568252" cy="1652562"/>
        </p:xfrm>
        <a:graphic>
          <a:graphicData uri="http://schemas.openxmlformats.org/drawingml/2006/chart">
            <c:chart xmlns:c="http://schemas.openxmlformats.org/drawingml/2006/chart" xmlns:r="http://schemas.openxmlformats.org/officeDocument/2006/relationships" r:id="rId25"/>
          </a:graphicData>
        </a:graphic>
      </p:graphicFrame>
      <p:grpSp>
        <p:nvGrpSpPr>
          <p:cNvPr id="34" name="Group 33">
            <a:extLst>
              <a:ext uri="{FF2B5EF4-FFF2-40B4-BE49-F238E27FC236}">
                <a16:creationId xmlns:a16="http://schemas.microsoft.com/office/drawing/2014/main" id="{4F888455-ECD6-44C2-91B1-B411338D3B2A}"/>
              </a:ext>
            </a:extLst>
          </p:cNvPr>
          <p:cNvGrpSpPr/>
          <p:nvPr/>
        </p:nvGrpSpPr>
        <p:grpSpPr>
          <a:xfrm>
            <a:off x="7624516" y="3357448"/>
            <a:ext cx="490538" cy="355600"/>
            <a:chOff x="1598613" y="1700213"/>
            <a:chExt cx="490538" cy="355600"/>
          </a:xfrm>
        </p:grpSpPr>
        <p:sp>
          <p:nvSpPr>
            <p:cNvPr id="39" name="Freeform 6">
              <a:extLst>
                <a:ext uri="{FF2B5EF4-FFF2-40B4-BE49-F238E27FC236}">
                  <a16:creationId xmlns:a16="http://schemas.microsoft.com/office/drawing/2014/main" id="{0B7087C9-4449-4FB2-8DDE-9D3503F5A6B4}"/>
                </a:ext>
              </a:extLst>
            </p:cNvPr>
            <p:cNvSpPr>
              <a:spLocks noEditPoints="1"/>
            </p:cNvSpPr>
            <p:nvPr/>
          </p:nvSpPr>
          <p:spPr bwMode="auto">
            <a:xfrm>
              <a:off x="1598613" y="1700213"/>
              <a:ext cx="490538" cy="355600"/>
            </a:xfrm>
            <a:custGeom>
              <a:avLst/>
              <a:gdLst>
                <a:gd name="T0" fmla="*/ 68 w 109"/>
                <a:gd name="T1" fmla="*/ 79 h 79"/>
                <a:gd name="T2" fmla="*/ 21 w 109"/>
                <a:gd name="T3" fmla="*/ 79 h 79"/>
                <a:gd name="T4" fmla="*/ 0 w 109"/>
                <a:gd name="T5" fmla="*/ 58 h 79"/>
                <a:gd name="T6" fmla="*/ 20 w 109"/>
                <a:gd name="T7" fmla="*/ 37 h 79"/>
                <a:gd name="T8" fmla="*/ 64 w 109"/>
                <a:gd name="T9" fmla="*/ 0 h 79"/>
                <a:gd name="T10" fmla="*/ 64 w 109"/>
                <a:gd name="T11" fmla="*/ 0 h 79"/>
                <a:gd name="T12" fmla="*/ 109 w 109"/>
                <a:gd name="T13" fmla="*/ 52 h 79"/>
                <a:gd name="T14" fmla="*/ 109 w 109"/>
                <a:gd name="T15" fmla="*/ 53 h 79"/>
                <a:gd name="T16" fmla="*/ 83 w 109"/>
                <a:gd name="T17" fmla="*/ 79 h 79"/>
                <a:gd name="T18" fmla="*/ 83 w 109"/>
                <a:gd name="T19"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9" h="79">
                  <a:moveTo>
                    <a:pt x="68" y="79"/>
                  </a:moveTo>
                  <a:cubicBezTo>
                    <a:pt x="21" y="79"/>
                    <a:pt x="21" y="79"/>
                    <a:pt x="21" y="79"/>
                  </a:cubicBezTo>
                  <a:cubicBezTo>
                    <a:pt x="9" y="79"/>
                    <a:pt x="0" y="69"/>
                    <a:pt x="0" y="58"/>
                  </a:cubicBezTo>
                  <a:cubicBezTo>
                    <a:pt x="0" y="46"/>
                    <a:pt x="9" y="37"/>
                    <a:pt x="20" y="37"/>
                  </a:cubicBezTo>
                  <a:cubicBezTo>
                    <a:pt x="26" y="16"/>
                    <a:pt x="43" y="0"/>
                    <a:pt x="64" y="0"/>
                  </a:cubicBezTo>
                  <a:moveTo>
                    <a:pt x="64" y="0"/>
                  </a:moveTo>
                  <a:cubicBezTo>
                    <a:pt x="89" y="0"/>
                    <a:pt x="109" y="24"/>
                    <a:pt x="109" y="52"/>
                  </a:cubicBezTo>
                  <a:cubicBezTo>
                    <a:pt x="109" y="52"/>
                    <a:pt x="109" y="52"/>
                    <a:pt x="109" y="53"/>
                  </a:cubicBezTo>
                  <a:cubicBezTo>
                    <a:pt x="109" y="67"/>
                    <a:pt x="97" y="79"/>
                    <a:pt x="83" y="79"/>
                  </a:cubicBezTo>
                  <a:cubicBezTo>
                    <a:pt x="83" y="79"/>
                    <a:pt x="83" y="79"/>
                    <a:pt x="83" y="79"/>
                  </a:cubicBezTo>
                </a:path>
              </a:pathLst>
            </a:custGeom>
            <a:noFill/>
            <a:ln w="14288"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7">
              <a:extLst>
                <a:ext uri="{FF2B5EF4-FFF2-40B4-BE49-F238E27FC236}">
                  <a16:creationId xmlns:a16="http://schemas.microsoft.com/office/drawing/2014/main" id="{2E200860-5A67-41C7-B841-69FE660998A2}"/>
                </a:ext>
              </a:extLst>
            </p:cNvPr>
            <p:cNvSpPr>
              <a:spLocks/>
            </p:cNvSpPr>
            <p:nvPr/>
          </p:nvSpPr>
          <p:spPr bwMode="auto">
            <a:xfrm>
              <a:off x="1693863" y="1884363"/>
              <a:ext cx="66675" cy="58738"/>
            </a:xfrm>
            <a:custGeom>
              <a:avLst/>
              <a:gdLst>
                <a:gd name="T0" fmla="*/ 13 w 15"/>
                <a:gd name="T1" fmla="*/ 0 h 13"/>
                <a:gd name="T2" fmla="*/ 14 w 15"/>
                <a:gd name="T3" fmla="*/ 4 h 13"/>
                <a:gd name="T4" fmla="*/ 9 w 15"/>
                <a:gd name="T5" fmla="*/ 12 h 13"/>
                <a:gd name="T6" fmla="*/ 0 w 15"/>
                <a:gd name="T7" fmla="*/ 8 h 13"/>
              </a:gdLst>
              <a:ahLst/>
              <a:cxnLst>
                <a:cxn ang="0">
                  <a:pos x="T0" y="T1"/>
                </a:cxn>
                <a:cxn ang="0">
                  <a:pos x="T2" y="T3"/>
                </a:cxn>
                <a:cxn ang="0">
                  <a:pos x="T4" y="T5"/>
                </a:cxn>
                <a:cxn ang="0">
                  <a:pos x="T6" y="T7"/>
                </a:cxn>
              </a:cxnLst>
              <a:rect l="0" t="0" r="r" b="b"/>
              <a:pathLst>
                <a:path w="15" h="13">
                  <a:moveTo>
                    <a:pt x="13" y="0"/>
                  </a:moveTo>
                  <a:cubicBezTo>
                    <a:pt x="13" y="1"/>
                    <a:pt x="14" y="2"/>
                    <a:pt x="14" y="4"/>
                  </a:cubicBezTo>
                  <a:cubicBezTo>
                    <a:pt x="15" y="8"/>
                    <a:pt x="13" y="12"/>
                    <a:pt x="9" y="12"/>
                  </a:cubicBezTo>
                  <a:cubicBezTo>
                    <a:pt x="5" y="13"/>
                    <a:pt x="2" y="12"/>
                    <a:pt x="0" y="8"/>
                  </a:cubicBezTo>
                </a:path>
              </a:pathLst>
            </a:custGeom>
            <a:noFill/>
            <a:ln w="14288"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8">
              <a:extLst>
                <a:ext uri="{FF2B5EF4-FFF2-40B4-BE49-F238E27FC236}">
                  <a16:creationId xmlns:a16="http://schemas.microsoft.com/office/drawing/2014/main" id="{6A1AA0F2-467B-40BB-AFBE-85C6F6078194}"/>
                </a:ext>
              </a:extLst>
            </p:cNvPr>
            <p:cNvSpPr>
              <a:spLocks/>
            </p:cNvSpPr>
            <p:nvPr/>
          </p:nvSpPr>
          <p:spPr bwMode="auto">
            <a:xfrm>
              <a:off x="1689100" y="1862138"/>
              <a:ext cx="58738" cy="22225"/>
            </a:xfrm>
            <a:custGeom>
              <a:avLst/>
              <a:gdLst>
                <a:gd name="T0" fmla="*/ 0 w 13"/>
                <a:gd name="T1" fmla="*/ 1 h 5"/>
                <a:gd name="T2" fmla="*/ 13 w 13"/>
                <a:gd name="T3" fmla="*/ 5 h 5"/>
              </a:gdLst>
              <a:ahLst/>
              <a:cxnLst>
                <a:cxn ang="0">
                  <a:pos x="T0" y="T1"/>
                </a:cxn>
                <a:cxn ang="0">
                  <a:pos x="T2" y="T3"/>
                </a:cxn>
              </a:cxnLst>
              <a:rect l="0" t="0" r="r" b="b"/>
              <a:pathLst>
                <a:path w="13" h="5">
                  <a:moveTo>
                    <a:pt x="0" y="1"/>
                  </a:moveTo>
                  <a:cubicBezTo>
                    <a:pt x="0" y="1"/>
                    <a:pt x="8" y="0"/>
                    <a:pt x="13" y="5"/>
                  </a:cubicBezTo>
                </a:path>
              </a:pathLst>
            </a:custGeom>
            <a:noFill/>
            <a:ln w="14288"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9">
              <a:extLst>
                <a:ext uri="{FF2B5EF4-FFF2-40B4-BE49-F238E27FC236}">
                  <a16:creationId xmlns:a16="http://schemas.microsoft.com/office/drawing/2014/main" id="{10D94AAD-4C8B-482D-985C-3CEF229226E3}"/>
                </a:ext>
              </a:extLst>
            </p:cNvPr>
            <p:cNvSpPr>
              <a:spLocks/>
            </p:cNvSpPr>
            <p:nvPr/>
          </p:nvSpPr>
          <p:spPr bwMode="auto">
            <a:xfrm>
              <a:off x="1679575" y="1857376"/>
              <a:ext cx="14288" cy="63500"/>
            </a:xfrm>
            <a:custGeom>
              <a:avLst/>
              <a:gdLst>
                <a:gd name="T0" fmla="*/ 2 w 3"/>
                <a:gd name="T1" fmla="*/ 0 h 14"/>
                <a:gd name="T2" fmla="*/ 3 w 3"/>
                <a:gd name="T3" fmla="*/ 14 h 14"/>
              </a:gdLst>
              <a:ahLst/>
              <a:cxnLst>
                <a:cxn ang="0">
                  <a:pos x="T0" y="T1"/>
                </a:cxn>
                <a:cxn ang="0">
                  <a:pos x="T2" y="T3"/>
                </a:cxn>
              </a:cxnLst>
              <a:rect l="0" t="0" r="r" b="b"/>
              <a:pathLst>
                <a:path w="3" h="14">
                  <a:moveTo>
                    <a:pt x="2" y="0"/>
                  </a:moveTo>
                  <a:cubicBezTo>
                    <a:pt x="2" y="0"/>
                    <a:pt x="0" y="7"/>
                    <a:pt x="3" y="14"/>
                  </a:cubicBezTo>
                </a:path>
              </a:pathLst>
            </a:custGeom>
            <a:noFill/>
            <a:ln w="14288" cap="rnd">
              <a:solidFill>
                <a:srgbClr val="30373B"/>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43" name="Group 42">
            <a:extLst>
              <a:ext uri="{FF2B5EF4-FFF2-40B4-BE49-F238E27FC236}">
                <a16:creationId xmlns:a16="http://schemas.microsoft.com/office/drawing/2014/main" id="{7F8F652D-FA2E-43C2-BB6D-A57BADB2D85F}"/>
              </a:ext>
            </a:extLst>
          </p:cNvPr>
          <p:cNvGrpSpPr/>
          <p:nvPr/>
        </p:nvGrpSpPr>
        <p:grpSpPr>
          <a:xfrm>
            <a:off x="7639598" y="4947779"/>
            <a:ext cx="460375" cy="476251"/>
            <a:chOff x="4951413" y="1570038"/>
            <a:chExt cx="460375" cy="476251"/>
          </a:xfrm>
        </p:grpSpPr>
        <p:sp>
          <p:nvSpPr>
            <p:cNvPr id="45" name="Line 39">
              <a:extLst>
                <a:ext uri="{FF2B5EF4-FFF2-40B4-BE49-F238E27FC236}">
                  <a16:creationId xmlns:a16="http://schemas.microsoft.com/office/drawing/2014/main" id="{892C4BDB-ADA1-4263-804C-27760CD39586}"/>
                </a:ext>
              </a:extLst>
            </p:cNvPr>
            <p:cNvSpPr>
              <a:spLocks noChangeShapeType="1"/>
            </p:cNvSpPr>
            <p:nvPr/>
          </p:nvSpPr>
          <p:spPr bwMode="auto">
            <a:xfrm>
              <a:off x="5181600" y="1879601"/>
              <a:ext cx="0" cy="11747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Line 40">
              <a:extLst>
                <a:ext uri="{FF2B5EF4-FFF2-40B4-BE49-F238E27FC236}">
                  <a16:creationId xmlns:a16="http://schemas.microsoft.com/office/drawing/2014/main" id="{2E346078-790F-433C-8E83-02D9DF90162E}"/>
                </a:ext>
              </a:extLst>
            </p:cNvPr>
            <p:cNvSpPr>
              <a:spLocks noChangeShapeType="1"/>
            </p:cNvSpPr>
            <p:nvPr/>
          </p:nvSpPr>
          <p:spPr bwMode="auto">
            <a:xfrm>
              <a:off x="5181600" y="1619251"/>
              <a:ext cx="0" cy="117475"/>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Line 41">
              <a:extLst>
                <a:ext uri="{FF2B5EF4-FFF2-40B4-BE49-F238E27FC236}">
                  <a16:creationId xmlns:a16="http://schemas.microsoft.com/office/drawing/2014/main" id="{7A7E57B4-7BCB-436D-BB4B-748E5D23BC22}"/>
                </a:ext>
              </a:extLst>
            </p:cNvPr>
            <p:cNvSpPr>
              <a:spLocks noChangeShapeType="1"/>
            </p:cNvSpPr>
            <p:nvPr/>
          </p:nvSpPr>
          <p:spPr bwMode="auto">
            <a:xfrm flipV="1">
              <a:off x="5245100" y="1712913"/>
              <a:ext cx="103188" cy="587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Line 42">
              <a:extLst>
                <a:ext uri="{FF2B5EF4-FFF2-40B4-BE49-F238E27FC236}">
                  <a16:creationId xmlns:a16="http://schemas.microsoft.com/office/drawing/2014/main" id="{E91D7E68-2A54-4BA0-AF80-8382DF91CB20}"/>
                </a:ext>
              </a:extLst>
            </p:cNvPr>
            <p:cNvSpPr>
              <a:spLocks noChangeShapeType="1"/>
            </p:cNvSpPr>
            <p:nvPr/>
          </p:nvSpPr>
          <p:spPr bwMode="auto">
            <a:xfrm flipV="1">
              <a:off x="5014913" y="1844676"/>
              <a:ext cx="103188" cy="587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Line 43">
              <a:extLst>
                <a:ext uri="{FF2B5EF4-FFF2-40B4-BE49-F238E27FC236}">
                  <a16:creationId xmlns:a16="http://schemas.microsoft.com/office/drawing/2014/main" id="{E3C01BA6-B21A-466E-A556-CEE74FBE807C}"/>
                </a:ext>
              </a:extLst>
            </p:cNvPr>
            <p:cNvSpPr>
              <a:spLocks noChangeShapeType="1"/>
            </p:cNvSpPr>
            <p:nvPr/>
          </p:nvSpPr>
          <p:spPr bwMode="auto">
            <a:xfrm flipH="1" flipV="1">
              <a:off x="5014913" y="1712913"/>
              <a:ext cx="107950" cy="587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Line 44">
              <a:extLst>
                <a:ext uri="{FF2B5EF4-FFF2-40B4-BE49-F238E27FC236}">
                  <a16:creationId xmlns:a16="http://schemas.microsoft.com/office/drawing/2014/main" id="{23BF919D-1103-4EBE-AE14-C741ED0A0A1E}"/>
                </a:ext>
              </a:extLst>
            </p:cNvPr>
            <p:cNvSpPr>
              <a:spLocks noChangeShapeType="1"/>
            </p:cNvSpPr>
            <p:nvPr/>
          </p:nvSpPr>
          <p:spPr bwMode="auto">
            <a:xfrm flipH="1" flipV="1">
              <a:off x="5245100" y="1844676"/>
              <a:ext cx="103188" cy="58738"/>
            </a:xfrm>
            <a:prstGeom prst="line">
              <a:avLst/>
            </a:prstGeom>
            <a:noFill/>
            <a:ln w="14288"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45">
              <a:extLst>
                <a:ext uri="{FF2B5EF4-FFF2-40B4-BE49-F238E27FC236}">
                  <a16:creationId xmlns:a16="http://schemas.microsoft.com/office/drawing/2014/main" id="{5DEEA878-F975-42D0-91C5-A3016C484F4C}"/>
                </a:ext>
              </a:extLst>
            </p:cNvPr>
            <p:cNvSpPr>
              <a:spLocks/>
            </p:cNvSpPr>
            <p:nvPr/>
          </p:nvSpPr>
          <p:spPr bwMode="auto">
            <a:xfrm>
              <a:off x="5137150" y="1570038"/>
              <a:ext cx="88900" cy="49213"/>
            </a:xfrm>
            <a:custGeom>
              <a:avLst/>
              <a:gdLst>
                <a:gd name="T0" fmla="*/ 56 w 56"/>
                <a:gd name="T1" fmla="*/ 0 h 31"/>
                <a:gd name="T2" fmla="*/ 28 w 56"/>
                <a:gd name="T3" fmla="*/ 31 h 31"/>
                <a:gd name="T4" fmla="*/ 0 w 56"/>
                <a:gd name="T5" fmla="*/ 0 h 31"/>
              </a:gdLst>
              <a:ahLst/>
              <a:cxnLst>
                <a:cxn ang="0">
                  <a:pos x="T0" y="T1"/>
                </a:cxn>
                <a:cxn ang="0">
                  <a:pos x="T2" y="T3"/>
                </a:cxn>
                <a:cxn ang="0">
                  <a:pos x="T4" y="T5"/>
                </a:cxn>
              </a:cxnLst>
              <a:rect l="0" t="0" r="r" b="b"/>
              <a:pathLst>
                <a:path w="56" h="31">
                  <a:moveTo>
                    <a:pt x="56" y="0"/>
                  </a:moveTo>
                  <a:lnTo>
                    <a:pt x="28" y="31"/>
                  </a:lnTo>
                  <a:lnTo>
                    <a:pt x="0"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46">
              <a:extLst>
                <a:ext uri="{FF2B5EF4-FFF2-40B4-BE49-F238E27FC236}">
                  <a16:creationId xmlns:a16="http://schemas.microsoft.com/office/drawing/2014/main" id="{80286C19-9B5F-4C93-BF5B-27EC8B3A284D}"/>
                </a:ext>
              </a:extLst>
            </p:cNvPr>
            <p:cNvSpPr>
              <a:spLocks/>
            </p:cNvSpPr>
            <p:nvPr/>
          </p:nvSpPr>
          <p:spPr bwMode="auto">
            <a:xfrm>
              <a:off x="5137150" y="1641476"/>
              <a:ext cx="88900" cy="44450"/>
            </a:xfrm>
            <a:custGeom>
              <a:avLst/>
              <a:gdLst>
                <a:gd name="T0" fmla="*/ 56 w 56"/>
                <a:gd name="T1" fmla="*/ 0 h 28"/>
                <a:gd name="T2" fmla="*/ 28 w 56"/>
                <a:gd name="T3" fmla="*/ 28 h 28"/>
                <a:gd name="T4" fmla="*/ 0 w 56"/>
                <a:gd name="T5" fmla="*/ 0 h 28"/>
              </a:gdLst>
              <a:ahLst/>
              <a:cxnLst>
                <a:cxn ang="0">
                  <a:pos x="T0" y="T1"/>
                </a:cxn>
                <a:cxn ang="0">
                  <a:pos x="T2" y="T3"/>
                </a:cxn>
                <a:cxn ang="0">
                  <a:pos x="T4" y="T5"/>
                </a:cxn>
              </a:cxnLst>
              <a:rect l="0" t="0" r="r" b="b"/>
              <a:pathLst>
                <a:path w="56" h="28">
                  <a:moveTo>
                    <a:pt x="56" y="0"/>
                  </a:moveTo>
                  <a:lnTo>
                    <a:pt x="28" y="28"/>
                  </a:lnTo>
                  <a:lnTo>
                    <a:pt x="0"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47">
              <a:extLst>
                <a:ext uri="{FF2B5EF4-FFF2-40B4-BE49-F238E27FC236}">
                  <a16:creationId xmlns:a16="http://schemas.microsoft.com/office/drawing/2014/main" id="{6BC872C4-717A-44B7-BED1-69EB961F9CBA}"/>
                </a:ext>
              </a:extLst>
            </p:cNvPr>
            <p:cNvSpPr>
              <a:spLocks/>
            </p:cNvSpPr>
            <p:nvPr/>
          </p:nvSpPr>
          <p:spPr bwMode="auto">
            <a:xfrm>
              <a:off x="5137150" y="1997076"/>
              <a:ext cx="88900" cy="49213"/>
            </a:xfrm>
            <a:custGeom>
              <a:avLst/>
              <a:gdLst>
                <a:gd name="T0" fmla="*/ 0 w 56"/>
                <a:gd name="T1" fmla="*/ 31 h 31"/>
                <a:gd name="T2" fmla="*/ 28 w 56"/>
                <a:gd name="T3" fmla="*/ 0 h 31"/>
                <a:gd name="T4" fmla="*/ 56 w 56"/>
                <a:gd name="T5" fmla="*/ 31 h 31"/>
              </a:gdLst>
              <a:ahLst/>
              <a:cxnLst>
                <a:cxn ang="0">
                  <a:pos x="T0" y="T1"/>
                </a:cxn>
                <a:cxn ang="0">
                  <a:pos x="T2" y="T3"/>
                </a:cxn>
                <a:cxn ang="0">
                  <a:pos x="T4" y="T5"/>
                </a:cxn>
              </a:cxnLst>
              <a:rect l="0" t="0" r="r" b="b"/>
              <a:pathLst>
                <a:path w="56" h="31">
                  <a:moveTo>
                    <a:pt x="0" y="31"/>
                  </a:moveTo>
                  <a:lnTo>
                    <a:pt x="28" y="0"/>
                  </a:lnTo>
                  <a:lnTo>
                    <a:pt x="56" y="31"/>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48">
              <a:extLst>
                <a:ext uri="{FF2B5EF4-FFF2-40B4-BE49-F238E27FC236}">
                  <a16:creationId xmlns:a16="http://schemas.microsoft.com/office/drawing/2014/main" id="{37F17876-0243-4A47-95E9-059D5B3D6464}"/>
                </a:ext>
              </a:extLst>
            </p:cNvPr>
            <p:cNvSpPr>
              <a:spLocks/>
            </p:cNvSpPr>
            <p:nvPr/>
          </p:nvSpPr>
          <p:spPr bwMode="auto">
            <a:xfrm>
              <a:off x="5014913" y="1849438"/>
              <a:ext cx="63500" cy="80963"/>
            </a:xfrm>
            <a:custGeom>
              <a:avLst/>
              <a:gdLst>
                <a:gd name="T0" fmla="*/ 0 w 40"/>
                <a:gd name="T1" fmla="*/ 0 h 51"/>
                <a:gd name="T2" fmla="*/ 40 w 40"/>
                <a:gd name="T3" fmla="*/ 11 h 51"/>
                <a:gd name="T4" fmla="*/ 28 w 40"/>
                <a:gd name="T5" fmla="*/ 51 h 51"/>
              </a:gdLst>
              <a:ahLst/>
              <a:cxnLst>
                <a:cxn ang="0">
                  <a:pos x="T0" y="T1"/>
                </a:cxn>
                <a:cxn ang="0">
                  <a:pos x="T2" y="T3"/>
                </a:cxn>
                <a:cxn ang="0">
                  <a:pos x="T4" y="T5"/>
                </a:cxn>
              </a:cxnLst>
              <a:rect l="0" t="0" r="r" b="b"/>
              <a:pathLst>
                <a:path w="40" h="51">
                  <a:moveTo>
                    <a:pt x="0" y="0"/>
                  </a:moveTo>
                  <a:lnTo>
                    <a:pt x="40" y="11"/>
                  </a:lnTo>
                  <a:lnTo>
                    <a:pt x="28" y="51"/>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49">
              <a:extLst>
                <a:ext uri="{FF2B5EF4-FFF2-40B4-BE49-F238E27FC236}">
                  <a16:creationId xmlns:a16="http://schemas.microsoft.com/office/drawing/2014/main" id="{163F28FE-41AD-44D3-93E6-D1BAFA552423}"/>
                </a:ext>
              </a:extLst>
            </p:cNvPr>
            <p:cNvSpPr>
              <a:spLocks/>
            </p:cNvSpPr>
            <p:nvPr/>
          </p:nvSpPr>
          <p:spPr bwMode="auto">
            <a:xfrm>
              <a:off x="5284788" y="1849438"/>
              <a:ext cx="63500" cy="80963"/>
            </a:xfrm>
            <a:custGeom>
              <a:avLst/>
              <a:gdLst>
                <a:gd name="T0" fmla="*/ 12 w 40"/>
                <a:gd name="T1" fmla="*/ 51 h 51"/>
                <a:gd name="T2" fmla="*/ 0 w 40"/>
                <a:gd name="T3" fmla="*/ 11 h 51"/>
                <a:gd name="T4" fmla="*/ 40 w 40"/>
                <a:gd name="T5" fmla="*/ 0 h 51"/>
              </a:gdLst>
              <a:ahLst/>
              <a:cxnLst>
                <a:cxn ang="0">
                  <a:pos x="T0" y="T1"/>
                </a:cxn>
                <a:cxn ang="0">
                  <a:pos x="T2" y="T3"/>
                </a:cxn>
                <a:cxn ang="0">
                  <a:pos x="T4" y="T5"/>
                </a:cxn>
              </a:cxnLst>
              <a:rect l="0" t="0" r="r" b="b"/>
              <a:pathLst>
                <a:path w="40" h="51">
                  <a:moveTo>
                    <a:pt x="12" y="51"/>
                  </a:moveTo>
                  <a:lnTo>
                    <a:pt x="0" y="11"/>
                  </a:lnTo>
                  <a:lnTo>
                    <a:pt x="40"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50">
              <a:extLst>
                <a:ext uri="{FF2B5EF4-FFF2-40B4-BE49-F238E27FC236}">
                  <a16:creationId xmlns:a16="http://schemas.microsoft.com/office/drawing/2014/main" id="{922BF41D-8F05-491B-A022-455F5AEE7CA7}"/>
                </a:ext>
              </a:extLst>
            </p:cNvPr>
            <p:cNvSpPr>
              <a:spLocks/>
            </p:cNvSpPr>
            <p:nvPr/>
          </p:nvSpPr>
          <p:spPr bwMode="auto">
            <a:xfrm>
              <a:off x="5348288" y="1651001"/>
              <a:ext cx="63500" cy="80963"/>
            </a:xfrm>
            <a:custGeom>
              <a:avLst/>
              <a:gdLst>
                <a:gd name="T0" fmla="*/ 40 w 40"/>
                <a:gd name="T1" fmla="*/ 51 h 51"/>
                <a:gd name="T2" fmla="*/ 0 w 40"/>
                <a:gd name="T3" fmla="*/ 39 h 51"/>
                <a:gd name="T4" fmla="*/ 11 w 40"/>
                <a:gd name="T5" fmla="*/ 0 h 51"/>
              </a:gdLst>
              <a:ahLst/>
              <a:cxnLst>
                <a:cxn ang="0">
                  <a:pos x="T0" y="T1"/>
                </a:cxn>
                <a:cxn ang="0">
                  <a:pos x="T2" y="T3"/>
                </a:cxn>
                <a:cxn ang="0">
                  <a:pos x="T4" y="T5"/>
                </a:cxn>
              </a:cxnLst>
              <a:rect l="0" t="0" r="r" b="b"/>
              <a:pathLst>
                <a:path w="40" h="51">
                  <a:moveTo>
                    <a:pt x="40" y="51"/>
                  </a:moveTo>
                  <a:lnTo>
                    <a:pt x="0" y="39"/>
                  </a:lnTo>
                  <a:lnTo>
                    <a:pt x="11"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51">
              <a:extLst>
                <a:ext uri="{FF2B5EF4-FFF2-40B4-BE49-F238E27FC236}">
                  <a16:creationId xmlns:a16="http://schemas.microsoft.com/office/drawing/2014/main" id="{B122B8AC-7610-4117-BDD1-8251ECBBA913}"/>
                </a:ext>
              </a:extLst>
            </p:cNvPr>
            <p:cNvSpPr>
              <a:spLocks/>
            </p:cNvSpPr>
            <p:nvPr/>
          </p:nvSpPr>
          <p:spPr bwMode="auto">
            <a:xfrm>
              <a:off x="4951413" y="1884363"/>
              <a:ext cx="63500" cy="80963"/>
            </a:xfrm>
            <a:custGeom>
              <a:avLst/>
              <a:gdLst>
                <a:gd name="T0" fmla="*/ 0 w 40"/>
                <a:gd name="T1" fmla="*/ 0 h 51"/>
                <a:gd name="T2" fmla="*/ 40 w 40"/>
                <a:gd name="T3" fmla="*/ 12 h 51"/>
                <a:gd name="T4" fmla="*/ 29 w 40"/>
                <a:gd name="T5" fmla="*/ 51 h 51"/>
              </a:gdLst>
              <a:ahLst/>
              <a:cxnLst>
                <a:cxn ang="0">
                  <a:pos x="T0" y="T1"/>
                </a:cxn>
                <a:cxn ang="0">
                  <a:pos x="T2" y="T3"/>
                </a:cxn>
                <a:cxn ang="0">
                  <a:pos x="T4" y="T5"/>
                </a:cxn>
              </a:cxnLst>
              <a:rect l="0" t="0" r="r" b="b"/>
              <a:pathLst>
                <a:path w="40" h="51">
                  <a:moveTo>
                    <a:pt x="0" y="0"/>
                  </a:moveTo>
                  <a:lnTo>
                    <a:pt x="40" y="12"/>
                  </a:lnTo>
                  <a:lnTo>
                    <a:pt x="29" y="51"/>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52">
              <a:extLst>
                <a:ext uri="{FF2B5EF4-FFF2-40B4-BE49-F238E27FC236}">
                  <a16:creationId xmlns:a16="http://schemas.microsoft.com/office/drawing/2014/main" id="{17044B73-2BBA-4556-809C-F16580D7AD32}"/>
                </a:ext>
              </a:extLst>
            </p:cNvPr>
            <p:cNvSpPr>
              <a:spLocks/>
            </p:cNvSpPr>
            <p:nvPr/>
          </p:nvSpPr>
          <p:spPr bwMode="auto">
            <a:xfrm>
              <a:off x="5348288" y="1889126"/>
              <a:ext cx="63500" cy="76200"/>
            </a:xfrm>
            <a:custGeom>
              <a:avLst/>
              <a:gdLst>
                <a:gd name="T0" fmla="*/ 8 w 40"/>
                <a:gd name="T1" fmla="*/ 48 h 48"/>
                <a:gd name="T2" fmla="*/ 0 w 40"/>
                <a:gd name="T3" fmla="*/ 9 h 48"/>
                <a:gd name="T4" fmla="*/ 40 w 40"/>
                <a:gd name="T5" fmla="*/ 0 h 48"/>
              </a:gdLst>
              <a:ahLst/>
              <a:cxnLst>
                <a:cxn ang="0">
                  <a:pos x="T0" y="T1"/>
                </a:cxn>
                <a:cxn ang="0">
                  <a:pos x="T2" y="T3"/>
                </a:cxn>
                <a:cxn ang="0">
                  <a:pos x="T4" y="T5"/>
                </a:cxn>
              </a:cxnLst>
              <a:rect l="0" t="0" r="r" b="b"/>
              <a:pathLst>
                <a:path w="40" h="48">
                  <a:moveTo>
                    <a:pt x="8" y="48"/>
                  </a:moveTo>
                  <a:lnTo>
                    <a:pt x="0" y="9"/>
                  </a:lnTo>
                  <a:lnTo>
                    <a:pt x="40" y="0"/>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53">
              <a:extLst>
                <a:ext uri="{FF2B5EF4-FFF2-40B4-BE49-F238E27FC236}">
                  <a16:creationId xmlns:a16="http://schemas.microsoft.com/office/drawing/2014/main" id="{53213D86-0F9B-4D2F-AEA3-13E3984583B1}"/>
                </a:ext>
              </a:extLst>
            </p:cNvPr>
            <p:cNvSpPr>
              <a:spLocks/>
            </p:cNvSpPr>
            <p:nvPr/>
          </p:nvSpPr>
          <p:spPr bwMode="auto">
            <a:xfrm>
              <a:off x="4951413" y="1646238"/>
              <a:ext cx="68263" cy="80963"/>
            </a:xfrm>
            <a:custGeom>
              <a:avLst/>
              <a:gdLst>
                <a:gd name="T0" fmla="*/ 32 w 43"/>
                <a:gd name="T1" fmla="*/ 0 h 51"/>
                <a:gd name="T2" fmla="*/ 43 w 43"/>
                <a:gd name="T3" fmla="*/ 42 h 51"/>
                <a:gd name="T4" fmla="*/ 0 w 43"/>
                <a:gd name="T5" fmla="*/ 51 h 51"/>
              </a:gdLst>
              <a:ahLst/>
              <a:cxnLst>
                <a:cxn ang="0">
                  <a:pos x="T0" y="T1"/>
                </a:cxn>
                <a:cxn ang="0">
                  <a:pos x="T2" y="T3"/>
                </a:cxn>
                <a:cxn ang="0">
                  <a:pos x="T4" y="T5"/>
                </a:cxn>
              </a:cxnLst>
              <a:rect l="0" t="0" r="r" b="b"/>
              <a:pathLst>
                <a:path w="43" h="51">
                  <a:moveTo>
                    <a:pt x="32" y="0"/>
                  </a:moveTo>
                  <a:lnTo>
                    <a:pt x="43" y="42"/>
                  </a:lnTo>
                  <a:lnTo>
                    <a:pt x="0" y="51"/>
                  </a:ln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Oval 54">
              <a:extLst>
                <a:ext uri="{FF2B5EF4-FFF2-40B4-BE49-F238E27FC236}">
                  <a16:creationId xmlns:a16="http://schemas.microsoft.com/office/drawing/2014/main" id="{C86B0139-EBD8-4AB2-8F91-C1E9B45A7B9B}"/>
                </a:ext>
              </a:extLst>
            </p:cNvPr>
            <p:cNvSpPr>
              <a:spLocks noChangeArrowheads="1"/>
            </p:cNvSpPr>
            <p:nvPr/>
          </p:nvSpPr>
          <p:spPr bwMode="auto">
            <a:xfrm>
              <a:off x="5145088" y="1771651"/>
              <a:ext cx="73025" cy="73025"/>
            </a:xfrm>
            <a:prstGeom prst="ellipse">
              <a:avLst/>
            </a:pr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61" name="Group 60">
            <a:extLst>
              <a:ext uri="{FF2B5EF4-FFF2-40B4-BE49-F238E27FC236}">
                <a16:creationId xmlns:a16="http://schemas.microsoft.com/office/drawing/2014/main" id="{72D7E32E-B90F-4F96-A943-FE52A1DF772C}"/>
              </a:ext>
            </a:extLst>
          </p:cNvPr>
          <p:cNvGrpSpPr/>
          <p:nvPr/>
        </p:nvGrpSpPr>
        <p:grpSpPr>
          <a:xfrm>
            <a:off x="7611023" y="1649996"/>
            <a:ext cx="517525" cy="485775"/>
            <a:chOff x="8318500" y="1587501"/>
            <a:chExt cx="517525" cy="485775"/>
          </a:xfrm>
        </p:grpSpPr>
        <p:sp>
          <p:nvSpPr>
            <p:cNvPr id="63" name="Freeform 92">
              <a:extLst>
                <a:ext uri="{FF2B5EF4-FFF2-40B4-BE49-F238E27FC236}">
                  <a16:creationId xmlns:a16="http://schemas.microsoft.com/office/drawing/2014/main" id="{B47054E2-F354-43C8-B89B-4CACF892C3F8}"/>
                </a:ext>
              </a:extLst>
            </p:cNvPr>
            <p:cNvSpPr>
              <a:spLocks/>
            </p:cNvSpPr>
            <p:nvPr/>
          </p:nvSpPr>
          <p:spPr bwMode="auto">
            <a:xfrm>
              <a:off x="8318500" y="1587501"/>
              <a:ext cx="517525" cy="485775"/>
            </a:xfrm>
            <a:custGeom>
              <a:avLst/>
              <a:gdLst>
                <a:gd name="T0" fmla="*/ 23 w 115"/>
                <a:gd name="T1" fmla="*/ 107 h 108"/>
                <a:gd name="T2" fmla="*/ 5 w 115"/>
                <a:gd name="T3" fmla="*/ 67 h 108"/>
                <a:gd name="T4" fmla="*/ 41 w 115"/>
                <a:gd name="T5" fmla="*/ 0 h 108"/>
                <a:gd name="T6" fmla="*/ 72 w 115"/>
                <a:gd name="T7" fmla="*/ 108 h 108"/>
              </a:gdLst>
              <a:ahLst/>
              <a:cxnLst>
                <a:cxn ang="0">
                  <a:pos x="T0" y="T1"/>
                </a:cxn>
                <a:cxn ang="0">
                  <a:pos x="T2" y="T3"/>
                </a:cxn>
                <a:cxn ang="0">
                  <a:pos x="T4" y="T5"/>
                </a:cxn>
                <a:cxn ang="0">
                  <a:pos x="T6" y="T7"/>
                </a:cxn>
              </a:cxnLst>
              <a:rect l="0" t="0" r="r" b="b"/>
              <a:pathLst>
                <a:path w="115" h="108">
                  <a:moveTo>
                    <a:pt x="23" y="107"/>
                  </a:moveTo>
                  <a:cubicBezTo>
                    <a:pt x="10" y="100"/>
                    <a:pt x="0" y="84"/>
                    <a:pt x="5" y="67"/>
                  </a:cubicBezTo>
                  <a:cubicBezTo>
                    <a:pt x="12" y="45"/>
                    <a:pt x="52" y="39"/>
                    <a:pt x="41" y="0"/>
                  </a:cubicBezTo>
                  <a:cubicBezTo>
                    <a:pt x="115" y="45"/>
                    <a:pt x="87" y="102"/>
                    <a:pt x="72" y="108"/>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93">
              <a:extLst>
                <a:ext uri="{FF2B5EF4-FFF2-40B4-BE49-F238E27FC236}">
                  <a16:creationId xmlns:a16="http://schemas.microsoft.com/office/drawing/2014/main" id="{6F8E96A6-8875-4A03-8146-D9AF5F28848A}"/>
                </a:ext>
              </a:extLst>
            </p:cNvPr>
            <p:cNvSpPr>
              <a:spLocks/>
            </p:cNvSpPr>
            <p:nvPr/>
          </p:nvSpPr>
          <p:spPr bwMode="auto">
            <a:xfrm>
              <a:off x="8404225" y="1785938"/>
              <a:ext cx="292100" cy="287338"/>
            </a:xfrm>
            <a:custGeom>
              <a:avLst/>
              <a:gdLst>
                <a:gd name="T0" fmla="*/ 21 w 65"/>
                <a:gd name="T1" fmla="*/ 64 h 64"/>
                <a:gd name="T2" fmla="*/ 10 w 65"/>
                <a:gd name="T3" fmla="*/ 26 h 64"/>
                <a:gd name="T4" fmla="*/ 38 w 65"/>
                <a:gd name="T5" fmla="*/ 0 h 64"/>
                <a:gd name="T6" fmla="*/ 40 w 65"/>
                <a:gd name="T7" fmla="*/ 63 h 64"/>
              </a:gdLst>
              <a:ahLst/>
              <a:cxnLst>
                <a:cxn ang="0">
                  <a:pos x="T0" y="T1"/>
                </a:cxn>
                <a:cxn ang="0">
                  <a:pos x="T2" y="T3"/>
                </a:cxn>
                <a:cxn ang="0">
                  <a:pos x="T4" y="T5"/>
                </a:cxn>
                <a:cxn ang="0">
                  <a:pos x="T6" y="T7"/>
                </a:cxn>
              </a:cxnLst>
              <a:rect l="0" t="0" r="r" b="b"/>
              <a:pathLst>
                <a:path w="65" h="64">
                  <a:moveTo>
                    <a:pt x="21" y="64"/>
                  </a:moveTo>
                  <a:cubicBezTo>
                    <a:pt x="9" y="59"/>
                    <a:pt x="0" y="42"/>
                    <a:pt x="10" y="26"/>
                  </a:cubicBezTo>
                  <a:cubicBezTo>
                    <a:pt x="16" y="51"/>
                    <a:pt x="47" y="37"/>
                    <a:pt x="38" y="0"/>
                  </a:cubicBezTo>
                  <a:cubicBezTo>
                    <a:pt x="51" y="10"/>
                    <a:pt x="65" y="43"/>
                    <a:pt x="40" y="63"/>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65" name="Rectangle 64">
            <a:extLst>
              <a:ext uri="{FF2B5EF4-FFF2-40B4-BE49-F238E27FC236}">
                <a16:creationId xmlns:a16="http://schemas.microsoft.com/office/drawing/2014/main" id="{34128655-E1BE-4E03-97A1-E1903AB132FA}"/>
              </a:ext>
            </a:extLst>
          </p:cNvPr>
          <p:cNvSpPr/>
          <p:nvPr/>
        </p:nvSpPr>
        <p:spPr>
          <a:xfrm>
            <a:off x="1768065" y="1829588"/>
            <a:ext cx="563508" cy="492443"/>
          </a:xfrm>
          <a:prstGeom prst="rect">
            <a:avLst/>
          </a:prstGeom>
        </p:spPr>
        <p:txBody>
          <a:bodyPr wrap="square" lIns="0" tIns="0" rIns="0" bIns="0">
            <a:spAutoFit/>
          </a:bodyPr>
          <a:lstStyle/>
          <a:p>
            <a:pPr marL="0" lvl="2" algn="ctr">
              <a:buFont typeface="Arial" panose="020B0604020202020204" pitchFamily="34" charset="0"/>
              <a:buNone/>
              <a:tabLst>
                <a:tab pos="2870200" algn="l"/>
              </a:tabLst>
            </a:pPr>
            <a:r>
              <a:rPr lang="en-GB" sz="3200" b="1" dirty="0">
                <a:latin typeface="Arial Hebrew" charset="0"/>
                <a:ea typeface="Arial Hebrew" charset="0"/>
                <a:cs typeface="Arial Hebrew" charset="0"/>
              </a:rPr>
              <a:t>1</a:t>
            </a:r>
            <a:r>
              <a:rPr lang="en-GB" sz="2400" b="1" dirty="0">
                <a:latin typeface="Arial Hebrew" charset="0"/>
                <a:ea typeface="Arial Hebrew" charset="0"/>
                <a:cs typeface="Arial Hebrew" charset="0"/>
              </a:rPr>
              <a:t>%</a:t>
            </a:r>
            <a:endParaRPr lang="en-GB" sz="3200" b="1" dirty="0">
              <a:latin typeface="Arial Hebrew" charset="0"/>
              <a:ea typeface="Arial Hebrew" charset="0"/>
              <a:cs typeface="Arial Hebrew" charset="0"/>
            </a:endParaRPr>
          </a:p>
        </p:txBody>
      </p:sp>
      <p:sp>
        <p:nvSpPr>
          <p:cNvPr id="68" name="Rectangle 67">
            <a:extLst>
              <a:ext uri="{FF2B5EF4-FFF2-40B4-BE49-F238E27FC236}">
                <a16:creationId xmlns:a16="http://schemas.microsoft.com/office/drawing/2014/main" id="{34128655-E1BE-4E03-97A1-E1903AB132FA}"/>
              </a:ext>
            </a:extLst>
          </p:cNvPr>
          <p:cNvSpPr/>
          <p:nvPr/>
        </p:nvSpPr>
        <p:spPr>
          <a:xfrm>
            <a:off x="1768065" y="3496943"/>
            <a:ext cx="563508" cy="492443"/>
          </a:xfrm>
          <a:prstGeom prst="rect">
            <a:avLst/>
          </a:prstGeom>
        </p:spPr>
        <p:txBody>
          <a:bodyPr wrap="square" lIns="0" tIns="0" rIns="0" bIns="0">
            <a:spAutoFit/>
          </a:bodyPr>
          <a:lstStyle/>
          <a:p>
            <a:pPr marL="0" lvl="2" algn="ctr">
              <a:buFont typeface="Arial" panose="020B0604020202020204" pitchFamily="34" charset="0"/>
              <a:buNone/>
              <a:tabLst>
                <a:tab pos="2870200" algn="l"/>
              </a:tabLst>
            </a:pPr>
            <a:r>
              <a:rPr lang="en-GB" sz="3200" b="1" dirty="0">
                <a:latin typeface="Arial Hebrew" charset="0"/>
                <a:ea typeface="Arial Hebrew" charset="0"/>
                <a:cs typeface="Arial Hebrew" charset="0"/>
              </a:rPr>
              <a:t>4</a:t>
            </a:r>
            <a:r>
              <a:rPr lang="en-GB" sz="2400" b="1" dirty="0">
                <a:latin typeface="Arial Hebrew" charset="0"/>
                <a:ea typeface="Arial Hebrew" charset="0"/>
                <a:cs typeface="Arial Hebrew" charset="0"/>
              </a:rPr>
              <a:t>%</a:t>
            </a:r>
            <a:endParaRPr lang="en-GB" sz="3200" b="1" dirty="0">
              <a:latin typeface="Arial Hebrew" charset="0"/>
              <a:ea typeface="Arial Hebrew" charset="0"/>
              <a:cs typeface="Arial Hebrew" charset="0"/>
            </a:endParaRPr>
          </a:p>
        </p:txBody>
      </p:sp>
      <p:sp>
        <p:nvSpPr>
          <p:cNvPr id="69" name="Rectangle 68">
            <a:extLst>
              <a:ext uri="{FF2B5EF4-FFF2-40B4-BE49-F238E27FC236}">
                <a16:creationId xmlns:a16="http://schemas.microsoft.com/office/drawing/2014/main" id="{34128655-E1BE-4E03-97A1-E1903AB132FA}"/>
              </a:ext>
            </a:extLst>
          </p:cNvPr>
          <p:cNvSpPr/>
          <p:nvPr/>
        </p:nvSpPr>
        <p:spPr>
          <a:xfrm>
            <a:off x="1664193" y="5149392"/>
            <a:ext cx="771252" cy="492443"/>
          </a:xfrm>
          <a:prstGeom prst="rect">
            <a:avLst/>
          </a:prstGeom>
        </p:spPr>
        <p:txBody>
          <a:bodyPr wrap="square" lIns="0" tIns="0" rIns="0" bIns="0">
            <a:spAutoFit/>
          </a:bodyPr>
          <a:lstStyle/>
          <a:p>
            <a:pPr marL="0" lvl="2" algn="ctr">
              <a:buFont typeface="Arial" panose="020B0604020202020204" pitchFamily="34" charset="0"/>
              <a:buNone/>
              <a:tabLst>
                <a:tab pos="2870200" algn="l"/>
              </a:tabLst>
            </a:pPr>
            <a:r>
              <a:rPr lang="en-GB" sz="3200" b="1" dirty="0">
                <a:latin typeface="Arial Hebrew" charset="0"/>
                <a:ea typeface="Arial Hebrew" charset="0"/>
                <a:cs typeface="Arial Hebrew" charset="0"/>
              </a:rPr>
              <a:t>95</a:t>
            </a:r>
            <a:r>
              <a:rPr lang="en-GB" sz="2400" b="1" dirty="0">
                <a:latin typeface="Arial Hebrew" charset="0"/>
                <a:ea typeface="Arial Hebrew" charset="0"/>
                <a:cs typeface="Arial Hebrew" charset="0"/>
              </a:rPr>
              <a:t>%</a:t>
            </a:r>
            <a:endParaRPr lang="en-GB" sz="3200" b="1" dirty="0">
              <a:latin typeface="Arial Hebrew" charset="0"/>
              <a:ea typeface="Arial Hebrew" charset="0"/>
              <a:cs typeface="Arial Hebrew" charset="0"/>
            </a:endParaRPr>
          </a:p>
        </p:txBody>
      </p:sp>
    </p:spTree>
    <p:extLst>
      <p:ext uri="{BB962C8B-B14F-4D97-AF65-F5344CB8AC3E}">
        <p14:creationId xmlns:p14="http://schemas.microsoft.com/office/powerpoint/2010/main" val="1752327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29">
            <a:extLst>
              <a:ext uri="{FF2B5EF4-FFF2-40B4-BE49-F238E27FC236}">
                <a16:creationId xmlns:a16="http://schemas.microsoft.com/office/drawing/2014/main" id="{4DDA5C39-A59D-4CDD-B4F9-015858594AB0}"/>
              </a:ext>
            </a:extLst>
          </p:cNvPr>
          <p:cNvSpPr>
            <a:spLocks noGrp="1"/>
          </p:cNvSpPr>
          <p:nvPr>
            <p:ph type="title"/>
          </p:nvPr>
        </p:nvSpPr>
        <p:spPr>
          <a:xfrm>
            <a:off x="269876" y="269876"/>
            <a:ext cx="8240140" cy="692336"/>
          </a:xfrm>
        </p:spPr>
        <p:txBody>
          <a:bodyPr/>
          <a:lstStyle/>
          <a:p>
            <a:r>
              <a:rPr lang="en-GB" dirty="0"/>
              <a:t>Rule #5: </a:t>
            </a:r>
            <a:r>
              <a:rPr lang="en-GB" b="1" dirty="0"/>
              <a:t>Frame your role </a:t>
            </a:r>
          </a:p>
        </p:txBody>
      </p:sp>
      <p:sp>
        <p:nvSpPr>
          <p:cNvPr id="65" name="Text Placeholder 64">
            <a:extLst>
              <a:ext uri="{FF2B5EF4-FFF2-40B4-BE49-F238E27FC236}">
                <a16:creationId xmlns:a16="http://schemas.microsoft.com/office/drawing/2014/main" id="{EEC73D74-DC17-45AD-85D4-531C262AEF29}"/>
              </a:ext>
            </a:extLst>
          </p:cNvPr>
          <p:cNvSpPr>
            <a:spLocks noGrp="1"/>
          </p:cNvSpPr>
          <p:nvPr>
            <p:ph type="body" sz="quarter" idx="13"/>
          </p:nvPr>
        </p:nvSpPr>
        <p:spPr/>
        <p:txBody>
          <a:bodyPr/>
          <a:lstStyle/>
          <a:p>
            <a:endParaRPr lang="en-GB" dirty="0"/>
          </a:p>
        </p:txBody>
      </p:sp>
      <p:sp>
        <p:nvSpPr>
          <p:cNvPr id="66" name="Text Placeholder 65">
            <a:extLst>
              <a:ext uri="{FF2B5EF4-FFF2-40B4-BE49-F238E27FC236}">
                <a16:creationId xmlns:a16="http://schemas.microsoft.com/office/drawing/2014/main" id="{F46099EC-844F-4674-8F9A-2D6407B67894}"/>
              </a:ext>
            </a:extLst>
          </p:cNvPr>
          <p:cNvSpPr>
            <a:spLocks noGrp="1"/>
          </p:cNvSpPr>
          <p:nvPr>
            <p:ph type="body" sz="quarter" idx="14"/>
          </p:nvPr>
        </p:nvSpPr>
        <p:spPr/>
        <p:txBody>
          <a:bodyPr/>
          <a:lstStyle/>
          <a:p>
            <a:endParaRPr lang="en-GB" dirty="0"/>
          </a:p>
        </p:txBody>
      </p:sp>
      <p:pic>
        <p:nvPicPr>
          <p:cNvPr id="15" name="Picture 14">
            <a:extLst>
              <a:ext uri="{FF2B5EF4-FFF2-40B4-BE49-F238E27FC236}">
                <a16:creationId xmlns:a16="http://schemas.microsoft.com/office/drawing/2014/main" id="{39786B62-F07F-41E6-B9F2-EC06ECE7EFCD}"/>
              </a:ext>
            </a:extLst>
          </p:cNvPr>
          <p:cNvPicPr>
            <a:picLocks noChangeAspect="1"/>
          </p:cNvPicPr>
          <p:nvPr/>
        </p:nvPicPr>
        <p:blipFill>
          <a:blip r:embed="rId2"/>
          <a:stretch>
            <a:fillRect/>
          </a:stretch>
        </p:blipFill>
        <p:spPr>
          <a:xfrm>
            <a:off x="4845222" y="2181701"/>
            <a:ext cx="3022600" cy="4033520"/>
          </a:xfrm>
          <a:prstGeom prst="rect">
            <a:avLst/>
          </a:prstGeom>
        </p:spPr>
      </p:pic>
      <p:sp>
        <p:nvSpPr>
          <p:cNvPr id="16" name="Rectangle 15">
            <a:extLst>
              <a:ext uri="{FF2B5EF4-FFF2-40B4-BE49-F238E27FC236}">
                <a16:creationId xmlns:a16="http://schemas.microsoft.com/office/drawing/2014/main" id="{890538B2-A17F-4A96-9208-B3236B903E3B}"/>
              </a:ext>
            </a:extLst>
          </p:cNvPr>
          <p:cNvSpPr/>
          <p:nvPr/>
        </p:nvSpPr>
        <p:spPr>
          <a:xfrm>
            <a:off x="4012148" y="1430177"/>
            <a:ext cx="5620802" cy="4851397"/>
          </a:xfrm>
          <a:prstGeom prst="rect">
            <a:avLst/>
          </a:prstGeom>
          <a:solidFill>
            <a:srgbClr val="D0DAD6"/>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gn="l"/>
            <a:endParaRPr lang="en-GB" sz="1100" noProof="0" dirty="0">
              <a:solidFill>
                <a:srgbClr val="2F363B"/>
              </a:solidFill>
            </a:endParaRPr>
          </a:p>
        </p:txBody>
      </p:sp>
      <p:grpSp>
        <p:nvGrpSpPr>
          <p:cNvPr id="19" name="Group 4">
            <a:extLst>
              <a:ext uri="{FF2B5EF4-FFF2-40B4-BE49-F238E27FC236}">
                <a16:creationId xmlns:a16="http://schemas.microsoft.com/office/drawing/2014/main" id="{6F418223-2038-4E13-8716-D6D79401DFAD}"/>
              </a:ext>
            </a:extLst>
          </p:cNvPr>
          <p:cNvGrpSpPr>
            <a:grpSpLocks noChangeAspect="1"/>
          </p:cNvGrpSpPr>
          <p:nvPr/>
        </p:nvGrpSpPr>
        <p:grpSpPr bwMode="auto">
          <a:xfrm>
            <a:off x="5403324" y="1959574"/>
            <a:ext cx="2838450" cy="3792602"/>
            <a:chOff x="3352" y="984"/>
            <a:chExt cx="1892" cy="2528"/>
          </a:xfrm>
        </p:grpSpPr>
        <p:sp>
          <p:nvSpPr>
            <p:cNvPr id="22" name="Freeform 5">
              <a:extLst>
                <a:ext uri="{FF2B5EF4-FFF2-40B4-BE49-F238E27FC236}">
                  <a16:creationId xmlns:a16="http://schemas.microsoft.com/office/drawing/2014/main" id="{24AA158D-D216-4DFF-AA6E-A7E3D01A9D5F}"/>
                </a:ext>
              </a:extLst>
            </p:cNvPr>
            <p:cNvSpPr>
              <a:spLocks/>
            </p:cNvSpPr>
            <p:nvPr/>
          </p:nvSpPr>
          <p:spPr bwMode="auto">
            <a:xfrm>
              <a:off x="4001" y="1531"/>
              <a:ext cx="1201" cy="945"/>
            </a:xfrm>
            <a:custGeom>
              <a:avLst/>
              <a:gdLst>
                <a:gd name="T0" fmla="*/ 423 w 423"/>
                <a:gd name="T1" fmla="*/ 137 h 333"/>
                <a:gd name="T2" fmla="*/ 423 w 423"/>
                <a:gd name="T3" fmla="*/ 80 h 333"/>
                <a:gd name="T4" fmla="*/ 343 w 423"/>
                <a:gd name="T5" fmla="*/ 0 h 333"/>
                <a:gd name="T6" fmla="*/ 80 w 423"/>
                <a:gd name="T7" fmla="*/ 0 h 333"/>
                <a:gd name="T8" fmla="*/ 0 w 423"/>
                <a:gd name="T9" fmla="*/ 80 h 333"/>
                <a:gd name="T10" fmla="*/ 0 w 423"/>
                <a:gd name="T11" fmla="*/ 253 h 333"/>
                <a:gd name="T12" fmla="*/ 80 w 423"/>
                <a:gd name="T13" fmla="*/ 333 h 333"/>
                <a:gd name="T14" fmla="*/ 284 w 423"/>
                <a:gd name="T15" fmla="*/ 333 h 333"/>
                <a:gd name="T16" fmla="*/ 343 w 423"/>
                <a:gd name="T17" fmla="*/ 333 h 333"/>
                <a:gd name="T18" fmla="*/ 423 w 423"/>
                <a:gd name="T19" fmla="*/ 253 h 333"/>
                <a:gd name="T20" fmla="*/ 423 w 423"/>
                <a:gd name="T21" fmla="*/ 218 h 333"/>
                <a:gd name="T22" fmla="*/ 423 w 423"/>
                <a:gd name="T23" fmla="*/ 13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333">
                  <a:moveTo>
                    <a:pt x="423" y="137"/>
                  </a:moveTo>
                  <a:cubicBezTo>
                    <a:pt x="423" y="80"/>
                    <a:pt x="423" y="80"/>
                    <a:pt x="423" y="80"/>
                  </a:cubicBezTo>
                  <a:cubicBezTo>
                    <a:pt x="423" y="36"/>
                    <a:pt x="387" y="0"/>
                    <a:pt x="343" y="0"/>
                  </a:cubicBezTo>
                  <a:cubicBezTo>
                    <a:pt x="80" y="0"/>
                    <a:pt x="80" y="0"/>
                    <a:pt x="80" y="0"/>
                  </a:cubicBezTo>
                  <a:cubicBezTo>
                    <a:pt x="36" y="0"/>
                    <a:pt x="0" y="36"/>
                    <a:pt x="0" y="80"/>
                  </a:cubicBezTo>
                  <a:cubicBezTo>
                    <a:pt x="0" y="253"/>
                    <a:pt x="0" y="253"/>
                    <a:pt x="0" y="253"/>
                  </a:cubicBezTo>
                  <a:cubicBezTo>
                    <a:pt x="0" y="297"/>
                    <a:pt x="36" y="333"/>
                    <a:pt x="80" y="333"/>
                  </a:cubicBezTo>
                  <a:cubicBezTo>
                    <a:pt x="284" y="333"/>
                    <a:pt x="284" y="333"/>
                    <a:pt x="284" y="333"/>
                  </a:cubicBezTo>
                  <a:cubicBezTo>
                    <a:pt x="343" y="333"/>
                    <a:pt x="343" y="333"/>
                    <a:pt x="343" y="333"/>
                  </a:cubicBezTo>
                  <a:cubicBezTo>
                    <a:pt x="387" y="333"/>
                    <a:pt x="423" y="297"/>
                    <a:pt x="423" y="253"/>
                  </a:cubicBezTo>
                  <a:cubicBezTo>
                    <a:pt x="423" y="218"/>
                    <a:pt x="423" y="218"/>
                    <a:pt x="423" y="218"/>
                  </a:cubicBezTo>
                  <a:lnTo>
                    <a:pt x="423" y="137"/>
                  </a:ln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6">
              <a:extLst>
                <a:ext uri="{FF2B5EF4-FFF2-40B4-BE49-F238E27FC236}">
                  <a16:creationId xmlns:a16="http://schemas.microsoft.com/office/drawing/2014/main" id="{3CA4EFEE-AA8A-4C3D-863A-632DFC048DBC}"/>
                </a:ext>
              </a:extLst>
            </p:cNvPr>
            <p:cNvSpPr>
              <a:spLocks noChangeShapeType="1"/>
            </p:cNvSpPr>
            <p:nvPr/>
          </p:nvSpPr>
          <p:spPr bwMode="auto">
            <a:xfrm flipH="1">
              <a:off x="3999" y="3138"/>
              <a:ext cx="678" cy="0"/>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Line 7">
              <a:extLst>
                <a:ext uri="{FF2B5EF4-FFF2-40B4-BE49-F238E27FC236}">
                  <a16:creationId xmlns:a16="http://schemas.microsoft.com/office/drawing/2014/main" id="{E9C8B66D-60F8-4C16-B1F9-D6B79C5E0011}"/>
                </a:ext>
              </a:extLst>
            </p:cNvPr>
            <p:cNvSpPr>
              <a:spLocks noChangeShapeType="1"/>
            </p:cNvSpPr>
            <p:nvPr/>
          </p:nvSpPr>
          <p:spPr bwMode="auto">
            <a:xfrm>
              <a:off x="4572" y="3138"/>
              <a:ext cx="0" cy="371"/>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Line 8">
              <a:extLst>
                <a:ext uri="{FF2B5EF4-FFF2-40B4-BE49-F238E27FC236}">
                  <a16:creationId xmlns:a16="http://schemas.microsoft.com/office/drawing/2014/main" id="{69F239CB-81F8-4379-B9A7-AB611EB2F704}"/>
                </a:ext>
              </a:extLst>
            </p:cNvPr>
            <p:cNvSpPr>
              <a:spLocks noChangeShapeType="1"/>
            </p:cNvSpPr>
            <p:nvPr/>
          </p:nvSpPr>
          <p:spPr bwMode="auto">
            <a:xfrm flipV="1">
              <a:off x="4095" y="3138"/>
              <a:ext cx="0" cy="371"/>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9">
              <a:extLst>
                <a:ext uri="{FF2B5EF4-FFF2-40B4-BE49-F238E27FC236}">
                  <a16:creationId xmlns:a16="http://schemas.microsoft.com/office/drawing/2014/main" id="{847119F6-83F5-4DF9-B32D-52C6EEF36C6D}"/>
                </a:ext>
              </a:extLst>
            </p:cNvPr>
            <p:cNvSpPr>
              <a:spLocks/>
            </p:cNvSpPr>
            <p:nvPr/>
          </p:nvSpPr>
          <p:spPr bwMode="auto">
            <a:xfrm>
              <a:off x="3706" y="2766"/>
              <a:ext cx="131" cy="167"/>
            </a:xfrm>
            <a:custGeom>
              <a:avLst/>
              <a:gdLst>
                <a:gd name="T0" fmla="*/ 27 w 46"/>
                <a:gd name="T1" fmla="*/ 59 h 59"/>
                <a:gd name="T2" fmla="*/ 46 w 46"/>
                <a:gd name="T3" fmla="*/ 28 h 59"/>
                <a:gd name="T4" fmla="*/ 21 w 46"/>
                <a:gd name="T5" fmla="*/ 2 h 59"/>
                <a:gd name="T6" fmla="*/ 3 w 46"/>
                <a:gd name="T7" fmla="*/ 33 h 59"/>
                <a:gd name="T8" fmla="*/ 8 w 46"/>
                <a:gd name="T9" fmla="*/ 46 h 59"/>
              </a:gdLst>
              <a:ahLst/>
              <a:cxnLst>
                <a:cxn ang="0">
                  <a:pos x="T0" y="T1"/>
                </a:cxn>
                <a:cxn ang="0">
                  <a:pos x="T2" y="T3"/>
                </a:cxn>
                <a:cxn ang="0">
                  <a:pos x="T4" y="T5"/>
                </a:cxn>
                <a:cxn ang="0">
                  <a:pos x="T6" y="T7"/>
                </a:cxn>
                <a:cxn ang="0">
                  <a:pos x="T8" y="T9"/>
                </a:cxn>
              </a:cxnLst>
              <a:rect l="0" t="0" r="r" b="b"/>
              <a:pathLst>
                <a:path w="46" h="59">
                  <a:moveTo>
                    <a:pt x="27" y="59"/>
                  </a:moveTo>
                  <a:cubicBezTo>
                    <a:pt x="36" y="58"/>
                    <a:pt x="46" y="46"/>
                    <a:pt x="46" y="28"/>
                  </a:cubicBezTo>
                  <a:cubicBezTo>
                    <a:pt x="46" y="12"/>
                    <a:pt x="37" y="0"/>
                    <a:pt x="21" y="2"/>
                  </a:cubicBezTo>
                  <a:cubicBezTo>
                    <a:pt x="6" y="3"/>
                    <a:pt x="0" y="17"/>
                    <a:pt x="3" y="33"/>
                  </a:cubicBezTo>
                  <a:cubicBezTo>
                    <a:pt x="4" y="38"/>
                    <a:pt x="5" y="42"/>
                    <a:pt x="8" y="46"/>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10">
              <a:extLst>
                <a:ext uri="{FF2B5EF4-FFF2-40B4-BE49-F238E27FC236}">
                  <a16:creationId xmlns:a16="http://schemas.microsoft.com/office/drawing/2014/main" id="{58700BEF-2FDB-455B-BA48-A1208AD45330}"/>
                </a:ext>
              </a:extLst>
            </p:cNvPr>
            <p:cNvSpPr>
              <a:spLocks/>
            </p:cNvSpPr>
            <p:nvPr/>
          </p:nvSpPr>
          <p:spPr bwMode="auto">
            <a:xfrm>
              <a:off x="3647" y="2928"/>
              <a:ext cx="335" cy="261"/>
            </a:xfrm>
            <a:custGeom>
              <a:avLst/>
              <a:gdLst>
                <a:gd name="T0" fmla="*/ 118 w 118"/>
                <a:gd name="T1" fmla="*/ 86 h 92"/>
                <a:gd name="T2" fmla="*/ 87 w 118"/>
                <a:gd name="T3" fmla="*/ 60 h 92"/>
                <a:gd name="T4" fmla="*/ 60 w 118"/>
                <a:gd name="T5" fmla="*/ 3 h 92"/>
                <a:gd name="T6" fmla="*/ 33 w 118"/>
                <a:gd name="T7" fmla="*/ 1 h 92"/>
                <a:gd name="T8" fmla="*/ 1 w 118"/>
                <a:gd name="T9" fmla="*/ 31 h 92"/>
                <a:gd name="T10" fmla="*/ 63 w 118"/>
                <a:gd name="T11" fmla="*/ 92 h 92"/>
              </a:gdLst>
              <a:ahLst/>
              <a:cxnLst>
                <a:cxn ang="0">
                  <a:pos x="T0" y="T1"/>
                </a:cxn>
                <a:cxn ang="0">
                  <a:pos x="T2" y="T3"/>
                </a:cxn>
                <a:cxn ang="0">
                  <a:pos x="T4" y="T5"/>
                </a:cxn>
                <a:cxn ang="0">
                  <a:pos x="T6" y="T7"/>
                </a:cxn>
                <a:cxn ang="0">
                  <a:pos x="T8" y="T9"/>
                </a:cxn>
                <a:cxn ang="0">
                  <a:pos x="T10" y="T11"/>
                </a:cxn>
              </a:cxnLst>
              <a:rect l="0" t="0" r="r" b="b"/>
              <a:pathLst>
                <a:path w="118" h="92">
                  <a:moveTo>
                    <a:pt x="118" y="86"/>
                  </a:moveTo>
                  <a:cubicBezTo>
                    <a:pt x="118" y="86"/>
                    <a:pt x="98" y="86"/>
                    <a:pt x="87" y="60"/>
                  </a:cubicBezTo>
                  <a:cubicBezTo>
                    <a:pt x="79" y="40"/>
                    <a:pt x="84" y="6"/>
                    <a:pt x="60" y="3"/>
                  </a:cubicBezTo>
                  <a:cubicBezTo>
                    <a:pt x="33" y="1"/>
                    <a:pt x="33" y="1"/>
                    <a:pt x="33" y="1"/>
                  </a:cubicBezTo>
                  <a:cubicBezTo>
                    <a:pt x="7" y="0"/>
                    <a:pt x="0" y="13"/>
                    <a:pt x="1" y="31"/>
                  </a:cubicBezTo>
                  <a:cubicBezTo>
                    <a:pt x="3" y="74"/>
                    <a:pt x="28" y="88"/>
                    <a:pt x="63" y="92"/>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1">
              <a:extLst>
                <a:ext uri="{FF2B5EF4-FFF2-40B4-BE49-F238E27FC236}">
                  <a16:creationId xmlns:a16="http://schemas.microsoft.com/office/drawing/2014/main" id="{13453CEF-8A05-453D-8BEA-2D23924D9E36}"/>
                </a:ext>
              </a:extLst>
            </p:cNvPr>
            <p:cNvSpPr>
              <a:spLocks/>
            </p:cNvSpPr>
            <p:nvPr/>
          </p:nvSpPr>
          <p:spPr bwMode="auto">
            <a:xfrm>
              <a:off x="3689" y="3163"/>
              <a:ext cx="298" cy="346"/>
            </a:xfrm>
            <a:custGeom>
              <a:avLst/>
              <a:gdLst>
                <a:gd name="T0" fmla="*/ 0 w 105"/>
                <a:gd name="T1" fmla="*/ 0 h 122"/>
                <a:gd name="T2" fmla="*/ 25 w 105"/>
                <a:gd name="T3" fmla="*/ 35 h 122"/>
                <a:gd name="T4" fmla="*/ 91 w 105"/>
                <a:gd name="T5" fmla="*/ 41 h 122"/>
                <a:gd name="T6" fmla="*/ 103 w 105"/>
                <a:gd name="T7" fmla="*/ 122 h 122"/>
              </a:gdLst>
              <a:ahLst/>
              <a:cxnLst>
                <a:cxn ang="0">
                  <a:pos x="T0" y="T1"/>
                </a:cxn>
                <a:cxn ang="0">
                  <a:pos x="T2" y="T3"/>
                </a:cxn>
                <a:cxn ang="0">
                  <a:pos x="T4" y="T5"/>
                </a:cxn>
                <a:cxn ang="0">
                  <a:pos x="T6" y="T7"/>
                </a:cxn>
              </a:cxnLst>
              <a:rect l="0" t="0" r="r" b="b"/>
              <a:pathLst>
                <a:path w="105" h="122">
                  <a:moveTo>
                    <a:pt x="0" y="0"/>
                  </a:moveTo>
                  <a:cubicBezTo>
                    <a:pt x="2" y="19"/>
                    <a:pt x="8" y="30"/>
                    <a:pt x="25" y="35"/>
                  </a:cubicBezTo>
                  <a:cubicBezTo>
                    <a:pt x="48" y="42"/>
                    <a:pt x="77" y="29"/>
                    <a:pt x="91" y="41"/>
                  </a:cubicBezTo>
                  <a:cubicBezTo>
                    <a:pt x="105" y="53"/>
                    <a:pt x="82" y="64"/>
                    <a:pt x="103" y="122"/>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12">
              <a:extLst>
                <a:ext uri="{FF2B5EF4-FFF2-40B4-BE49-F238E27FC236}">
                  <a16:creationId xmlns:a16="http://schemas.microsoft.com/office/drawing/2014/main" id="{EA64028C-2D7D-45B7-B886-9EAE4D0A757A}"/>
                </a:ext>
              </a:extLst>
            </p:cNvPr>
            <p:cNvSpPr>
              <a:spLocks/>
            </p:cNvSpPr>
            <p:nvPr/>
          </p:nvSpPr>
          <p:spPr bwMode="auto">
            <a:xfrm>
              <a:off x="3823" y="3036"/>
              <a:ext cx="210" cy="420"/>
            </a:xfrm>
            <a:custGeom>
              <a:avLst/>
              <a:gdLst>
                <a:gd name="T0" fmla="*/ 1 w 74"/>
                <a:gd name="T1" fmla="*/ 0 h 148"/>
                <a:gd name="T2" fmla="*/ 11 w 74"/>
                <a:gd name="T3" fmla="*/ 43 h 148"/>
                <a:gd name="T4" fmla="*/ 66 w 74"/>
                <a:gd name="T5" fmla="*/ 67 h 148"/>
                <a:gd name="T6" fmla="*/ 62 w 74"/>
                <a:gd name="T7" fmla="*/ 148 h 148"/>
              </a:gdLst>
              <a:ahLst/>
              <a:cxnLst>
                <a:cxn ang="0">
                  <a:pos x="T0" y="T1"/>
                </a:cxn>
                <a:cxn ang="0">
                  <a:pos x="T2" y="T3"/>
                </a:cxn>
                <a:cxn ang="0">
                  <a:pos x="T4" y="T5"/>
                </a:cxn>
                <a:cxn ang="0">
                  <a:pos x="T6" y="T7"/>
                </a:cxn>
              </a:cxnLst>
              <a:rect l="0" t="0" r="r" b="b"/>
              <a:pathLst>
                <a:path w="74" h="148">
                  <a:moveTo>
                    <a:pt x="1" y="0"/>
                  </a:moveTo>
                  <a:cubicBezTo>
                    <a:pt x="1" y="0"/>
                    <a:pt x="0" y="35"/>
                    <a:pt x="11" y="43"/>
                  </a:cubicBezTo>
                  <a:cubicBezTo>
                    <a:pt x="25" y="54"/>
                    <a:pt x="59" y="54"/>
                    <a:pt x="66" y="67"/>
                  </a:cubicBezTo>
                  <a:cubicBezTo>
                    <a:pt x="74" y="85"/>
                    <a:pt x="57" y="120"/>
                    <a:pt x="62" y="148"/>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Freeform 13">
              <a:extLst>
                <a:ext uri="{FF2B5EF4-FFF2-40B4-BE49-F238E27FC236}">
                  <a16:creationId xmlns:a16="http://schemas.microsoft.com/office/drawing/2014/main" id="{217BA72D-E670-429B-AF8F-174BD53DE38B}"/>
                </a:ext>
              </a:extLst>
            </p:cNvPr>
            <p:cNvSpPr>
              <a:spLocks/>
            </p:cNvSpPr>
            <p:nvPr/>
          </p:nvSpPr>
          <p:spPr bwMode="auto">
            <a:xfrm>
              <a:off x="4790" y="2760"/>
              <a:ext cx="131" cy="171"/>
            </a:xfrm>
            <a:custGeom>
              <a:avLst/>
              <a:gdLst>
                <a:gd name="T0" fmla="*/ 27 w 46"/>
                <a:gd name="T1" fmla="*/ 59 h 60"/>
                <a:gd name="T2" fmla="*/ 3 w 46"/>
                <a:gd name="T3" fmla="*/ 33 h 60"/>
                <a:gd name="T4" fmla="*/ 21 w 46"/>
                <a:gd name="T5" fmla="*/ 2 h 60"/>
                <a:gd name="T6" fmla="*/ 46 w 46"/>
                <a:gd name="T7" fmla="*/ 29 h 60"/>
                <a:gd name="T8" fmla="*/ 44 w 46"/>
                <a:gd name="T9" fmla="*/ 43 h 60"/>
              </a:gdLst>
              <a:ahLst/>
              <a:cxnLst>
                <a:cxn ang="0">
                  <a:pos x="T0" y="T1"/>
                </a:cxn>
                <a:cxn ang="0">
                  <a:pos x="T2" y="T3"/>
                </a:cxn>
                <a:cxn ang="0">
                  <a:pos x="T4" y="T5"/>
                </a:cxn>
                <a:cxn ang="0">
                  <a:pos x="T6" y="T7"/>
                </a:cxn>
                <a:cxn ang="0">
                  <a:pos x="T8" y="T9"/>
                </a:cxn>
              </a:cxnLst>
              <a:rect l="0" t="0" r="r" b="b"/>
              <a:pathLst>
                <a:path w="46" h="60">
                  <a:moveTo>
                    <a:pt x="27" y="59"/>
                  </a:moveTo>
                  <a:cubicBezTo>
                    <a:pt x="18" y="60"/>
                    <a:pt x="6" y="50"/>
                    <a:pt x="3" y="33"/>
                  </a:cubicBezTo>
                  <a:cubicBezTo>
                    <a:pt x="0" y="17"/>
                    <a:pt x="6" y="4"/>
                    <a:pt x="21" y="2"/>
                  </a:cubicBezTo>
                  <a:cubicBezTo>
                    <a:pt x="37" y="0"/>
                    <a:pt x="46" y="13"/>
                    <a:pt x="46" y="29"/>
                  </a:cubicBezTo>
                  <a:cubicBezTo>
                    <a:pt x="46" y="34"/>
                    <a:pt x="45" y="38"/>
                    <a:pt x="44" y="43"/>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14">
              <a:extLst>
                <a:ext uri="{FF2B5EF4-FFF2-40B4-BE49-F238E27FC236}">
                  <a16:creationId xmlns:a16="http://schemas.microsoft.com/office/drawing/2014/main" id="{C9FE89AD-4F9D-4A63-AFD4-DAC2F01AA748}"/>
                </a:ext>
              </a:extLst>
            </p:cNvPr>
            <p:cNvSpPr>
              <a:spLocks/>
            </p:cNvSpPr>
            <p:nvPr/>
          </p:nvSpPr>
          <p:spPr bwMode="auto">
            <a:xfrm>
              <a:off x="4830" y="2919"/>
              <a:ext cx="179" cy="258"/>
            </a:xfrm>
            <a:custGeom>
              <a:avLst/>
              <a:gdLst>
                <a:gd name="T0" fmla="*/ 27 w 63"/>
                <a:gd name="T1" fmla="*/ 3 h 91"/>
                <a:gd name="T2" fmla="*/ 59 w 63"/>
                <a:gd name="T3" fmla="*/ 32 h 91"/>
                <a:gd name="T4" fmla="*/ 0 w 63"/>
                <a:gd name="T5" fmla="*/ 91 h 91"/>
              </a:gdLst>
              <a:ahLst/>
              <a:cxnLst>
                <a:cxn ang="0">
                  <a:pos x="T0" y="T1"/>
                </a:cxn>
                <a:cxn ang="0">
                  <a:pos x="T2" y="T3"/>
                </a:cxn>
                <a:cxn ang="0">
                  <a:pos x="T4" y="T5"/>
                </a:cxn>
              </a:cxnLst>
              <a:rect l="0" t="0" r="r" b="b"/>
              <a:pathLst>
                <a:path w="63" h="91">
                  <a:moveTo>
                    <a:pt x="27" y="3"/>
                  </a:moveTo>
                  <a:cubicBezTo>
                    <a:pt x="52" y="0"/>
                    <a:pt x="57" y="15"/>
                    <a:pt x="59" y="32"/>
                  </a:cubicBezTo>
                  <a:cubicBezTo>
                    <a:pt x="63" y="73"/>
                    <a:pt x="26" y="89"/>
                    <a:pt x="0" y="91"/>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15">
              <a:extLst>
                <a:ext uri="{FF2B5EF4-FFF2-40B4-BE49-F238E27FC236}">
                  <a16:creationId xmlns:a16="http://schemas.microsoft.com/office/drawing/2014/main" id="{09FCBDF5-0376-4FBA-9C79-03CE7D0A8D81}"/>
                </a:ext>
              </a:extLst>
            </p:cNvPr>
            <p:cNvSpPr>
              <a:spLocks/>
            </p:cNvSpPr>
            <p:nvPr/>
          </p:nvSpPr>
          <p:spPr bwMode="auto">
            <a:xfrm>
              <a:off x="4586" y="2928"/>
              <a:ext cx="321" cy="187"/>
            </a:xfrm>
            <a:custGeom>
              <a:avLst/>
              <a:gdLst>
                <a:gd name="T0" fmla="*/ 0 w 113"/>
                <a:gd name="T1" fmla="*/ 60 h 66"/>
                <a:gd name="T2" fmla="*/ 56 w 113"/>
                <a:gd name="T3" fmla="*/ 48 h 66"/>
                <a:gd name="T4" fmla="*/ 89 w 113"/>
                <a:gd name="T5" fmla="*/ 2 h 66"/>
                <a:gd name="T6" fmla="*/ 113 w 113"/>
                <a:gd name="T7" fmla="*/ 0 h 66"/>
              </a:gdLst>
              <a:ahLst/>
              <a:cxnLst>
                <a:cxn ang="0">
                  <a:pos x="T0" y="T1"/>
                </a:cxn>
                <a:cxn ang="0">
                  <a:pos x="T2" y="T3"/>
                </a:cxn>
                <a:cxn ang="0">
                  <a:pos x="T4" y="T5"/>
                </a:cxn>
                <a:cxn ang="0">
                  <a:pos x="T6" y="T7"/>
                </a:cxn>
              </a:cxnLst>
              <a:rect l="0" t="0" r="r" b="b"/>
              <a:pathLst>
                <a:path w="113" h="66">
                  <a:moveTo>
                    <a:pt x="0" y="60"/>
                  </a:moveTo>
                  <a:cubicBezTo>
                    <a:pt x="0" y="60"/>
                    <a:pt x="36" y="66"/>
                    <a:pt x="56" y="48"/>
                  </a:cubicBezTo>
                  <a:cubicBezTo>
                    <a:pt x="78" y="30"/>
                    <a:pt x="66" y="4"/>
                    <a:pt x="89" y="2"/>
                  </a:cubicBezTo>
                  <a:cubicBezTo>
                    <a:pt x="113" y="0"/>
                    <a:pt x="113" y="0"/>
                    <a:pt x="113" y="0"/>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Freeform 16">
              <a:extLst>
                <a:ext uri="{FF2B5EF4-FFF2-40B4-BE49-F238E27FC236}">
                  <a16:creationId xmlns:a16="http://schemas.microsoft.com/office/drawing/2014/main" id="{52A71EB7-D137-4719-BA23-C9EC3E1DCD1F}"/>
                </a:ext>
              </a:extLst>
            </p:cNvPr>
            <p:cNvSpPr>
              <a:spLocks/>
            </p:cNvSpPr>
            <p:nvPr/>
          </p:nvSpPr>
          <p:spPr bwMode="auto">
            <a:xfrm>
              <a:off x="4626" y="3268"/>
              <a:ext cx="122" cy="241"/>
            </a:xfrm>
            <a:custGeom>
              <a:avLst/>
              <a:gdLst>
                <a:gd name="T0" fmla="*/ 43 w 43"/>
                <a:gd name="T1" fmla="*/ 0 h 85"/>
                <a:gd name="T2" fmla="*/ 25 w 43"/>
                <a:gd name="T3" fmla="*/ 6 h 85"/>
                <a:gd name="T4" fmla="*/ 3 w 43"/>
                <a:gd name="T5" fmla="*/ 85 h 85"/>
              </a:gdLst>
              <a:ahLst/>
              <a:cxnLst>
                <a:cxn ang="0">
                  <a:pos x="T0" y="T1"/>
                </a:cxn>
                <a:cxn ang="0">
                  <a:pos x="T2" y="T3"/>
                </a:cxn>
                <a:cxn ang="0">
                  <a:pos x="T4" y="T5"/>
                </a:cxn>
              </a:cxnLst>
              <a:rect l="0" t="0" r="r" b="b"/>
              <a:pathLst>
                <a:path w="43" h="85">
                  <a:moveTo>
                    <a:pt x="43" y="0"/>
                  </a:moveTo>
                  <a:cubicBezTo>
                    <a:pt x="38" y="1"/>
                    <a:pt x="31" y="3"/>
                    <a:pt x="25" y="6"/>
                  </a:cubicBezTo>
                  <a:cubicBezTo>
                    <a:pt x="0" y="20"/>
                    <a:pt x="1" y="64"/>
                    <a:pt x="3" y="85"/>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17">
              <a:extLst>
                <a:ext uri="{FF2B5EF4-FFF2-40B4-BE49-F238E27FC236}">
                  <a16:creationId xmlns:a16="http://schemas.microsoft.com/office/drawing/2014/main" id="{9B483B96-C930-4321-A92E-BDBF5CF7AC16}"/>
                </a:ext>
              </a:extLst>
            </p:cNvPr>
            <p:cNvSpPr>
              <a:spLocks/>
            </p:cNvSpPr>
            <p:nvPr/>
          </p:nvSpPr>
          <p:spPr bwMode="auto">
            <a:xfrm>
              <a:off x="4586" y="3064"/>
              <a:ext cx="227" cy="386"/>
            </a:xfrm>
            <a:custGeom>
              <a:avLst/>
              <a:gdLst>
                <a:gd name="T0" fmla="*/ 78 w 80"/>
                <a:gd name="T1" fmla="*/ 0 h 136"/>
                <a:gd name="T2" fmla="*/ 66 w 80"/>
                <a:gd name="T3" fmla="*/ 40 h 136"/>
                <a:gd name="T4" fmla="*/ 21 w 80"/>
                <a:gd name="T5" fmla="*/ 52 h 136"/>
                <a:gd name="T6" fmla="*/ 39 w 80"/>
                <a:gd name="T7" fmla="*/ 136 h 136"/>
              </a:gdLst>
              <a:ahLst/>
              <a:cxnLst>
                <a:cxn ang="0">
                  <a:pos x="T0" y="T1"/>
                </a:cxn>
                <a:cxn ang="0">
                  <a:pos x="T2" y="T3"/>
                </a:cxn>
                <a:cxn ang="0">
                  <a:pos x="T4" y="T5"/>
                </a:cxn>
                <a:cxn ang="0">
                  <a:pos x="T6" y="T7"/>
                </a:cxn>
              </a:cxnLst>
              <a:rect l="0" t="0" r="r" b="b"/>
              <a:pathLst>
                <a:path w="80" h="136">
                  <a:moveTo>
                    <a:pt x="78" y="0"/>
                  </a:moveTo>
                  <a:cubicBezTo>
                    <a:pt x="79" y="1"/>
                    <a:pt x="80" y="34"/>
                    <a:pt x="66" y="40"/>
                  </a:cubicBezTo>
                  <a:cubicBezTo>
                    <a:pt x="51" y="47"/>
                    <a:pt x="34" y="39"/>
                    <a:pt x="21" y="52"/>
                  </a:cubicBezTo>
                  <a:cubicBezTo>
                    <a:pt x="0" y="73"/>
                    <a:pt x="36" y="105"/>
                    <a:pt x="39" y="136"/>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Freeform 18">
              <a:extLst>
                <a:ext uri="{FF2B5EF4-FFF2-40B4-BE49-F238E27FC236}">
                  <a16:creationId xmlns:a16="http://schemas.microsoft.com/office/drawing/2014/main" id="{B90F1635-EAE1-4701-81D1-648F3D4A4B17}"/>
                </a:ext>
              </a:extLst>
            </p:cNvPr>
            <p:cNvSpPr>
              <a:spLocks/>
            </p:cNvSpPr>
            <p:nvPr/>
          </p:nvSpPr>
          <p:spPr bwMode="auto">
            <a:xfrm>
              <a:off x="4708" y="2950"/>
              <a:ext cx="341" cy="383"/>
            </a:xfrm>
            <a:custGeom>
              <a:avLst/>
              <a:gdLst>
                <a:gd name="T0" fmla="*/ 107 w 120"/>
                <a:gd name="T1" fmla="*/ 1 h 135"/>
                <a:gd name="T2" fmla="*/ 120 w 120"/>
                <a:gd name="T3" fmla="*/ 20 h 135"/>
                <a:gd name="T4" fmla="*/ 95 w 120"/>
                <a:gd name="T5" fmla="*/ 108 h 135"/>
                <a:gd name="T6" fmla="*/ 23 w 120"/>
                <a:gd name="T7" fmla="*/ 128 h 135"/>
                <a:gd name="T8" fmla="*/ 0 w 120"/>
                <a:gd name="T9" fmla="*/ 132 h 135"/>
              </a:gdLst>
              <a:ahLst/>
              <a:cxnLst>
                <a:cxn ang="0">
                  <a:pos x="T0" y="T1"/>
                </a:cxn>
                <a:cxn ang="0">
                  <a:pos x="T2" y="T3"/>
                </a:cxn>
                <a:cxn ang="0">
                  <a:pos x="T4" y="T5"/>
                </a:cxn>
                <a:cxn ang="0">
                  <a:pos x="T6" y="T7"/>
                </a:cxn>
                <a:cxn ang="0">
                  <a:pos x="T8" y="T9"/>
                </a:cxn>
              </a:cxnLst>
              <a:rect l="0" t="0" r="r" b="b"/>
              <a:pathLst>
                <a:path w="120" h="135">
                  <a:moveTo>
                    <a:pt x="107" y="1"/>
                  </a:moveTo>
                  <a:cubicBezTo>
                    <a:pt x="120" y="0"/>
                    <a:pt x="120" y="16"/>
                    <a:pt x="120" y="20"/>
                  </a:cubicBezTo>
                  <a:cubicBezTo>
                    <a:pt x="115" y="41"/>
                    <a:pt x="114" y="82"/>
                    <a:pt x="95" y="108"/>
                  </a:cubicBezTo>
                  <a:cubicBezTo>
                    <a:pt x="75" y="135"/>
                    <a:pt x="41" y="128"/>
                    <a:pt x="23" y="128"/>
                  </a:cubicBezTo>
                  <a:cubicBezTo>
                    <a:pt x="8" y="127"/>
                    <a:pt x="0" y="132"/>
                    <a:pt x="0" y="132"/>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7" name="Line 19">
              <a:extLst>
                <a:ext uri="{FF2B5EF4-FFF2-40B4-BE49-F238E27FC236}">
                  <a16:creationId xmlns:a16="http://schemas.microsoft.com/office/drawing/2014/main" id="{31CB7CCC-9131-4F42-8307-010486B649A2}"/>
                </a:ext>
              </a:extLst>
            </p:cNvPr>
            <p:cNvSpPr>
              <a:spLocks noChangeShapeType="1"/>
            </p:cNvSpPr>
            <p:nvPr/>
          </p:nvSpPr>
          <p:spPr bwMode="auto">
            <a:xfrm>
              <a:off x="4870" y="3314"/>
              <a:ext cx="0" cy="164"/>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Freeform 20">
              <a:extLst>
                <a:ext uri="{FF2B5EF4-FFF2-40B4-BE49-F238E27FC236}">
                  <a16:creationId xmlns:a16="http://schemas.microsoft.com/office/drawing/2014/main" id="{E0B7D090-365E-445D-B671-E78B57B9212F}"/>
                </a:ext>
              </a:extLst>
            </p:cNvPr>
            <p:cNvSpPr>
              <a:spLocks/>
            </p:cNvSpPr>
            <p:nvPr/>
          </p:nvSpPr>
          <p:spPr bwMode="auto">
            <a:xfrm>
              <a:off x="4773" y="3478"/>
              <a:ext cx="196" cy="34"/>
            </a:xfrm>
            <a:custGeom>
              <a:avLst/>
              <a:gdLst>
                <a:gd name="T0" fmla="*/ 0 w 196"/>
                <a:gd name="T1" fmla="*/ 34 h 34"/>
                <a:gd name="T2" fmla="*/ 0 w 196"/>
                <a:gd name="T3" fmla="*/ 0 h 34"/>
                <a:gd name="T4" fmla="*/ 196 w 196"/>
                <a:gd name="T5" fmla="*/ 0 h 34"/>
                <a:gd name="T6" fmla="*/ 196 w 196"/>
                <a:gd name="T7" fmla="*/ 34 h 34"/>
              </a:gdLst>
              <a:ahLst/>
              <a:cxnLst>
                <a:cxn ang="0">
                  <a:pos x="T0" y="T1"/>
                </a:cxn>
                <a:cxn ang="0">
                  <a:pos x="T2" y="T3"/>
                </a:cxn>
                <a:cxn ang="0">
                  <a:pos x="T4" y="T5"/>
                </a:cxn>
                <a:cxn ang="0">
                  <a:pos x="T6" y="T7"/>
                </a:cxn>
              </a:cxnLst>
              <a:rect l="0" t="0" r="r" b="b"/>
              <a:pathLst>
                <a:path w="196" h="34">
                  <a:moveTo>
                    <a:pt x="0" y="34"/>
                  </a:moveTo>
                  <a:lnTo>
                    <a:pt x="0" y="0"/>
                  </a:lnTo>
                  <a:lnTo>
                    <a:pt x="196" y="0"/>
                  </a:lnTo>
                  <a:lnTo>
                    <a:pt x="196" y="34"/>
                  </a:ln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Freeform 21">
              <a:extLst>
                <a:ext uri="{FF2B5EF4-FFF2-40B4-BE49-F238E27FC236}">
                  <a16:creationId xmlns:a16="http://schemas.microsoft.com/office/drawing/2014/main" id="{C8D100EB-1E7A-4D13-BB71-D378CEB62B93}"/>
                </a:ext>
              </a:extLst>
            </p:cNvPr>
            <p:cNvSpPr>
              <a:spLocks/>
            </p:cNvSpPr>
            <p:nvPr/>
          </p:nvSpPr>
          <p:spPr bwMode="auto">
            <a:xfrm>
              <a:off x="4748" y="3158"/>
              <a:ext cx="210" cy="124"/>
            </a:xfrm>
            <a:custGeom>
              <a:avLst/>
              <a:gdLst>
                <a:gd name="T0" fmla="*/ 74 w 74"/>
                <a:gd name="T1" fmla="*/ 0 h 44"/>
                <a:gd name="T2" fmla="*/ 49 w 74"/>
                <a:gd name="T3" fmla="*/ 38 h 44"/>
                <a:gd name="T4" fmla="*/ 0 w 74"/>
                <a:gd name="T5" fmla="*/ 39 h 44"/>
              </a:gdLst>
              <a:ahLst/>
              <a:cxnLst>
                <a:cxn ang="0">
                  <a:pos x="T0" y="T1"/>
                </a:cxn>
                <a:cxn ang="0">
                  <a:pos x="T2" y="T3"/>
                </a:cxn>
                <a:cxn ang="0">
                  <a:pos x="T4" y="T5"/>
                </a:cxn>
              </a:cxnLst>
              <a:rect l="0" t="0" r="r" b="b"/>
              <a:pathLst>
                <a:path w="74" h="44">
                  <a:moveTo>
                    <a:pt x="74" y="0"/>
                  </a:moveTo>
                  <a:cubicBezTo>
                    <a:pt x="72" y="19"/>
                    <a:pt x="66" y="33"/>
                    <a:pt x="49" y="38"/>
                  </a:cubicBezTo>
                  <a:cubicBezTo>
                    <a:pt x="32" y="44"/>
                    <a:pt x="18" y="37"/>
                    <a:pt x="0" y="39"/>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0" name="Freeform 22">
              <a:extLst>
                <a:ext uri="{FF2B5EF4-FFF2-40B4-BE49-F238E27FC236}">
                  <a16:creationId xmlns:a16="http://schemas.microsoft.com/office/drawing/2014/main" id="{A61387E0-A35F-4149-9178-787F9E2861C5}"/>
                </a:ext>
              </a:extLst>
            </p:cNvPr>
            <p:cNvSpPr>
              <a:spLocks noEditPoints="1"/>
            </p:cNvSpPr>
            <p:nvPr/>
          </p:nvSpPr>
          <p:spPr bwMode="auto">
            <a:xfrm>
              <a:off x="4041" y="1560"/>
              <a:ext cx="517" cy="374"/>
            </a:xfrm>
            <a:custGeom>
              <a:avLst/>
              <a:gdLst>
                <a:gd name="T0" fmla="*/ 98 w 182"/>
                <a:gd name="T1" fmla="*/ 132 h 132"/>
                <a:gd name="T2" fmla="*/ 98 w 182"/>
                <a:gd name="T3" fmla="*/ 128 h 132"/>
                <a:gd name="T4" fmla="*/ 105 w 182"/>
                <a:gd name="T5" fmla="*/ 128 h 132"/>
                <a:gd name="T6" fmla="*/ 106 w 182"/>
                <a:gd name="T7" fmla="*/ 132 h 132"/>
                <a:gd name="T8" fmla="*/ 82 w 182"/>
                <a:gd name="T9" fmla="*/ 132 h 132"/>
                <a:gd name="T10" fmla="*/ 72 w 182"/>
                <a:gd name="T11" fmla="*/ 130 h 132"/>
                <a:gd name="T12" fmla="*/ 82 w 182"/>
                <a:gd name="T13" fmla="*/ 128 h 132"/>
                <a:gd name="T14" fmla="*/ 82 w 182"/>
                <a:gd name="T15" fmla="*/ 132 h 132"/>
                <a:gd name="T16" fmla="*/ 50 w 182"/>
                <a:gd name="T17" fmla="*/ 132 h 132"/>
                <a:gd name="T18" fmla="*/ 50 w 182"/>
                <a:gd name="T19" fmla="*/ 128 h 132"/>
                <a:gd name="T20" fmla="*/ 60 w 182"/>
                <a:gd name="T21" fmla="*/ 130 h 132"/>
                <a:gd name="T22" fmla="*/ 34 w 182"/>
                <a:gd name="T23" fmla="*/ 132 h 132"/>
                <a:gd name="T24" fmla="*/ 24 w 182"/>
                <a:gd name="T25" fmla="*/ 130 h 132"/>
                <a:gd name="T26" fmla="*/ 34 w 182"/>
                <a:gd name="T27" fmla="*/ 128 h 132"/>
                <a:gd name="T28" fmla="*/ 34 w 182"/>
                <a:gd name="T29" fmla="*/ 132 h 132"/>
                <a:gd name="T30" fmla="*/ 2 w 182"/>
                <a:gd name="T31" fmla="*/ 132 h 132"/>
                <a:gd name="T32" fmla="*/ 2 w 182"/>
                <a:gd name="T33" fmla="*/ 128 h 132"/>
                <a:gd name="T34" fmla="*/ 12 w 182"/>
                <a:gd name="T35" fmla="*/ 130 h 132"/>
                <a:gd name="T36" fmla="*/ 121 w 182"/>
                <a:gd name="T37" fmla="*/ 129 h 132"/>
                <a:gd name="T38" fmla="*/ 121 w 182"/>
                <a:gd name="T39" fmla="*/ 125 h 132"/>
                <a:gd name="T40" fmla="*/ 131 w 182"/>
                <a:gd name="T41" fmla="*/ 124 h 132"/>
                <a:gd name="T42" fmla="*/ 122 w 182"/>
                <a:gd name="T43" fmla="*/ 129 h 132"/>
                <a:gd name="T44" fmla="*/ 143 w 182"/>
                <a:gd name="T45" fmla="*/ 119 h 132"/>
                <a:gd name="T46" fmla="*/ 142 w 182"/>
                <a:gd name="T47" fmla="*/ 116 h 132"/>
                <a:gd name="T48" fmla="*/ 151 w 182"/>
                <a:gd name="T49" fmla="*/ 111 h 132"/>
                <a:gd name="T50" fmla="*/ 144 w 182"/>
                <a:gd name="T51" fmla="*/ 119 h 132"/>
                <a:gd name="T52" fmla="*/ 161 w 182"/>
                <a:gd name="T53" fmla="*/ 104 h 132"/>
                <a:gd name="T54" fmla="*/ 160 w 182"/>
                <a:gd name="T55" fmla="*/ 100 h 132"/>
                <a:gd name="T56" fmla="*/ 167 w 182"/>
                <a:gd name="T57" fmla="*/ 94 h 132"/>
                <a:gd name="T58" fmla="*/ 163 w 182"/>
                <a:gd name="T59" fmla="*/ 103 h 132"/>
                <a:gd name="T60" fmla="*/ 174 w 182"/>
                <a:gd name="T61" fmla="*/ 83 h 132"/>
                <a:gd name="T62" fmla="*/ 172 w 182"/>
                <a:gd name="T63" fmla="*/ 80 h 132"/>
                <a:gd name="T64" fmla="*/ 177 w 182"/>
                <a:gd name="T65" fmla="*/ 72 h 132"/>
                <a:gd name="T66" fmla="*/ 175 w 182"/>
                <a:gd name="T67" fmla="*/ 82 h 132"/>
                <a:gd name="T68" fmla="*/ 180 w 182"/>
                <a:gd name="T69" fmla="*/ 60 h 132"/>
                <a:gd name="T70" fmla="*/ 178 w 182"/>
                <a:gd name="T71" fmla="*/ 58 h 132"/>
                <a:gd name="T72" fmla="*/ 180 w 182"/>
                <a:gd name="T73" fmla="*/ 48 h 132"/>
                <a:gd name="T74" fmla="*/ 182 w 182"/>
                <a:gd name="T75" fmla="*/ 50 h 132"/>
                <a:gd name="T76" fmla="*/ 180 w 182"/>
                <a:gd name="T77" fmla="*/ 60 h 132"/>
                <a:gd name="T78" fmla="*/ 178 w 182"/>
                <a:gd name="T79" fmla="*/ 34 h 132"/>
                <a:gd name="T80" fmla="*/ 180 w 182"/>
                <a:gd name="T81" fmla="*/ 24 h 132"/>
                <a:gd name="T82" fmla="*/ 182 w 182"/>
                <a:gd name="T83" fmla="*/ 34 h 132"/>
                <a:gd name="T84" fmla="*/ 180 w 182"/>
                <a:gd name="T85" fmla="*/ 12 h 132"/>
                <a:gd name="T86" fmla="*/ 178 w 182"/>
                <a:gd name="T87" fmla="*/ 2 h 132"/>
                <a:gd name="T88" fmla="*/ 182 w 182"/>
                <a:gd name="T89" fmla="*/ 2 h 132"/>
                <a:gd name="T90" fmla="*/ 180 w 182"/>
                <a:gd name="T91" fmla="*/ 1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2" h="132">
                  <a:moveTo>
                    <a:pt x="100" y="132"/>
                  </a:moveTo>
                  <a:cubicBezTo>
                    <a:pt x="98" y="132"/>
                    <a:pt x="98" y="132"/>
                    <a:pt x="98" y="132"/>
                  </a:cubicBezTo>
                  <a:cubicBezTo>
                    <a:pt x="96" y="132"/>
                    <a:pt x="96" y="131"/>
                    <a:pt x="96" y="130"/>
                  </a:cubicBezTo>
                  <a:cubicBezTo>
                    <a:pt x="96" y="129"/>
                    <a:pt x="96" y="128"/>
                    <a:pt x="98" y="128"/>
                  </a:cubicBezTo>
                  <a:cubicBezTo>
                    <a:pt x="100" y="128"/>
                    <a:pt x="100" y="128"/>
                    <a:pt x="100" y="128"/>
                  </a:cubicBezTo>
                  <a:cubicBezTo>
                    <a:pt x="102" y="128"/>
                    <a:pt x="104" y="128"/>
                    <a:pt x="105" y="128"/>
                  </a:cubicBezTo>
                  <a:cubicBezTo>
                    <a:pt x="107" y="128"/>
                    <a:pt x="107" y="128"/>
                    <a:pt x="108" y="130"/>
                  </a:cubicBezTo>
                  <a:cubicBezTo>
                    <a:pt x="108" y="131"/>
                    <a:pt x="107" y="132"/>
                    <a:pt x="106" y="132"/>
                  </a:cubicBezTo>
                  <a:cubicBezTo>
                    <a:pt x="104" y="132"/>
                    <a:pt x="102" y="132"/>
                    <a:pt x="100" y="132"/>
                  </a:cubicBezTo>
                  <a:close/>
                  <a:moveTo>
                    <a:pt x="82" y="132"/>
                  </a:moveTo>
                  <a:cubicBezTo>
                    <a:pt x="74" y="132"/>
                    <a:pt x="74" y="132"/>
                    <a:pt x="74" y="132"/>
                  </a:cubicBezTo>
                  <a:cubicBezTo>
                    <a:pt x="72" y="132"/>
                    <a:pt x="72" y="131"/>
                    <a:pt x="72" y="130"/>
                  </a:cubicBezTo>
                  <a:cubicBezTo>
                    <a:pt x="72" y="129"/>
                    <a:pt x="72" y="128"/>
                    <a:pt x="74" y="128"/>
                  </a:cubicBezTo>
                  <a:cubicBezTo>
                    <a:pt x="82" y="128"/>
                    <a:pt x="82" y="128"/>
                    <a:pt x="82" y="128"/>
                  </a:cubicBezTo>
                  <a:cubicBezTo>
                    <a:pt x="83" y="128"/>
                    <a:pt x="84" y="129"/>
                    <a:pt x="84" y="130"/>
                  </a:cubicBezTo>
                  <a:cubicBezTo>
                    <a:pt x="84" y="131"/>
                    <a:pt x="83" y="132"/>
                    <a:pt x="82" y="132"/>
                  </a:cubicBezTo>
                  <a:close/>
                  <a:moveTo>
                    <a:pt x="58" y="132"/>
                  </a:moveTo>
                  <a:cubicBezTo>
                    <a:pt x="50" y="132"/>
                    <a:pt x="50" y="132"/>
                    <a:pt x="50" y="132"/>
                  </a:cubicBezTo>
                  <a:cubicBezTo>
                    <a:pt x="48" y="132"/>
                    <a:pt x="48" y="131"/>
                    <a:pt x="48" y="130"/>
                  </a:cubicBezTo>
                  <a:cubicBezTo>
                    <a:pt x="48" y="129"/>
                    <a:pt x="48" y="128"/>
                    <a:pt x="50" y="128"/>
                  </a:cubicBezTo>
                  <a:cubicBezTo>
                    <a:pt x="58" y="128"/>
                    <a:pt x="58" y="128"/>
                    <a:pt x="58" y="128"/>
                  </a:cubicBezTo>
                  <a:cubicBezTo>
                    <a:pt x="59" y="128"/>
                    <a:pt x="60" y="129"/>
                    <a:pt x="60" y="130"/>
                  </a:cubicBezTo>
                  <a:cubicBezTo>
                    <a:pt x="60" y="131"/>
                    <a:pt x="59" y="132"/>
                    <a:pt x="58" y="132"/>
                  </a:cubicBezTo>
                  <a:close/>
                  <a:moveTo>
                    <a:pt x="34" y="132"/>
                  </a:moveTo>
                  <a:cubicBezTo>
                    <a:pt x="26" y="132"/>
                    <a:pt x="26" y="132"/>
                    <a:pt x="26" y="132"/>
                  </a:cubicBezTo>
                  <a:cubicBezTo>
                    <a:pt x="24" y="132"/>
                    <a:pt x="24" y="131"/>
                    <a:pt x="24" y="130"/>
                  </a:cubicBezTo>
                  <a:cubicBezTo>
                    <a:pt x="24" y="129"/>
                    <a:pt x="24" y="128"/>
                    <a:pt x="26" y="128"/>
                  </a:cubicBezTo>
                  <a:cubicBezTo>
                    <a:pt x="34" y="128"/>
                    <a:pt x="34" y="128"/>
                    <a:pt x="34" y="128"/>
                  </a:cubicBezTo>
                  <a:cubicBezTo>
                    <a:pt x="35" y="128"/>
                    <a:pt x="36" y="129"/>
                    <a:pt x="36" y="130"/>
                  </a:cubicBezTo>
                  <a:cubicBezTo>
                    <a:pt x="36" y="131"/>
                    <a:pt x="35" y="132"/>
                    <a:pt x="34" y="132"/>
                  </a:cubicBezTo>
                  <a:close/>
                  <a:moveTo>
                    <a:pt x="10" y="132"/>
                  </a:moveTo>
                  <a:cubicBezTo>
                    <a:pt x="2" y="132"/>
                    <a:pt x="2" y="132"/>
                    <a:pt x="2" y="132"/>
                  </a:cubicBezTo>
                  <a:cubicBezTo>
                    <a:pt x="0" y="132"/>
                    <a:pt x="0" y="131"/>
                    <a:pt x="0" y="130"/>
                  </a:cubicBezTo>
                  <a:cubicBezTo>
                    <a:pt x="0" y="129"/>
                    <a:pt x="0" y="128"/>
                    <a:pt x="2" y="128"/>
                  </a:cubicBezTo>
                  <a:cubicBezTo>
                    <a:pt x="10" y="128"/>
                    <a:pt x="10" y="128"/>
                    <a:pt x="10" y="128"/>
                  </a:cubicBezTo>
                  <a:cubicBezTo>
                    <a:pt x="11" y="128"/>
                    <a:pt x="12" y="129"/>
                    <a:pt x="12" y="130"/>
                  </a:cubicBezTo>
                  <a:cubicBezTo>
                    <a:pt x="12" y="131"/>
                    <a:pt x="11" y="132"/>
                    <a:pt x="10" y="132"/>
                  </a:cubicBezTo>
                  <a:close/>
                  <a:moveTo>
                    <a:pt x="121" y="129"/>
                  </a:moveTo>
                  <a:cubicBezTo>
                    <a:pt x="120" y="129"/>
                    <a:pt x="120" y="128"/>
                    <a:pt x="119" y="128"/>
                  </a:cubicBezTo>
                  <a:cubicBezTo>
                    <a:pt x="119" y="126"/>
                    <a:pt x="120" y="125"/>
                    <a:pt x="121" y="125"/>
                  </a:cubicBezTo>
                  <a:cubicBezTo>
                    <a:pt x="123" y="124"/>
                    <a:pt x="126" y="124"/>
                    <a:pt x="128" y="123"/>
                  </a:cubicBezTo>
                  <a:cubicBezTo>
                    <a:pt x="129" y="122"/>
                    <a:pt x="130" y="123"/>
                    <a:pt x="131" y="124"/>
                  </a:cubicBezTo>
                  <a:cubicBezTo>
                    <a:pt x="131" y="125"/>
                    <a:pt x="131" y="126"/>
                    <a:pt x="130" y="126"/>
                  </a:cubicBezTo>
                  <a:cubicBezTo>
                    <a:pt x="127" y="127"/>
                    <a:pt x="124" y="128"/>
                    <a:pt x="122" y="129"/>
                  </a:cubicBezTo>
                  <a:cubicBezTo>
                    <a:pt x="122" y="129"/>
                    <a:pt x="121" y="129"/>
                    <a:pt x="121" y="129"/>
                  </a:cubicBezTo>
                  <a:close/>
                  <a:moveTo>
                    <a:pt x="143" y="119"/>
                  </a:moveTo>
                  <a:cubicBezTo>
                    <a:pt x="142" y="119"/>
                    <a:pt x="142" y="119"/>
                    <a:pt x="141" y="118"/>
                  </a:cubicBezTo>
                  <a:cubicBezTo>
                    <a:pt x="141" y="117"/>
                    <a:pt x="141" y="116"/>
                    <a:pt x="142" y="116"/>
                  </a:cubicBezTo>
                  <a:cubicBezTo>
                    <a:pt x="144" y="114"/>
                    <a:pt x="146" y="113"/>
                    <a:pt x="148" y="111"/>
                  </a:cubicBezTo>
                  <a:cubicBezTo>
                    <a:pt x="149" y="110"/>
                    <a:pt x="151" y="111"/>
                    <a:pt x="151" y="111"/>
                  </a:cubicBezTo>
                  <a:cubicBezTo>
                    <a:pt x="152" y="112"/>
                    <a:pt x="152" y="114"/>
                    <a:pt x="151" y="114"/>
                  </a:cubicBezTo>
                  <a:cubicBezTo>
                    <a:pt x="149" y="116"/>
                    <a:pt x="146" y="117"/>
                    <a:pt x="144" y="119"/>
                  </a:cubicBezTo>
                  <a:cubicBezTo>
                    <a:pt x="144" y="119"/>
                    <a:pt x="143" y="119"/>
                    <a:pt x="143" y="119"/>
                  </a:cubicBezTo>
                  <a:close/>
                  <a:moveTo>
                    <a:pt x="161" y="104"/>
                  </a:moveTo>
                  <a:cubicBezTo>
                    <a:pt x="161" y="104"/>
                    <a:pt x="160" y="103"/>
                    <a:pt x="160" y="103"/>
                  </a:cubicBezTo>
                  <a:cubicBezTo>
                    <a:pt x="159" y="102"/>
                    <a:pt x="159" y="101"/>
                    <a:pt x="160" y="100"/>
                  </a:cubicBezTo>
                  <a:cubicBezTo>
                    <a:pt x="161" y="98"/>
                    <a:pt x="163" y="96"/>
                    <a:pt x="164" y="94"/>
                  </a:cubicBezTo>
                  <a:cubicBezTo>
                    <a:pt x="165" y="93"/>
                    <a:pt x="166" y="93"/>
                    <a:pt x="167" y="94"/>
                  </a:cubicBezTo>
                  <a:cubicBezTo>
                    <a:pt x="168" y="94"/>
                    <a:pt x="168" y="95"/>
                    <a:pt x="168" y="96"/>
                  </a:cubicBezTo>
                  <a:cubicBezTo>
                    <a:pt x="166" y="99"/>
                    <a:pt x="164" y="101"/>
                    <a:pt x="163" y="103"/>
                  </a:cubicBezTo>
                  <a:cubicBezTo>
                    <a:pt x="162" y="103"/>
                    <a:pt x="162" y="104"/>
                    <a:pt x="161" y="104"/>
                  </a:cubicBezTo>
                  <a:close/>
                  <a:moveTo>
                    <a:pt x="174" y="83"/>
                  </a:moveTo>
                  <a:cubicBezTo>
                    <a:pt x="173" y="83"/>
                    <a:pt x="173" y="83"/>
                    <a:pt x="173" y="83"/>
                  </a:cubicBezTo>
                  <a:cubicBezTo>
                    <a:pt x="172" y="83"/>
                    <a:pt x="171" y="81"/>
                    <a:pt x="172" y="80"/>
                  </a:cubicBezTo>
                  <a:cubicBezTo>
                    <a:pt x="173" y="78"/>
                    <a:pt x="174" y="76"/>
                    <a:pt x="175" y="73"/>
                  </a:cubicBezTo>
                  <a:cubicBezTo>
                    <a:pt x="175" y="72"/>
                    <a:pt x="176" y="71"/>
                    <a:pt x="177" y="72"/>
                  </a:cubicBezTo>
                  <a:cubicBezTo>
                    <a:pt x="178" y="72"/>
                    <a:pt x="179" y="73"/>
                    <a:pt x="178" y="74"/>
                  </a:cubicBezTo>
                  <a:cubicBezTo>
                    <a:pt x="178" y="77"/>
                    <a:pt x="177" y="79"/>
                    <a:pt x="175" y="82"/>
                  </a:cubicBezTo>
                  <a:cubicBezTo>
                    <a:pt x="175" y="83"/>
                    <a:pt x="174" y="83"/>
                    <a:pt x="174" y="83"/>
                  </a:cubicBezTo>
                  <a:close/>
                  <a:moveTo>
                    <a:pt x="180" y="60"/>
                  </a:moveTo>
                  <a:cubicBezTo>
                    <a:pt x="180" y="60"/>
                    <a:pt x="179" y="60"/>
                    <a:pt x="179" y="60"/>
                  </a:cubicBezTo>
                  <a:cubicBezTo>
                    <a:pt x="178" y="60"/>
                    <a:pt x="178" y="59"/>
                    <a:pt x="178" y="58"/>
                  </a:cubicBezTo>
                  <a:cubicBezTo>
                    <a:pt x="178" y="55"/>
                    <a:pt x="178" y="53"/>
                    <a:pt x="178" y="50"/>
                  </a:cubicBezTo>
                  <a:cubicBezTo>
                    <a:pt x="178" y="49"/>
                    <a:pt x="179" y="48"/>
                    <a:pt x="180" y="48"/>
                  </a:cubicBezTo>
                  <a:cubicBezTo>
                    <a:pt x="180" y="48"/>
                    <a:pt x="180" y="48"/>
                    <a:pt x="180" y="48"/>
                  </a:cubicBezTo>
                  <a:cubicBezTo>
                    <a:pt x="181" y="48"/>
                    <a:pt x="182" y="49"/>
                    <a:pt x="182" y="50"/>
                  </a:cubicBezTo>
                  <a:cubicBezTo>
                    <a:pt x="182" y="53"/>
                    <a:pt x="182" y="56"/>
                    <a:pt x="182" y="58"/>
                  </a:cubicBezTo>
                  <a:cubicBezTo>
                    <a:pt x="182" y="59"/>
                    <a:pt x="181" y="60"/>
                    <a:pt x="180" y="60"/>
                  </a:cubicBezTo>
                  <a:close/>
                  <a:moveTo>
                    <a:pt x="180" y="36"/>
                  </a:moveTo>
                  <a:cubicBezTo>
                    <a:pt x="179" y="36"/>
                    <a:pt x="178" y="35"/>
                    <a:pt x="178" y="34"/>
                  </a:cubicBezTo>
                  <a:cubicBezTo>
                    <a:pt x="178" y="26"/>
                    <a:pt x="178" y="26"/>
                    <a:pt x="178" y="26"/>
                  </a:cubicBezTo>
                  <a:cubicBezTo>
                    <a:pt x="178" y="25"/>
                    <a:pt x="179" y="24"/>
                    <a:pt x="180" y="24"/>
                  </a:cubicBezTo>
                  <a:cubicBezTo>
                    <a:pt x="181" y="24"/>
                    <a:pt x="182" y="25"/>
                    <a:pt x="182" y="26"/>
                  </a:cubicBezTo>
                  <a:cubicBezTo>
                    <a:pt x="182" y="34"/>
                    <a:pt x="182" y="34"/>
                    <a:pt x="182" y="34"/>
                  </a:cubicBezTo>
                  <a:cubicBezTo>
                    <a:pt x="182" y="35"/>
                    <a:pt x="181" y="36"/>
                    <a:pt x="180" y="36"/>
                  </a:cubicBezTo>
                  <a:close/>
                  <a:moveTo>
                    <a:pt x="180" y="12"/>
                  </a:moveTo>
                  <a:cubicBezTo>
                    <a:pt x="179" y="12"/>
                    <a:pt x="178" y="11"/>
                    <a:pt x="178" y="10"/>
                  </a:cubicBezTo>
                  <a:cubicBezTo>
                    <a:pt x="178" y="2"/>
                    <a:pt x="178" y="2"/>
                    <a:pt x="178" y="2"/>
                  </a:cubicBezTo>
                  <a:cubicBezTo>
                    <a:pt x="178" y="1"/>
                    <a:pt x="179" y="0"/>
                    <a:pt x="180" y="0"/>
                  </a:cubicBezTo>
                  <a:cubicBezTo>
                    <a:pt x="181" y="0"/>
                    <a:pt x="182" y="1"/>
                    <a:pt x="182" y="2"/>
                  </a:cubicBezTo>
                  <a:cubicBezTo>
                    <a:pt x="182" y="10"/>
                    <a:pt x="182" y="10"/>
                    <a:pt x="182" y="10"/>
                  </a:cubicBezTo>
                  <a:cubicBezTo>
                    <a:pt x="182" y="11"/>
                    <a:pt x="181" y="12"/>
                    <a:pt x="180" y="12"/>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1" name="Freeform 23">
              <a:extLst>
                <a:ext uri="{FF2B5EF4-FFF2-40B4-BE49-F238E27FC236}">
                  <a16:creationId xmlns:a16="http://schemas.microsoft.com/office/drawing/2014/main" id="{28AF2B39-8F81-4291-B665-F7AE9F1B603B}"/>
                </a:ext>
              </a:extLst>
            </p:cNvPr>
            <p:cNvSpPr>
              <a:spLocks/>
            </p:cNvSpPr>
            <p:nvPr/>
          </p:nvSpPr>
          <p:spPr bwMode="auto">
            <a:xfrm>
              <a:off x="3352" y="984"/>
              <a:ext cx="1200" cy="1152"/>
            </a:xfrm>
            <a:custGeom>
              <a:avLst/>
              <a:gdLst>
                <a:gd name="T0" fmla="*/ 423 w 423"/>
                <a:gd name="T1" fmla="*/ 151 h 406"/>
                <a:gd name="T2" fmla="*/ 423 w 423"/>
                <a:gd name="T3" fmla="*/ 80 h 406"/>
                <a:gd name="T4" fmla="*/ 343 w 423"/>
                <a:gd name="T5" fmla="*/ 0 h 406"/>
                <a:gd name="T6" fmla="*/ 81 w 423"/>
                <a:gd name="T7" fmla="*/ 0 h 406"/>
                <a:gd name="T8" fmla="*/ 0 w 423"/>
                <a:gd name="T9" fmla="*/ 80 h 406"/>
                <a:gd name="T10" fmla="*/ 0 w 423"/>
                <a:gd name="T11" fmla="*/ 253 h 406"/>
                <a:gd name="T12" fmla="*/ 81 w 423"/>
                <a:gd name="T13" fmla="*/ 333 h 406"/>
                <a:gd name="T14" fmla="*/ 125 w 423"/>
                <a:gd name="T15" fmla="*/ 333 h 406"/>
                <a:gd name="T16" fmla="*/ 125 w 423"/>
                <a:gd name="T17" fmla="*/ 406 h 406"/>
                <a:gd name="T18" fmla="*/ 197 w 423"/>
                <a:gd name="T19" fmla="*/ 333 h 406"/>
                <a:gd name="T20" fmla="*/ 209 w 423"/>
                <a:gd name="T21" fmla="*/ 333 h 406"/>
                <a:gd name="T22" fmla="*/ 245 w 423"/>
                <a:gd name="T23" fmla="*/ 33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3" h="406">
                  <a:moveTo>
                    <a:pt x="423" y="151"/>
                  </a:moveTo>
                  <a:cubicBezTo>
                    <a:pt x="423" y="80"/>
                    <a:pt x="423" y="80"/>
                    <a:pt x="423" y="80"/>
                  </a:cubicBezTo>
                  <a:cubicBezTo>
                    <a:pt x="423" y="36"/>
                    <a:pt x="387" y="0"/>
                    <a:pt x="343" y="0"/>
                  </a:cubicBezTo>
                  <a:cubicBezTo>
                    <a:pt x="81" y="0"/>
                    <a:pt x="81" y="0"/>
                    <a:pt x="81" y="0"/>
                  </a:cubicBezTo>
                  <a:cubicBezTo>
                    <a:pt x="36" y="0"/>
                    <a:pt x="0" y="36"/>
                    <a:pt x="0" y="80"/>
                  </a:cubicBezTo>
                  <a:cubicBezTo>
                    <a:pt x="0" y="253"/>
                    <a:pt x="0" y="253"/>
                    <a:pt x="0" y="253"/>
                  </a:cubicBezTo>
                  <a:cubicBezTo>
                    <a:pt x="0" y="297"/>
                    <a:pt x="36" y="333"/>
                    <a:pt x="81" y="333"/>
                  </a:cubicBezTo>
                  <a:cubicBezTo>
                    <a:pt x="125" y="333"/>
                    <a:pt x="125" y="333"/>
                    <a:pt x="125" y="333"/>
                  </a:cubicBezTo>
                  <a:cubicBezTo>
                    <a:pt x="125" y="406"/>
                    <a:pt x="125" y="406"/>
                    <a:pt x="125" y="406"/>
                  </a:cubicBezTo>
                  <a:cubicBezTo>
                    <a:pt x="197" y="333"/>
                    <a:pt x="197" y="333"/>
                    <a:pt x="197" y="333"/>
                  </a:cubicBezTo>
                  <a:cubicBezTo>
                    <a:pt x="209" y="333"/>
                    <a:pt x="209" y="333"/>
                    <a:pt x="209" y="333"/>
                  </a:cubicBezTo>
                  <a:cubicBezTo>
                    <a:pt x="245" y="333"/>
                    <a:pt x="245" y="333"/>
                    <a:pt x="245" y="333"/>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2" name="Freeform 24">
              <a:extLst>
                <a:ext uri="{FF2B5EF4-FFF2-40B4-BE49-F238E27FC236}">
                  <a16:creationId xmlns:a16="http://schemas.microsoft.com/office/drawing/2014/main" id="{6262AB2A-813A-47EC-B130-E584CB262977}"/>
                </a:ext>
              </a:extLst>
            </p:cNvPr>
            <p:cNvSpPr>
              <a:spLocks/>
            </p:cNvSpPr>
            <p:nvPr/>
          </p:nvSpPr>
          <p:spPr bwMode="auto">
            <a:xfrm>
              <a:off x="4047" y="1503"/>
              <a:ext cx="1197" cy="1152"/>
            </a:xfrm>
            <a:custGeom>
              <a:avLst/>
              <a:gdLst>
                <a:gd name="T0" fmla="*/ 0 w 422"/>
                <a:gd name="T1" fmla="*/ 107 h 406"/>
                <a:gd name="T2" fmla="*/ 0 w 422"/>
                <a:gd name="T3" fmla="*/ 80 h 406"/>
                <a:gd name="T4" fmla="*/ 80 w 422"/>
                <a:gd name="T5" fmla="*/ 0 h 406"/>
                <a:gd name="T6" fmla="*/ 342 w 422"/>
                <a:gd name="T7" fmla="*/ 0 h 406"/>
                <a:gd name="T8" fmla="*/ 422 w 422"/>
                <a:gd name="T9" fmla="*/ 80 h 406"/>
                <a:gd name="T10" fmla="*/ 422 w 422"/>
                <a:gd name="T11" fmla="*/ 253 h 406"/>
                <a:gd name="T12" fmla="*/ 342 w 422"/>
                <a:gd name="T13" fmla="*/ 333 h 406"/>
                <a:gd name="T14" fmla="*/ 284 w 422"/>
                <a:gd name="T15" fmla="*/ 333 h 406"/>
                <a:gd name="T16" fmla="*/ 284 w 422"/>
                <a:gd name="T17" fmla="*/ 406 h 406"/>
                <a:gd name="T18" fmla="*/ 212 w 422"/>
                <a:gd name="T19" fmla="*/ 333 h 406"/>
                <a:gd name="T20" fmla="*/ 80 w 422"/>
                <a:gd name="T21" fmla="*/ 333 h 406"/>
                <a:gd name="T22" fmla="*/ 0 w 422"/>
                <a:gd name="T23" fmla="*/ 253 h 406"/>
                <a:gd name="T24" fmla="*/ 0 w 422"/>
                <a:gd name="T25" fmla="*/ 171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2" h="406">
                  <a:moveTo>
                    <a:pt x="0" y="107"/>
                  </a:moveTo>
                  <a:cubicBezTo>
                    <a:pt x="0" y="80"/>
                    <a:pt x="0" y="80"/>
                    <a:pt x="0" y="80"/>
                  </a:cubicBezTo>
                  <a:cubicBezTo>
                    <a:pt x="0" y="36"/>
                    <a:pt x="35" y="0"/>
                    <a:pt x="80" y="0"/>
                  </a:cubicBezTo>
                  <a:cubicBezTo>
                    <a:pt x="342" y="0"/>
                    <a:pt x="342" y="0"/>
                    <a:pt x="342" y="0"/>
                  </a:cubicBezTo>
                  <a:cubicBezTo>
                    <a:pt x="386" y="0"/>
                    <a:pt x="422" y="36"/>
                    <a:pt x="422" y="80"/>
                  </a:cubicBezTo>
                  <a:cubicBezTo>
                    <a:pt x="422" y="253"/>
                    <a:pt x="422" y="253"/>
                    <a:pt x="422" y="253"/>
                  </a:cubicBezTo>
                  <a:cubicBezTo>
                    <a:pt x="422" y="297"/>
                    <a:pt x="386" y="333"/>
                    <a:pt x="342" y="333"/>
                  </a:cubicBezTo>
                  <a:cubicBezTo>
                    <a:pt x="284" y="333"/>
                    <a:pt x="284" y="333"/>
                    <a:pt x="284" y="333"/>
                  </a:cubicBezTo>
                  <a:cubicBezTo>
                    <a:pt x="284" y="406"/>
                    <a:pt x="284" y="406"/>
                    <a:pt x="284" y="406"/>
                  </a:cubicBezTo>
                  <a:cubicBezTo>
                    <a:pt x="212" y="333"/>
                    <a:pt x="212" y="333"/>
                    <a:pt x="212" y="333"/>
                  </a:cubicBezTo>
                  <a:cubicBezTo>
                    <a:pt x="80" y="333"/>
                    <a:pt x="80" y="333"/>
                    <a:pt x="80" y="333"/>
                  </a:cubicBezTo>
                  <a:cubicBezTo>
                    <a:pt x="35" y="333"/>
                    <a:pt x="0" y="297"/>
                    <a:pt x="0" y="253"/>
                  </a:cubicBezTo>
                  <a:cubicBezTo>
                    <a:pt x="0" y="171"/>
                    <a:pt x="0" y="171"/>
                    <a:pt x="0" y="171"/>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25">
              <a:extLst>
                <a:ext uri="{FF2B5EF4-FFF2-40B4-BE49-F238E27FC236}">
                  <a16:creationId xmlns:a16="http://schemas.microsoft.com/office/drawing/2014/main" id="{0E7A7510-FC1E-4E22-843C-2E6648904555}"/>
                </a:ext>
              </a:extLst>
            </p:cNvPr>
            <p:cNvSpPr>
              <a:spLocks/>
            </p:cNvSpPr>
            <p:nvPr/>
          </p:nvSpPr>
          <p:spPr bwMode="auto">
            <a:xfrm>
              <a:off x="3587" y="2993"/>
              <a:ext cx="324" cy="352"/>
            </a:xfrm>
            <a:custGeom>
              <a:avLst/>
              <a:gdLst>
                <a:gd name="T0" fmla="*/ 114 w 114"/>
                <a:gd name="T1" fmla="*/ 110 h 124"/>
                <a:gd name="T2" fmla="*/ 26 w 114"/>
                <a:gd name="T3" fmla="*/ 92 h 124"/>
                <a:gd name="T4" fmla="*/ 0 w 114"/>
                <a:gd name="T5" fmla="*/ 0 h 124"/>
              </a:gdLst>
              <a:ahLst/>
              <a:cxnLst>
                <a:cxn ang="0">
                  <a:pos x="T0" y="T1"/>
                </a:cxn>
                <a:cxn ang="0">
                  <a:pos x="T2" y="T3"/>
                </a:cxn>
                <a:cxn ang="0">
                  <a:pos x="T4" y="T5"/>
                </a:cxn>
              </a:cxnLst>
              <a:rect l="0" t="0" r="r" b="b"/>
              <a:pathLst>
                <a:path w="114" h="124">
                  <a:moveTo>
                    <a:pt x="114" y="110"/>
                  </a:moveTo>
                  <a:cubicBezTo>
                    <a:pt x="109" y="109"/>
                    <a:pt x="44" y="124"/>
                    <a:pt x="26" y="92"/>
                  </a:cubicBezTo>
                  <a:cubicBezTo>
                    <a:pt x="9" y="63"/>
                    <a:pt x="25" y="41"/>
                    <a:pt x="0" y="0"/>
                  </a:cubicBezTo>
                </a:path>
              </a:pathLst>
            </a:custGeom>
            <a:noFill/>
            <a:ln w="1905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Line 26">
              <a:extLst>
                <a:ext uri="{FF2B5EF4-FFF2-40B4-BE49-F238E27FC236}">
                  <a16:creationId xmlns:a16="http://schemas.microsoft.com/office/drawing/2014/main" id="{49C99ADF-407A-4AF8-A2F1-F25D18686649}"/>
                </a:ext>
              </a:extLst>
            </p:cNvPr>
            <p:cNvSpPr>
              <a:spLocks noChangeShapeType="1"/>
            </p:cNvSpPr>
            <p:nvPr/>
          </p:nvSpPr>
          <p:spPr bwMode="auto">
            <a:xfrm flipH="1">
              <a:off x="3678" y="3308"/>
              <a:ext cx="48" cy="204"/>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Line 27">
              <a:extLst>
                <a:ext uri="{FF2B5EF4-FFF2-40B4-BE49-F238E27FC236}">
                  <a16:creationId xmlns:a16="http://schemas.microsoft.com/office/drawing/2014/main" id="{CF08D33B-11D0-4A21-BFE2-8C03238A686A}"/>
                </a:ext>
              </a:extLst>
            </p:cNvPr>
            <p:cNvSpPr>
              <a:spLocks noChangeShapeType="1"/>
            </p:cNvSpPr>
            <p:nvPr/>
          </p:nvSpPr>
          <p:spPr bwMode="auto">
            <a:xfrm>
              <a:off x="3871" y="3308"/>
              <a:ext cx="45" cy="204"/>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Line 28">
              <a:extLst>
                <a:ext uri="{FF2B5EF4-FFF2-40B4-BE49-F238E27FC236}">
                  <a16:creationId xmlns:a16="http://schemas.microsoft.com/office/drawing/2014/main" id="{45442F04-93DA-4338-AA49-A67A17EB84D8}"/>
                </a:ext>
              </a:extLst>
            </p:cNvPr>
            <p:cNvSpPr>
              <a:spLocks noChangeShapeType="1"/>
            </p:cNvSpPr>
            <p:nvPr/>
          </p:nvSpPr>
          <p:spPr bwMode="auto">
            <a:xfrm>
              <a:off x="4629" y="1861"/>
              <a:ext cx="380" cy="0"/>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Line 29">
              <a:extLst>
                <a:ext uri="{FF2B5EF4-FFF2-40B4-BE49-F238E27FC236}">
                  <a16:creationId xmlns:a16="http://schemas.microsoft.com/office/drawing/2014/main" id="{EF6367A8-3AEA-4694-8C11-20C251F6B12B}"/>
                </a:ext>
              </a:extLst>
            </p:cNvPr>
            <p:cNvSpPr>
              <a:spLocks noChangeShapeType="1"/>
            </p:cNvSpPr>
            <p:nvPr/>
          </p:nvSpPr>
          <p:spPr bwMode="auto">
            <a:xfrm>
              <a:off x="4552" y="1997"/>
              <a:ext cx="457" cy="0"/>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Line 30">
              <a:extLst>
                <a:ext uri="{FF2B5EF4-FFF2-40B4-BE49-F238E27FC236}">
                  <a16:creationId xmlns:a16="http://schemas.microsoft.com/office/drawing/2014/main" id="{C930ACC6-03CD-44E2-A3FD-9C757A606DF2}"/>
                </a:ext>
              </a:extLst>
            </p:cNvPr>
            <p:cNvSpPr>
              <a:spLocks noChangeShapeType="1"/>
            </p:cNvSpPr>
            <p:nvPr/>
          </p:nvSpPr>
          <p:spPr bwMode="auto">
            <a:xfrm>
              <a:off x="4254" y="2136"/>
              <a:ext cx="755" cy="0"/>
            </a:xfrm>
            <a:prstGeom prst="line">
              <a:avLst/>
            </a:prstGeom>
            <a:noFill/>
            <a:ln w="1905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31">
              <a:extLst>
                <a:ext uri="{FF2B5EF4-FFF2-40B4-BE49-F238E27FC236}">
                  <a16:creationId xmlns:a16="http://schemas.microsoft.com/office/drawing/2014/main" id="{220A1ED1-3934-4F1A-885D-832FCB225FE7}"/>
                </a:ext>
              </a:extLst>
            </p:cNvPr>
            <p:cNvSpPr>
              <a:spLocks/>
            </p:cNvSpPr>
            <p:nvPr/>
          </p:nvSpPr>
          <p:spPr bwMode="auto">
            <a:xfrm>
              <a:off x="3939" y="1526"/>
              <a:ext cx="23" cy="11"/>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32">
              <a:extLst>
                <a:ext uri="{FF2B5EF4-FFF2-40B4-BE49-F238E27FC236}">
                  <a16:creationId xmlns:a16="http://schemas.microsoft.com/office/drawing/2014/main" id="{5B668FEE-3834-409B-B9FE-CA01A0FA98C4}"/>
                </a:ext>
              </a:extLst>
            </p:cNvPr>
            <p:cNvSpPr>
              <a:spLocks noEditPoints="1"/>
            </p:cNvSpPr>
            <p:nvPr/>
          </p:nvSpPr>
          <p:spPr bwMode="auto">
            <a:xfrm>
              <a:off x="3624" y="1526"/>
              <a:ext cx="284" cy="11"/>
            </a:xfrm>
            <a:custGeom>
              <a:avLst/>
              <a:gdLst>
                <a:gd name="T0" fmla="*/ 98 w 100"/>
                <a:gd name="T1" fmla="*/ 4 h 4"/>
                <a:gd name="T2" fmla="*/ 91 w 100"/>
                <a:gd name="T3" fmla="*/ 4 h 4"/>
                <a:gd name="T4" fmla="*/ 89 w 100"/>
                <a:gd name="T5" fmla="*/ 2 h 4"/>
                <a:gd name="T6" fmla="*/ 91 w 100"/>
                <a:gd name="T7" fmla="*/ 0 h 4"/>
                <a:gd name="T8" fmla="*/ 98 w 100"/>
                <a:gd name="T9" fmla="*/ 0 h 4"/>
                <a:gd name="T10" fmla="*/ 100 w 100"/>
                <a:gd name="T11" fmla="*/ 2 h 4"/>
                <a:gd name="T12" fmla="*/ 98 w 100"/>
                <a:gd name="T13" fmla="*/ 4 h 4"/>
                <a:gd name="T14" fmla="*/ 76 w 100"/>
                <a:gd name="T15" fmla="*/ 4 h 4"/>
                <a:gd name="T16" fmla="*/ 69 w 100"/>
                <a:gd name="T17" fmla="*/ 4 h 4"/>
                <a:gd name="T18" fmla="*/ 67 w 100"/>
                <a:gd name="T19" fmla="*/ 2 h 4"/>
                <a:gd name="T20" fmla="*/ 69 w 100"/>
                <a:gd name="T21" fmla="*/ 0 h 4"/>
                <a:gd name="T22" fmla="*/ 76 w 100"/>
                <a:gd name="T23" fmla="*/ 0 h 4"/>
                <a:gd name="T24" fmla="*/ 78 w 100"/>
                <a:gd name="T25" fmla="*/ 2 h 4"/>
                <a:gd name="T26" fmla="*/ 76 w 100"/>
                <a:gd name="T27" fmla="*/ 4 h 4"/>
                <a:gd name="T28" fmla="*/ 54 w 100"/>
                <a:gd name="T29" fmla="*/ 4 h 4"/>
                <a:gd name="T30" fmla="*/ 46 w 100"/>
                <a:gd name="T31" fmla="*/ 4 h 4"/>
                <a:gd name="T32" fmla="*/ 44 w 100"/>
                <a:gd name="T33" fmla="*/ 2 h 4"/>
                <a:gd name="T34" fmla="*/ 46 w 100"/>
                <a:gd name="T35" fmla="*/ 0 h 4"/>
                <a:gd name="T36" fmla="*/ 54 w 100"/>
                <a:gd name="T37" fmla="*/ 0 h 4"/>
                <a:gd name="T38" fmla="*/ 56 w 100"/>
                <a:gd name="T39" fmla="*/ 2 h 4"/>
                <a:gd name="T40" fmla="*/ 54 w 100"/>
                <a:gd name="T41" fmla="*/ 4 h 4"/>
                <a:gd name="T42" fmla="*/ 31 w 100"/>
                <a:gd name="T43" fmla="*/ 4 h 4"/>
                <a:gd name="T44" fmla="*/ 24 w 100"/>
                <a:gd name="T45" fmla="*/ 4 h 4"/>
                <a:gd name="T46" fmla="*/ 22 w 100"/>
                <a:gd name="T47" fmla="*/ 2 h 4"/>
                <a:gd name="T48" fmla="*/ 24 w 100"/>
                <a:gd name="T49" fmla="*/ 0 h 4"/>
                <a:gd name="T50" fmla="*/ 31 w 100"/>
                <a:gd name="T51" fmla="*/ 0 h 4"/>
                <a:gd name="T52" fmla="*/ 33 w 100"/>
                <a:gd name="T53" fmla="*/ 2 h 4"/>
                <a:gd name="T54" fmla="*/ 31 w 100"/>
                <a:gd name="T55" fmla="*/ 4 h 4"/>
                <a:gd name="T56" fmla="*/ 9 w 100"/>
                <a:gd name="T57" fmla="*/ 4 h 4"/>
                <a:gd name="T58" fmla="*/ 2 w 100"/>
                <a:gd name="T59" fmla="*/ 4 h 4"/>
                <a:gd name="T60" fmla="*/ 0 w 100"/>
                <a:gd name="T61" fmla="*/ 2 h 4"/>
                <a:gd name="T62" fmla="*/ 2 w 100"/>
                <a:gd name="T63" fmla="*/ 0 h 4"/>
                <a:gd name="T64" fmla="*/ 9 w 100"/>
                <a:gd name="T65" fmla="*/ 0 h 4"/>
                <a:gd name="T66" fmla="*/ 11 w 100"/>
                <a:gd name="T67" fmla="*/ 2 h 4"/>
                <a:gd name="T68" fmla="*/ 9 w 100"/>
                <a:gd name="T6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0" h="4">
                  <a:moveTo>
                    <a:pt x="98" y="4"/>
                  </a:moveTo>
                  <a:cubicBezTo>
                    <a:pt x="91" y="4"/>
                    <a:pt x="91" y="4"/>
                    <a:pt x="91" y="4"/>
                  </a:cubicBezTo>
                  <a:cubicBezTo>
                    <a:pt x="90" y="4"/>
                    <a:pt x="89" y="3"/>
                    <a:pt x="89" y="2"/>
                  </a:cubicBezTo>
                  <a:cubicBezTo>
                    <a:pt x="89" y="1"/>
                    <a:pt x="90" y="0"/>
                    <a:pt x="91" y="0"/>
                  </a:cubicBezTo>
                  <a:cubicBezTo>
                    <a:pt x="98" y="0"/>
                    <a:pt x="98" y="0"/>
                    <a:pt x="98" y="0"/>
                  </a:cubicBezTo>
                  <a:cubicBezTo>
                    <a:pt x="100" y="0"/>
                    <a:pt x="100" y="1"/>
                    <a:pt x="100" y="2"/>
                  </a:cubicBezTo>
                  <a:cubicBezTo>
                    <a:pt x="100" y="3"/>
                    <a:pt x="100" y="4"/>
                    <a:pt x="98" y="4"/>
                  </a:cubicBezTo>
                  <a:close/>
                  <a:moveTo>
                    <a:pt x="76" y="4"/>
                  </a:moveTo>
                  <a:cubicBezTo>
                    <a:pt x="69" y="4"/>
                    <a:pt x="69" y="4"/>
                    <a:pt x="69" y="4"/>
                  </a:cubicBezTo>
                  <a:cubicBezTo>
                    <a:pt x="68" y="4"/>
                    <a:pt x="67" y="3"/>
                    <a:pt x="67" y="2"/>
                  </a:cubicBezTo>
                  <a:cubicBezTo>
                    <a:pt x="67" y="1"/>
                    <a:pt x="68" y="0"/>
                    <a:pt x="69" y="0"/>
                  </a:cubicBezTo>
                  <a:cubicBezTo>
                    <a:pt x="76" y="0"/>
                    <a:pt x="76" y="0"/>
                    <a:pt x="76" y="0"/>
                  </a:cubicBezTo>
                  <a:cubicBezTo>
                    <a:pt x="77" y="0"/>
                    <a:pt x="78" y="1"/>
                    <a:pt x="78" y="2"/>
                  </a:cubicBezTo>
                  <a:cubicBezTo>
                    <a:pt x="78" y="3"/>
                    <a:pt x="77" y="4"/>
                    <a:pt x="76" y="4"/>
                  </a:cubicBezTo>
                  <a:close/>
                  <a:moveTo>
                    <a:pt x="54" y="4"/>
                  </a:moveTo>
                  <a:cubicBezTo>
                    <a:pt x="46" y="4"/>
                    <a:pt x="46" y="4"/>
                    <a:pt x="46" y="4"/>
                  </a:cubicBezTo>
                  <a:cubicBezTo>
                    <a:pt x="45" y="4"/>
                    <a:pt x="44" y="3"/>
                    <a:pt x="44" y="2"/>
                  </a:cubicBezTo>
                  <a:cubicBezTo>
                    <a:pt x="44" y="1"/>
                    <a:pt x="45" y="0"/>
                    <a:pt x="46" y="0"/>
                  </a:cubicBezTo>
                  <a:cubicBezTo>
                    <a:pt x="54" y="0"/>
                    <a:pt x="54" y="0"/>
                    <a:pt x="54" y="0"/>
                  </a:cubicBezTo>
                  <a:cubicBezTo>
                    <a:pt x="55" y="0"/>
                    <a:pt x="56" y="1"/>
                    <a:pt x="56" y="2"/>
                  </a:cubicBezTo>
                  <a:cubicBezTo>
                    <a:pt x="56" y="3"/>
                    <a:pt x="55" y="4"/>
                    <a:pt x="54" y="4"/>
                  </a:cubicBezTo>
                  <a:close/>
                  <a:moveTo>
                    <a:pt x="31" y="4"/>
                  </a:moveTo>
                  <a:cubicBezTo>
                    <a:pt x="24" y="4"/>
                    <a:pt x="24" y="4"/>
                    <a:pt x="24" y="4"/>
                  </a:cubicBezTo>
                  <a:cubicBezTo>
                    <a:pt x="23" y="4"/>
                    <a:pt x="22" y="3"/>
                    <a:pt x="22" y="2"/>
                  </a:cubicBezTo>
                  <a:cubicBezTo>
                    <a:pt x="22" y="1"/>
                    <a:pt x="23" y="0"/>
                    <a:pt x="24" y="0"/>
                  </a:cubicBezTo>
                  <a:cubicBezTo>
                    <a:pt x="31" y="0"/>
                    <a:pt x="31" y="0"/>
                    <a:pt x="31" y="0"/>
                  </a:cubicBezTo>
                  <a:cubicBezTo>
                    <a:pt x="33" y="0"/>
                    <a:pt x="33" y="1"/>
                    <a:pt x="33" y="2"/>
                  </a:cubicBezTo>
                  <a:cubicBezTo>
                    <a:pt x="33" y="3"/>
                    <a:pt x="33" y="4"/>
                    <a:pt x="31" y="4"/>
                  </a:cubicBezTo>
                  <a:close/>
                  <a:moveTo>
                    <a:pt x="9" y="4"/>
                  </a:moveTo>
                  <a:cubicBezTo>
                    <a:pt x="2" y="4"/>
                    <a:pt x="2" y="4"/>
                    <a:pt x="2" y="4"/>
                  </a:cubicBezTo>
                  <a:cubicBezTo>
                    <a:pt x="1" y="4"/>
                    <a:pt x="0" y="3"/>
                    <a:pt x="0" y="2"/>
                  </a:cubicBezTo>
                  <a:cubicBezTo>
                    <a:pt x="0" y="1"/>
                    <a:pt x="1" y="0"/>
                    <a:pt x="2" y="0"/>
                  </a:cubicBezTo>
                  <a:cubicBezTo>
                    <a:pt x="9" y="0"/>
                    <a:pt x="9" y="0"/>
                    <a:pt x="9" y="0"/>
                  </a:cubicBezTo>
                  <a:cubicBezTo>
                    <a:pt x="10" y="0"/>
                    <a:pt x="11" y="1"/>
                    <a:pt x="11" y="2"/>
                  </a:cubicBezTo>
                  <a:cubicBezTo>
                    <a:pt x="11" y="3"/>
                    <a:pt x="10" y="4"/>
                    <a:pt x="9"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33">
              <a:extLst>
                <a:ext uri="{FF2B5EF4-FFF2-40B4-BE49-F238E27FC236}">
                  <a16:creationId xmlns:a16="http://schemas.microsoft.com/office/drawing/2014/main" id="{2CA67F91-C418-47D7-9BCE-55486763F3C1}"/>
                </a:ext>
              </a:extLst>
            </p:cNvPr>
            <p:cNvSpPr>
              <a:spLocks/>
            </p:cNvSpPr>
            <p:nvPr/>
          </p:nvSpPr>
          <p:spPr bwMode="auto">
            <a:xfrm>
              <a:off x="3570" y="1526"/>
              <a:ext cx="23" cy="11"/>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2" name="Freeform 34">
              <a:extLst>
                <a:ext uri="{FF2B5EF4-FFF2-40B4-BE49-F238E27FC236}">
                  <a16:creationId xmlns:a16="http://schemas.microsoft.com/office/drawing/2014/main" id="{0F42CF17-460B-4A09-8A68-F36BCA442FC8}"/>
                </a:ext>
              </a:extLst>
            </p:cNvPr>
            <p:cNvSpPr>
              <a:spLocks/>
            </p:cNvSpPr>
            <p:nvPr/>
          </p:nvSpPr>
          <p:spPr bwMode="auto">
            <a:xfrm>
              <a:off x="4016" y="1389"/>
              <a:ext cx="22" cy="12"/>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3" name="Freeform 35">
              <a:extLst>
                <a:ext uri="{FF2B5EF4-FFF2-40B4-BE49-F238E27FC236}">
                  <a16:creationId xmlns:a16="http://schemas.microsoft.com/office/drawing/2014/main" id="{3A04F8ED-DC16-4357-BCE8-3619B0E5A453}"/>
                </a:ext>
              </a:extLst>
            </p:cNvPr>
            <p:cNvSpPr>
              <a:spLocks noEditPoints="1"/>
            </p:cNvSpPr>
            <p:nvPr/>
          </p:nvSpPr>
          <p:spPr bwMode="auto">
            <a:xfrm>
              <a:off x="3624" y="1389"/>
              <a:ext cx="360" cy="12"/>
            </a:xfrm>
            <a:custGeom>
              <a:avLst/>
              <a:gdLst>
                <a:gd name="T0" fmla="*/ 125 w 127"/>
                <a:gd name="T1" fmla="*/ 4 h 4"/>
                <a:gd name="T2" fmla="*/ 117 w 127"/>
                <a:gd name="T3" fmla="*/ 4 h 4"/>
                <a:gd name="T4" fmla="*/ 115 w 127"/>
                <a:gd name="T5" fmla="*/ 2 h 4"/>
                <a:gd name="T6" fmla="*/ 117 w 127"/>
                <a:gd name="T7" fmla="*/ 0 h 4"/>
                <a:gd name="T8" fmla="*/ 125 w 127"/>
                <a:gd name="T9" fmla="*/ 0 h 4"/>
                <a:gd name="T10" fmla="*/ 127 w 127"/>
                <a:gd name="T11" fmla="*/ 2 h 4"/>
                <a:gd name="T12" fmla="*/ 125 w 127"/>
                <a:gd name="T13" fmla="*/ 4 h 4"/>
                <a:gd name="T14" fmla="*/ 102 w 127"/>
                <a:gd name="T15" fmla="*/ 4 h 4"/>
                <a:gd name="T16" fmla="*/ 94 w 127"/>
                <a:gd name="T17" fmla="*/ 4 h 4"/>
                <a:gd name="T18" fmla="*/ 92 w 127"/>
                <a:gd name="T19" fmla="*/ 2 h 4"/>
                <a:gd name="T20" fmla="*/ 94 w 127"/>
                <a:gd name="T21" fmla="*/ 0 h 4"/>
                <a:gd name="T22" fmla="*/ 102 w 127"/>
                <a:gd name="T23" fmla="*/ 0 h 4"/>
                <a:gd name="T24" fmla="*/ 104 w 127"/>
                <a:gd name="T25" fmla="*/ 2 h 4"/>
                <a:gd name="T26" fmla="*/ 102 w 127"/>
                <a:gd name="T27" fmla="*/ 4 h 4"/>
                <a:gd name="T28" fmla="*/ 79 w 127"/>
                <a:gd name="T29" fmla="*/ 4 h 4"/>
                <a:gd name="T30" fmla="*/ 71 w 127"/>
                <a:gd name="T31" fmla="*/ 4 h 4"/>
                <a:gd name="T32" fmla="*/ 69 w 127"/>
                <a:gd name="T33" fmla="*/ 2 h 4"/>
                <a:gd name="T34" fmla="*/ 71 w 127"/>
                <a:gd name="T35" fmla="*/ 0 h 4"/>
                <a:gd name="T36" fmla="*/ 79 w 127"/>
                <a:gd name="T37" fmla="*/ 0 h 4"/>
                <a:gd name="T38" fmla="*/ 81 w 127"/>
                <a:gd name="T39" fmla="*/ 2 h 4"/>
                <a:gd name="T40" fmla="*/ 79 w 127"/>
                <a:gd name="T41" fmla="*/ 4 h 4"/>
                <a:gd name="T42" fmla="*/ 56 w 127"/>
                <a:gd name="T43" fmla="*/ 4 h 4"/>
                <a:gd name="T44" fmla="*/ 48 w 127"/>
                <a:gd name="T45" fmla="*/ 4 h 4"/>
                <a:gd name="T46" fmla="*/ 46 w 127"/>
                <a:gd name="T47" fmla="*/ 2 h 4"/>
                <a:gd name="T48" fmla="*/ 48 w 127"/>
                <a:gd name="T49" fmla="*/ 0 h 4"/>
                <a:gd name="T50" fmla="*/ 56 w 127"/>
                <a:gd name="T51" fmla="*/ 0 h 4"/>
                <a:gd name="T52" fmla="*/ 58 w 127"/>
                <a:gd name="T53" fmla="*/ 2 h 4"/>
                <a:gd name="T54" fmla="*/ 56 w 127"/>
                <a:gd name="T55" fmla="*/ 4 h 4"/>
                <a:gd name="T56" fmla="*/ 33 w 127"/>
                <a:gd name="T57" fmla="*/ 4 h 4"/>
                <a:gd name="T58" fmla="*/ 25 w 127"/>
                <a:gd name="T59" fmla="*/ 4 h 4"/>
                <a:gd name="T60" fmla="*/ 23 w 127"/>
                <a:gd name="T61" fmla="*/ 2 h 4"/>
                <a:gd name="T62" fmla="*/ 25 w 127"/>
                <a:gd name="T63" fmla="*/ 0 h 4"/>
                <a:gd name="T64" fmla="*/ 33 w 127"/>
                <a:gd name="T65" fmla="*/ 0 h 4"/>
                <a:gd name="T66" fmla="*/ 35 w 127"/>
                <a:gd name="T67" fmla="*/ 2 h 4"/>
                <a:gd name="T68" fmla="*/ 33 w 127"/>
                <a:gd name="T69" fmla="*/ 4 h 4"/>
                <a:gd name="T70" fmla="*/ 10 w 127"/>
                <a:gd name="T71" fmla="*/ 4 h 4"/>
                <a:gd name="T72" fmla="*/ 2 w 127"/>
                <a:gd name="T73" fmla="*/ 4 h 4"/>
                <a:gd name="T74" fmla="*/ 0 w 127"/>
                <a:gd name="T75" fmla="*/ 2 h 4"/>
                <a:gd name="T76" fmla="*/ 2 w 127"/>
                <a:gd name="T77" fmla="*/ 0 h 4"/>
                <a:gd name="T78" fmla="*/ 10 w 127"/>
                <a:gd name="T79" fmla="*/ 0 h 4"/>
                <a:gd name="T80" fmla="*/ 12 w 127"/>
                <a:gd name="T81" fmla="*/ 2 h 4"/>
                <a:gd name="T82" fmla="*/ 10 w 127"/>
                <a:gd name="T83"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7" h="4">
                  <a:moveTo>
                    <a:pt x="125" y="4"/>
                  </a:moveTo>
                  <a:cubicBezTo>
                    <a:pt x="117" y="4"/>
                    <a:pt x="117" y="4"/>
                    <a:pt x="117" y="4"/>
                  </a:cubicBezTo>
                  <a:cubicBezTo>
                    <a:pt x="116" y="4"/>
                    <a:pt x="115" y="3"/>
                    <a:pt x="115" y="2"/>
                  </a:cubicBezTo>
                  <a:cubicBezTo>
                    <a:pt x="115" y="1"/>
                    <a:pt x="116" y="0"/>
                    <a:pt x="117" y="0"/>
                  </a:cubicBezTo>
                  <a:cubicBezTo>
                    <a:pt x="125" y="0"/>
                    <a:pt x="125" y="0"/>
                    <a:pt x="125" y="0"/>
                  </a:cubicBezTo>
                  <a:cubicBezTo>
                    <a:pt x="126" y="0"/>
                    <a:pt x="127" y="1"/>
                    <a:pt x="127" y="2"/>
                  </a:cubicBezTo>
                  <a:cubicBezTo>
                    <a:pt x="127" y="3"/>
                    <a:pt x="126" y="4"/>
                    <a:pt x="125" y="4"/>
                  </a:cubicBezTo>
                  <a:close/>
                  <a:moveTo>
                    <a:pt x="102" y="4"/>
                  </a:moveTo>
                  <a:cubicBezTo>
                    <a:pt x="94" y="4"/>
                    <a:pt x="94" y="4"/>
                    <a:pt x="94" y="4"/>
                  </a:cubicBezTo>
                  <a:cubicBezTo>
                    <a:pt x="93" y="4"/>
                    <a:pt x="92" y="3"/>
                    <a:pt x="92" y="2"/>
                  </a:cubicBezTo>
                  <a:cubicBezTo>
                    <a:pt x="92" y="1"/>
                    <a:pt x="93" y="0"/>
                    <a:pt x="94" y="0"/>
                  </a:cubicBezTo>
                  <a:cubicBezTo>
                    <a:pt x="102" y="0"/>
                    <a:pt x="102" y="0"/>
                    <a:pt x="102" y="0"/>
                  </a:cubicBezTo>
                  <a:cubicBezTo>
                    <a:pt x="103" y="0"/>
                    <a:pt x="104" y="1"/>
                    <a:pt x="104" y="2"/>
                  </a:cubicBezTo>
                  <a:cubicBezTo>
                    <a:pt x="104" y="3"/>
                    <a:pt x="103" y="4"/>
                    <a:pt x="102" y="4"/>
                  </a:cubicBezTo>
                  <a:close/>
                  <a:moveTo>
                    <a:pt x="79" y="4"/>
                  </a:moveTo>
                  <a:cubicBezTo>
                    <a:pt x="71" y="4"/>
                    <a:pt x="71" y="4"/>
                    <a:pt x="71" y="4"/>
                  </a:cubicBezTo>
                  <a:cubicBezTo>
                    <a:pt x="70" y="4"/>
                    <a:pt x="69" y="3"/>
                    <a:pt x="69" y="2"/>
                  </a:cubicBezTo>
                  <a:cubicBezTo>
                    <a:pt x="69" y="1"/>
                    <a:pt x="70" y="0"/>
                    <a:pt x="71" y="0"/>
                  </a:cubicBezTo>
                  <a:cubicBezTo>
                    <a:pt x="79" y="0"/>
                    <a:pt x="79" y="0"/>
                    <a:pt x="79" y="0"/>
                  </a:cubicBezTo>
                  <a:cubicBezTo>
                    <a:pt x="80" y="0"/>
                    <a:pt x="81" y="1"/>
                    <a:pt x="81" y="2"/>
                  </a:cubicBezTo>
                  <a:cubicBezTo>
                    <a:pt x="81" y="3"/>
                    <a:pt x="80" y="4"/>
                    <a:pt x="79" y="4"/>
                  </a:cubicBezTo>
                  <a:close/>
                  <a:moveTo>
                    <a:pt x="56" y="4"/>
                  </a:moveTo>
                  <a:cubicBezTo>
                    <a:pt x="48" y="4"/>
                    <a:pt x="48" y="4"/>
                    <a:pt x="48" y="4"/>
                  </a:cubicBezTo>
                  <a:cubicBezTo>
                    <a:pt x="47" y="4"/>
                    <a:pt x="46" y="3"/>
                    <a:pt x="46" y="2"/>
                  </a:cubicBezTo>
                  <a:cubicBezTo>
                    <a:pt x="46" y="1"/>
                    <a:pt x="47" y="0"/>
                    <a:pt x="48" y="0"/>
                  </a:cubicBezTo>
                  <a:cubicBezTo>
                    <a:pt x="56" y="0"/>
                    <a:pt x="56" y="0"/>
                    <a:pt x="56" y="0"/>
                  </a:cubicBezTo>
                  <a:cubicBezTo>
                    <a:pt x="57" y="0"/>
                    <a:pt x="58" y="1"/>
                    <a:pt x="58" y="2"/>
                  </a:cubicBezTo>
                  <a:cubicBezTo>
                    <a:pt x="58" y="3"/>
                    <a:pt x="57" y="4"/>
                    <a:pt x="56" y="4"/>
                  </a:cubicBezTo>
                  <a:close/>
                  <a:moveTo>
                    <a:pt x="33" y="4"/>
                  </a:moveTo>
                  <a:cubicBezTo>
                    <a:pt x="25" y="4"/>
                    <a:pt x="25" y="4"/>
                    <a:pt x="25" y="4"/>
                  </a:cubicBezTo>
                  <a:cubicBezTo>
                    <a:pt x="24" y="4"/>
                    <a:pt x="23" y="3"/>
                    <a:pt x="23" y="2"/>
                  </a:cubicBezTo>
                  <a:cubicBezTo>
                    <a:pt x="23" y="1"/>
                    <a:pt x="24" y="0"/>
                    <a:pt x="25" y="0"/>
                  </a:cubicBezTo>
                  <a:cubicBezTo>
                    <a:pt x="33" y="0"/>
                    <a:pt x="33" y="0"/>
                    <a:pt x="33" y="0"/>
                  </a:cubicBezTo>
                  <a:cubicBezTo>
                    <a:pt x="34" y="0"/>
                    <a:pt x="35" y="1"/>
                    <a:pt x="35" y="2"/>
                  </a:cubicBezTo>
                  <a:cubicBezTo>
                    <a:pt x="35" y="3"/>
                    <a:pt x="34" y="4"/>
                    <a:pt x="33" y="4"/>
                  </a:cubicBezTo>
                  <a:close/>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4" name="Freeform 36">
              <a:extLst>
                <a:ext uri="{FF2B5EF4-FFF2-40B4-BE49-F238E27FC236}">
                  <a16:creationId xmlns:a16="http://schemas.microsoft.com/office/drawing/2014/main" id="{507E68E3-8E7B-43AB-B2DE-C5723BFF3764}"/>
                </a:ext>
              </a:extLst>
            </p:cNvPr>
            <p:cNvSpPr>
              <a:spLocks/>
            </p:cNvSpPr>
            <p:nvPr/>
          </p:nvSpPr>
          <p:spPr bwMode="auto">
            <a:xfrm>
              <a:off x="3570" y="1389"/>
              <a:ext cx="23" cy="12"/>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5" name="Freeform 37">
              <a:extLst>
                <a:ext uri="{FF2B5EF4-FFF2-40B4-BE49-F238E27FC236}">
                  <a16:creationId xmlns:a16="http://schemas.microsoft.com/office/drawing/2014/main" id="{398C7DCF-D102-4383-BBB0-5278EC84B716}"/>
                </a:ext>
              </a:extLst>
            </p:cNvPr>
            <p:cNvSpPr>
              <a:spLocks/>
            </p:cNvSpPr>
            <p:nvPr/>
          </p:nvSpPr>
          <p:spPr bwMode="auto">
            <a:xfrm>
              <a:off x="4314" y="1250"/>
              <a:ext cx="22" cy="12"/>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6" name="Freeform 38">
              <a:extLst>
                <a:ext uri="{FF2B5EF4-FFF2-40B4-BE49-F238E27FC236}">
                  <a16:creationId xmlns:a16="http://schemas.microsoft.com/office/drawing/2014/main" id="{0B851C36-2A1A-4EE3-BFF3-CBD458DB9480}"/>
                </a:ext>
              </a:extLst>
            </p:cNvPr>
            <p:cNvSpPr>
              <a:spLocks noEditPoints="1"/>
            </p:cNvSpPr>
            <p:nvPr/>
          </p:nvSpPr>
          <p:spPr bwMode="auto">
            <a:xfrm>
              <a:off x="3627" y="1250"/>
              <a:ext cx="653" cy="12"/>
            </a:xfrm>
            <a:custGeom>
              <a:avLst/>
              <a:gdLst>
                <a:gd name="T0" fmla="*/ 220 w 230"/>
                <a:gd name="T1" fmla="*/ 4 h 4"/>
                <a:gd name="T2" fmla="*/ 220 w 230"/>
                <a:gd name="T3" fmla="*/ 0 h 4"/>
                <a:gd name="T4" fmla="*/ 230 w 230"/>
                <a:gd name="T5" fmla="*/ 2 h 4"/>
                <a:gd name="T6" fmla="*/ 203 w 230"/>
                <a:gd name="T7" fmla="*/ 4 h 4"/>
                <a:gd name="T8" fmla="*/ 193 w 230"/>
                <a:gd name="T9" fmla="*/ 2 h 4"/>
                <a:gd name="T10" fmla="*/ 203 w 230"/>
                <a:gd name="T11" fmla="*/ 0 h 4"/>
                <a:gd name="T12" fmla="*/ 203 w 230"/>
                <a:gd name="T13" fmla="*/ 4 h 4"/>
                <a:gd name="T14" fmla="*/ 171 w 230"/>
                <a:gd name="T15" fmla="*/ 4 h 4"/>
                <a:gd name="T16" fmla="*/ 171 w 230"/>
                <a:gd name="T17" fmla="*/ 0 h 4"/>
                <a:gd name="T18" fmla="*/ 181 w 230"/>
                <a:gd name="T19" fmla="*/ 2 h 4"/>
                <a:gd name="T20" fmla="*/ 155 w 230"/>
                <a:gd name="T21" fmla="*/ 4 h 4"/>
                <a:gd name="T22" fmla="*/ 145 w 230"/>
                <a:gd name="T23" fmla="*/ 2 h 4"/>
                <a:gd name="T24" fmla="*/ 155 w 230"/>
                <a:gd name="T25" fmla="*/ 0 h 4"/>
                <a:gd name="T26" fmla="*/ 155 w 230"/>
                <a:gd name="T27" fmla="*/ 4 h 4"/>
                <a:gd name="T28" fmla="*/ 123 w 230"/>
                <a:gd name="T29" fmla="*/ 4 h 4"/>
                <a:gd name="T30" fmla="*/ 123 w 230"/>
                <a:gd name="T31" fmla="*/ 0 h 4"/>
                <a:gd name="T32" fmla="*/ 133 w 230"/>
                <a:gd name="T33" fmla="*/ 2 h 4"/>
                <a:gd name="T34" fmla="*/ 107 w 230"/>
                <a:gd name="T35" fmla="*/ 4 h 4"/>
                <a:gd name="T36" fmla="*/ 97 w 230"/>
                <a:gd name="T37" fmla="*/ 2 h 4"/>
                <a:gd name="T38" fmla="*/ 107 w 230"/>
                <a:gd name="T39" fmla="*/ 0 h 4"/>
                <a:gd name="T40" fmla="*/ 107 w 230"/>
                <a:gd name="T41" fmla="*/ 4 h 4"/>
                <a:gd name="T42" fmla="*/ 74 w 230"/>
                <a:gd name="T43" fmla="*/ 4 h 4"/>
                <a:gd name="T44" fmla="*/ 74 w 230"/>
                <a:gd name="T45" fmla="*/ 0 h 4"/>
                <a:gd name="T46" fmla="*/ 85 w 230"/>
                <a:gd name="T47" fmla="*/ 2 h 4"/>
                <a:gd name="T48" fmla="*/ 58 w 230"/>
                <a:gd name="T49" fmla="*/ 4 h 4"/>
                <a:gd name="T50" fmla="*/ 48 w 230"/>
                <a:gd name="T51" fmla="*/ 2 h 4"/>
                <a:gd name="T52" fmla="*/ 58 w 230"/>
                <a:gd name="T53" fmla="*/ 0 h 4"/>
                <a:gd name="T54" fmla="*/ 58 w 230"/>
                <a:gd name="T55" fmla="*/ 4 h 4"/>
                <a:gd name="T56" fmla="*/ 26 w 230"/>
                <a:gd name="T57" fmla="*/ 4 h 4"/>
                <a:gd name="T58" fmla="*/ 26 w 230"/>
                <a:gd name="T59" fmla="*/ 0 h 4"/>
                <a:gd name="T60" fmla="*/ 36 w 230"/>
                <a:gd name="T61" fmla="*/ 2 h 4"/>
                <a:gd name="T62" fmla="*/ 10 w 230"/>
                <a:gd name="T63" fmla="*/ 4 h 4"/>
                <a:gd name="T64" fmla="*/ 0 w 230"/>
                <a:gd name="T65" fmla="*/ 2 h 4"/>
                <a:gd name="T66" fmla="*/ 10 w 230"/>
                <a:gd name="T67" fmla="*/ 0 h 4"/>
                <a:gd name="T68" fmla="*/ 10 w 230"/>
                <a:gd name="T6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0" h="4">
                  <a:moveTo>
                    <a:pt x="228" y="4"/>
                  </a:moveTo>
                  <a:cubicBezTo>
                    <a:pt x="220" y="4"/>
                    <a:pt x="220" y="4"/>
                    <a:pt x="220" y="4"/>
                  </a:cubicBezTo>
                  <a:cubicBezTo>
                    <a:pt x="218" y="4"/>
                    <a:pt x="218" y="3"/>
                    <a:pt x="218" y="2"/>
                  </a:cubicBezTo>
                  <a:cubicBezTo>
                    <a:pt x="218" y="1"/>
                    <a:pt x="218" y="0"/>
                    <a:pt x="220" y="0"/>
                  </a:cubicBezTo>
                  <a:cubicBezTo>
                    <a:pt x="228" y="0"/>
                    <a:pt x="228" y="0"/>
                    <a:pt x="228" y="0"/>
                  </a:cubicBezTo>
                  <a:cubicBezTo>
                    <a:pt x="229" y="0"/>
                    <a:pt x="230" y="1"/>
                    <a:pt x="230" y="2"/>
                  </a:cubicBezTo>
                  <a:cubicBezTo>
                    <a:pt x="230" y="3"/>
                    <a:pt x="229" y="4"/>
                    <a:pt x="228" y="4"/>
                  </a:cubicBezTo>
                  <a:close/>
                  <a:moveTo>
                    <a:pt x="203" y="4"/>
                  </a:moveTo>
                  <a:cubicBezTo>
                    <a:pt x="195" y="4"/>
                    <a:pt x="195" y="4"/>
                    <a:pt x="195" y="4"/>
                  </a:cubicBezTo>
                  <a:cubicBezTo>
                    <a:pt x="194" y="4"/>
                    <a:pt x="193" y="3"/>
                    <a:pt x="193" y="2"/>
                  </a:cubicBezTo>
                  <a:cubicBezTo>
                    <a:pt x="193" y="1"/>
                    <a:pt x="194" y="0"/>
                    <a:pt x="195" y="0"/>
                  </a:cubicBezTo>
                  <a:cubicBezTo>
                    <a:pt x="203" y="0"/>
                    <a:pt x="203" y="0"/>
                    <a:pt x="203" y="0"/>
                  </a:cubicBezTo>
                  <a:cubicBezTo>
                    <a:pt x="204" y="0"/>
                    <a:pt x="205" y="1"/>
                    <a:pt x="205" y="2"/>
                  </a:cubicBezTo>
                  <a:cubicBezTo>
                    <a:pt x="205" y="3"/>
                    <a:pt x="204" y="4"/>
                    <a:pt x="203" y="4"/>
                  </a:cubicBezTo>
                  <a:close/>
                  <a:moveTo>
                    <a:pt x="179" y="4"/>
                  </a:moveTo>
                  <a:cubicBezTo>
                    <a:pt x="171" y="4"/>
                    <a:pt x="171" y="4"/>
                    <a:pt x="171" y="4"/>
                  </a:cubicBezTo>
                  <a:cubicBezTo>
                    <a:pt x="170" y="4"/>
                    <a:pt x="169" y="3"/>
                    <a:pt x="169" y="2"/>
                  </a:cubicBezTo>
                  <a:cubicBezTo>
                    <a:pt x="169" y="1"/>
                    <a:pt x="170" y="0"/>
                    <a:pt x="171" y="0"/>
                  </a:cubicBezTo>
                  <a:cubicBezTo>
                    <a:pt x="179" y="0"/>
                    <a:pt x="179" y="0"/>
                    <a:pt x="179" y="0"/>
                  </a:cubicBezTo>
                  <a:cubicBezTo>
                    <a:pt x="180" y="0"/>
                    <a:pt x="181" y="1"/>
                    <a:pt x="181" y="2"/>
                  </a:cubicBezTo>
                  <a:cubicBezTo>
                    <a:pt x="181" y="3"/>
                    <a:pt x="180" y="4"/>
                    <a:pt x="179" y="4"/>
                  </a:cubicBezTo>
                  <a:close/>
                  <a:moveTo>
                    <a:pt x="155" y="4"/>
                  </a:moveTo>
                  <a:cubicBezTo>
                    <a:pt x="147" y="4"/>
                    <a:pt x="147" y="4"/>
                    <a:pt x="147" y="4"/>
                  </a:cubicBezTo>
                  <a:cubicBezTo>
                    <a:pt x="146" y="4"/>
                    <a:pt x="145" y="3"/>
                    <a:pt x="145" y="2"/>
                  </a:cubicBezTo>
                  <a:cubicBezTo>
                    <a:pt x="145" y="1"/>
                    <a:pt x="146" y="0"/>
                    <a:pt x="147" y="0"/>
                  </a:cubicBezTo>
                  <a:cubicBezTo>
                    <a:pt x="155" y="0"/>
                    <a:pt x="155" y="0"/>
                    <a:pt x="155" y="0"/>
                  </a:cubicBezTo>
                  <a:cubicBezTo>
                    <a:pt x="156" y="0"/>
                    <a:pt x="157" y="1"/>
                    <a:pt x="157" y="2"/>
                  </a:cubicBezTo>
                  <a:cubicBezTo>
                    <a:pt x="157" y="3"/>
                    <a:pt x="156" y="4"/>
                    <a:pt x="155" y="4"/>
                  </a:cubicBezTo>
                  <a:close/>
                  <a:moveTo>
                    <a:pt x="131" y="4"/>
                  </a:moveTo>
                  <a:cubicBezTo>
                    <a:pt x="123" y="4"/>
                    <a:pt x="123" y="4"/>
                    <a:pt x="123" y="4"/>
                  </a:cubicBezTo>
                  <a:cubicBezTo>
                    <a:pt x="122" y="4"/>
                    <a:pt x="121" y="3"/>
                    <a:pt x="121" y="2"/>
                  </a:cubicBezTo>
                  <a:cubicBezTo>
                    <a:pt x="121" y="1"/>
                    <a:pt x="122" y="0"/>
                    <a:pt x="123" y="0"/>
                  </a:cubicBezTo>
                  <a:cubicBezTo>
                    <a:pt x="131" y="0"/>
                    <a:pt x="131" y="0"/>
                    <a:pt x="131" y="0"/>
                  </a:cubicBezTo>
                  <a:cubicBezTo>
                    <a:pt x="132" y="0"/>
                    <a:pt x="133" y="1"/>
                    <a:pt x="133" y="2"/>
                  </a:cubicBezTo>
                  <a:cubicBezTo>
                    <a:pt x="133" y="3"/>
                    <a:pt x="132" y="4"/>
                    <a:pt x="131" y="4"/>
                  </a:cubicBezTo>
                  <a:close/>
                  <a:moveTo>
                    <a:pt x="107" y="4"/>
                  </a:moveTo>
                  <a:cubicBezTo>
                    <a:pt x="99" y="4"/>
                    <a:pt x="99" y="4"/>
                    <a:pt x="99" y="4"/>
                  </a:cubicBezTo>
                  <a:cubicBezTo>
                    <a:pt x="98" y="4"/>
                    <a:pt x="97" y="3"/>
                    <a:pt x="97" y="2"/>
                  </a:cubicBezTo>
                  <a:cubicBezTo>
                    <a:pt x="97" y="1"/>
                    <a:pt x="98" y="0"/>
                    <a:pt x="99" y="0"/>
                  </a:cubicBezTo>
                  <a:cubicBezTo>
                    <a:pt x="107" y="0"/>
                    <a:pt x="107" y="0"/>
                    <a:pt x="107" y="0"/>
                  </a:cubicBezTo>
                  <a:cubicBezTo>
                    <a:pt x="108" y="0"/>
                    <a:pt x="109" y="1"/>
                    <a:pt x="109" y="2"/>
                  </a:cubicBezTo>
                  <a:cubicBezTo>
                    <a:pt x="109" y="3"/>
                    <a:pt x="108" y="4"/>
                    <a:pt x="107" y="4"/>
                  </a:cubicBezTo>
                  <a:close/>
                  <a:moveTo>
                    <a:pt x="83" y="4"/>
                  </a:moveTo>
                  <a:cubicBezTo>
                    <a:pt x="74" y="4"/>
                    <a:pt x="74" y="4"/>
                    <a:pt x="74" y="4"/>
                  </a:cubicBezTo>
                  <a:cubicBezTo>
                    <a:pt x="73" y="4"/>
                    <a:pt x="72" y="3"/>
                    <a:pt x="72" y="2"/>
                  </a:cubicBezTo>
                  <a:cubicBezTo>
                    <a:pt x="72" y="1"/>
                    <a:pt x="73" y="0"/>
                    <a:pt x="74" y="0"/>
                  </a:cubicBezTo>
                  <a:cubicBezTo>
                    <a:pt x="83" y="0"/>
                    <a:pt x="83" y="0"/>
                    <a:pt x="83" y="0"/>
                  </a:cubicBezTo>
                  <a:cubicBezTo>
                    <a:pt x="84" y="0"/>
                    <a:pt x="85" y="1"/>
                    <a:pt x="85" y="2"/>
                  </a:cubicBezTo>
                  <a:cubicBezTo>
                    <a:pt x="85" y="3"/>
                    <a:pt x="84" y="4"/>
                    <a:pt x="83" y="4"/>
                  </a:cubicBezTo>
                  <a:close/>
                  <a:moveTo>
                    <a:pt x="58" y="4"/>
                  </a:moveTo>
                  <a:cubicBezTo>
                    <a:pt x="50" y="4"/>
                    <a:pt x="50" y="4"/>
                    <a:pt x="50" y="4"/>
                  </a:cubicBezTo>
                  <a:cubicBezTo>
                    <a:pt x="49" y="4"/>
                    <a:pt x="48" y="3"/>
                    <a:pt x="48" y="2"/>
                  </a:cubicBezTo>
                  <a:cubicBezTo>
                    <a:pt x="48" y="1"/>
                    <a:pt x="49" y="0"/>
                    <a:pt x="50" y="0"/>
                  </a:cubicBezTo>
                  <a:cubicBezTo>
                    <a:pt x="58" y="0"/>
                    <a:pt x="58" y="0"/>
                    <a:pt x="58" y="0"/>
                  </a:cubicBezTo>
                  <a:cubicBezTo>
                    <a:pt x="59" y="0"/>
                    <a:pt x="60" y="1"/>
                    <a:pt x="60" y="2"/>
                  </a:cubicBezTo>
                  <a:cubicBezTo>
                    <a:pt x="60" y="3"/>
                    <a:pt x="59" y="4"/>
                    <a:pt x="58" y="4"/>
                  </a:cubicBezTo>
                  <a:close/>
                  <a:moveTo>
                    <a:pt x="34" y="4"/>
                  </a:moveTo>
                  <a:cubicBezTo>
                    <a:pt x="26" y="4"/>
                    <a:pt x="26" y="4"/>
                    <a:pt x="26" y="4"/>
                  </a:cubicBezTo>
                  <a:cubicBezTo>
                    <a:pt x="25" y="4"/>
                    <a:pt x="24" y="3"/>
                    <a:pt x="24" y="2"/>
                  </a:cubicBezTo>
                  <a:cubicBezTo>
                    <a:pt x="24" y="1"/>
                    <a:pt x="25" y="0"/>
                    <a:pt x="26" y="0"/>
                  </a:cubicBezTo>
                  <a:cubicBezTo>
                    <a:pt x="34" y="0"/>
                    <a:pt x="34" y="0"/>
                    <a:pt x="34" y="0"/>
                  </a:cubicBezTo>
                  <a:cubicBezTo>
                    <a:pt x="35" y="0"/>
                    <a:pt x="36" y="1"/>
                    <a:pt x="36" y="2"/>
                  </a:cubicBezTo>
                  <a:cubicBezTo>
                    <a:pt x="36" y="3"/>
                    <a:pt x="35" y="4"/>
                    <a:pt x="34" y="4"/>
                  </a:cubicBezTo>
                  <a:close/>
                  <a:moveTo>
                    <a:pt x="10" y="4"/>
                  </a:moveTo>
                  <a:cubicBezTo>
                    <a:pt x="2" y="4"/>
                    <a:pt x="2" y="4"/>
                    <a:pt x="2" y="4"/>
                  </a:cubicBezTo>
                  <a:cubicBezTo>
                    <a:pt x="1" y="4"/>
                    <a:pt x="0" y="3"/>
                    <a:pt x="0" y="2"/>
                  </a:cubicBezTo>
                  <a:cubicBezTo>
                    <a:pt x="0" y="1"/>
                    <a:pt x="1" y="0"/>
                    <a:pt x="2" y="0"/>
                  </a:cubicBezTo>
                  <a:cubicBezTo>
                    <a:pt x="10" y="0"/>
                    <a:pt x="10" y="0"/>
                    <a:pt x="10" y="0"/>
                  </a:cubicBezTo>
                  <a:cubicBezTo>
                    <a:pt x="11" y="0"/>
                    <a:pt x="12" y="1"/>
                    <a:pt x="12" y="2"/>
                  </a:cubicBezTo>
                  <a:cubicBezTo>
                    <a:pt x="12" y="3"/>
                    <a:pt x="11" y="4"/>
                    <a:pt x="10"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7" name="Freeform 39">
              <a:extLst>
                <a:ext uri="{FF2B5EF4-FFF2-40B4-BE49-F238E27FC236}">
                  <a16:creationId xmlns:a16="http://schemas.microsoft.com/office/drawing/2014/main" id="{76A65B1D-DEB8-4EEF-B5C6-EFE229BD43EF}"/>
                </a:ext>
              </a:extLst>
            </p:cNvPr>
            <p:cNvSpPr>
              <a:spLocks/>
            </p:cNvSpPr>
            <p:nvPr/>
          </p:nvSpPr>
          <p:spPr bwMode="auto">
            <a:xfrm>
              <a:off x="3570" y="1250"/>
              <a:ext cx="23" cy="12"/>
            </a:xfrm>
            <a:custGeom>
              <a:avLst/>
              <a:gdLst>
                <a:gd name="T0" fmla="*/ 6 w 8"/>
                <a:gd name="T1" fmla="*/ 4 h 4"/>
                <a:gd name="T2" fmla="*/ 2 w 8"/>
                <a:gd name="T3" fmla="*/ 4 h 4"/>
                <a:gd name="T4" fmla="*/ 0 w 8"/>
                <a:gd name="T5" fmla="*/ 2 h 4"/>
                <a:gd name="T6" fmla="*/ 2 w 8"/>
                <a:gd name="T7" fmla="*/ 0 h 4"/>
                <a:gd name="T8" fmla="*/ 6 w 8"/>
                <a:gd name="T9" fmla="*/ 0 h 4"/>
                <a:gd name="T10" fmla="*/ 8 w 8"/>
                <a:gd name="T11" fmla="*/ 2 h 4"/>
                <a:gd name="T12" fmla="*/ 6 w 8"/>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8" h="4">
                  <a:moveTo>
                    <a:pt x="6" y="4"/>
                  </a:moveTo>
                  <a:cubicBezTo>
                    <a:pt x="2" y="4"/>
                    <a:pt x="2" y="4"/>
                    <a:pt x="2" y="4"/>
                  </a:cubicBezTo>
                  <a:cubicBezTo>
                    <a:pt x="1" y="4"/>
                    <a:pt x="0" y="3"/>
                    <a:pt x="0" y="2"/>
                  </a:cubicBezTo>
                  <a:cubicBezTo>
                    <a:pt x="0" y="1"/>
                    <a:pt x="1" y="0"/>
                    <a:pt x="2" y="0"/>
                  </a:cubicBezTo>
                  <a:cubicBezTo>
                    <a:pt x="6" y="0"/>
                    <a:pt x="6" y="0"/>
                    <a:pt x="6" y="0"/>
                  </a:cubicBezTo>
                  <a:cubicBezTo>
                    <a:pt x="7" y="0"/>
                    <a:pt x="8" y="1"/>
                    <a:pt x="8" y="2"/>
                  </a:cubicBezTo>
                  <a:cubicBezTo>
                    <a:pt x="8" y="3"/>
                    <a:pt x="7" y="4"/>
                    <a:pt x="6" y="4"/>
                  </a:cubicBezTo>
                  <a:close/>
                </a:path>
              </a:pathLst>
            </a:custGeom>
            <a:solidFill>
              <a:srgbClr val="3037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67" name="Rectangle 66">
            <a:extLst>
              <a:ext uri="{FF2B5EF4-FFF2-40B4-BE49-F238E27FC236}">
                <a16:creationId xmlns:a16="http://schemas.microsoft.com/office/drawing/2014/main" id="{9E4448BB-E68D-4C03-9E4C-3E5FB8590CC3}"/>
              </a:ext>
            </a:extLst>
          </p:cNvPr>
          <p:cNvSpPr/>
          <p:nvPr/>
        </p:nvSpPr>
        <p:spPr>
          <a:xfrm>
            <a:off x="269874" y="2142341"/>
            <a:ext cx="3742274" cy="3427068"/>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13" name="Content Placeholder 6">
            <a:extLst>
              <a:ext uri="{FF2B5EF4-FFF2-40B4-BE49-F238E27FC236}">
                <a16:creationId xmlns:a16="http://schemas.microsoft.com/office/drawing/2014/main" id="{35553EAD-86A5-4C55-9FF8-9AF0FE0E51B8}"/>
              </a:ext>
            </a:extLst>
          </p:cNvPr>
          <p:cNvSpPr txBox="1">
            <a:spLocks/>
          </p:cNvSpPr>
          <p:nvPr/>
        </p:nvSpPr>
        <p:spPr>
          <a:xfrm>
            <a:off x="569343" y="3112306"/>
            <a:ext cx="3361399" cy="575542"/>
          </a:xfrm>
          <a:prstGeom prst="rect">
            <a:avLst/>
          </a:prstGeom>
        </p:spPr>
        <p:txBody>
          <a:bodyPr lIns="0" tIns="0" rIns="0" bIns="0" anchor="ctr">
            <a:noAutofit/>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defRPr/>
            </a:pPr>
            <a:r>
              <a:rPr lang="en-GB" sz="1200" dirty="0"/>
              <a:t>“</a:t>
            </a:r>
            <a:r>
              <a:rPr lang="en-GB" sz="2000" b="1" dirty="0"/>
              <a:t>I have A view worth hearing, but I may be missing something.”</a:t>
            </a:r>
          </a:p>
          <a:p>
            <a:pPr>
              <a:defRPr/>
            </a:pPr>
            <a:r>
              <a:rPr lang="en-GB" sz="2000" b="1" dirty="0"/>
              <a:t> And …</a:t>
            </a:r>
          </a:p>
          <a:p>
            <a:pPr>
              <a:buNone/>
              <a:defRPr/>
            </a:pPr>
            <a:endParaRPr lang="en-GB" sz="1200" dirty="0"/>
          </a:p>
        </p:txBody>
      </p:sp>
      <p:sp>
        <p:nvSpPr>
          <p:cNvPr id="58" name="Rectangle 57">
            <a:extLst>
              <a:ext uri="{FF2B5EF4-FFF2-40B4-BE49-F238E27FC236}">
                <a16:creationId xmlns:a16="http://schemas.microsoft.com/office/drawing/2014/main" id="{DDB589BE-7FB9-475C-9554-E5624471C3F2}"/>
              </a:ext>
            </a:extLst>
          </p:cNvPr>
          <p:cNvSpPr/>
          <p:nvPr/>
        </p:nvSpPr>
        <p:spPr>
          <a:xfrm>
            <a:off x="751639" y="3968917"/>
            <a:ext cx="2135200" cy="184666"/>
          </a:xfrm>
          <a:prstGeom prst="rect">
            <a:avLst/>
          </a:prstGeom>
        </p:spPr>
        <p:txBody>
          <a:bodyPr wrap="none" lIns="0" tIns="0" rIns="0" bIns="0" anchor="ctr">
            <a:noAutofit/>
          </a:bodyPr>
          <a:lstStyle/>
          <a:p>
            <a:pPr marL="171450" lvl="1" indent="-171450">
              <a:buFont typeface="Arial" panose="020B0604020202020204" pitchFamily="34" charset="0"/>
              <a:buChar char="•"/>
              <a:defRPr/>
            </a:pPr>
            <a:r>
              <a:rPr lang="en-GB" sz="1200" b="1" dirty="0"/>
              <a:t>Do not be hard on yourself</a:t>
            </a:r>
          </a:p>
        </p:txBody>
      </p:sp>
      <p:sp>
        <p:nvSpPr>
          <p:cNvPr id="59" name="Rectangle 58">
            <a:extLst>
              <a:ext uri="{FF2B5EF4-FFF2-40B4-BE49-F238E27FC236}">
                <a16:creationId xmlns:a16="http://schemas.microsoft.com/office/drawing/2014/main" id="{B06D21FA-AFC5-42FD-B342-1B9CB01A196B}"/>
              </a:ext>
            </a:extLst>
          </p:cNvPr>
          <p:cNvSpPr/>
          <p:nvPr/>
        </p:nvSpPr>
        <p:spPr>
          <a:xfrm>
            <a:off x="751639" y="4358121"/>
            <a:ext cx="2389641" cy="369332"/>
          </a:xfrm>
          <a:prstGeom prst="rect">
            <a:avLst/>
          </a:prstGeom>
        </p:spPr>
        <p:txBody>
          <a:bodyPr wrap="square" lIns="0" tIns="0" rIns="0" bIns="0" anchor="ctr">
            <a:noAutofit/>
          </a:bodyPr>
          <a:lstStyle/>
          <a:p>
            <a:pPr marL="171450" lvl="1" indent="-171450">
              <a:buFont typeface="Arial" panose="020B0604020202020204" pitchFamily="34" charset="0"/>
              <a:buChar char="•"/>
              <a:defRPr/>
            </a:pPr>
            <a:r>
              <a:rPr lang="en-GB" sz="1200" b="1" dirty="0"/>
              <a:t>Perfection is not the goal (be better and fail less)</a:t>
            </a:r>
          </a:p>
        </p:txBody>
      </p:sp>
      <p:cxnSp>
        <p:nvCxnSpPr>
          <p:cNvPr id="60" name="Straight Connector 59">
            <a:extLst>
              <a:ext uri="{FF2B5EF4-FFF2-40B4-BE49-F238E27FC236}">
                <a16:creationId xmlns:a16="http://schemas.microsoft.com/office/drawing/2014/main" id="{0636F309-8D14-4BC8-9673-12755552ECA4}"/>
              </a:ext>
            </a:extLst>
          </p:cNvPr>
          <p:cNvCxnSpPr>
            <a:cxnSpLocks/>
          </p:cNvCxnSpPr>
          <p:nvPr/>
        </p:nvCxnSpPr>
        <p:spPr>
          <a:xfrm flipH="1">
            <a:off x="762001" y="3764378"/>
            <a:ext cx="2609849" cy="0"/>
          </a:xfrm>
          <a:prstGeom prst="line">
            <a:avLst/>
          </a:prstGeom>
          <a:ln w="22225" cap="rnd">
            <a:solidFill>
              <a:srgbClr val="838789"/>
            </a:solidFill>
            <a:prstDash val="sysDot"/>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523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Freeform: Shape 47">
            <a:extLst>
              <a:ext uri="{FF2B5EF4-FFF2-40B4-BE49-F238E27FC236}">
                <a16:creationId xmlns:a16="http://schemas.microsoft.com/office/drawing/2014/main" id="{17E9506E-3B93-486E-816A-C46EF214F514}"/>
              </a:ext>
            </a:extLst>
          </p:cNvPr>
          <p:cNvSpPr/>
          <p:nvPr/>
        </p:nvSpPr>
        <p:spPr>
          <a:xfrm>
            <a:off x="2850523" y="1731925"/>
            <a:ext cx="4204955" cy="4204956"/>
          </a:xfrm>
          <a:custGeom>
            <a:avLst/>
            <a:gdLst>
              <a:gd name="connsiteX0" fmla="*/ 1415724 w 1418150"/>
              <a:gd name="connsiteY0" fmla="*/ 709884 h 1418150"/>
              <a:gd name="connsiteX1" fmla="*/ 709884 w 1418150"/>
              <a:gd name="connsiteY1" fmla="*/ 1415724 h 1418150"/>
              <a:gd name="connsiteX2" fmla="*/ 4044 w 1418150"/>
              <a:gd name="connsiteY2" fmla="*/ 709884 h 1418150"/>
              <a:gd name="connsiteX3" fmla="*/ 709884 w 1418150"/>
              <a:gd name="connsiteY3" fmla="*/ 4044 h 1418150"/>
              <a:gd name="connsiteX4" fmla="*/ 1415724 w 1418150"/>
              <a:gd name="connsiteY4" fmla="*/ 709884 h 1418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8150" h="1418150">
                <a:moveTo>
                  <a:pt x="1415724" y="709884"/>
                </a:moveTo>
                <a:cubicBezTo>
                  <a:pt x="1415724" y="1099709"/>
                  <a:pt x="1099709" y="1415724"/>
                  <a:pt x="709884" y="1415724"/>
                </a:cubicBezTo>
                <a:cubicBezTo>
                  <a:pt x="320060" y="1415724"/>
                  <a:pt x="4044" y="1099709"/>
                  <a:pt x="4044" y="709884"/>
                </a:cubicBezTo>
                <a:cubicBezTo>
                  <a:pt x="4044" y="320060"/>
                  <a:pt x="320060" y="4044"/>
                  <a:pt x="709884" y="4044"/>
                </a:cubicBezTo>
                <a:cubicBezTo>
                  <a:pt x="1099709" y="4044"/>
                  <a:pt x="1415724" y="320060"/>
                  <a:pt x="1415724" y="709884"/>
                </a:cubicBezTo>
                <a:close/>
              </a:path>
            </a:pathLst>
          </a:custGeom>
          <a:solidFill>
            <a:srgbClr val="F3F2F0"/>
          </a:solidFill>
          <a:ln w="9525" cap="flat">
            <a:noFill/>
            <a:prstDash val="solid"/>
            <a:miter/>
          </a:ln>
        </p:spPr>
        <p:txBody>
          <a:bodyPr rtlCol="0" anchor="ctr"/>
          <a:lstStyle/>
          <a:p>
            <a:endParaRPr lang="en-GB" dirty="0"/>
          </a:p>
        </p:txBody>
      </p:sp>
      <p:sp>
        <p:nvSpPr>
          <p:cNvPr id="67" name="Freeform: Shape 48">
            <a:extLst>
              <a:ext uri="{FF2B5EF4-FFF2-40B4-BE49-F238E27FC236}">
                <a16:creationId xmlns:a16="http://schemas.microsoft.com/office/drawing/2014/main" id="{DAC7496C-C8A0-4570-AB82-7194FF4DB599}"/>
              </a:ext>
            </a:extLst>
          </p:cNvPr>
          <p:cNvSpPr/>
          <p:nvPr/>
        </p:nvSpPr>
        <p:spPr>
          <a:xfrm>
            <a:off x="2686319" y="1576565"/>
            <a:ext cx="4514122" cy="4515676"/>
          </a:xfrm>
          <a:custGeom>
            <a:avLst/>
            <a:gdLst>
              <a:gd name="connsiteX0" fmla="*/ 1368833 w 1757860"/>
              <a:gd name="connsiteY0" fmla="*/ 975429 h 1423543"/>
              <a:gd name="connsiteX1" fmla="*/ 1250744 w 1757860"/>
              <a:gd name="connsiteY1" fmla="*/ 256108 h 1423543"/>
              <a:gd name="connsiteX2" fmla="*/ 256421 w 1757860"/>
              <a:gd name="connsiteY2" fmla="*/ 176304 h 1423543"/>
              <a:gd name="connsiteX3" fmla="*/ 176077 w 1757860"/>
              <a:gd name="connsiteY3" fmla="*/ 1171166 h 1423543"/>
              <a:gd name="connsiteX4" fmla="*/ 1170939 w 1757860"/>
              <a:gd name="connsiteY4" fmla="*/ 1251510 h 1423543"/>
              <a:gd name="connsiteX5" fmla="*/ 1754915 w 1757860"/>
              <a:gd name="connsiteY5" fmla="*/ 762437 h 1423543"/>
              <a:gd name="connsiteX0" fmla="*/ 1360745 w 1411103"/>
              <a:gd name="connsiteY0" fmla="*/ 967341 h 1411589"/>
              <a:gd name="connsiteX1" fmla="*/ 1242656 w 1411103"/>
              <a:gd name="connsiteY1" fmla="*/ 248020 h 1411589"/>
              <a:gd name="connsiteX2" fmla="*/ 248333 w 1411103"/>
              <a:gd name="connsiteY2" fmla="*/ 168216 h 1411589"/>
              <a:gd name="connsiteX3" fmla="*/ 167989 w 1411103"/>
              <a:gd name="connsiteY3" fmla="*/ 1163078 h 1411589"/>
              <a:gd name="connsiteX4" fmla="*/ 1162851 w 1411103"/>
              <a:gd name="connsiteY4" fmla="*/ 1243422 h 14115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1103" h="1411589">
                <a:moveTo>
                  <a:pt x="1360745" y="967341"/>
                </a:moveTo>
                <a:cubicBezTo>
                  <a:pt x="1454570" y="732241"/>
                  <a:pt x="1418442" y="454542"/>
                  <a:pt x="1242656" y="248020"/>
                </a:cubicBezTo>
                <a:cubicBezTo>
                  <a:pt x="990300" y="-48551"/>
                  <a:pt x="544904" y="-84140"/>
                  <a:pt x="248333" y="168216"/>
                </a:cubicBezTo>
                <a:cubicBezTo>
                  <a:pt x="-48239" y="420571"/>
                  <a:pt x="-84367" y="865968"/>
                  <a:pt x="167989" y="1163078"/>
                </a:cubicBezTo>
                <a:cubicBezTo>
                  <a:pt x="420344" y="1460189"/>
                  <a:pt x="865740" y="1495778"/>
                  <a:pt x="1162851" y="1243422"/>
                </a:cubicBezTo>
              </a:path>
            </a:pathLst>
          </a:custGeom>
          <a:noFill/>
          <a:ln w="12700" cap="rnd">
            <a:solidFill>
              <a:srgbClr val="30373B"/>
            </a:solidFill>
            <a:prstDash val="solid"/>
            <a:round/>
          </a:ln>
        </p:spPr>
        <p:txBody>
          <a:bodyPr rtlCol="0" anchor="ctr"/>
          <a:lstStyle/>
          <a:p>
            <a:endParaRPr lang="en-GB" dirty="0"/>
          </a:p>
        </p:txBody>
      </p:sp>
      <p:sp>
        <p:nvSpPr>
          <p:cNvPr id="2" name="Title 1"/>
          <p:cNvSpPr>
            <a:spLocks noGrp="1"/>
          </p:cNvSpPr>
          <p:nvPr>
            <p:ph type="title"/>
          </p:nvPr>
        </p:nvSpPr>
        <p:spPr/>
        <p:txBody>
          <a:bodyPr/>
          <a:lstStyle/>
          <a:p>
            <a:r>
              <a:rPr lang="en-GB" dirty="0"/>
              <a:t>Going into a meeting …</a:t>
            </a:r>
          </a:p>
        </p:txBody>
      </p:sp>
      <p:sp>
        <p:nvSpPr>
          <p:cNvPr id="4" name="Text Placeholder 3">
            <a:extLst>
              <a:ext uri="{FF2B5EF4-FFF2-40B4-BE49-F238E27FC236}">
                <a16:creationId xmlns:a16="http://schemas.microsoft.com/office/drawing/2014/main" id="{903D6956-D68A-43D8-B47C-377807219807}"/>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a:xfrm>
            <a:off x="5818326" y="6502394"/>
            <a:ext cx="1195659" cy="106116"/>
          </a:xfrm>
        </p:spPr>
        <p:txBody>
          <a:bodyPr>
            <a:spAutoFit/>
          </a:bodyPr>
          <a:lstStyle/>
          <a:p>
            <a:endParaRPr lang="en-GB" noProof="0" dirty="0"/>
          </a:p>
        </p:txBody>
      </p:sp>
      <p:sp>
        <p:nvSpPr>
          <p:cNvPr id="8" name="Text Placeholder 7">
            <a:extLst>
              <a:ext uri="{FF2B5EF4-FFF2-40B4-BE49-F238E27FC236}">
                <a16:creationId xmlns:a16="http://schemas.microsoft.com/office/drawing/2014/main" id="{060DF81A-D2A6-4C66-B839-656375526A0E}"/>
              </a:ext>
            </a:extLst>
          </p:cNvPr>
          <p:cNvSpPr>
            <a:spLocks noGrp="1"/>
          </p:cNvSpPr>
          <p:nvPr>
            <p:ph type="body" sz="quarter" idx="14"/>
          </p:nvPr>
        </p:nvSpPr>
        <p:spPr/>
        <p:txBody>
          <a:bodyPr/>
          <a:lstStyle/>
          <a:p>
            <a:endParaRPr lang="en-GB" dirty="0"/>
          </a:p>
        </p:txBody>
      </p:sp>
      <p:sp>
        <p:nvSpPr>
          <p:cNvPr id="12" name="Rectangle 11">
            <a:extLst>
              <a:ext uri="{FF2B5EF4-FFF2-40B4-BE49-F238E27FC236}">
                <a16:creationId xmlns:a16="http://schemas.microsoft.com/office/drawing/2014/main" id="{3B7A153E-DEC8-4ADC-AFC5-DEFD94019463}"/>
              </a:ext>
            </a:extLst>
          </p:cNvPr>
          <p:cNvSpPr/>
          <p:nvPr/>
        </p:nvSpPr>
        <p:spPr>
          <a:xfrm>
            <a:off x="3726181" y="3207875"/>
            <a:ext cx="2453640" cy="369332"/>
          </a:xfrm>
          <a:prstGeom prst="rect">
            <a:avLst/>
          </a:prstGeom>
        </p:spPr>
        <p:txBody>
          <a:bodyPr wrap="square">
            <a:spAutoFit/>
          </a:bodyPr>
          <a:lstStyle/>
          <a:p>
            <a:pPr marL="180000" lvl="1" indent="-180000" algn="ctr">
              <a:defRPr/>
            </a:pPr>
            <a:r>
              <a:rPr lang="en-GB" b="1" dirty="0">
                <a:solidFill>
                  <a:srgbClr val="1F2023"/>
                </a:solidFill>
              </a:rPr>
              <a:t>What is my ladder?</a:t>
            </a:r>
          </a:p>
        </p:txBody>
      </p:sp>
      <p:sp>
        <p:nvSpPr>
          <p:cNvPr id="13" name="Rectangle 12">
            <a:extLst>
              <a:ext uri="{FF2B5EF4-FFF2-40B4-BE49-F238E27FC236}">
                <a16:creationId xmlns:a16="http://schemas.microsoft.com/office/drawing/2014/main" id="{611BD8B1-3BBD-4F45-8685-4960A55671D8}"/>
              </a:ext>
            </a:extLst>
          </p:cNvPr>
          <p:cNvSpPr/>
          <p:nvPr/>
        </p:nvSpPr>
        <p:spPr>
          <a:xfrm>
            <a:off x="3719329" y="4067731"/>
            <a:ext cx="2467342" cy="369332"/>
          </a:xfrm>
          <a:prstGeom prst="rect">
            <a:avLst/>
          </a:prstGeom>
        </p:spPr>
        <p:txBody>
          <a:bodyPr wrap="none">
            <a:spAutoFit/>
          </a:bodyPr>
          <a:lstStyle/>
          <a:p>
            <a:pPr marL="180000" lvl="1" indent="-180000" algn="ctr">
              <a:defRPr/>
            </a:pPr>
            <a:r>
              <a:rPr lang="en-GB" b="1" dirty="0">
                <a:solidFill>
                  <a:srgbClr val="1F2023"/>
                </a:solidFill>
              </a:rPr>
              <a:t>What is their ladder?</a:t>
            </a:r>
          </a:p>
        </p:txBody>
      </p:sp>
      <p:cxnSp>
        <p:nvCxnSpPr>
          <p:cNvPr id="14" name="Straight Connector 13">
            <a:extLst>
              <a:ext uri="{FF2B5EF4-FFF2-40B4-BE49-F238E27FC236}">
                <a16:creationId xmlns:a16="http://schemas.microsoft.com/office/drawing/2014/main" id="{99D5D447-27E9-4AB9-AC80-D6C1679CF12B}"/>
              </a:ext>
            </a:extLst>
          </p:cNvPr>
          <p:cNvCxnSpPr>
            <a:cxnSpLocks/>
          </p:cNvCxnSpPr>
          <p:nvPr/>
        </p:nvCxnSpPr>
        <p:spPr>
          <a:xfrm>
            <a:off x="3817620" y="3822469"/>
            <a:ext cx="2270760"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28" name="Freeform 9">
            <a:extLst>
              <a:ext uri="{FF2B5EF4-FFF2-40B4-BE49-F238E27FC236}">
                <a16:creationId xmlns:a16="http://schemas.microsoft.com/office/drawing/2014/main" id="{D423DEBE-2BEB-4573-B646-FEB094FF9C11}"/>
              </a:ext>
            </a:extLst>
          </p:cNvPr>
          <p:cNvSpPr>
            <a:spLocks/>
          </p:cNvSpPr>
          <p:nvPr/>
        </p:nvSpPr>
        <p:spPr bwMode="auto">
          <a:xfrm>
            <a:off x="4603494" y="2247324"/>
            <a:ext cx="295789" cy="715289"/>
          </a:xfrm>
          <a:custGeom>
            <a:avLst/>
            <a:gdLst>
              <a:gd name="T0" fmla="*/ 111 w 112"/>
              <a:gd name="T1" fmla="*/ 140 h 271"/>
              <a:gd name="T2" fmla="*/ 102 w 112"/>
              <a:gd name="T3" fmla="*/ 132 h 271"/>
              <a:gd name="T4" fmla="*/ 86 w 112"/>
              <a:gd name="T5" fmla="*/ 99 h 271"/>
              <a:gd name="T6" fmla="*/ 74 w 112"/>
              <a:gd name="T7" fmla="*/ 57 h 271"/>
              <a:gd name="T8" fmla="*/ 61 w 112"/>
              <a:gd name="T9" fmla="*/ 52 h 271"/>
              <a:gd name="T10" fmla="*/ 56 w 112"/>
              <a:gd name="T11" fmla="*/ 52 h 271"/>
              <a:gd name="T12" fmla="*/ 62 w 112"/>
              <a:gd name="T13" fmla="*/ 42 h 271"/>
              <a:gd name="T14" fmla="*/ 65 w 112"/>
              <a:gd name="T15" fmla="*/ 29 h 271"/>
              <a:gd name="T16" fmla="*/ 59 w 112"/>
              <a:gd name="T17" fmla="*/ 7 h 271"/>
              <a:gd name="T18" fmla="*/ 43 w 112"/>
              <a:gd name="T19" fmla="*/ 0 h 271"/>
              <a:gd name="T20" fmla="*/ 26 w 112"/>
              <a:gd name="T21" fmla="*/ 7 h 271"/>
              <a:gd name="T22" fmla="*/ 20 w 112"/>
              <a:gd name="T23" fmla="*/ 29 h 271"/>
              <a:gd name="T24" fmla="*/ 30 w 112"/>
              <a:gd name="T25" fmla="*/ 52 h 271"/>
              <a:gd name="T26" fmla="*/ 28 w 112"/>
              <a:gd name="T27" fmla="*/ 52 h 271"/>
              <a:gd name="T28" fmla="*/ 28 w 112"/>
              <a:gd name="T29" fmla="*/ 52 h 271"/>
              <a:gd name="T30" fmla="*/ 0 w 112"/>
              <a:gd name="T31" fmla="*/ 86 h 271"/>
              <a:gd name="T32" fmla="*/ 12 w 112"/>
              <a:gd name="T33" fmla="*/ 124 h 271"/>
              <a:gd name="T34" fmla="*/ 12 w 112"/>
              <a:gd name="T35" fmla="*/ 132 h 271"/>
              <a:gd name="T36" fmla="*/ 21 w 112"/>
              <a:gd name="T37" fmla="*/ 267 h 271"/>
              <a:gd name="T38" fmla="*/ 25 w 112"/>
              <a:gd name="T39" fmla="*/ 271 h 271"/>
              <a:gd name="T40" fmla="*/ 41 w 112"/>
              <a:gd name="T41" fmla="*/ 271 h 271"/>
              <a:gd name="T42" fmla="*/ 45 w 112"/>
              <a:gd name="T43" fmla="*/ 266 h 271"/>
              <a:gd name="T44" fmla="*/ 47 w 112"/>
              <a:gd name="T45" fmla="*/ 174 h 271"/>
              <a:gd name="T46" fmla="*/ 76 w 112"/>
              <a:gd name="T47" fmla="*/ 268 h 271"/>
              <a:gd name="T48" fmla="*/ 80 w 112"/>
              <a:gd name="T49" fmla="*/ 271 h 271"/>
              <a:gd name="T50" fmla="*/ 93 w 112"/>
              <a:gd name="T51" fmla="*/ 271 h 271"/>
              <a:gd name="T52" fmla="*/ 98 w 112"/>
              <a:gd name="T53" fmla="*/ 266 h 271"/>
              <a:gd name="T54" fmla="*/ 74 w 112"/>
              <a:gd name="T55" fmla="*/ 144 h 271"/>
              <a:gd name="T56" fmla="*/ 74 w 112"/>
              <a:gd name="T57" fmla="*/ 141 h 271"/>
              <a:gd name="T58" fmla="*/ 93 w 112"/>
              <a:gd name="T59" fmla="*/ 152 h 271"/>
              <a:gd name="T60" fmla="*/ 94 w 112"/>
              <a:gd name="T61" fmla="*/ 152 h 271"/>
              <a:gd name="T62" fmla="*/ 108 w 112"/>
              <a:gd name="T63" fmla="*/ 150 h 271"/>
              <a:gd name="T64" fmla="*/ 111 w 112"/>
              <a:gd name="T65" fmla="*/ 14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71">
                <a:moveTo>
                  <a:pt x="111" y="140"/>
                </a:moveTo>
                <a:cubicBezTo>
                  <a:pt x="109" y="135"/>
                  <a:pt x="103" y="133"/>
                  <a:pt x="102" y="132"/>
                </a:cubicBezTo>
                <a:cubicBezTo>
                  <a:pt x="101" y="132"/>
                  <a:pt x="82" y="125"/>
                  <a:pt x="86" y="99"/>
                </a:cubicBezTo>
                <a:cubicBezTo>
                  <a:pt x="87" y="86"/>
                  <a:pt x="83" y="67"/>
                  <a:pt x="74" y="57"/>
                </a:cubicBezTo>
                <a:cubicBezTo>
                  <a:pt x="71" y="53"/>
                  <a:pt x="66" y="51"/>
                  <a:pt x="61" y="52"/>
                </a:cubicBezTo>
                <a:cubicBezTo>
                  <a:pt x="60" y="52"/>
                  <a:pt x="58" y="52"/>
                  <a:pt x="56" y="52"/>
                </a:cubicBezTo>
                <a:cubicBezTo>
                  <a:pt x="59" y="48"/>
                  <a:pt x="61" y="43"/>
                  <a:pt x="62" y="42"/>
                </a:cubicBezTo>
                <a:cubicBezTo>
                  <a:pt x="63" y="38"/>
                  <a:pt x="65" y="34"/>
                  <a:pt x="65" y="29"/>
                </a:cubicBezTo>
                <a:cubicBezTo>
                  <a:pt x="66" y="20"/>
                  <a:pt x="64" y="12"/>
                  <a:pt x="59" y="7"/>
                </a:cubicBezTo>
                <a:cubicBezTo>
                  <a:pt x="55" y="2"/>
                  <a:pt x="49" y="0"/>
                  <a:pt x="43" y="0"/>
                </a:cubicBezTo>
                <a:cubicBezTo>
                  <a:pt x="36" y="0"/>
                  <a:pt x="30" y="2"/>
                  <a:pt x="26" y="7"/>
                </a:cubicBezTo>
                <a:cubicBezTo>
                  <a:pt x="22" y="12"/>
                  <a:pt x="19" y="20"/>
                  <a:pt x="20" y="29"/>
                </a:cubicBezTo>
                <a:cubicBezTo>
                  <a:pt x="21" y="39"/>
                  <a:pt x="25" y="47"/>
                  <a:pt x="30" y="52"/>
                </a:cubicBezTo>
                <a:cubicBezTo>
                  <a:pt x="29" y="52"/>
                  <a:pt x="28" y="52"/>
                  <a:pt x="28" y="52"/>
                </a:cubicBezTo>
                <a:cubicBezTo>
                  <a:pt x="28" y="52"/>
                  <a:pt x="28" y="52"/>
                  <a:pt x="28" y="52"/>
                </a:cubicBezTo>
                <a:cubicBezTo>
                  <a:pt x="15" y="52"/>
                  <a:pt x="1" y="61"/>
                  <a:pt x="0" y="86"/>
                </a:cubicBezTo>
                <a:cubicBezTo>
                  <a:pt x="0" y="101"/>
                  <a:pt x="4" y="114"/>
                  <a:pt x="12" y="124"/>
                </a:cubicBezTo>
                <a:cubicBezTo>
                  <a:pt x="12" y="132"/>
                  <a:pt x="12" y="132"/>
                  <a:pt x="12" y="132"/>
                </a:cubicBezTo>
                <a:cubicBezTo>
                  <a:pt x="21" y="267"/>
                  <a:pt x="21" y="267"/>
                  <a:pt x="21" y="267"/>
                </a:cubicBezTo>
                <a:cubicBezTo>
                  <a:pt x="21" y="269"/>
                  <a:pt x="23" y="271"/>
                  <a:pt x="25" y="271"/>
                </a:cubicBezTo>
                <a:cubicBezTo>
                  <a:pt x="41" y="271"/>
                  <a:pt x="41" y="271"/>
                  <a:pt x="41" y="271"/>
                </a:cubicBezTo>
                <a:cubicBezTo>
                  <a:pt x="43" y="271"/>
                  <a:pt x="45" y="269"/>
                  <a:pt x="45" y="266"/>
                </a:cubicBezTo>
                <a:cubicBezTo>
                  <a:pt x="47" y="174"/>
                  <a:pt x="47" y="174"/>
                  <a:pt x="47" y="174"/>
                </a:cubicBezTo>
                <a:cubicBezTo>
                  <a:pt x="76" y="268"/>
                  <a:pt x="76" y="268"/>
                  <a:pt x="76" y="268"/>
                </a:cubicBezTo>
                <a:cubicBezTo>
                  <a:pt x="76" y="270"/>
                  <a:pt x="78" y="271"/>
                  <a:pt x="80" y="271"/>
                </a:cubicBezTo>
                <a:cubicBezTo>
                  <a:pt x="93" y="271"/>
                  <a:pt x="93" y="271"/>
                  <a:pt x="93" y="271"/>
                </a:cubicBezTo>
                <a:cubicBezTo>
                  <a:pt x="96" y="271"/>
                  <a:pt x="98" y="269"/>
                  <a:pt x="98" y="266"/>
                </a:cubicBezTo>
                <a:cubicBezTo>
                  <a:pt x="74" y="144"/>
                  <a:pt x="74" y="144"/>
                  <a:pt x="74" y="144"/>
                </a:cubicBezTo>
                <a:cubicBezTo>
                  <a:pt x="74" y="141"/>
                  <a:pt x="74" y="141"/>
                  <a:pt x="74" y="141"/>
                </a:cubicBezTo>
                <a:cubicBezTo>
                  <a:pt x="81" y="148"/>
                  <a:pt x="88" y="151"/>
                  <a:pt x="93" y="152"/>
                </a:cubicBezTo>
                <a:cubicBezTo>
                  <a:pt x="93" y="152"/>
                  <a:pt x="94" y="152"/>
                  <a:pt x="94" y="152"/>
                </a:cubicBezTo>
                <a:cubicBezTo>
                  <a:pt x="100" y="154"/>
                  <a:pt x="105" y="154"/>
                  <a:pt x="108" y="150"/>
                </a:cubicBezTo>
                <a:cubicBezTo>
                  <a:pt x="111" y="148"/>
                  <a:pt x="112" y="144"/>
                  <a:pt x="111" y="140"/>
                </a:cubicBezTo>
                <a:close/>
              </a:path>
            </a:pathLst>
          </a:cu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58" name="Freeform 9">
            <a:extLst>
              <a:ext uri="{FF2B5EF4-FFF2-40B4-BE49-F238E27FC236}">
                <a16:creationId xmlns:a16="http://schemas.microsoft.com/office/drawing/2014/main" id="{313061CD-9EE0-45AA-9ED7-A83B2FC99271}"/>
              </a:ext>
            </a:extLst>
          </p:cNvPr>
          <p:cNvSpPr>
            <a:spLocks/>
          </p:cNvSpPr>
          <p:nvPr/>
        </p:nvSpPr>
        <p:spPr bwMode="auto">
          <a:xfrm flipH="1">
            <a:off x="5152400" y="5063262"/>
            <a:ext cx="209036" cy="505500"/>
          </a:xfrm>
          <a:custGeom>
            <a:avLst/>
            <a:gdLst>
              <a:gd name="T0" fmla="*/ 111 w 112"/>
              <a:gd name="T1" fmla="*/ 140 h 271"/>
              <a:gd name="T2" fmla="*/ 102 w 112"/>
              <a:gd name="T3" fmla="*/ 132 h 271"/>
              <a:gd name="T4" fmla="*/ 86 w 112"/>
              <a:gd name="T5" fmla="*/ 99 h 271"/>
              <a:gd name="T6" fmla="*/ 74 w 112"/>
              <a:gd name="T7" fmla="*/ 57 h 271"/>
              <a:gd name="T8" fmla="*/ 61 w 112"/>
              <a:gd name="T9" fmla="*/ 52 h 271"/>
              <a:gd name="T10" fmla="*/ 56 w 112"/>
              <a:gd name="T11" fmla="*/ 52 h 271"/>
              <a:gd name="T12" fmla="*/ 62 w 112"/>
              <a:gd name="T13" fmla="*/ 42 h 271"/>
              <a:gd name="T14" fmla="*/ 65 w 112"/>
              <a:gd name="T15" fmla="*/ 29 h 271"/>
              <a:gd name="T16" fmla="*/ 59 w 112"/>
              <a:gd name="T17" fmla="*/ 7 h 271"/>
              <a:gd name="T18" fmla="*/ 43 w 112"/>
              <a:gd name="T19" fmla="*/ 0 h 271"/>
              <a:gd name="T20" fmla="*/ 26 w 112"/>
              <a:gd name="T21" fmla="*/ 7 h 271"/>
              <a:gd name="T22" fmla="*/ 20 w 112"/>
              <a:gd name="T23" fmla="*/ 29 h 271"/>
              <a:gd name="T24" fmla="*/ 30 w 112"/>
              <a:gd name="T25" fmla="*/ 52 h 271"/>
              <a:gd name="T26" fmla="*/ 28 w 112"/>
              <a:gd name="T27" fmla="*/ 52 h 271"/>
              <a:gd name="T28" fmla="*/ 28 w 112"/>
              <a:gd name="T29" fmla="*/ 52 h 271"/>
              <a:gd name="T30" fmla="*/ 0 w 112"/>
              <a:gd name="T31" fmla="*/ 86 h 271"/>
              <a:gd name="T32" fmla="*/ 12 w 112"/>
              <a:gd name="T33" fmla="*/ 124 h 271"/>
              <a:gd name="T34" fmla="*/ 12 w 112"/>
              <a:gd name="T35" fmla="*/ 132 h 271"/>
              <a:gd name="T36" fmla="*/ 21 w 112"/>
              <a:gd name="T37" fmla="*/ 267 h 271"/>
              <a:gd name="T38" fmla="*/ 25 w 112"/>
              <a:gd name="T39" fmla="*/ 271 h 271"/>
              <a:gd name="T40" fmla="*/ 41 w 112"/>
              <a:gd name="T41" fmla="*/ 271 h 271"/>
              <a:gd name="T42" fmla="*/ 45 w 112"/>
              <a:gd name="T43" fmla="*/ 266 h 271"/>
              <a:gd name="T44" fmla="*/ 47 w 112"/>
              <a:gd name="T45" fmla="*/ 174 h 271"/>
              <a:gd name="T46" fmla="*/ 76 w 112"/>
              <a:gd name="T47" fmla="*/ 268 h 271"/>
              <a:gd name="T48" fmla="*/ 80 w 112"/>
              <a:gd name="T49" fmla="*/ 271 h 271"/>
              <a:gd name="T50" fmla="*/ 93 w 112"/>
              <a:gd name="T51" fmla="*/ 271 h 271"/>
              <a:gd name="T52" fmla="*/ 98 w 112"/>
              <a:gd name="T53" fmla="*/ 266 h 271"/>
              <a:gd name="T54" fmla="*/ 74 w 112"/>
              <a:gd name="T55" fmla="*/ 144 h 271"/>
              <a:gd name="T56" fmla="*/ 74 w 112"/>
              <a:gd name="T57" fmla="*/ 141 h 271"/>
              <a:gd name="T58" fmla="*/ 93 w 112"/>
              <a:gd name="T59" fmla="*/ 152 h 271"/>
              <a:gd name="T60" fmla="*/ 94 w 112"/>
              <a:gd name="T61" fmla="*/ 152 h 271"/>
              <a:gd name="T62" fmla="*/ 108 w 112"/>
              <a:gd name="T63" fmla="*/ 150 h 271"/>
              <a:gd name="T64" fmla="*/ 111 w 112"/>
              <a:gd name="T65" fmla="*/ 14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71">
                <a:moveTo>
                  <a:pt x="111" y="140"/>
                </a:moveTo>
                <a:cubicBezTo>
                  <a:pt x="109" y="135"/>
                  <a:pt x="103" y="133"/>
                  <a:pt x="102" y="132"/>
                </a:cubicBezTo>
                <a:cubicBezTo>
                  <a:pt x="101" y="132"/>
                  <a:pt x="82" y="125"/>
                  <a:pt x="86" y="99"/>
                </a:cubicBezTo>
                <a:cubicBezTo>
                  <a:pt x="87" y="86"/>
                  <a:pt x="83" y="67"/>
                  <a:pt x="74" y="57"/>
                </a:cubicBezTo>
                <a:cubicBezTo>
                  <a:pt x="71" y="53"/>
                  <a:pt x="66" y="51"/>
                  <a:pt x="61" y="52"/>
                </a:cubicBezTo>
                <a:cubicBezTo>
                  <a:pt x="60" y="52"/>
                  <a:pt x="58" y="52"/>
                  <a:pt x="56" y="52"/>
                </a:cubicBezTo>
                <a:cubicBezTo>
                  <a:pt x="59" y="48"/>
                  <a:pt x="61" y="43"/>
                  <a:pt x="62" y="42"/>
                </a:cubicBezTo>
                <a:cubicBezTo>
                  <a:pt x="63" y="38"/>
                  <a:pt x="65" y="34"/>
                  <a:pt x="65" y="29"/>
                </a:cubicBezTo>
                <a:cubicBezTo>
                  <a:pt x="66" y="20"/>
                  <a:pt x="64" y="12"/>
                  <a:pt x="59" y="7"/>
                </a:cubicBezTo>
                <a:cubicBezTo>
                  <a:pt x="55" y="2"/>
                  <a:pt x="49" y="0"/>
                  <a:pt x="43" y="0"/>
                </a:cubicBezTo>
                <a:cubicBezTo>
                  <a:pt x="36" y="0"/>
                  <a:pt x="30" y="2"/>
                  <a:pt x="26" y="7"/>
                </a:cubicBezTo>
                <a:cubicBezTo>
                  <a:pt x="22" y="12"/>
                  <a:pt x="19" y="20"/>
                  <a:pt x="20" y="29"/>
                </a:cubicBezTo>
                <a:cubicBezTo>
                  <a:pt x="21" y="39"/>
                  <a:pt x="25" y="47"/>
                  <a:pt x="30" y="52"/>
                </a:cubicBezTo>
                <a:cubicBezTo>
                  <a:pt x="29" y="52"/>
                  <a:pt x="28" y="52"/>
                  <a:pt x="28" y="52"/>
                </a:cubicBezTo>
                <a:cubicBezTo>
                  <a:pt x="28" y="52"/>
                  <a:pt x="28" y="52"/>
                  <a:pt x="28" y="52"/>
                </a:cubicBezTo>
                <a:cubicBezTo>
                  <a:pt x="15" y="52"/>
                  <a:pt x="1" y="61"/>
                  <a:pt x="0" y="86"/>
                </a:cubicBezTo>
                <a:cubicBezTo>
                  <a:pt x="0" y="101"/>
                  <a:pt x="4" y="114"/>
                  <a:pt x="12" y="124"/>
                </a:cubicBezTo>
                <a:cubicBezTo>
                  <a:pt x="12" y="132"/>
                  <a:pt x="12" y="132"/>
                  <a:pt x="12" y="132"/>
                </a:cubicBezTo>
                <a:cubicBezTo>
                  <a:pt x="21" y="267"/>
                  <a:pt x="21" y="267"/>
                  <a:pt x="21" y="267"/>
                </a:cubicBezTo>
                <a:cubicBezTo>
                  <a:pt x="21" y="269"/>
                  <a:pt x="23" y="271"/>
                  <a:pt x="25" y="271"/>
                </a:cubicBezTo>
                <a:cubicBezTo>
                  <a:pt x="41" y="271"/>
                  <a:pt x="41" y="271"/>
                  <a:pt x="41" y="271"/>
                </a:cubicBezTo>
                <a:cubicBezTo>
                  <a:pt x="43" y="271"/>
                  <a:pt x="45" y="269"/>
                  <a:pt x="45" y="266"/>
                </a:cubicBezTo>
                <a:cubicBezTo>
                  <a:pt x="47" y="174"/>
                  <a:pt x="47" y="174"/>
                  <a:pt x="47" y="174"/>
                </a:cubicBezTo>
                <a:cubicBezTo>
                  <a:pt x="76" y="268"/>
                  <a:pt x="76" y="268"/>
                  <a:pt x="76" y="268"/>
                </a:cubicBezTo>
                <a:cubicBezTo>
                  <a:pt x="76" y="270"/>
                  <a:pt x="78" y="271"/>
                  <a:pt x="80" y="271"/>
                </a:cubicBezTo>
                <a:cubicBezTo>
                  <a:pt x="93" y="271"/>
                  <a:pt x="93" y="271"/>
                  <a:pt x="93" y="271"/>
                </a:cubicBezTo>
                <a:cubicBezTo>
                  <a:pt x="96" y="271"/>
                  <a:pt x="98" y="269"/>
                  <a:pt x="98" y="266"/>
                </a:cubicBezTo>
                <a:cubicBezTo>
                  <a:pt x="74" y="144"/>
                  <a:pt x="74" y="144"/>
                  <a:pt x="74" y="144"/>
                </a:cubicBezTo>
                <a:cubicBezTo>
                  <a:pt x="74" y="141"/>
                  <a:pt x="74" y="141"/>
                  <a:pt x="74" y="141"/>
                </a:cubicBezTo>
                <a:cubicBezTo>
                  <a:pt x="81" y="148"/>
                  <a:pt x="88" y="151"/>
                  <a:pt x="93" y="152"/>
                </a:cubicBezTo>
                <a:cubicBezTo>
                  <a:pt x="93" y="152"/>
                  <a:pt x="94" y="152"/>
                  <a:pt x="94" y="152"/>
                </a:cubicBezTo>
                <a:cubicBezTo>
                  <a:pt x="100" y="154"/>
                  <a:pt x="105" y="154"/>
                  <a:pt x="108" y="150"/>
                </a:cubicBezTo>
                <a:cubicBezTo>
                  <a:pt x="111" y="148"/>
                  <a:pt x="112" y="144"/>
                  <a:pt x="111" y="140"/>
                </a:cubicBezTo>
                <a:close/>
              </a:path>
            </a:pathLst>
          </a:custGeom>
          <a:solidFill>
            <a:srgbClr val="B9C7C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9">
            <a:extLst>
              <a:ext uri="{FF2B5EF4-FFF2-40B4-BE49-F238E27FC236}">
                <a16:creationId xmlns:a16="http://schemas.microsoft.com/office/drawing/2014/main" id="{020B8F4A-E69F-41F2-90DD-D4C6F85D1158}"/>
              </a:ext>
            </a:extLst>
          </p:cNvPr>
          <p:cNvSpPr>
            <a:spLocks/>
          </p:cNvSpPr>
          <p:nvPr/>
        </p:nvSpPr>
        <p:spPr bwMode="auto">
          <a:xfrm flipH="1">
            <a:off x="4963978" y="5024640"/>
            <a:ext cx="225007" cy="544122"/>
          </a:xfrm>
          <a:custGeom>
            <a:avLst/>
            <a:gdLst>
              <a:gd name="T0" fmla="*/ 111 w 112"/>
              <a:gd name="T1" fmla="*/ 140 h 271"/>
              <a:gd name="T2" fmla="*/ 102 w 112"/>
              <a:gd name="T3" fmla="*/ 132 h 271"/>
              <a:gd name="T4" fmla="*/ 86 w 112"/>
              <a:gd name="T5" fmla="*/ 99 h 271"/>
              <a:gd name="T6" fmla="*/ 74 w 112"/>
              <a:gd name="T7" fmla="*/ 57 h 271"/>
              <a:gd name="T8" fmla="*/ 61 w 112"/>
              <a:gd name="T9" fmla="*/ 52 h 271"/>
              <a:gd name="T10" fmla="*/ 56 w 112"/>
              <a:gd name="T11" fmla="*/ 52 h 271"/>
              <a:gd name="T12" fmla="*/ 62 w 112"/>
              <a:gd name="T13" fmla="*/ 42 h 271"/>
              <a:gd name="T14" fmla="*/ 65 w 112"/>
              <a:gd name="T15" fmla="*/ 29 h 271"/>
              <a:gd name="T16" fmla="*/ 59 w 112"/>
              <a:gd name="T17" fmla="*/ 7 h 271"/>
              <a:gd name="T18" fmla="*/ 43 w 112"/>
              <a:gd name="T19" fmla="*/ 0 h 271"/>
              <a:gd name="T20" fmla="*/ 26 w 112"/>
              <a:gd name="T21" fmla="*/ 7 h 271"/>
              <a:gd name="T22" fmla="*/ 20 w 112"/>
              <a:gd name="T23" fmla="*/ 29 h 271"/>
              <a:gd name="T24" fmla="*/ 30 w 112"/>
              <a:gd name="T25" fmla="*/ 52 h 271"/>
              <a:gd name="T26" fmla="*/ 28 w 112"/>
              <a:gd name="T27" fmla="*/ 52 h 271"/>
              <a:gd name="T28" fmla="*/ 28 w 112"/>
              <a:gd name="T29" fmla="*/ 52 h 271"/>
              <a:gd name="T30" fmla="*/ 0 w 112"/>
              <a:gd name="T31" fmla="*/ 86 h 271"/>
              <a:gd name="T32" fmla="*/ 12 w 112"/>
              <a:gd name="T33" fmla="*/ 124 h 271"/>
              <a:gd name="T34" fmla="*/ 12 w 112"/>
              <a:gd name="T35" fmla="*/ 132 h 271"/>
              <a:gd name="T36" fmla="*/ 21 w 112"/>
              <a:gd name="T37" fmla="*/ 267 h 271"/>
              <a:gd name="T38" fmla="*/ 25 w 112"/>
              <a:gd name="T39" fmla="*/ 271 h 271"/>
              <a:gd name="T40" fmla="*/ 41 w 112"/>
              <a:gd name="T41" fmla="*/ 271 h 271"/>
              <a:gd name="T42" fmla="*/ 45 w 112"/>
              <a:gd name="T43" fmla="*/ 266 h 271"/>
              <a:gd name="T44" fmla="*/ 47 w 112"/>
              <a:gd name="T45" fmla="*/ 174 h 271"/>
              <a:gd name="T46" fmla="*/ 76 w 112"/>
              <a:gd name="T47" fmla="*/ 268 h 271"/>
              <a:gd name="T48" fmla="*/ 80 w 112"/>
              <a:gd name="T49" fmla="*/ 271 h 271"/>
              <a:gd name="T50" fmla="*/ 93 w 112"/>
              <a:gd name="T51" fmla="*/ 271 h 271"/>
              <a:gd name="T52" fmla="*/ 98 w 112"/>
              <a:gd name="T53" fmla="*/ 266 h 271"/>
              <a:gd name="T54" fmla="*/ 74 w 112"/>
              <a:gd name="T55" fmla="*/ 144 h 271"/>
              <a:gd name="T56" fmla="*/ 74 w 112"/>
              <a:gd name="T57" fmla="*/ 141 h 271"/>
              <a:gd name="T58" fmla="*/ 93 w 112"/>
              <a:gd name="T59" fmla="*/ 152 h 271"/>
              <a:gd name="T60" fmla="*/ 94 w 112"/>
              <a:gd name="T61" fmla="*/ 152 h 271"/>
              <a:gd name="T62" fmla="*/ 108 w 112"/>
              <a:gd name="T63" fmla="*/ 150 h 271"/>
              <a:gd name="T64" fmla="*/ 111 w 112"/>
              <a:gd name="T65" fmla="*/ 14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271">
                <a:moveTo>
                  <a:pt x="111" y="140"/>
                </a:moveTo>
                <a:cubicBezTo>
                  <a:pt x="109" y="135"/>
                  <a:pt x="103" y="133"/>
                  <a:pt x="102" y="132"/>
                </a:cubicBezTo>
                <a:cubicBezTo>
                  <a:pt x="101" y="132"/>
                  <a:pt x="82" y="125"/>
                  <a:pt x="86" y="99"/>
                </a:cubicBezTo>
                <a:cubicBezTo>
                  <a:pt x="87" y="86"/>
                  <a:pt x="83" y="67"/>
                  <a:pt x="74" y="57"/>
                </a:cubicBezTo>
                <a:cubicBezTo>
                  <a:pt x="71" y="53"/>
                  <a:pt x="66" y="51"/>
                  <a:pt x="61" y="52"/>
                </a:cubicBezTo>
                <a:cubicBezTo>
                  <a:pt x="60" y="52"/>
                  <a:pt x="58" y="52"/>
                  <a:pt x="56" y="52"/>
                </a:cubicBezTo>
                <a:cubicBezTo>
                  <a:pt x="59" y="48"/>
                  <a:pt x="61" y="43"/>
                  <a:pt x="62" y="42"/>
                </a:cubicBezTo>
                <a:cubicBezTo>
                  <a:pt x="63" y="38"/>
                  <a:pt x="65" y="34"/>
                  <a:pt x="65" y="29"/>
                </a:cubicBezTo>
                <a:cubicBezTo>
                  <a:pt x="66" y="20"/>
                  <a:pt x="64" y="12"/>
                  <a:pt x="59" y="7"/>
                </a:cubicBezTo>
                <a:cubicBezTo>
                  <a:pt x="55" y="2"/>
                  <a:pt x="49" y="0"/>
                  <a:pt x="43" y="0"/>
                </a:cubicBezTo>
                <a:cubicBezTo>
                  <a:pt x="36" y="0"/>
                  <a:pt x="30" y="2"/>
                  <a:pt x="26" y="7"/>
                </a:cubicBezTo>
                <a:cubicBezTo>
                  <a:pt x="22" y="12"/>
                  <a:pt x="19" y="20"/>
                  <a:pt x="20" y="29"/>
                </a:cubicBezTo>
                <a:cubicBezTo>
                  <a:pt x="21" y="39"/>
                  <a:pt x="25" y="47"/>
                  <a:pt x="30" y="52"/>
                </a:cubicBezTo>
                <a:cubicBezTo>
                  <a:pt x="29" y="52"/>
                  <a:pt x="28" y="52"/>
                  <a:pt x="28" y="52"/>
                </a:cubicBezTo>
                <a:cubicBezTo>
                  <a:pt x="28" y="52"/>
                  <a:pt x="28" y="52"/>
                  <a:pt x="28" y="52"/>
                </a:cubicBezTo>
                <a:cubicBezTo>
                  <a:pt x="15" y="52"/>
                  <a:pt x="1" y="61"/>
                  <a:pt x="0" y="86"/>
                </a:cubicBezTo>
                <a:cubicBezTo>
                  <a:pt x="0" y="101"/>
                  <a:pt x="4" y="114"/>
                  <a:pt x="12" y="124"/>
                </a:cubicBezTo>
                <a:cubicBezTo>
                  <a:pt x="12" y="132"/>
                  <a:pt x="12" y="132"/>
                  <a:pt x="12" y="132"/>
                </a:cubicBezTo>
                <a:cubicBezTo>
                  <a:pt x="21" y="267"/>
                  <a:pt x="21" y="267"/>
                  <a:pt x="21" y="267"/>
                </a:cubicBezTo>
                <a:cubicBezTo>
                  <a:pt x="21" y="269"/>
                  <a:pt x="23" y="271"/>
                  <a:pt x="25" y="271"/>
                </a:cubicBezTo>
                <a:cubicBezTo>
                  <a:pt x="41" y="271"/>
                  <a:pt x="41" y="271"/>
                  <a:pt x="41" y="271"/>
                </a:cubicBezTo>
                <a:cubicBezTo>
                  <a:pt x="43" y="271"/>
                  <a:pt x="45" y="269"/>
                  <a:pt x="45" y="266"/>
                </a:cubicBezTo>
                <a:cubicBezTo>
                  <a:pt x="47" y="174"/>
                  <a:pt x="47" y="174"/>
                  <a:pt x="47" y="174"/>
                </a:cubicBezTo>
                <a:cubicBezTo>
                  <a:pt x="76" y="268"/>
                  <a:pt x="76" y="268"/>
                  <a:pt x="76" y="268"/>
                </a:cubicBezTo>
                <a:cubicBezTo>
                  <a:pt x="76" y="270"/>
                  <a:pt x="78" y="271"/>
                  <a:pt x="80" y="271"/>
                </a:cubicBezTo>
                <a:cubicBezTo>
                  <a:pt x="93" y="271"/>
                  <a:pt x="93" y="271"/>
                  <a:pt x="93" y="271"/>
                </a:cubicBezTo>
                <a:cubicBezTo>
                  <a:pt x="96" y="271"/>
                  <a:pt x="98" y="269"/>
                  <a:pt x="98" y="266"/>
                </a:cubicBezTo>
                <a:cubicBezTo>
                  <a:pt x="74" y="144"/>
                  <a:pt x="74" y="144"/>
                  <a:pt x="74" y="144"/>
                </a:cubicBezTo>
                <a:cubicBezTo>
                  <a:pt x="74" y="141"/>
                  <a:pt x="74" y="141"/>
                  <a:pt x="74" y="141"/>
                </a:cubicBezTo>
                <a:cubicBezTo>
                  <a:pt x="81" y="148"/>
                  <a:pt x="88" y="151"/>
                  <a:pt x="93" y="152"/>
                </a:cubicBezTo>
                <a:cubicBezTo>
                  <a:pt x="93" y="152"/>
                  <a:pt x="94" y="152"/>
                  <a:pt x="94" y="152"/>
                </a:cubicBezTo>
                <a:cubicBezTo>
                  <a:pt x="100" y="154"/>
                  <a:pt x="105" y="154"/>
                  <a:pt x="108" y="150"/>
                </a:cubicBezTo>
                <a:cubicBezTo>
                  <a:pt x="111" y="148"/>
                  <a:pt x="112" y="144"/>
                  <a:pt x="111" y="140"/>
                </a:cubicBezTo>
                <a:close/>
              </a:path>
            </a:pathLst>
          </a:custGeom>
          <a:solidFill>
            <a:srgbClr val="B9C7C2"/>
          </a:solidFill>
          <a:ln>
            <a:noFill/>
          </a:ln>
        </p:spPr>
        <p:txBody>
          <a:bodyPr vert="horz" wrap="square" lIns="91440" tIns="45720" rIns="91440" bIns="45720" numCol="1" anchor="t" anchorCtr="0" compatLnSpc="1">
            <a:prstTxWarp prst="textNoShape">
              <a:avLst/>
            </a:prstTxWarp>
          </a:bodyPr>
          <a:lstStyle/>
          <a:p>
            <a:endParaRPr lang="en-GB" dirty="0"/>
          </a:p>
        </p:txBody>
      </p:sp>
      <p:grpSp>
        <p:nvGrpSpPr>
          <p:cNvPr id="68" name="Group 67">
            <a:extLst>
              <a:ext uri="{FF2B5EF4-FFF2-40B4-BE49-F238E27FC236}">
                <a16:creationId xmlns:a16="http://schemas.microsoft.com/office/drawing/2014/main" id="{D1A1F2D1-A660-4F7A-98D9-8EF4790993A3}"/>
              </a:ext>
            </a:extLst>
          </p:cNvPr>
          <p:cNvGrpSpPr/>
          <p:nvPr/>
        </p:nvGrpSpPr>
        <p:grpSpPr>
          <a:xfrm>
            <a:off x="4170972" y="2076175"/>
            <a:ext cx="1647354" cy="3492587"/>
            <a:chOff x="4170972" y="2076175"/>
            <a:chExt cx="1647354" cy="3492587"/>
          </a:xfrm>
        </p:grpSpPr>
        <p:sp>
          <p:nvSpPr>
            <p:cNvPr id="17" name="Line 25">
              <a:extLst>
                <a:ext uri="{FF2B5EF4-FFF2-40B4-BE49-F238E27FC236}">
                  <a16:creationId xmlns:a16="http://schemas.microsoft.com/office/drawing/2014/main" id="{F516176D-F70F-4FFA-AF5B-F3B542F83E3B}"/>
                </a:ext>
              </a:extLst>
            </p:cNvPr>
            <p:cNvSpPr>
              <a:spLocks noChangeShapeType="1"/>
            </p:cNvSpPr>
            <p:nvPr/>
          </p:nvSpPr>
          <p:spPr bwMode="auto">
            <a:xfrm>
              <a:off x="4170972" y="2778442"/>
              <a:ext cx="372062"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Line 26">
              <a:extLst>
                <a:ext uri="{FF2B5EF4-FFF2-40B4-BE49-F238E27FC236}">
                  <a16:creationId xmlns:a16="http://schemas.microsoft.com/office/drawing/2014/main" id="{31C26573-B299-4AB5-A815-143C88A98966}"/>
                </a:ext>
              </a:extLst>
            </p:cNvPr>
            <p:cNvSpPr>
              <a:spLocks noChangeShapeType="1"/>
            </p:cNvSpPr>
            <p:nvPr/>
          </p:nvSpPr>
          <p:spPr bwMode="auto">
            <a:xfrm>
              <a:off x="5272741" y="2778442"/>
              <a:ext cx="462287"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30">
              <a:extLst>
                <a:ext uri="{FF2B5EF4-FFF2-40B4-BE49-F238E27FC236}">
                  <a16:creationId xmlns:a16="http://schemas.microsoft.com/office/drawing/2014/main" id="{D404B6C0-E4E3-4DD8-B744-F05BB99ED1EE}"/>
                </a:ext>
              </a:extLst>
            </p:cNvPr>
            <p:cNvSpPr>
              <a:spLocks/>
            </p:cNvSpPr>
            <p:nvPr/>
          </p:nvSpPr>
          <p:spPr bwMode="auto">
            <a:xfrm>
              <a:off x="4940676" y="2076175"/>
              <a:ext cx="52089" cy="886438"/>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0" name="Freeform 31">
              <a:extLst>
                <a:ext uri="{FF2B5EF4-FFF2-40B4-BE49-F238E27FC236}">
                  <a16:creationId xmlns:a16="http://schemas.microsoft.com/office/drawing/2014/main" id="{F60A59E4-DF50-4E02-A252-69AC32B14629}"/>
                </a:ext>
              </a:extLst>
            </p:cNvPr>
            <p:cNvSpPr>
              <a:spLocks/>
            </p:cNvSpPr>
            <p:nvPr/>
          </p:nvSpPr>
          <p:spPr bwMode="auto">
            <a:xfrm>
              <a:off x="5127637" y="2076175"/>
              <a:ext cx="53019" cy="886438"/>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1" name="Line 32">
              <a:extLst>
                <a:ext uri="{FF2B5EF4-FFF2-40B4-BE49-F238E27FC236}">
                  <a16:creationId xmlns:a16="http://schemas.microsoft.com/office/drawing/2014/main" id="{DF34FC66-21F9-4EF2-9D98-D267CE20CDFE}"/>
                </a:ext>
              </a:extLst>
            </p:cNvPr>
            <p:cNvSpPr>
              <a:spLocks noChangeShapeType="1"/>
            </p:cNvSpPr>
            <p:nvPr/>
          </p:nvSpPr>
          <p:spPr bwMode="auto">
            <a:xfrm>
              <a:off x="4995555" y="2287320"/>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2" name="Line 33">
              <a:extLst>
                <a:ext uri="{FF2B5EF4-FFF2-40B4-BE49-F238E27FC236}">
                  <a16:creationId xmlns:a16="http://schemas.microsoft.com/office/drawing/2014/main" id="{0224E4FE-6968-4D61-871E-66BAF86B0425}"/>
                </a:ext>
              </a:extLst>
            </p:cNvPr>
            <p:cNvSpPr>
              <a:spLocks noChangeShapeType="1"/>
            </p:cNvSpPr>
            <p:nvPr/>
          </p:nvSpPr>
          <p:spPr bwMode="auto">
            <a:xfrm>
              <a:off x="4995555" y="2152448"/>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3" name="Line 34">
              <a:extLst>
                <a:ext uri="{FF2B5EF4-FFF2-40B4-BE49-F238E27FC236}">
                  <a16:creationId xmlns:a16="http://schemas.microsoft.com/office/drawing/2014/main" id="{93FD4F10-BF3B-46D7-8320-2DC0DE1E2568}"/>
                </a:ext>
              </a:extLst>
            </p:cNvPr>
            <p:cNvSpPr>
              <a:spLocks noChangeShapeType="1"/>
            </p:cNvSpPr>
            <p:nvPr/>
          </p:nvSpPr>
          <p:spPr bwMode="auto">
            <a:xfrm>
              <a:off x="4995555" y="2424983"/>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Line 35">
              <a:extLst>
                <a:ext uri="{FF2B5EF4-FFF2-40B4-BE49-F238E27FC236}">
                  <a16:creationId xmlns:a16="http://schemas.microsoft.com/office/drawing/2014/main" id="{F87F6F60-EC08-467B-B4E2-1491A8F087EC}"/>
                </a:ext>
              </a:extLst>
            </p:cNvPr>
            <p:cNvSpPr>
              <a:spLocks noChangeShapeType="1"/>
            </p:cNvSpPr>
            <p:nvPr/>
          </p:nvSpPr>
          <p:spPr bwMode="auto">
            <a:xfrm>
              <a:off x="4995555" y="2558925"/>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Line 36">
              <a:extLst>
                <a:ext uri="{FF2B5EF4-FFF2-40B4-BE49-F238E27FC236}">
                  <a16:creationId xmlns:a16="http://schemas.microsoft.com/office/drawing/2014/main" id="{517FE681-3C5C-4DA1-961D-CA677590E13A}"/>
                </a:ext>
              </a:extLst>
            </p:cNvPr>
            <p:cNvSpPr>
              <a:spLocks noChangeShapeType="1"/>
            </p:cNvSpPr>
            <p:nvPr/>
          </p:nvSpPr>
          <p:spPr bwMode="auto">
            <a:xfrm>
              <a:off x="4995555" y="2696588"/>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Line 37">
              <a:extLst>
                <a:ext uri="{FF2B5EF4-FFF2-40B4-BE49-F238E27FC236}">
                  <a16:creationId xmlns:a16="http://schemas.microsoft.com/office/drawing/2014/main" id="{095CDB24-6436-4C71-B78A-65F12D087318}"/>
                </a:ext>
              </a:extLst>
            </p:cNvPr>
            <p:cNvSpPr>
              <a:spLocks noChangeShapeType="1"/>
            </p:cNvSpPr>
            <p:nvPr/>
          </p:nvSpPr>
          <p:spPr bwMode="auto">
            <a:xfrm>
              <a:off x="4995555" y="2833321"/>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54">
              <a:extLst>
                <a:ext uri="{FF2B5EF4-FFF2-40B4-BE49-F238E27FC236}">
                  <a16:creationId xmlns:a16="http://schemas.microsoft.com/office/drawing/2014/main" id="{9B6B886F-B3DD-4B74-B142-5601B5F3C9DA}"/>
                </a:ext>
              </a:extLst>
            </p:cNvPr>
            <p:cNvSpPr>
              <a:spLocks/>
            </p:cNvSpPr>
            <p:nvPr/>
          </p:nvSpPr>
          <p:spPr bwMode="auto">
            <a:xfrm>
              <a:off x="4666744" y="2498466"/>
              <a:ext cx="23254" cy="453915"/>
            </a:xfrm>
            <a:custGeom>
              <a:avLst/>
              <a:gdLst>
                <a:gd name="T0" fmla="*/ 25 w 25"/>
                <a:gd name="T1" fmla="*/ 488 h 488"/>
                <a:gd name="T2" fmla="*/ 0 w 25"/>
                <a:gd name="T3" fmla="*/ 102 h 488"/>
                <a:gd name="T4" fmla="*/ 6 w 25"/>
                <a:gd name="T5" fmla="*/ 0 h 488"/>
              </a:gdLst>
              <a:ahLst/>
              <a:cxnLst>
                <a:cxn ang="0">
                  <a:pos x="T0" y="T1"/>
                </a:cxn>
                <a:cxn ang="0">
                  <a:pos x="T2" y="T3"/>
                </a:cxn>
                <a:cxn ang="0">
                  <a:pos x="T4" y="T5"/>
                </a:cxn>
              </a:cxnLst>
              <a:rect l="0" t="0" r="r" b="b"/>
              <a:pathLst>
                <a:path w="25" h="488">
                  <a:moveTo>
                    <a:pt x="25" y="488"/>
                  </a:moveTo>
                  <a:lnTo>
                    <a:pt x="0" y="102"/>
                  </a:lnTo>
                  <a:lnTo>
                    <a:pt x="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55">
              <a:extLst>
                <a:ext uri="{FF2B5EF4-FFF2-40B4-BE49-F238E27FC236}">
                  <a16:creationId xmlns:a16="http://schemas.microsoft.com/office/drawing/2014/main" id="{B8F47DA8-45D6-4FAC-97FE-7A0C4C918A06}"/>
                </a:ext>
              </a:extLst>
            </p:cNvPr>
            <p:cNvSpPr>
              <a:spLocks/>
            </p:cNvSpPr>
            <p:nvPr/>
          </p:nvSpPr>
          <p:spPr bwMode="auto">
            <a:xfrm>
              <a:off x="4811849" y="2498466"/>
              <a:ext cx="68831" cy="455776"/>
            </a:xfrm>
            <a:custGeom>
              <a:avLst/>
              <a:gdLst>
                <a:gd name="T0" fmla="*/ 0 w 74"/>
                <a:gd name="T1" fmla="*/ 0 h 490"/>
                <a:gd name="T2" fmla="*/ 6 w 74"/>
                <a:gd name="T3" fmla="*/ 139 h 490"/>
                <a:gd name="T4" fmla="*/ 74 w 74"/>
                <a:gd name="T5" fmla="*/ 490 h 490"/>
              </a:gdLst>
              <a:ahLst/>
              <a:cxnLst>
                <a:cxn ang="0">
                  <a:pos x="T0" y="T1"/>
                </a:cxn>
                <a:cxn ang="0">
                  <a:pos x="T2" y="T3"/>
                </a:cxn>
                <a:cxn ang="0">
                  <a:pos x="T4" y="T5"/>
                </a:cxn>
              </a:cxnLst>
              <a:rect l="0" t="0" r="r" b="b"/>
              <a:pathLst>
                <a:path w="74" h="490">
                  <a:moveTo>
                    <a:pt x="0" y="0"/>
                  </a:moveTo>
                  <a:lnTo>
                    <a:pt x="6" y="139"/>
                  </a:lnTo>
                  <a:lnTo>
                    <a:pt x="74" y="49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1" name="Line 56">
              <a:extLst>
                <a:ext uri="{FF2B5EF4-FFF2-40B4-BE49-F238E27FC236}">
                  <a16:creationId xmlns:a16="http://schemas.microsoft.com/office/drawing/2014/main" id="{D1380706-C774-45F5-A9D7-23A51DFBA1F0}"/>
                </a:ext>
              </a:extLst>
            </p:cNvPr>
            <p:cNvSpPr>
              <a:spLocks noChangeShapeType="1"/>
            </p:cNvSpPr>
            <p:nvPr/>
          </p:nvSpPr>
          <p:spPr bwMode="auto">
            <a:xfrm>
              <a:off x="4745808" y="2659383"/>
              <a:ext cx="90225" cy="294859"/>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Line 57">
              <a:extLst>
                <a:ext uri="{FF2B5EF4-FFF2-40B4-BE49-F238E27FC236}">
                  <a16:creationId xmlns:a16="http://schemas.microsoft.com/office/drawing/2014/main" id="{990D8A31-789B-4680-8554-AB7B24B71D89}"/>
                </a:ext>
              </a:extLst>
            </p:cNvPr>
            <p:cNvSpPr>
              <a:spLocks noChangeShapeType="1"/>
            </p:cNvSpPr>
            <p:nvPr/>
          </p:nvSpPr>
          <p:spPr bwMode="auto">
            <a:xfrm flipV="1">
              <a:off x="4740227" y="2659383"/>
              <a:ext cx="5581" cy="292999"/>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58">
              <a:extLst>
                <a:ext uri="{FF2B5EF4-FFF2-40B4-BE49-F238E27FC236}">
                  <a16:creationId xmlns:a16="http://schemas.microsoft.com/office/drawing/2014/main" id="{419EB0B1-F59B-4993-BB99-9C4A08AF3DCA}"/>
                </a:ext>
              </a:extLst>
            </p:cNvPr>
            <p:cNvSpPr>
              <a:spLocks/>
            </p:cNvSpPr>
            <p:nvPr/>
          </p:nvSpPr>
          <p:spPr bwMode="auto">
            <a:xfrm>
              <a:off x="4632329" y="2384987"/>
              <a:ext cx="264164" cy="239980"/>
            </a:xfrm>
            <a:custGeom>
              <a:avLst/>
              <a:gdLst>
                <a:gd name="T0" fmla="*/ 100 w 100"/>
                <a:gd name="T1" fmla="*/ 82 h 91"/>
                <a:gd name="T2" fmla="*/ 82 w 100"/>
                <a:gd name="T3" fmla="*/ 46 h 91"/>
                <a:gd name="T4" fmla="*/ 60 w 100"/>
                <a:gd name="T5" fmla="*/ 2 h 91"/>
                <a:gd name="T6" fmla="*/ 27 w 100"/>
                <a:gd name="T7" fmla="*/ 2 h 91"/>
                <a:gd name="T8" fmla="*/ 2 w 100"/>
                <a:gd name="T9" fmla="*/ 34 h 91"/>
                <a:gd name="T10" fmla="*/ 52 w 100"/>
                <a:gd name="T11" fmla="*/ 91 h 91"/>
              </a:gdLst>
              <a:ahLst/>
              <a:cxnLst>
                <a:cxn ang="0">
                  <a:pos x="T0" y="T1"/>
                </a:cxn>
                <a:cxn ang="0">
                  <a:pos x="T2" y="T3"/>
                </a:cxn>
                <a:cxn ang="0">
                  <a:pos x="T4" y="T5"/>
                </a:cxn>
                <a:cxn ang="0">
                  <a:pos x="T6" y="T7"/>
                </a:cxn>
                <a:cxn ang="0">
                  <a:pos x="T8" y="T9"/>
                </a:cxn>
                <a:cxn ang="0">
                  <a:pos x="T10" y="T11"/>
                </a:cxn>
              </a:cxnLst>
              <a:rect l="0" t="0" r="r" b="b"/>
              <a:pathLst>
                <a:path w="100" h="91">
                  <a:moveTo>
                    <a:pt x="100" y="82"/>
                  </a:moveTo>
                  <a:cubicBezTo>
                    <a:pt x="100" y="82"/>
                    <a:pt x="78" y="75"/>
                    <a:pt x="82" y="46"/>
                  </a:cubicBezTo>
                  <a:cubicBezTo>
                    <a:pt x="84" y="30"/>
                    <a:pt x="76" y="0"/>
                    <a:pt x="60" y="2"/>
                  </a:cubicBezTo>
                  <a:cubicBezTo>
                    <a:pt x="44" y="3"/>
                    <a:pt x="27" y="2"/>
                    <a:pt x="27" y="2"/>
                  </a:cubicBezTo>
                  <a:cubicBezTo>
                    <a:pt x="10" y="2"/>
                    <a:pt x="2" y="18"/>
                    <a:pt x="2" y="34"/>
                  </a:cubicBezTo>
                  <a:cubicBezTo>
                    <a:pt x="0" y="84"/>
                    <a:pt x="52" y="91"/>
                    <a:pt x="52" y="9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59">
              <a:extLst>
                <a:ext uri="{FF2B5EF4-FFF2-40B4-BE49-F238E27FC236}">
                  <a16:creationId xmlns:a16="http://schemas.microsoft.com/office/drawing/2014/main" id="{122287F0-277E-4870-BA34-5C7F1C5F27B2}"/>
                </a:ext>
              </a:extLst>
            </p:cNvPr>
            <p:cNvSpPr>
              <a:spLocks noChangeShapeType="1"/>
            </p:cNvSpPr>
            <p:nvPr/>
          </p:nvSpPr>
          <p:spPr bwMode="auto">
            <a:xfrm>
              <a:off x="4783014" y="2355222"/>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5" name="Freeform 60">
              <a:extLst>
                <a:ext uri="{FF2B5EF4-FFF2-40B4-BE49-F238E27FC236}">
                  <a16:creationId xmlns:a16="http://schemas.microsoft.com/office/drawing/2014/main" id="{D69C12C3-A0D1-45B6-BE30-1D9EF29AB3ED}"/>
                </a:ext>
              </a:extLst>
            </p:cNvPr>
            <p:cNvSpPr>
              <a:spLocks/>
            </p:cNvSpPr>
            <p:nvPr/>
          </p:nvSpPr>
          <p:spPr bwMode="auto">
            <a:xfrm>
              <a:off x="4685348" y="2250115"/>
              <a:ext cx="110688" cy="139523"/>
            </a:xfrm>
            <a:custGeom>
              <a:avLst/>
              <a:gdLst>
                <a:gd name="T0" fmla="*/ 21 w 42"/>
                <a:gd name="T1" fmla="*/ 53 h 53"/>
                <a:gd name="T2" fmla="*/ 2 w 42"/>
                <a:gd name="T3" fmla="*/ 26 h 53"/>
                <a:gd name="T4" fmla="*/ 21 w 42"/>
                <a:gd name="T5" fmla="*/ 0 h 53"/>
                <a:gd name="T6" fmla="*/ 41 w 42"/>
                <a:gd name="T7" fmla="*/ 26 h 53"/>
                <a:gd name="T8" fmla="*/ 38 w 42"/>
                <a:gd name="T9" fmla="*/ 39 h 53"/>
              </a:gdLst>
              <a:ahLst/>
              <a:cxnLst>
                <a:cxn ang="0">
                  <a:pos x="T0" y="T1"/>
                </a:cxn>
                <a:cxn ang="0">
                  <a:pos x="T2" y="T3"/>
                </a:cxn>
                <a:cxn ang="0">
                  <a:pos x="T4" y="T5"/>
                </a:cxn>
                <a:cxn ang="0">
                  <a:pos x="T6" y="T7"/>
                </a:cxn>
                <a:cxn ang="0">
                  <a:pos x="T8" y="T9"/>
                </a:cxn>
              </a:cxnLst>
              <a:rect l="0" t="0" r="r" b="b"/>
              <a:pathLst>
                <a:path w="42" h="53">
                  <a:moveTo>
                    <a:pt x="21" y="53"/>
                  </a:moveTo>
                  <a:cubicBezTo>
                    <a:pt x="13" y="53"/>
                    <a:pt x="3" y="43"/>
                    <a:pt x="2" y="26"/>
                  </a:cubicBezTo>
                  <a:cubicBezTo>
                    <a:pt x="0" y="12"/>
                    <a:pt x="7" y="0"/>
                    <a:pt x="21" y="0"/>
                  </a:cubicBezTo>
                  <a:cubicBezTo>
                    <a:pt x="36" y="0"/>
                    <a:pt x="42" y="12"/>
                    <a:pt x="41" y="26"/>
                  </a:cubicBezTo>
                  <a:cubicBezTo>
                    <a:pt x="41" y="31"/>
                    <a:pt x="40" y="35"/>
                    <a:pt x="38" y="3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9" name="Freeform 54">
              <a:extLst>
                <a:ext uri="{FF2B5EF4-FFF2-40B4-BE49-F238E27FC236}">
                  <a16:creationId xmlns:a16="http://schemas.microsoft.com/office/drawing/2014/main" id="{5741EF49-2FEB-4F8D-88B8-90FA8E9E62DF}"/>
                </a:ext>
              </a:extLst>
            </p:cNvPr>
            <p:cNvSpPr>
              <a:spLocks/>
            </p:cNvSpPr>
            <p:nvPr/>
          </p:nvSpPr>
          <p:spPr bwMode="auto">
            <a:xfrm flipH="1">
              <a:off x="5300303" y="5240746"/>
              <a:ext cx="16433" cy="320785"/>
            </a:xfrm>
            <a:custGeom>
              <a:avLst/>
              <a:gdLst>
                <a:gd name="T0" fmla="*/ 25 w 25"/>
                <a:gd name="T1" fmla="*/ 488 h 488"/>
                <a:gd name="T2" fmla="*/ 0 w 25"/>
                <a:gd name="T3" fmla="*/ 102 h 488"/>
                <a:gd name="T4" fmla="*/ 6 w 25"/>
                <a:gd name="T5" fmla="*/ 0 h 488"/>
              </a:gdLst>
              <a:ahLst/>
              <a:cxnLst>
                <a:cxn ang="0">
                  <a:pos x="T0" y="T1"/>
                </a:cxn>
                <a:cxn ang="0">
                  <a:pos x="T2" y="T3"/>
                </a:cxn>
                <a:cxn ang="0">
                  <a:pos x="T4" y="T5"/>
                </a:cxn>
              </a:cxnLst>
              <a:rect l="0" t="0" r="r" b="b"/>
              <a:pathLst>
                <a:path w="25" h="488">
                  <a:moveTo>
                    <a:pt x="25" y="488"/>
                  </a:moveTo>
                  <a:lnTo>
                    <a:pt x="0" y="102"/>
                  </a:lnTo>
                  <a:lnTo>
                    <a:pt x="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Freeform 55">
              <a:extLst>
                <a:ext uri="{FF2B5EF4-FFF2-40B4-BE49-F238E27FC236}">
                  <a16:creationId xmlns:a16="http://schemas.microsoft.com/office/drawing/2014/main" id="{4DD5EF01-5C19-43BF-9037-7B4E6BA7ED88}"/>
                </a:ext>
              </a:extLst>
            </p:cNvPr>
            <p:cNvSpPr>
              <a:spLocks/>
            </p:cNvSpPr>
            <p:nvPr/>
          </p:nvSpPr>
          <p:spPr bwMode="auto">
            <a:xfrm flipH="1">
              <a:off x="5165547" y="5240746"/>
              <a:ext cx="48644" cy="322100"/>
            </a:xfrm>
            <a:custGeom>
              <a:avLst/>
              <a:gdLst>
                <a:gd name="T0" fmla="*/ 0 w 74"/>
                <a:gd name="T1" fmla="*/ 0 h 490"/>
                <a:gd name="T2" fmla="*/ 6 w 74"/>
                <a:gd name="T3" fmla="*/ 139 h 490"/>
                <a:gd name="T4" fmla="*/ 74 w 74"/>
                <a:gd name="T5" fmla="*/ 490 h 490"/>
              </a:gdLst>
              <a:ahLst/>
              <a:cxnLst>
                <a:cxn ang="0">
                  <a:pos x="T0" y="T1"/>
                </a:cxn>
                <a:cxn ang="0">
                  <a:pos x="T2" y="T3"/>
                </a:cxn>
                <a:cxn ang="0">
                  <a:pos x="T4" y="T5"/>
                </a:cxn>
              </a:cxnLst>
              <a:rect l="0" t="0" r="r" b="b"/>
              <a:pathLst>
                <a:path w="74" h="490">
                  <a:moveTo>
                    <a:pt x="0" y="0"/>
                  </a:moveTo>
                  <a:lnTo>
                    <a:pt x="6" y="139"/>
                  </a:lnTo>
                  <a:lnTo>
                    <a:pt x="74" y="49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1" name="Line 56">
              <a:extLst>
                <a:ext uri="{FF2B5EF4-FFF2-40B4-BE49-F238E27FC236}">
                  <a16:creationId xmlns:a16="http://schemas.microsoft.com/office/drawing/2014/main" id="{2B200BB9-D5B1-49B7-894E-B7FCB27C7F57}"/>
                </a:ext>
              </a:extLst>
            </p:cNvPr>
            <p:cNvSpPr>
              <a:spLocks noChangeShapeType="1"/>
            </p:cNvSpPr>
            <p:nvPr/>
          </p:nvSpPr>
          <p:spPr bwMode="auto">
            <a:xfrm flipH="1">
              <a:off x="5197100" y="5354467"/>
              <a:ext cx="63762" cy="208379"/>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2" name="Line 57">
              <a:extLst>
                <a:ext uri="{FF2B5EF4-FFF2-40B4-BE49-F238E27FC236}">
                  <a16:creationId xmlns:a16="http://schemas.microsoft.com/office/drawing/2014/main" id="{6D0600AA-E02A-4313-850C-F4EF47DBD66D}"/>
                </a:ext>
              </a:extLst>
            </p:cNvPr>
            <p:cNvSpPr>
              <a:spLocks noChangeShapeType="1"/>
            </p:cNvSpPr>
            <p:nvPr/>
          </p:nvSpPr>
          <p:spPr bwMode="auto">
            <a:xfrm flipH="1" flipV="1">
              <a:off x="5260862" y="5354467"/>
              <a:ext cx="3944" cy="207064"/>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3" name="Freeform 58">
              <a:extLst>
                <a:ext uri="{FF2B5EF4-FFF2-40B4-BE49-F238E27FC236}">
                  <a16:creationId xmlns:a16="http://schemas.microsoft.com/office/drawing/2014/main" id="{EE5887B1-71E1-4931-BF9F-11C0F377C85D}"/>
                </a:ext>
              </a:extLst>
            </p:cNvPr>
            <p:cNvSpPr>
              <a:spLocks/>
            </p:cNvSpPr>
            <p:nvPr/>
          </p:nvSpPr>
          <p:spPr bwMode="auto">
            <a:xfrm flipH="1">
              <a:off x="5154372" y="5160549"/>
              <a:ext cx="186686" cy="169596"/>
            </a:xfrm>
            <a:custGeom>
              <a:avLst/>
              <a:gdLst>
                <a:gd name="T0" fmla="*/ 100 w 100"/>
                <a:gd name="T1" fmla="*/ 82 h 91"/>
                <a:gd name="T2" fmla="*/ 82 w 100"/>
                <a:gd name="T3" fmla="*/ 46 h 91"/>
                <a:gd name="T4" fmla="*/ 60 w 100"/>
                <a:gd name="T5" fmla="*/ 2 h 91"/>
                <a:gd name="T6" fmla="*/ 27 w 100"/>
                <a:gd name="T7" fmla="*/ 2 h 91"/>
                <a:gd name="T8" fmla="*/ 2 w 100"/>
                <a:gd name="T9" fmla="*/ 34 h 91"/>
                <a:gd name="T10" fmla="*/ 52 w 100"/>
                <a:gd name="T11" fmla="*/ 91 h 91"/>
              </a:gdLst>
              <a:ahLst/>
              <a:cxnLst>
                <a:cxn ang="0">
                  <a:pos x="T0" y="T1"/>
                </a:cxn>
                <a:cxn ang="0">
                  <a:pos x="T2" y="T3"/>
                </a:cxn>
                <a:cxn ang="0">
                  <a:pos x="T4" y="T5"/>
                </a:cxn>
                <a:cxn ang="0">
                  <a:pos x="T6" y="T7"/>
                </a:cxn>
                <a:cxn ang="0">
                  <a:pos x="T8" y="T9"/>
                </a:cxn>
                <a:cxn ang="0">
                  <a:pos x="T10" y="T11"/>
                </a:cxn>
              </a:cxnLst>
              <a:rect l="0" t="0" r="r" b="b"/>
              <a:pathLst>
                <a:path w="100" h="91">
                  <a:moveTo>
                    <a:pt x="100" y="82"/>
                  </a:moveTo>
                  <a:cubicBezTo>
                    <a:pt x="100" y="82"/>
                    <a:pt x="78" y="75"/>
                    <a:pt x="82" y="46"/>
                  </a:cubicBezTo>
                  <a:cubicBezTo>
                    <a:pt x="84" y="30"/>
                    <a:pt x="76" y="0"/>
                    <a:pt x="60" y="2"/>
                  </a:cubicBezTo>
                  <a:cubicBezTo>
                    <a:pt x="44" y="3"/>
                    <a:pt x="27" y="2"/>
                    <a:pt x="27" y="2"/>
                  </a:cubicBezTo>
                  <a:cubicBezTo>
                    <a:pt x="10" y="2"/>
                    <a:pt x="2" y="18"/>
                    <a:pt x="2" y="34"/>
                  </a:cubicBezTo>
                  <a:cubicBezTo>
                    <a:pt x="0" y="84"/>
                    <a:pt x="52" y="91"/>
                    <a:pt x="52" y="9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Line 59">
              <a:extLst>
                <a:ext uri="{FF2B5EF4-FFF2-40B4-BE49-F238E27FC236}">
                  <a16:creationId xmlns:a16="http://schemas.microsoft.com/office/drawing/2014/main" id="{BFB84FBA-91CE-4697-803F-336B6B9D4718}"/>
                </a:ext>
              </a:extLst>
            </p:cNvPr>
            <p:cNvSpPr>
              <a:spLocks noChangeShapeType="1"/>
            </p:cNvSpPr>
            <p:nvPr/>
          </p:nvSpPr>
          <p:spPr bwMode="auto">
            <a:xfrm flipH="1">
              <a:off x="5234568" y="5139514"/>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60">
              <a:extLst>
                <a:ext uri="{FF2B5EF4-FFF2-40B4-BE49-F238E27FC236}">
                  <a16:creationId xmlns:a16="http://schemas.microsoft.com/office/drawing/2014/main" id="{6CE18248-6B8D-4B92-81E9-AF04B9EA962C}"/>
                </a:ext>
              </a:extLst>
            </p:cNvPr>
            <p:cNvSpPr>
              <a:spLocks/>
            </p:cNvSpPr>
            <p:nvPr/>
          </p:nvSpPr>
          <p:spPr bwMode="auto">
            <a:xfrm flipH="1">
              <a:off x="5225366" y="5065234"/>
              <a:ext cx="78224" cy="98602"/>
            </a:xfrm>
            <a:custGeom>
              <a:avLst/>
              <a:gdLst>
                <a:gd name="T0" fmla="*/ 21 w 42"/>
                <a:gd name="T1" fmla="*/ 53 h 53"/>
                <a:gd name="T2" fmla="*/ 2 w 42"/>
                <a:gd name="T3" fmla="*/ 26 h 53"/>
                <a:gd name="T4" fmla="*/ 21 w 42"/>
                <a:gd name="T5" fmla="*/ 0 h 53"/>
                <a:gd name="T6" fmla="*/ 41 w 42"/>
                <a:gd name="T7" fmla="*/ 26 h 53"/>
                <a:gd name="T8" fmla="*/ 38 w 42"/>
                <a:gd name="T9" fmla="*/ 39 h 53"/>
              </a:gdLst>
              <a:ahLst/>
              <a:cxnLst>
                <a:cxn ang="0">
                  <a:pos x="T0" y="T1"/>
                </a:cxn>
                <a:cxn ang="0">
                  <a:pos x="T2" y="T3"/>
                </a:cxn>
                <a:cxn ang="0">
                  <a:pos x="T4" y="T5"/>
                </a:cxn>
                <a:cxn ang="0">
                  <a:pos x="T6" y="T7"/>
                </a:cxn>
                <a:cxn ang="0">
                  <a:pos x="T8" y="T9"/>
                </a:cxn>
              </a:cxnLst>
              <a:rect l="0" t="0" r="r" b="b"/>
              <a:pathLst>
                <a:path w="42" h="53">
                  <a:moveTo>
                    <a:pt x="21" y="53"/>
                  </a:moveTo>
                  <a:cubicBezTo>
                    <a:pt x="13" y="53"/>
                    <a:pt x="3" y="43"/>
                    <a:pt x="2" y="26"/>
                  </a:cubicBezTo>
                  <a:cubicBezTo>
                    <a:pt x="0" y="12"/>
                    <a:pt x="7" y="0"/>
                    <a:pt x="21" y="0"/>
                  </a:cubicBezTo>
                  <a:cubicBezTo>
                    <a:pt x="36" y="0"/>
                    <a:pt x="42" y="12"/>
                    <a:pt x="41" y="26"/>
                  </a:cubicBezTo>
                  <a:cubicBezTo>
                    <a:pt x="41" y="31"/>
                    <a:pt x="40" y="35"/>
                    <a:pt x="38" y="3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8" name="Line 25">
              <a:extLst>
                <a:ext uri="{FF2B5EF4-FFF2-40B4-BE49-F238E27FC236}">
                  <a16:creationId xmlns:a16="http://schemas.microsoft.com/office/drawing/2014/main" id="{082D2E82-8AE9-4D43-9058-5AB0687B2B72}"/>
                </a:ext>
              </a:extLst>
            </p:cNvPr>
            <p:cNvSpPr>
              <a:spLocks noChangeShapeType="1"/>
            </p:cNvSpPr>
            <p:nvPr/>
          </p:nvSpPr>
          <p:spPr bwMode="auto">
            <a:xfrm>
              <a:off x="4254270" y="5384591"/>
              <a:ext cx="372062"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26">
              <a:extLst>
                <a:ext uri="{FF2B5EF4-FFF2-40B4-BE49-F238E27FC236}">
                  <a16:creationId xmlns:a16="http://schemas.microsoft.com/office/drawing/2014/main" id="{789BD5B7-C38A-4C39-BC53-6984A7DF1A9A}"/>
                </a:ext>
              </a:extLst>
            </p:cNvPr>
            <p:cNvSpPr>
              <a:spLocks noChangeShapeType="1"/>
            </p:cNvSpPr>
            <p:nvPr/>
          </p:nvSpPr>
          <p:spPr bwMode="auto">
            <a:xfrm>
              <a:off x="5407105" y="5384591"/>
              <a:ext cx="41122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0" name="Freeform 30">
              <a:extLst>
                <a:ext uri="{FF2B5EF4-FFF2-40B4-BE49-F238E27FC236}">
                  <a16:creationId xmlns:a16="http://schemas.microsoft.com/office/drawing/2014/main" id="{161586C0-D902-4599-AD40-635976DE482E}"/>
                </a:ext>
              </a:extLst>
            </p:cNvPr>
            <p:cNvSpPr>
              <a:spLocks/>
            </p:cNvSpPr>
            <p:nvPr/>
          </p:nvSpPr>
          <p:spPr bwMode="auto">
            <a:xfrm>
              <a:off x="4655167" y="4682324"/>
              <a:ext cx="52089" cy="886438"/>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1" name="Freeform 31">
              <a:extLst>
                <a:ext uri="{FF2B5EF4-FFF2-40B4-BE49-F238E27FC236}">
                  <a16:creationId xmlns:a16="http://schemas.microsoft.com/office/drawing/2014/main" id="{B04889FB-C449-44E5-8FD1-5A324EE7ABDC}"/>
                </a:ext>
              </a:extLst>
            </p:cNvPr>
            <p:cNvSpPr>
              <a:spLocks/>
            </p:cNvSpPr>
            <p:nvPr/>
          </p:nvSpPr>
          <p:spPr bwMode="auto">
            <a:xfrm>
              <a:off x="4842128" y="4682324"/>
              <a:ext cx="53019" cy="886438"/>
            </a:xfrm>
            <a:custGeom>
              <a:avLst/>
              <a:gdLst>
                <a:gd name="T0" fmla="*/ 20 w 20"/>
                <a:gd name="T1" fmla="*/ 336 h 336"/>
                <a:gd name="T2" fmla="*/ 20 w 20"/>
                <a:gd name="T3" fmla="*/ 20 h 336"/>
                <a:gd name="T4" fmla="*/ 0 w 20"/>
                <a:gd name="T5" fmla="*/ 0 h 336"/>
                <a:gd name="T6" fmla="*/ 0 w 20"/>
                <a:gd name="T7" fmla="*/ 0 h 336"/>
              </a:gdLst>
              <a:ahLst/>
              <a:cxnLst>
                <a:cxn ang="0">
                  <a:pos x="T0" y="T1"/>
                </a:cxn>
                <a:cxn ang="0">
                  <a:pos x="T2" y="T3"/>
                </a:cxn>
                <a:cxn ang="0">
                  <a:pos x="T4" y="T5"/>
                </a:cxn>
                <a:cxn ang="0">
                  <a:pos x="T6" y="T7"/>
                </a:cxn>
              </a:cxnLst>
              <a:rect l="0" t="0" r="r" b="b"/>
              <a:pathLst>
                <a:path w="20" h="336">
                  <a:moveTo>
                    <a:pt x="20" y="336"/>
                  </a:moveTo>
                  <a:cubicBezTo>
                    <a:pt x="20" y="20"/>
                    <a:pt x="20" y="20"/>
                    <a:pt x="20" y="20"/>
                  </a:cubicBezTo>
                  <a:cubicBezTo>
                    <a:pt x="20" y="9"/>
                    <a:pt x="11" y="0"/>
                    <a:pt x="0" y="0"/>
                  </a:cubicBezTo>
                  <a:cubicBezTo>
                    <a:pt x="0" y="0"/>
                    <a:pt x="0"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2" name="Line 32">
              <a:extLst>
                <a:ext uri="{FF2B5EF4-FFF2-40B4-BE49-F238E27FC236}">
                  <a16:creationId xmlns:a16="http://schemas.microsoft.com/office/drawing/2014/main" id="{CB16144D-8851-49D4-96BE-6A384D1E3C94}"/>
                </a:ext>
              </a:extLst>
            </p:cNvPr>
            <p:cNvSpPr>
              <a:spLocks noChangeShapeType="1"/>
            </p:cNvSpPr>
            <p:nvPr/>
          </p:nvSpPr>
          <p:spPr bwMode="auto">
            <a:xfrm>
              <a:off x="4710046" y="4893469"/>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3" name="Line 33">
              <a:extLst>
                <a:ext uri="{FF2B5EF4-FFF2-40B4-BE49-F238E27FC236}">
                  <a16:creationId xmlns:a16="http://schemas.microsoft.com/office/drawing/2014/main" id="{61E760F5-20E3-46F3-B9F6-DE800224A25B}"/>
                </a:ext>
              </a:extLst>
            </p:cNvPr>
            <p:cNvSpPr>
              <a:spLocks noChangeShapeType="1"/>
            </p:cNvSpPr>
            <p:nvPr/>
          </p:nvSpPr>
          <p:spPr bwMode="auto">
            <a:xfrm>
              <a:off x="4710046" y="4758597"/>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4" name="Line 34">
              <a:extLst>
                <a:ext uri="{FF2B5EF4-FFF2-40B4-BE49-F238E27FC236}">
                  <a16:creationId xmlns:a16="http://schemas.microsoft.com/office/drawing/2014/main" id="{9FEA4E65-FD41-4528-B8C2-630510CB43A7}"/>
                </a:ext>
              </a:extLst>
            </p:cNvPr>
            <p:cNvSpPr>
              <a:spLocks noChangeShapeType="1"/>
            </p:cNvSpPr>
            <p:nvPr/>
          </p:nvSpPr>
          <p:spPr bwMode="auto">
            <a:xfrm>
              <a:off x="4710046" y="5031132"/>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5" name="Line 35">
              <a:extLst>
                <a:ext uri="{FF2B5EF4-FFF2-40B4-BE49-F238E27FC236}">
                  <a16:creationId xmlns:a16="http://schemas.microsoft.com/office/drawing/2014/main" id="{53636E7C-EB7C-47DF-AF7C-AB0AB76006F5}"/>
                </a:ext>
              </a:extLst>
            </p:cNvPr>
            <p:cNvSpPr>
              <a:spLocks noChangeShapeType="1"/>
            </p:cNvSpPr>
            <p:nvPr/>
          </p:nvSpPr>
          <p:spPr bwMode="auto">
            <a:xfrm>
              <a:off x="4710046" y="5165074"/>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6" name="Line 36">
              <a:extLst>
                <a:ext uri="{FF2B5EF4-FFF2-40B4-BE49-F238E27FC236}">
                  <a16:creationId xmlns:a16="http://schemas.microsoft.com/office/drawing/2014/main" id="{75DBC6A6-C78F-4B86-860B-8189C79AED72}"/>
                </a:ext>
              </a:extLst>
            </p:cNvPr>
            <p:cNvSpPr>
              <a:spLocks noChangeShapeType="1"/>
            </p:cNvSpPr>
            <p:nvPr/>
          </p:nvSpPr>
          <p:spPr bwMode="auto">
            <a:xfrm>
              <a:off x="4710046" y="5302737"/>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57" name="Line 37">
              <a:extLst>
                <a:ext uri="{FF2B5EF4-FFF2-40B4-BE49-F238E27FC236}">
                  <a16:creationId xmlns:a16="http://schemas.microsoft.com/office/drawing/2014/main" id="{DC5F9925-9642-4AC2-BF35-F8ADB48E306D}"/>
                </a:ext>
              </a:extLst>
            </p:cNvPr>
            <p:cNvSpPr>
              <a:spLocks noChangeShapeType="1"/>
            </p:cNvSpPr>
            <p:nvPr/>
          </p:nvSpPr>
          <p:spPr bwMode="auto">
            <a:xfrm>
              <a:off x="4710046" y="5439470"/>
              <a:ext cx="185101"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4">
              <a:extLst>
                <a:ext uri="{FF2B5EF4-FFF2-40B4-BE49-F238E27FC236}">
                  <a16:creationId xmlns:a16="http://schemas.microsoft.com/office/drawing/2014/main" id="{65816853-A668-4EB1-8563-0CAC97934A0B}"/>
                </a:ext>
              </a:extLst>
            </p:cNvPr>
            <p:cNvSpPr>
              <a:spLocks/>
            </p:cNvSpPr>
            <p:nvPr/>
          </p:nvSpPr>
          <p:spPr bwMode="auto">
            <a:xfrm flipH="1">
              <a:off x="5123181" y="5215684"/>
              <a:ext cx="17689" cy="345294"/>
            </a:xfrm>
            <a:custGeom>
              <a:avLst/>
              <a:gdLst>
                <a:gd name="T0" fmla="*/ 25 w 25"/>
                <a:gd name="T1" fmla="*/ 488 h 488"/>
                <a:gd name="T2" fmla="*/ 0 w 25"/>
                <a:gd name="T3" fmla="*/ 102 h 488"/>
                <a:gd name="T4" fmla="*/ 6 w 25"/>
                <a:gd name="T5" fmla="*/ 0 h 488"/>
              </a:gdLst>
              <a:ahLst/>
              <a:cxnLst>
                <a:cxn ang="0">
                  <a:pos x="T0" y="T1"/>
                </a:cxn>
                <a:cxn ang="0">
                  <a:pos x="T2" y="T3"/>
                </a:cxn>
                <a:cxn ang="0">
                  <a:pos x="T4" y="T5"/>
                </a:cxn>
              </a:cxnLst>
              <a:rect l="0" t="0" r="r" b="b"/>
              <a:pathLst>
                <a:path w="25" h="488">
                  <a:moveTo>
                    <a:pt x="25" y="488"/>
                  </a:moveTo>
                  <a:lnTo>
                    <a:pt x="0" y="102"/>
                  </a:lnTo>
                  <a:lnTo>
                    <a:pt x="6"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4" name="Freeform 55">
              <a:extLst>
                <a:ext uri="{FF2B5EF4-FFF2-40B4-BE49-F238E27FC236}">
                  <a16:creationId xmlns:a16="http://schemas.microsoft.com/office/drawing/2014/main" id="{148BA440-1BD6-418B-959A-D45D0828570E}"/>
                </a:ext>
              </a:extLst>
            </p:cNvPr>
            <p:cNvSpPr>
              <a:spLocks/>
            </p:cNvSpPr>
            <p:nvPr/>
          </p:nvSpPr>
          <p:spPr bwMode="auto">
            <a:xfrm flipH="1">
              <a:off x="4978129" y="5215684"/>
              <a:ext cx="52360" cy="346710"/>
            </a:xfrm>
            <a:custGeom>
              <a:avLst/>
              <a:gdLst>
                <a:gd name="T0" fmla="*/ 0 w 74"/>
                <a:gd name="T1" fmla="*/ 0 h 490"/>
                <a:gd name="T2" fmla="*/ 6 w 74"/>
                <a:gd name="T3" fmla="*/ 139 h 490"/>
                <a:gd name="T4" fmla="*/ 74 w 74"/>
                <a:gd name="T5" fmla="*/ 490 h 490"/>
              </a:gdLst>
              <a:ahLst/>
              <a:cxnLst>
                <a:cxn ang="0">
                  <a:pos x="T0" y="T1"/>
                </a:cxn>
                <a:cxn ang="0">
                  <a:pos x="T2" y="T3"/>
                </a:cxn>
                <a:cxn ang="0">
                  <a:pos x="T4" y="T5"/>
                </a:cxn>
              </a:cxnLst>
              <a:rect l="0" t="0" r="r" b="b"/>
              <a:pathLst>
                <a:path w="74" h="490">
                  <a:moveTo>
                    <a:pt x="0" y="0"/>
                  </a:moveTo>
                  <a:lnTo>
                    <a:pt x="6" y="139"/>
                  </a:lnTo>
                  <a:lnTo>
                    <a:pt x="74" y="49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5" name="Line 56">
              <a:extLst>
                <a:ext uri="{FF2B5EF4-FFF2-40B4-BE49-F238E27FC236}">
                  <a16:creationId xmlns:a16="http://schemas.microsoft.com/office/drawing/2014/main" id="{9D62A08F-445D-4CB5-9461-1A4385C9AAAA}"/>
                </a:ext>
              </a:extLst>
            </p:cNvPr>
            <p:cNvSpPr>
              <a:spLocks noChangeShapeType="1"/>
            </p:cNvSpPr>
            <p:nvPr/>
          </p:nvSpPr>
          <p:spPr bwMode="auto">
            <a:xfrm flipH="1">
              <a:off x="5012093" y="5338094"/>
              <a:ext cx="68634" cy="22430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6" name="Line 57">
              <a:extLst>
                <a:ext uri="{FF2B5EF4-FFF2-40B4-BE49-F238E27FC236}">
                  <a16:creationId xmlns:a16="http://schemas.microsoft.com/office/drawing/2014/main" id="{8403CEFF-4526-4845-ABD0-36FF9A1C2725}"/>
                </a:ext>
              </a:extLst>
            </p:cNvPr>
            <p:cNvSpPr>
              <a:spLocks noChangeShapeType="1"/>
            </p:cNvSpPr>
            <p:nvPr/>
          </p:nvSpPr>
          <p:spPr bwMode="auto">
            <a:xfrm flipH="1" flipV="1">
              <a:off x="5080727" y="5338094"/>
              <a:ext cx="4245" cy="22288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58">
              <a:extLst>
                <a:ext uri="{FF2B5EF4-FFF2-40B4-BE49-F238E27FC236}">
                  <a16:creationId xmlns:a16="http://schemas.microsoft.com/office/drawing/2014/main" id="{0A75DCCC-729D-4042-BFFF-C8D1F08E11B5}"/>
                </a:ext>
              </a:extLst>
            </p:cNvPr>
            <p:cNvSpPr>
              <a:spLocks/>
            </p:cNvSpPr>
            <p:nvPr/>
          </p:nvSpPr>
          <p:spPr bwMode="auto">
            <a:xfrm flipH="1">
              <a:off x="4966100" y="5129360"/>
              <a:ext cx="200950" cy="182553"/>
            </a:xfrm>
            <a:custGeom>
              <a:avLst/>
              <a:gdLst>
                <a:gd name="T0" fmla="*/ 100 w 100"/>
                <a:gd name="T1" fmla="*/ 82 h 91"/>
                <a:gd name="T2" fmla="*/ 82 w 100"/>
                <a:gd name="T3" fmla="*/ 46 h 91"/>
                <a:gd name="T4" fmla="*/ 60 w 100"/>
                <a:gd name="T5" fmla="*/ 2 h 91"/>
                <a:gd name="T6" fmla="*/ 27 w 100"/>
                <a:gd name="T7" fmla="*/ 2 h 91"/>
                <a:gd name="T8" fmla="*/ 2 w 100"/>
                <a:gd name="T9" fmla="*/ 34 h 91"/>
                <a:gd name="T10" fmla="*/ 52 w 100"/>
                <a:gd name="T11" fmla="*/ 91 h 91"/>
              </a:gdLst>
              <a:ahLst/>
              <a:cxnLst>
                <a:cxn ang="0">
                  <a:pos x="T0" y="T1"/>
                </a:cxn>
                <a:cxn ang="0">
                  <a:pos x="T2" y="T3"/>
                </a:cxn>
                <a:cxn ang="0">
                  <a:pos x="T4" y="T5"/>
                </a:cxn>
                <a:cxn ang="0">
                  <a:pos x="T6" y="T7"/>
                </a:cxn>
                <a:cxn ang="0">
                  <a:pos x="T8" y="T9"/>
                </a:cxn>
                <a:cxn ang="0">
                  <a:pos x="T10" y="T11"/>
                </a:cxn>
              </a:cxnLst>
              <a:rect l="0" t="0" r="r" b="b"/>
              <a:pathLst>
                <a:path w="100" h="91">
                  <a:moveTo>
                    <a:pt x="100" y="82"/>
                  </a:moveTo>
                  <a:cubicBezTo>
                    <a:pt x="100" y="82"/>
                    <a:pt x="78" y="75"/>
                    <a:pt x="82" y="46"/>
                  </a:cubicBezTo>
                  <a:cubicBezTo>
                    <a:pt x="84" y="30"/>
                    <a:pt x="76" y="0"/>
                    <a:pt x="60" y="2"/>
                  </a:cubicBezTo>
                  <a:cubicBezTo>
                    <a:pt x="44" y="3"/>
                    <a:pt x="27" y="2"/>
                    <a:pt x="27" y="2"/>
                  </a:cubicBezTo>
                  <a:cubicBezTo>
                    <a:pt x="10" y="2"/>
                    <a:pt x="2" y="18"/>
                    <a:pt x="2" y="34"/>
                  </a:cubicBezTo>
                  <a:cubicBezTo>
                    <a:pt x="0" y="84"/>
                    <a:pt x="52" y="91"/>
                    <a:pt x="52" y="9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8" name="Line 59">
              <a:extLst>
                <a:ext uri="{FF2B5EF4-FFF2-40B4-BE49-F238E27FC236}">
                  <a16:creationId xmlns:a16="http://schemas.microsoft.com/office/drawing/2014/main" id="{BA1B7746-235E-4D56-BA3E-9DE3F3BA9ED5}"/>
                </a:ext>
              </a:extLst>
            </p:cNvPr>
            <p:cNvSpPr>
              <a:spLocks noChangeShapeType="1"/>
            </p:cNvSpPr>
            <p:nvPr/>
          </p:nvSpPr>
          <p:spPr bwMode="auto">
            <a:xfrm flipH="1">
              <a:off x="5052424" y="5106718"/>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49" name="Freeform 60">
              <a:extLst>
                <a:ext uri="{FF2B5EF4-FFF2-40B4-BE49-F238E27FC236}">
                  <a16:creationId xmlns:a16="http://schemas.microsoft.com/office/drawing/2014/main" id="{E19E5F2C-479B-4BB5-801C-D7E5A01A1018}"/>
                </a:ext>
              </a:extLst>
            </p:cNvPr>
            <p:cNvSpPr>
              <a:spLocks/>
            </p:cNvSpPr>
            <p:nvPr/>
          </p:nvSpPr>
          <p:spPr bwMode="auto">
            <a:xfrm flipH="1">
              <a:off x="5042518" y="5026763"/>
              <a:ext cx="84201" cy="106136"/>
            </a:xfrm>
            <a:custGeom>
              <a:avLst/>
              <a:gdLst>
                <a:gd name="T0" fmla="*/ 21 w 42"/>
                <a:gd name="T1" fmla="*/ 53 h 53"/>
                <a:gd name="T2" fmla="*/ 2 w 42"/>
                <a:gd name="T3" fmla="*/ 26 h 53"/>
                <a:gd name="T4" fmla="*/ 21 w 42"/>
                <a:gd name="T5" fmla="*/ 0 h 53"/>
                <a:gd name="T6" fmla="*/ 41 w 42"/>
                <a:gd name="T7" fmla="*/ 26 h 53"/>
                <a:gd name="T8" fmla="*/ 38 w 42"/>
                <a:gd name="T9" fmla="*/ 39 h 53"/>
              </a:gdLst>
              <a:ahLst/>
              <a:cxnLst>
                <a:cxn ang="0">
                  <a:pos x="T0" y="T1"/>
                </a:cxn>
                <a:cxn ang="0">
                  <a:pos x="T2" y="T3"/>
                </a:cxn>
                <a:cxn ang="0">
                  <a:pos x="T4" y="T5"/>
                </a:cxn>
                <a:cxn ang="0">
                  <a:pos x="T6" y="T7"/>
                </a:cxn>
                <a:cxn ang="0">
                  <a:pos x="T8" y="T9"/>
                </a:cxn>
              </a:cxnLst>
              <a:rect l="0" t="0" r="r" b="b"/>
              <a:pathLst>
                <a:path w="42" h="53">
                  <a:moveTo>
                    <a:pt x="21" y="53"/>
                  </a:moveTo>
                  <a:cubicBezTo>
                    <a:pt x="13" y="53"/>
                    <a:pt x="3" y="43"/>
                    <a:pt x="2" y="26"/>
                  </a:cubicBezTo>
                  <a:cubicBezTo>
                    <a:pt x="0" y="12"/>
                    <a:pt x="7" y="0"/>
                    <a:pt x="21" y="0"/>
                  </a:cubicBezTo>
                  <a:cubicBezTo>
                    <a:pt x="36" y="0"/>
                    <a:pt x="42" y="12"/>
                    <a:pt x="41" y="26"/>
                  </a:cubicBezTo>
                  <a:cubicBezTo>
                    <a:pt x="41" y="31"/>
                    <a:pt x="40" y="35"/>
                    <a:pt x="38" y="39"/>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246046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 name="Content Placeholder 7">
            <a:extLst>
              <a:ext uri="{FF2B5EF4-FFF2-40B4-BE49-F238E27FC236}">
                <a16:creationId xmlns:a16="http://schemas.microsoft.com/office/drawing/2014/main" id="{C298F5A6-320F-4497-A646-A0BB9ED0FCEE}"/>
              </a:ext>
            </a:extLst>
          </p:cNvPr>
          <p:cNvSpPr txBox="1">
            <a:spLocks/>
          </p:cNvSpPr>
          <p:nvPr/>
        </p:nvSpPr>
        <p:spPr>
          <a:xfrm>
            <a:off x="1622336" y="3918268"/>
            <a:ext cx="8010614" cy="2113916"/>
          </a:xfrm>
          <a:prstGeom prst="rect">
            <a:avLst/>
          </a:prstGeom>
          <a:solidFill>
            <a:srgbClr val="F3F2F0"/>
          </a:solidFill>
          <a:ln w="9525">
            <a:noFill/>
          </a:ln>
        </p:spPr>
        <p:txBody>
          <a:bodyPr vert="horz" wrap="square" lIns="72000" tIns="108000"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GB" sz="1400" b="1" dirty="0"/>
              <a:t>Inquiry: </a:t>
            </a:r>
            <a:r>
              <a:rPr lang="en-GB" sz="1400" dirty="0"/>
              <a:t>From your head to my head</a:t>
            </a:r>
          </a:p>
        </p:txBody>
      </p:sp>
      <p:sp>
        <p:nvSpPr>
          <p:cNvPr id="9" name="Content Placeholder 7"/>
          <p:cNvSpPr txBox="1">
            <a:spLocks/>
          </p:cNvSpPr>
          <p:nvPr/>
        </p:nvSpPr>
        <p:spPr>
          <a:xfrm>
            <a:off x="1622336" y="1544290"/>
            <a:ext cx="8010614" cy="2113916"/>
          </a:xfrm>
          <a:prstGeom prst="rect">
            <a:avLst/>
          </a:prstGeom>
          <a:solidFill>
            <a:srgbClr val="F3F2F0"/>
          </a:solidFill>
          <a:ln w="9525">
            <a:noFill/>
          </a:ln>
        </p:spPr>
        <p:txBody>
          <a:bodyPr vert="horz" wrap="square" lIns="72000" tIns="108000" rIns="72000" bIns="72000" rtlCol="0" anchor="t"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GB" sz="1400" b="1" dirty="0"/>
              <a:t>Advocacy: </a:t>
            </a:r>
            <a:r>
              <a:rPr lang="en-GB" sz="1400" dirty="0"/>
              <a:t>From my head to your head</a:t>
            </a:r>
          </a:p>
        </p:txBody>
      </p:sp>
      <p:sp>
        <p:nvSpPr>
          <p:cNvPr id="2" name="Title 1"/>
          <p:cNvSpPr>
            <a:spLocks noGrp="1"/>
          </p:cNvSpPr>
          <p:nvPr>
            <p:ph type="title"/>
          </p:nvPr>
        </p:nvSpPr>
        <p:spPr/>
        <p:txBody>
          <a:bodyPr/>
          <a:lstStyle/>
          <a:p>
            <a:r>
              <a:rPr lang="en-GB" dirty="0"/>
              <a:t>Dialogue – Advocacy vs. Inquiry</a:t>
            </a:r>
          </a:p>
        </p:txBody>
      </p:sp>
      <p:sp>
        <p:nvSpPr>
          <p:cNvPr id="62" name="Text Placeholder 61">
            <a:extLst>
              <a:ext uri="{FF2B5EF4-FFF2-40B4-BE49-F238E27FC236}">
                <a16:creationId xmlns:a16="http://schemas.microsoft.com/office/drawing/2014/main" id="{AE0EEBD6-EBCE-42CD-96F4-A4DB50CD9FAE}"/>
              </a:ext>
            </a:extLst>
          </p:cNvPr>
          <p:cNvSpPr>
            <a:spLocks noGrp="1"/>
          </p:cNvSpPr>
          <p:nvPr>
            <p:ph type="body" sz="quarter" idx="13"/>
          </p:nvPr>
        </p:nvSpPr>
        <p:spPr/>
        <p:txBody>
          <a:bodyPr/>
          <a:lstStyle/>
          <a:p>
            <a:endParaRPr lang="en-GB" dirty="0"/>
          </a:p>
        </p:txBody>
      </p:sp>
      <p:sp>
        <p:nvSpPr>
          <p:cNvPr id="3" name="Footer Placeholder 2"/>
          <p:cNvSpPr>
            <a:spLocks noGrp="1"/>
          </p:cNvSpPr>
          <p:nvPr>
            <p:ph type="ftr" sz="quarter" idx="3"/>
          </p:nvPr>
        </p:nvSpPr>
        <p:spPr/>
        <p:txBody>
          <a:bodyPr/>
          <a:lstStyle/>
          <a:p>
            <a:endParaRPr lang="en-GB" noProof="0" dirty="0"/>
          </a:p>
        </p:txBody>
      </p:sp>
      <p:sp>
        <p:nvSpPr>
          <p:cNvPr id="67" name="Text Placeholder 66">
            <a:extLst>
              <a:ext uri="{FF2B5EF4-FFF2-40B4-BE49-F238E27FC236}">
                <a16:creationId xmlns:a16="http://schemas.microsoft.com/office/drawing/2014/main" id="{60DCF209-83CD-4710-A634-3A4D57C684F0}"/>
              </a:ext>
            </a:extLst>
          </p:cNvPr>
          <p:cNvSpPr>
            <a:spLocks noGrp="1"/>
          </p:cNvSpPr>
          <p:nvPr>
            <p:ph type="body" sz="quarter" idx="14"/>
          </p:nvPr>
        </p:nvSpPr>
        <p:spPr/>
        <p:txBody>
          <a:bodyPr/>
          <a:lstStyle/>
          <a:p>
            <a:endParaRPr lang="en-GB" dirty="0"/>
          </a:p>
        </p:txBody>
      </p:sp>
      <p:sp>
        <p:nvSpPr>
          <p:cNvPr id="4" name="Content Placeholder 7"/>
          <p:cNvSpPr txBox="1">
            <a:spLocks/>
          </p:cNvSpPr>
          <p:nvPr/>
        </p:nvSpPr>
        <p:spPr>
          <a:xfrm>
            <a:off x="254845" y="1546166"/>
            <a:ext cx="1367491" cy="2106129"/>
          </a:xfrm>
          <a:prstGeom prst="rect">
            <a:avLst/>
          </a:prstGeom>
          <a:solidFill>
            <a:srgbClr val="8AA299"/>
          </a:solidFill>
          <a:ln w="9525">
            <a:noFill/>
          </a:ln>
        </p:spPr>
        <p:txBody>
          <a:bodyPr vert="horz" wrap="square" lIns="72000" tIns="72000" rIns="72000" bIns="72000" rtlCol="0" anchor="ctr"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GB" sz="6600" dirty="0">
                <a:solidFill>
                  <a:schemeClr val="bg1"/>
                </a:solidFill>
                <a:latin typeface="Impact" panose="020B0806030902050204" pitchFamily="34" charset="0"/>
              </a:rPr>
              <a:t>A</a:t>
            </a:r>
          </a:p>
        </p:txBody>
      </p:sp>
      <p:sp>
        <p:nvSpPr>
          <p:cNvPr id="15" name="TextBox 14">
            <a:extLst>
              <a:ext uri="{FF2B5EF4-FFF2-40B4-BE49-F238E27FC236}">
                <a16:creationId xmlns:a16="http://schemas.microsoft.com/office/drawing/2014/main" id="{37ADB743-BBCC-432A-845B-BA60574012C4}"/>
              </a:ext>
            </a:extLst>
          </p:cNvPr>
          <p:cNvSpPr txBox="1"/>
          <p:nvPr/>
        </p:nvSpPr>
        <p:spPr>
          <a:xfrm>
            <a:off x="7382375" y="6147386"/>
            <a:ext cx="2250575" cy="123111"/>
          </a:xfrm>
          <a:prstGeom prst="rect">
            <a:avLst/>
          </a:prstGeom>
          <a:noFill/>
        </p:spPr>
        <p:txBody>
          <a:bodyPr wrap="square" lIns="0" tIns="0" rIns="0" bIns="0" rtlCol="0">
            <a:spAutoFit/>
          </a:bodyPr>
          <a:lstStyle/>
          <a:p>
            <a:pPr algn="r">
              <a:spcBef>
                <a:spcPts val="600"/>
              </a:spcBef>
            </a:pPr>
            <a:r>
              <a:rPr lang="en-GB" sz="800" dirty="0">
                <a:solidFill>
                  <a:srgbClr val="342F2B"/>
                </a:solidFill>
                <a:latin typeface="Arial" pitchFamily="34" charset="0"/>
                <a:cs typeface="Arial" pitchFamily="34" charset="0"/>
              </a:rPr>
              <a:t>Source: Roger Martin/ Chris Argyris</a:t>
            </a:r>
          </a:p>
        </p:txBody>
      </p:sp>
      <p:grpSp>
        <p:nvGrpSpPr>
          <p:cNvPr id="8" name="Group 7">
            <a:extLst>
              <a:ext uri="{FF2B5EF4-FFF2-40B4-BE49-F238E27FC236}">
                <a16:creationId xmlns:a16="http://schemas.microsoft.com/office/drawing/2014/main" id="{3E0E4B1D-3DA6-45B7-A805-61B1E10A465F}"/>
              </a:ext>
            </a:extLst>
          </p:cNvPr>
          <p:cNvGrpSpPr/>
          <p:nvPr/>
        </p:nvGrpSpPr>
        <p:grpSpPr>
          <a:xfrm>
            <a:off x="2896542" y="1984361"/>
            <a:ext cx="1270166" cy="1418994"/>
            <a:chOff x="12018963" y="427681"/>
            <a:chExt cx="1562100" cy="1745135"/>
          </a:xfrm>
        </p:grpSpPr>
        <p:sp>
          <p:nvSpPr>
            <p:cNvPr id="73" name="Rectangle 51">
              <a:extLst>
                <a:ext uri="{FF2B5EF4-FFF2-40B4-BE49-F238E27FC236}">
                  <a16:creationId xmlns:a16="http://schemas.microsoft.com/office/drawing/2014/main" id="{52D46EE8-F99B-4772-B4B4-6718685CBA54}"/>
                </a:ext>
              </a:extLst>
            </p:cNvPr>
            <p:cNvSpPr/>
            <p:nvPr/>
          </p:nvSpPr>
          <p:spPr>
            <a:xfrm>
              <a:off x="12340374" y="427681"/>
              <a:ext cx="837464" cy="699444"/>
            </a:xfrm>
            <a:custGeom>
              <a:avLst/>
              <a:gdLst>
                <a:gd name="connsiteX0" fmla="*/ 0 w 612775"/>
                <a:gd name="connsiteY0" fmla="*/ 0 h 622300"/>
                <a:gd name="connsiteX1" fmla="*/ 612775 w 612775"/>
                <a:gd name="connsiteY1" fmla="*/ 0 h 622300"/>
                <a:gd name="connsiteX2" fmla="*/ 612775 w 612775"/>
                <a:gd name="connsiteY2" fmla="*/ 622300 h 622300"/>
                <a:gd name="connsiteX3" fmla="*/ 0 w 612775"/>
                <a:gd name="connsiteY3" fmla="*/ 622300 h 622300"/>
                <a:gd name="connsiteX4" fmla="*/ 0 w 612775"/>
                <a:gd name="connsiteY4" fmla="*/ 0 h 622300"/>
                <a:gd name="connsiteX0" fmla="*/ 0 w 742315"/>
                <a:gd name="connsiteY0" fmla="*/ 0 h 622300"/>
                <a:gd name="connsiteX1" fmla="*/ 612775 w 742315"/>
                <a:gd name="connsiteY1" fmla="*/ 0 h 622300"/>
                <a:gd name="connsiteX2" fmla="*/ 742315 w 742315"/>
                <a:gd name="connsiteY2" fmla="*/ 599440 h 622300"/>
                <a:gd name="connsiteX3" fmla="*/ 0 w 742315"/>
                <a:gd name="connsiteY3" fmla="*/ 622300 h 622300"/>
                <a:gd name="connsiteX4" fmla="*/ 0 w 742315"/>
                <a:gd name="connsiteY4" fmla="*/ 0 h 622300"/>
                <a:gd name="connsiteX0" fmla="*/ 0 w 751551"/>
                <a:gd name="connsiteY0" fmla="*/ 0 h 622300"/>
                <a:gd name="connsiteX1" fmla="*/ 612775 w 751551"/>
                <a:gd name="connsiteY1" fmla="*/ 0 h 622300"/>
                <a:gd name="connsiteX2" fmla="*/ 742315 w 751551"/>
                <a:gd name="connsiteY2" fmla="*/ 599440 h 622300"/>
                <a:gd name="connsiteX3" fmla="*/ 0 w 751551"/>
                <a:gd name="connsiteY3" fmla="*/ 622300 h 622300"/>
                <a:gd name="connsiteX4" fmla="*/ 0 w 751551"/>
                <a:gd name="connsiteY4" fmla="*/ 0 h 622300"/>
                <a:gd name="connsiteX0" fmla="*/ 0 w 744819"/>
                <a:gd name="connsiteY0" fmla="*/ 0 h 635159"/>
                <a:gd name="connsiteX1" fmla="*/ 612775 w 744819"/>
                <a:gd name="connsiteY1" fmla="*/ 0 h 635159"/>
                <a:gd name="connsiteX2" fmla="*/ 735171 w 744819"/>
                <a:gd name="connsiteY2" fmla="*/ 635159 h 635159"/>
                <a:gd name="connsiteX3" fmla="*/ 0 w 744819"/>
                <a:gd name="connsiteY3" fmla="*/ 622300 h 635159"/>
                <a:gd name="connsiteX4" fmla="*/ 0 w 744819"/>
                <a:gd name="connsiteY4" fmla="*/ 0 h 635159"/>
                <a:gd name="connsiteX0" fmla="*/ 0 w 764959"/>
                <a:gd name="connsiteY0" fmla="*/ 0 h 635159"/>
                <a:gd name="connsiteX1" fmla="*/ 612775 w 764959"/>
                <a:gd name="connsiteY1" fmla="*/ 0 h 635159"/>
                <a:gd name="connsiteX2" fmla="*/ 735171 w 764959"/>
                <a:gd name="connsiteY2" fmla="*/ 635159 h 635159"/>
                <a:gd name="connsiteX3" fmla="*/ 0 w 764959"/>
                <a:gd name="connsiteY3" fmla="*/ 622300 h 635159"/>
                <a:gd name="connsiteX4" fmla="*/ 0 w 764959"/>
                <a:gd name="connsiteY4" fmla="*/ 0 h 635159"/>
                <a:gd name="connsiteX0" fmla="*/ 0 w 750900"/>
                <a:gd name="connsiteY0" fmla="*/ 0 h 635159"/>
                <a:gd name="connsiteX1" fmla="*/ 386556 w 750900"/>
                <a:gd name="connsiteY1" fmla="*/ 266700 h 635159"/>
                <a:gd name="connsiteX2" fmla="*/ 735171 w 750900"/>
                <a:gd name="connsiteY2" fmla="*/ 635159 h 635159"/>
                <a:gd name="connsiteX3" fmla="*/ 0 w 750900"/>
                <a:gd name="connsiteY3" fmla="*/ 622300 h 635159"/>
                <a:gd name="connsiteX4" fmla="*/ 0 w 750900"/>
                <a:gd name="connsiteY4" fmla="*/ 0 h 635159"/>
                <a:gd name="connsiteX0" fmla="*/ 0 w 769034"/>
                <a:gd name="connsiteY0" fmla="*/ 0 h 635159"/>
                <a:gd name="connsiteX1" fmla="*/ 643731 w 769034"/>
                <a:gd name="connsiteY1" fmla="*/ 119062 h 635159"/>
                <a:gd name="connsiteX2" fmla="*/ 735171 w 769034"/>
                <a:gd name="connsiteY2" fmla="*/ 635159 h 635159"/>
                <a:gd name="connsiteX3" fmla="*/ 0 w 769034"/>
                <a:gd name="connsiteY3" fmla="*/ 622300 h 635159"/>
                <a:gd name="connsiteX4" fmla="*/ 0 w 769034"/>
                <a:gd name="connsiteY4" fmla="*/ 0 h 635159"/>
                <a:gd name="connsiteX0" fmla="*/ 0 w 768095"/>
                <a:gd name="connsiteY0" fmla="*/ 0 h 635159"/>
                <a:gd name="connsiteX1" fmla="*/ 643731 w 768095"/>
                <a:gd name="connsiteY1" fmla="*/ 119062 h 635159"/>
                <a:gd name="connsiteX2" fmla="*/ 735171 w 768095"/>
                <a:gd name="connsiteY2" fmla="*/ 635159 h 635159"/>
                <a:gd name="connsiteX3" fmla="*/ 0 w 768095"/>
                <a:gd name="connsiteY3" fmla="*/ 622300 h 635159"/>
                <a:gd name="connsiteX4" fmla="*/ 0 w 768095"/>
                <a:gd name="connsiteY4" fmla="*/ 0 h 635159"/>
                <a:gd name="connsiteX0" fmla="*/ 0 w 765596"/>
                <a:gd name="connsiteY0" fmla="*/ 0 h 635159"/>
                <a:gd name="connsiteX1" fmla="*/ 624681 w 765596"/>
                <a:gd name="connsiteY1" fmla="*/ 142875 h 635159"/>
                <a:gd name="connsiteX2" fmla="*/ 735171 w 765596"/>
                <a:gd name="connsiteY2" fmla="*/ 635159 h 635159"/>
                <a:gd name="connsiteX3" fmla="*/ 0 w 765596"/>
                <a:gd name="connsiteY3" fmla="*/ 622300 h 635159"/>
                <a:gd name="connsiteX4" fmla="*/ 0 w 765596"/>
                <a:gd name="connsiteY4" fmla="*/ 0 h 635159"/>
                <a:gd name="connsiteX0" fmla="*/ 0 w 769138"/>
                <a:gd name="connsiteY0" fmla="*/ 0 h 635159"/>
                <a:gd name="connsiteX1" fmla="*/ 650874 w 769138"/>
                <a:gd name="connsiteY1" fmla="*/ 164306 h 635159"/>
                <a:gd name="connsiteX2" fmla="*/ 735171 w 769138"/>
                <a:gd name="connsiteY2" fmla="*/ 635159 h 635159"/>
                <a:gd name="connsiteX3" fmla="*/ 0 w 769138"/>
                <a:gd name="connsiteY3" fmla="*/ 622300 h 635159"/>
                <a:gd name="connsiteX4" fmla="*/ 0 w 769138"/>
                <a:gd name="connsiteY4" fmla="*/ 0 h 635159"/>
                <a:gd name="connsiteX0" fmla="*/ 0 w 765873"/>
                <a:gd name="connsiteY0" fmla="*/ 0 h 635159"/>
                <a:gd name="connsiteX1" fmla="*/ 650874 w 765873"/>
                <a:gd name="connsiteY1" fmla="*/ 164306 h 635159"/>
                <a:gd name="connsiteX2" fmla="*/ 735171 w 765873"/>
                <a:gd name="connsiteY2" fmla="*/ 635159 h 635159"/>
                <a:gd name="connsiteX3" fmla="*/ 0 w 765873"/>
                <a:gd name="connsiteY3" fmla="*/ 622300 h 635159"/>
                <a:gd name="connsiteX4" fmla="*/ 0 w 765873"/>
                <a:gd name="connsiteY4" fmla="*/ 0 h 635159"/>
                <a:gd name="connsiteX0" fmla="*/ 0 w 767769"/>
                <a:gd name="connsiteY0" fmla="*/ 0 h 635159"/>
                <a:gd name="connsiteX1" fmla="*/ 665161 w 767769"/>
                <a:gd name="connsiteY1" fmla="*/ 202406 h 635159"/>
                <a:gd name="connsiteX2" fmla="*/ 735171 w 767769"/>
                <a:gd name="connsiteY2" fmla="*/ 635159 h 635159"/>
                <a:gd name="connsiteX3" fmla="*/ 0 w 767769"/>
                <a:gd name="connsiteY3" fmla="*/ 622300 h 635159"/>
                <a:gd name="connsiteX4" fmla="*/ 0 w 767769"/>
                <a:gd name="connsiteY4" fmla="*/ 0 h 635159"/>
                <a:gd name="connsiteX0" fmla="*/ 0 w 766029"/>
                <a:gd name="connsiteY0" fmla="*/ 0 h 635159"/>
                <a:gd name="connsiteX1" fmla="*/ 665161 w 766029"/>
                <a:gd name="connsiteY1" fmla="*/ 202406 h 635159"/>
                <a:gd name="connsiteX2" fmla="*/ 735171 w 766029"/>
                <a:gd name="connsiteY2" fmla="*/ 635159 h 635159"/>
                <a:gd name="connsiteX3" fmla="*/ 0 w 766029"/>
                <a:gd name="connsiteY3" fmla="*/ 622300 h 635159"/>
                <a:gd name="connsiteX4" fmla="*/ 0 w 766029"/>
                <a:gd name="connsiteY4" fmla="*/ 0 h 635159"/>
                <a:gd name="connsiteX0" fmla="*/ 0 w 756603"/>
                <a:gd name="connsiteY0" fmla="*/ 0 h 635159"/>
                <a:gd name="connsiteX1" fmla="*/ 665161 w 756603"/>
                <a:gd name="connsiteY1" fmla="*/ 202406 h 635159"/>
                <a:gd name="connsiteX2" fmla="*/ 735171 w 756603"/>
                <a:gd name="connsiteY2" fmla="*/ 635159 h 635159"/>
                <a:gd name="connsiteX3" fmla="*/ 0 w 756603"/>
                <a:gd name="connsiteY3" fmla="*/ 622300 h 635159"/>
                <a:gd name="connsiteX4" fmla="*/ 0 w 756603"/>
                <a:gd name="connsiteY4" fmla="*/ 0 h 635159"/>
                <a:gd name="connsiteX0" fmla="*/ 0 w 756603"/>
                <a:gd name="connsiteY0" fmla="*/ 0 h 635159"/>
                <a:gd name="connsiteX1" fmla="*/ 665161 w 756603"/>
                <a:gd name="connsiteY1" fmla="*/ 202406 h 635159"/>
                <a:gd name="connsiteX2" fmla="*/ 735171 w 756603"/>
                <a:gd name="connsiteY2" fmla="*/ 635159 h 635159"/>
                <a:gd name="connsiteX3" fmla="*/ 0 w 756603"/>
                <a:gd name="connsiteY3" fmla="*/ 622300 h 635159"/>
                <a:gd name="connsiteX4" fmla="*/ 0 w 756603"/>
                <a:gd name="connsiteY4" fmla="*/ 0 h 635159"/>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353"/>
                <a:gd name="connsiteY0" fmla="*/ 0 h 637540"/>
                <a:gd name="connsiteX1" fmla="*/ 662780 w 756353"/>
                <a:gd name="connsiteY1" fmla="*/ 245268 h 637540"/>
                <a:gd name="connsiteX2" fmla="*/ 735171 w 756353"/>
                <a:gd name="connsiteY2" fmla="*/ 637540 h 637540"/>
                <a:gd name="connsiteX3" fmla="*/ 0 w 756353"/>
                <a:gd name="connsiteY3" fmla="*/ 624681 h 637540"/>
                <a:gd name="connsiteX4" fmla="*/ 100012 w 756353"/>
                <a:gd name="connsiteY4" fmla="*/ 0 h 637540"/>
                <a:gd name="connsiteX0" fmla="*/ 100012 w 756353"/>
                <a:gd name="connsiteY0" fmla="*/ 0 h 637540"/>
                <a:gd name="connsiteX1" fmla="*/ 662780 w 756353"/>
                <a:gd name="connsiteY1" fmla="*/ 245268 h 637540"/>
                <a:gd name="connsiteX2" fmla="*/ 735171 w 756353"/>
                <a:gd name="connsiteY2" fmla="*/ 637540 h 637540"/>
                <a:gd name="connsiteX3" fmla="*/ 0 w 756353"/>
                <a:gd name="connsiteY3" fmla="*/ 624681 h 637540"/>
                <a:gd name="connsiteX4" fmla="*/ 100012 w 756353"/>
                <a:gd name="connsiteY4"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00012 w 760956"/>
                <a:gd name="connsiteY4"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81208 w 760956"/>
                <a:gd name="connsiteY4" fmla="*/ 111125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2152 w 760956"/>
                <a:gd name="connsiteY4" fmla="*/ 275431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62158 w 760956"/>
                <a:gd name="connsiteY4" fmla="*/ 268287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9295 w 760956"/>
                <a:gd name="connsiteY4" fmla="*/ 239712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9295 w 760956"/>
                <a:gd name="connsiteY4" fmla="*/ 239712 h 637540"/>
                <a:gd name="connsiteX5" fmla="*/ 14533 w 760956"/>
                <a:gd name="connsiteY5" fmla="*/ 1588 h 637540"/>
                <a:gd name="connsiteX6" fmla="*/ 100012 w 760956"/>
                <a:gd name="connsiteY6" fmla="*/ 0 h 637540"/>
                <a:gd name="connsiteX0" fmla="*/ 122486 w 783430"/>
                <a:gd name="connsiteY0" fmla="*/ 0 h 637540"/>
                <a:gd name="connsiteX1" fmla="*/ 685254 w 783430"/>
                <a:gd name="connsiteY1" fmla="*/ 245268 h 637540"/>
                <a:gd name="connsiteX2" fmla="*/ 757645 w 783430"/>
                <a:gd name="connsiteY2" fmla="*/ 637540 h 637540"/>
                <a:gd name="connsiteX3" fmla="*/ 22474 w 783430"/>
                <a:gd name="connsiteY3" fmla="*/ 624681 h 637540"/>
                <a:gd name="connsiteX4" fmla="*/ 41769 w 783430"/>
                <a:gd name="connsiteY4" fmla="*/ 239712 h 637540"/>
                <a:gd name="connsiteX5" fmla="*/ 37007 w 783430"/>
                <a:gd name="connsiteY5" fmla="*/ 1588 h 637540"/>
                <a:gd name="connsiteX6" fmla="*/ 122486 w 783430"/>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9660"/>
                <a:gd name="connsiteX1" fmla="*/ 702246 w 800422"/>
                <a:gd name="connsiteY1" fmla="*/ 245268 h 639660"/>
                <a:gd name="connsiteX2" fmla="*/ 774637 w 800422"/>
                <a:gd name="connsiteY2" fmla="*/ 637540 h 639660"/>
                <a:gd name="connsiteX3" fmla="*/ 144486 w 800422"/>
                <a:gd name="connsiteY3" fmla="*/ 411163 h 639660"/>
                <a:gd name="connsiteX4" fmla="*/ 39466 w 800422"/>
                <a:gd name="connsiteY4" fmla="*/ 624681 h 639660"/>
                <a:gd name="connsiteX5" fmla="*/ 58761 w 800422"/>
                <a:gd name="connsiteY5" fmla="*/ 239712 h 639660"/>
                <a:gd name="connsiteX6" fmla="*/ 53999 w 800422"/>
                <a:gd name="connsiteY6" fmla="*/ 1588 h 639660"/>
                <a:gd name="connsiteX7" fmla="*/ 139478 w 800422"/>
                <a:gd name="connsiteY7" fmla="*/ 0 h 639660"/>
                <a:gd name="connsiteX0" fmla="*/ 139478 w 800422"/>
                <a:gd name="connsiteY0" fmla="*/ 0 h 639012"/>
                <a:gd name="connsiteX1" fmla="*/ 702246 w 800422"/>
                <a:gd name="connsiteY1" fmla="*/ 245268 h 639012"/>
                <a:gd name="connsiteX2" fmla="*/ 774637 w 800422"/>
                <a:gd name="connsiteY2" fmla="*/ 637540 h 639012"/>
                <a:gd name="connsiteX3" fmla="*/ 134961 w 800422"/>
                <a:gd name="connsiteY3" fmla="*/ 292101 h 639012"/>
                <a:gd name="connsiteX4" fmla="*/ 39466 w 800422"/>
                <a:gd name="connsiteY4" fmla="*/ 624681 h 639012"/>
                <a:gd name="connsiteX5" fmla="*/ 58761 w 800422"/>
                <a:gd name="connsiteY5" fmla="*/ 239712 h 639012"/>
                <a:gd name="connsiteX6" fmla="*/ 53999 w 800422"/>
                <a:gd name="connsiteY6" fmla="*/ 1588 h 639012"/>
                <a:gd name="connsiteX7" fmla="*/ 139478 w 800422"/>
                <a:gd name="connsiteY7" fmla="*/ 0 h 639012"/>
                <a:gd name="connsiteX0" fmla="*/ 139478 w 800422"/>
                <a:gd name="connsiteY0" fmla="*/ 0 h 639253"/>
                <a:gd name="connsiteX1" fmla="*/ 702246 w 800422"/>
                <a:gd name="connsiteY1" fmla="*/ 245268 h 639253"/>
                <a:gd name="connsiteX2" fmla="*/ 774637 w 800422"/>
                <a:gd name="connsiteY2" fmla="*/ 637540 h 639253"/>
                <a:gd name="connsiteX3" fmla="*/ 144486 w 800422"/>
                <a:gd name="connsiteY3" fmla="*/ 346870 h 639253"/>
                <a:gd name="connsiteX4" fmla="*/ 39466 w 800422"/>
                <a:gd name="connsiteY4" fmla="*/ 624681 h 639253"/>
                <a:gd name="connsiteX5" fmla="*/ 58761 w 800422"/>
                <a:gd name="connsiteY5" fmla="*/ 239712 h 639253"/>
                <a:gd name="connsiteX6" fmla="*/ 53999 w 800422"/>
                <a:gd name="connsiteY6" fmla="*/ 1588 h 639253"/>
                <a:gd name="connsiteX7" fmla="*/ 139478 w 800422"/>
                <a:gd name="connsiteY7" fmla="*/ 0 h 639253"/>
                <a:gd name="connsiteX0" fmla="*/ 139478 w 800422"/>
                <a:gd name="connsiteY0" fmla="*/ 0 h 639253"/>
                <a:gd name="connsiteX1" fmla="*/ 702246 w 800422"/>
                <a:gd name="connsiteY1" fmla="*/ 245268 h 639253"/>
                <a:gd name="connsiteX2" fmla="*/ 774637 w 800422"/>
                <a:gd name="connsiteY2" fmla="*/ 637540 h 639253"/>
                <a:gd name="connsiteX3" fmla="*/ 144486 w 800422"/>
                <a:gd name="connsiteY3" fmla="*/ 346870 h 639253"/>
                <a:gd name="connsiteX4" fmla="*/ 39466 w 800422"/>
                <a:gd name="connsiteY4" fmla="*/ 624681 h 639253"/>
                <a:gd name="connsiteX5" fmla="*/ 58761 w 800422"/>
                <a:gd name="connsiteY5" fmla="*/ 239712 h 639253"/>
                <a:gd name="connsiteX6" fmla="*/ 53999 w 800422"/>
                <a:gd name="connsiteY6" fmla="*/ 1588 h 639253"/>
                <a:gd name="connsiteX7" fmla="*/ 139478 w 800422"/>
                <a:gd name="connsiteY7" fmla="*/ 0 h 639253"/>
                <a:gd name="connsiteX0" fmla="*/ 139478 w 800422"/>
                <a:gd name="connsiteY0" fmla="*/ 0 h 639424"/>
                <a:gd name="connsiteX1" fmla="*/ 702246 w 800422"/>
                <a:gd name="connsiteY1" fmla="*/ 245268 h 639424"/>
                <a:gd name="connsiteX2" fmla="*/ 774637 w 800422"/>
                <a:gd name="connsiteY2" fmla="*/ 637540 h 639424"/>
                <a:gd name="connsiteX3" fmla="*/ 144486 w 800422"/>
                <a:gd name="connsiteY3" fmla="*/ 346870 h 639424"/>
                <a:gd name="connsiteX4" fmla="*/ 39466 w 800422"/>
                <a:gd name="connsiteY4" fmla="*/ 624681 h 639424"/>
                <a:gd name="connsiteX5" fmla="*/ 58761 w 800422"/>
                <a:gd name="connsiteY5" fmla="*/ 239712 h 639424"/>
                <a:gd name="connsiteX6" fmla="*/ 53999 w 800422"/>
                <a:gd name="connsiteY6" fmla="*/ 1588 h 639424"/>
                <a:gd name="connsiteX7" fmla="*/ 139478 w 800422"/>
                <a:gd name="connsiteY7" fmla="*/ 0 h 639424"/>
                <a:gd name="connsiteX0" fmla="*/ 139478 w 800422"/>
                <a:gd name="connsiteY0" fmla="*/ 0 h 659098"/>
                <a:gd name="connsiteX1" fmla="*/ 702246 w 800422"/>
                <a:gd name="connsiteY1" fmla="*/ 245268 h 659098"/>
                <a:gd name="connsiteX2" fmla="*/ 774637 w 800422"/>
                <a:gd name="connsiteY2" fmla="*/ 637540 h 659098"/>
                <a:gd name="connsiteX3" fmla="*/ 585018 w 800422"/>
                <a:gd name="connsiteY3" fmla="*/ 580230 h 659098"/>
                <a:gd name="connsiteX4" fmla="*/ 144486 w 800422"/>
                <a:gd name="connsiteY4" fmla="*/ 346870 h 659098"/>
                <a:gd name="connsiteX5" fmla="*/ 39466 w 800422"/>
                <a:gd name="connsiteY5" fmla="*/ 624681 h 659098"/>
                <a:gd name="connsiteX6" fmla="*/ 58761 w 800422"/>
                <a:gd name="connsiteY6" fmla="*/ 239712 h 659098"/>
                <a:gd name="connsiteX7" fmla="*/ 53999 w 800422"/>
                <a:gd name="connsiteY7" fmla="*/ 1588 h 659098"/>
                <a:gd name="connsiteX8" fmla="*/ 139478 w 800422"/>
                <a:gd name="connsiteY8" fmla="*/ 0 h 659098"/>
                <a:gd name="connsiteX0" fmla="*/ 139478 w 800422"/>
                <a:gd name="connsiteY0" fmla="*/ 0 h 645114"/>
                <a:gd name="connsiteX1" fmla="*/ 702246 w 800422"/>
                <a:gd name="connsiteY1" fmla="*/ 245268 h 645114"/>
                <a:gd name="connsiteX2" fmla="*/ 774637 w 800422"/>
                <a:gd name="connsiteY2" fmla="*/ 637540 h 645114"/>
                <a:gd name="connsiteX3" fmla="*/ 582637 w 800422"/>
                <a:gd name="connsiteY3" fmla="*/ 375442 h 645114"/>
                <a:gd name="connsiteX4" fmla="*/ 144486 w 800422"/>
                <a:gd name="connsiteY4" fmla="*/ 346870 h 645114"/>
                <a:gd name="connsiteX5" fmla="*/ 39466 w 800422"/>
                <a:gd name="connsiteY5" fmla="*/ 624681 h 645114"/>
                <a:gd name="connsiteX6" fmla="*/ 58761 w 800422"/>
                <a:gd name="connsiteY6" fmla="*/ 239712 h 645114"/>
                <a:gd name="connsiteX7" fmla="*/ 53999 w 800422"/>
                <a:gd name="connsiteY7" fmla="*/ 1588 h 645114"/>
                <a:gd name="connsiteX8" fmla="*/ 139478 w 800422"/>
                <a:gd name="connsiteY8" fmla="*/ 0 h 645114"/>
                <a:gd name="connsiteX0" fmla="*/ 139478 w 800422"/>
                <a:gd name="connsiteY0" fmla="*/ 0 h 644150"/>
                <a:gd name="connsiteX1" fmla="*/ 702246 w 800422"/>
                <a:gd name="connsiteY1" fmla="*/ 245268 h 644150"/>
                <a:gd name="connsiteX2" fmla="*/ 774637 w 800422"/>
                <a:gd name="connsiteY2" fmla="*/ 637540 h 644150"/>
                <a:gd name="connsiteX3" fmla="*/ 708844 w 800422"/>
                <a:gd name="connsiteY3" fmla="*/ 330198 h 644150"/>
                <a:gd name="connsiteX4" fmla="*/ 144486 w 800422"/>
                <a:gd name="connsiteY4" fmla="*/ 346870 h 644150"/>
                <a:gd name="connsiteX5" fmla="*/ 39466 w 800422"/>
                <a:gd name="connsiteY5" fmla="*/ 624681 h 644150"/>
                <a:gd name="connsiteX6" fmla="*/ 58761 w 800422"/>
                <a:gd name="connsiteY6" fmla="*/ 239712 h 644150"/>
                <a:gd name="connsiteX7" fmla="*/ 53999 w 800422"/>
                <a:gd name="connsiteY7" fmla="*/ 1588 h 644150"/>
                <a:gd name="connsiteX8" fmla="*/ 139478 w 800422"/>
                <a:gd name="connsiteY8" fmla="*/ 0 h 644150"/>
                <a:gd name="connsiteX0" fmla="*/ 139478 w 800422"/>
                <a:gd name="connsiteY0" fmla="*/ 0 h 645742"/>
                <a:gd name="connsiteX1" fmla="*/ 702246 w 800422"/>
                <a:gd name="connsiteY1" fmla="*/ 245268 h 645742"/>
                <a:gd name="connsiteX2" fmla="*/ 774637 w 800422"/>
                <a:gd name="connsiteY2" fmla="*/ 637540 h 645742"/>
                <a:gd name="connsiteX3" fmla="*/ 689794 w 800422"/>
                <a:gd name="connsiteY3" fmla="*/ 399255 h 645742"/>
                <a:gd name="connsiteX4" fmla="*/ 144486 w 800422"/>
                <a:gd name="connsiteY4" fmla="*/ 346870 h 645742"/>
                <a:gd name="connsiteX5" fmla="*/ 39466 w 800422"/>
                <a:gd name="connsiteY5" fmla="*/ 624681 h 645742"/>
                <a:gd name="connsiteX6" fmla="*/ 58761 w 800422"/>
                <a:gd name="connsiteY6" fmla="*/ 239712 h 645742"/>
                <a:gd name="connsiteX7" fmla="*/ 53999 w 800422"/>
                <a:gd name="connsiteY7" fmla="*/ 1588 h 645742"/>
                <a:gd name="connsiteX8" fmla="*/ 139478 w 800422"/>
                <a:gd name="connsiteY8" fmla="*/ 0 h 645742"/>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14287 h 660095"/>
                <a:gd name="connsiteX1" fmla="*/ 702246 w 800422"/>
                <a:gd name="connsiteY1" fmla="*/ 259555 h 660095"/>
                <a:gd name="connsiteX2" fmla="*/ 774637 w 800422"/>
                <a:gd name="connsiteY2" fmla="*/ 651827 h 660095"/>
                <a:gd name="connsiteX3" fmla="*/ 689794 w 800422"/>
                <a:gd name="connsiteY3" fmla="*/ 413542 h 660095"/>
                <a:gd name="connsiteX4" fmla="*/ 144486 w 800422"/>
                <a:gd name="connsiteY4" fmla="*/ 361157 h 660095"/>
                <a:gd name="connsiteX5" fmla="*/ 39466 w 800422"/>
                <a:gd name="connsiteY5" fmla="*/ 638968 h 660095"/>
                <a:gd name="connsiteX6" fmla="*/ 58761 w 800422"/>
                <a:gd name="connsiteY6" fmla="*/ 253999 h 660095"/>
                <a:gd name="connsiteX7" fmla="*/ 34949 w 800422"/>
                <a:gd name="connsiteY7" fmla="*/ 0 h 660095"/>
                <a:gd name="connsiteX8" fmla="*/ 139478 w 800422"/>
                <a:gd name="connsiteY8" fmla="*/ 14287 h 660095"/>
                <a:gd name="connsiteX0" fmla="*/ 146621 w 800422"/>
                <a:gd name="connsiteY0" fmla="*/ 14287 h 660095"/>
                <a:gd name="connsiteX1" fmla="*/ 702246 w 800422"/>
                <a:gd name="connsiteY1" fmla="*/ 259555 h 660095"/>
                <a:gd name="connsiteX2" fmla="*/ 774637 w 800422"/>
                <a:gd name="connsiteY2" fmla="*/ 651827 h 660095"/>
                <a:gd name="connsiteX3" fmla="*/ 689794 w 800422"/>
                <a:gd name="connsiteY3" fmla="*/ 413542 h 660095"/>
                <a:gd name="connsiteX4" fmla="*/ 144486 w 800422"/>
                <a:gd name="connsiteY4" fmla="*/ 361157 h 660095"/>
                <a:gd name="connsiteX5" fmla="*/ 39466 w 800422"/>
                <a:gd name="connsiteY5" fmla="*/ 638968 h 660095"/>
                <a:gd name="connsiteX6" fmla="*/ 58761 w 800422"/>
                <a:gd name="connsiteY6" fmla="*/ 253999 h 660095"/>
                <a:gd name="connsiteX7" fmla="*/ 34949 w 800422"/>
                <a:gd name="connsiteY7" fmla="*/ 0 h 660095"/>
                <a:gd name="connsiteX8" fmla="*/ 146621 w 800422"/>
                <a:gd name="connsiteY8" fmla="*/ 14287 h 660095"/>
                <a:gd name="connsiteX0" fmla="*/ 160096 w 813897"/>
                <a:gd name="connsiteY0" fmla="*/ 14287 h 660095"/>
                <a:gd name="connsiteX1" fmla="*/ 715721 w 813897"/>
                <a:gd name="connsiteY1" fmla="*/ 259555 h 660095"/>
                <a:gd name="connsiteX2" fmla="*/ 788112 w 813897"/>
                <a:gd name="connsiteY2" fmla="*/ 651827 h 660095"/>
                <a:gd name="connsiteX3" fmla="*/ 703269 w 813897"/>
                <a:gd name="connsiteY3" fmla="*/ 413542 h 660095"/>
                <a:gd name="connsiteX4" fmla="*/ 157961 w 813897"/>
                <a:gd name="connsiteY4" fmla="*/ 361157 h 660095"/>
                <a:gd name="connsiteX5" fmla="*/ 52941 w 813897"/>
                <a:gd name="connsiteY5" fmla="*/ 638968 h 660095"/>
                <a:gd name="connsiteX6" fmla="*/ 48423 w 813897"/>
                <a:gd name="connsiteY6" fmla="*/ 237330 h 660095"/>
                <a:gd name="connsiteX7" fmla="*/ 48424 w 813897"/>
                <a:gd name="connsiteY7" fmla="*/ 0 h 660095"/>
                <a:gd name="connsiteX8" fmla="*/ 160096 w 813897"/>
                <a:gd name="connsiteY8" fmla="*/ 14287 h 660095"/>
                <a:gd name="connsiteX0" fmla="*/ 180690 w 834491"/>
                <a:gd name="connsiteY0" fmla="*/ 14287 h 660095"/>
                <a:gd name="connsiteX1" fmla="*/ 736315 w 834491"/>
                <a:gd name="connsiteY1" fmla="*/ 259555 h 660095"/>
                <a:gd name="connsiteX2" fmla="*/ 808706 w 834491"/>
                <a:gd name="connsiteY2" fmla="*/ 651827 h 660095"/>
                <a:gd name="connsiteX3" fmla="*/ 723863 w 834491"/>
                <a:gd name="connsiteY3" fmla="*/ 413542 h 660095"/>
                <a:gd name="connsiteX4" fmla="*/ 178555 w 834491"/>
                <a:gd name="connsiteY4" fmla="*/ 361157 h 660095"/>
                <a:gd name="connsiteX5" fmla="*/ 73535 w 834491"/>
                <a:gd name="connsiteY5" fmla="*/ 638968 h 660095"/>
                <a:gd name="connsiteX6" fmla="*/ 69017 w 834491"/>
                <a:gd name="connsiteY6" fmla="*/ 237330 h 660095"/>
                <a:gd name="connsiteX7" fmla="*/ 69018 w 834491"/>
                <a:gd name="connsiteY7" fmla="*/ 0 h 660095"/>
                <a:gd name="connsiteX8" fmla="*/ 180690 w 834491"/>
                <a:gd name="connsiteY8" fmla="*/ 14287 h 660095"/>
                <a:gd name="connsiteX0" fmla="*/ 183132 w 836933"/>
                <a:gd name="connsiteY0" fmla="*/ 14287 h 664434"/>
                <a:gd name="connsiteX1" fmla="*/ 738757 w 836933"/>
                <a:gd name="connsiteY1" fmla="*/ 259555 h 664434"/>
                <a:gd name="connsiteX2" fmla="*/ 811148 w 836933"/>
                <a:gd name="connsiteY2" fmla="*/ 651827 h 664434"/>
                <a:gd name="connsiteX3" fmla="*/ 726305 w 836933"/>
                <a:gd name="connsiteY3" fmla="*/ 413542 h 664434"/>
                <a:gd name="connsiteX4" fmla="*/ 180997 w 836933"/>
                <a:gd name="connsiteY4" fmla="*/ 361157 h 664434"/>
                <a:gd name="connsiteX5" fmla="*/ 68833 w 836933"/>
                <a:gd name="connsiteY5" fmla="*/ 662780 h 664434"/>
                <a:gd name="connsiteX6" fmla="*/ 71459 w 836933"/>
                <a:gd name="connsiteY6" fmla="*/ 237330 h 664434"/>
                <a:gd name="connsiteX7" fmla="*/ 71460 w 836933"/>
                <a:gd name="connsiteY7" fmla="*/ 0 h 664434"/>
                <a:gd name="connsiteX8" fmla="*/ 183132 w 836933"/>
                <a:gd name="connsiteY8" fmla="*/ 14287 h 664434"/>
                <a:gd name="connsiteX0" fmla="*/ 181489 w 835290"/>
                <a:gd name="connsiteY0" fmla="*/ 14287 h 660095"/>
                <a:gd name="connsiteX1" fmla="*/ 737114 w 835290"/>
                <a:gd name="connsiteY1" fmla="*/ 259555 h 660095"/>
                <a:gd name="connsiteX2" fmla="*/ 809505 w 835290"/>
                <a:gd name="connsiteY2" fmla="*/ 651827 h 660095"/>
                <a:gd name="connsiteX3" fmla="*/ 724662 w 835290"/>
                <a:gd name="connsiteY3" fmla="*/ 413542 h 660095"/>
                <a:gd name="connsiteX4" fmla="*/ 179354 w 835290"/>
                <a:gd name="connsiteY4" fmla="*/ 361157 h 660095"/>
                <a:gd name="connsiteX5" fmla="*/ 71953 w 835290"/>
                <a:gd name="connsiteY5" fmla="*/ 646111 h 660095"/>
                <a:gd name="connsiteX6" fmla="*/ 69816 w 835290"/>
                <a:gd name="connsiteY6" fmla="*/ 237330 h 660095"/>
                <a:gd name="connsiteX7" fmla="*/ 69817 w 835290"/>
                <a:gd name="connsiteY7" fmla="*/ 0 h 660095"/>
                <a:gd name="connsiteX8" fmla="*/ 181489 w 835290"/>
                <a:gd name="connsiteY8" fmla="*/ 14287 h 660095"/>
                <a:gd name="connsiteX0" fmla="*/ 188496 w 842297"/>
                <a:gd name="connsiteY0" fmla="*/ 14287 h 660095"/>
                <a:gd name="connsiteX1" fmla="*/ 744121 w 842297"/>
                <a:gd name="connsiteY1" fmla="*/ 259555 h 660095"/>
                <a:gd name="connsiteX2" fmla="*/ 816512 w 842297"/>
                <a:gd name="connsiteY2" fmla="*/ 651827 h 660095"/>
                <a:gd name="connsiteX3" fmla="*/ 731669 w 842297"/>
                <a:gd name="connsiteY3" fmla="*/ 413542 h 660095"/>
                <a:gd name="connsiteX4" fmla="*/ 186361 w 842297"/>
                <a:gd name="connsiteY4" fmla="*/ 361157 h 660095"/>
                <a:gd name="connsiteX5" fmla="*/ 78960 w 842297"/>
                <a:gd name="connsiteY5" fmla="*/ 646111 h 660095"/>
                <a:gd name="connsiteX6" fmla="*/ 76823 w 842297"/>
                <a:gd name="connsiteY6" fmla="*/ 237330 h 660095"/>
                <a:gd name="connsiteX7" fmla="*/ 76824 w 842297"/>
                <a:gd name="connsiteY7" fmla="*/ 0 h 660095"/>
                <a:gd name="connsiteX8" fmla="*/ 188496 w 842297"/>
                <a:gd name="connsiteY8" fmla="*/ 14287 h 660095"/>
                <a:gd name="connsiteX0" fmla="*/ 189984 w 843785"/>
                <a:gd name="connsiteY0" fmla="*/ 14287 h 660095"/>
                <a:gd name="connsiteX1" fmla="*/ 745609 w 843785"/>
                <a:gd name="connsiteY1" fmla="*/ 259555 h 660095"/>
                <a:gd name="connsiteX2" fmla="*/ 818000 w 843785"/>
                <a:gd name="connsiteY2" fmla="*/ 651827 h 660095"/>
                <a:gd name="connsiteX3" fmla="*/ 733157 w 843785"/>
                <a:gd name="connsiteY3" fmla="*/ 413542 h 660095"/>
                <a:gd name="connsiteX4" fmla="*/ 187849 w 843785"/>
                <a:gd name="connsiteY4" fmla="*/ 361157 h 660095"/>
                <a:gd name="connsiteX5" fmla="*/ 80448 w 843785"/>
                <a:gd name="connsiteY5" fmla="*/ 646111 h 660095"/>
                <a:gd name="connsiteX6" fmla="*/ 78311 w 843785"/>
                <a:gd name="connsiteY6" fmla="*/ 237330 h 660095"/>
                <a:gd name="connsiteX7" fmla="*/ 78312 w 843785"/>
                <a:gd name="connsiteY7" fmla="*/ 0 h 660095"/>
                <a:gd name="connsiteX8" fmla="*/ 189984 w 843785"/>
                <a:gd name="connsiteY8" fmla="*/ 14287 h 660095"/>
                <a:gd name="connsiteX0" fmla="*/ 198944 w 852745"/>
                <a:gd name="connsiteY0" fmla="*/ 14287 h 660095"/>
                <a:gd name="connsiteX1" fmla="*/ 754569 w 852745"/>
                <a:gd name="connsiteY1" fmla="*/ 259555 h 660095"/>
                <a:gd name="connsiteX2" fmla="*/ 826960 w 852745"/>
                <a:gd name="connsiteY2" fmla="*/ 651827 h 660095"/>
                <a:gd name="connsiteX3" fmla="*/ 742117 w 852745"/>
                <a:gd name="connsiteY3" fmla="*/ 413542 h 660095"/>
                <a:gd name="connsiteX4" fmla="*/ 196809 w 852745"/>
                <a:gd name="connsiteY4" fmla="*/ 361157 h 660095"/>
                <a:gd name="connsiteX5" fmla="*/ 89408 w 852745"/>
                <a:gd name="connsiteY5" fmla="*/ 646111 h 660095"/>
                <a:gd name="connsiteX6" fmla="*/ 72983 w 852745"/>
                <a:gd name="connsiteY6" fmla="*/ 239711 h 660095"/>
                <a:gd name="connsiteX7" fmla="*/ 87272 w 852745"/>
                <a:gd name="connsiteY7" fmla="*/ 0 h 660095"/>
                <a:gd name="connsiteX8" fmla="*/ 198944 w 852745"/>
                <a:gd name="connsiteY8" fmla="*/ 14287 h 660095"/>
                <a:gd name="connsiteX0" fmla="*/ 183663 w 837464"/>
                <a:gd name="connsiteY0" fmla="*/ 14287 h 660095"/>
                <a:gd name="connsiteX1" fmla="*/ 739288 w 837464"/>
                <a:gd name="connsiteY1" fmla="*/ 259555 h 660095"/>
                <a:gd name="connsiteX2" fmla="*/ 811679 w 837464"/>
                <a:gd name="connsiteY2" fmla="*/ 651827 h 660095"/>
                <a:gd name="connsiteX3" fmla="*/ 726836 w 837464"/>
                <a:gd name="connsiteY3" fmla="*/ 413542 h 660095"/>
                <a:gd name="connsiteX4" fmla="*/ 181528 w 837464"/>
                <a:gd name="connsiteY4" fmla="*/ 361157 h 660095"/>
                <a:gd name="connsiteX5" fmla="*/ 74127 w 837464"/>
                <a:gd name="connsiteY5" fmla="*/ 646111 h 660095"/>
                <a:gd name="connsiteX6" fmla="*/ 57702 w 837464"/>
                <a:gd name="connsiteY6" fmla="*/ 239711 h 660095"/>
                <a:gd name="connsiteX7" fmla="*/ 71991 w 837464"/>
                <a:gd name="connsiteY7" fmla="*/ 0 h 660095"/>
                <a:gd name="connsiteX8" fmla="*/ 183663 w 837464"/>
                <a:gd name="connsiteY8" fmla="*/ 14287 h 6600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57704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57704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67229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67229 w 837464"/>
                <a:gd name="connsiteY7" fmla="*/ 0 h 698195"/>
                <a:gd name="connsiteX8" fmla="*/ 183663 w 837464"/>
                <a:gd name="connsiteY8" fmla="*/ 52387 h 698195"/>
                <a:gd name="connsiteX0" fmla="*/ 183663 w 837464"/>
                <a:gd name="connsiteY0" fmla="*/ 61006 h 706814"/>
                <a:gd name="connsiteX1" fmla="*/ 739288 w 837464"/>
                <a:gd name="connsiteY1" fmla="*/ 306274 h 706814"/>
                <a:gd name="connsiteX2" fmla="*/ 811679 w 837464"/>
                <a:gd name="connsiteY2" fmla="*/ 698546 h 706814"/>
                <a:gd name="connsiteX3" fmla="*/ 726836 w 837464"/>
                <a:gd name="connsiteY3" fmla="*/ 460261 h 706814"/>
                <a:gd name="connsiteX4" fmla="*/ 181528 w 837464"/>
                <a:gd name="connsiteY4" fmla="*/ 407876 h 706814"/>
                <a:gd name="connsiteX5" fmla="*/ 74127 w 837464"/>
                <a:gd name="connsiteY5" fmla="*/ 692830 h 706814"/>
                <a:gd name="connsiteX6" fmla="*/ 57702 w 837464"/>
                <a:gd name="connsiteY6" fmla="*/ 286430 h 706814"/>
                <a:gd name="connsiteX7" fmla="*/ 67229 w 837464"/>
                <a:gd name="connsiteY7" fmla="*/ 8619 h 706814"/>
                <a:gd name="connsiteX8" fmla="*/ 155335 w 837464"/>
                <a:gd name="connsiteY8" fmla="*/ 69737 h 706814"/>
                <a:gd name="connsiteX9" fmla="*/ 183663 w 837464"/>
                <a:gd name="connsiteY9" fmla="*/ 61006 h 706814"/>
                <a:gd name="connsiteX0" fmla="*/ 183663 w 837464"/>
                <a:gd name="connsiteY0" fmla="*/ 61926 h 707734"/>
                <a:gd name="connsiteX1" fmla="*/ 739288 w 837464"/>
                <a:gd name="connsiteY1" fmla="*/ 307194 h 707734"/>
                <a:gd name="connsiteX2" fmla="*/ 811679 w 837464"/>
                <a:gd name="connsiteY2" fmla="*/ 699466 h 707734"/>
                <a:gd name="connsiteX3" fmla="*/ 726836 w 837464"/>
                <a:gd name="connsiteY3" fmla="*/ 461181 h 707734"/>
                <a:gd name="connsiteX4" fmla="*/ 181528 w 837464"/>
                <a:gd name="connsiteY4" fmla="*/ 408796 h 707734"/>
                <a:gd name="connsiteX5" fmla="*/ 74127 w 837464"/>
                <a:gd name="connsiteY5" fmla="*/ 693750 h 707734"/>
                <a:gd name="connsiteX6" fmla="*/ 57702 w 837464"/>
                <a:gd name="connsiteY6" fmla="*/ 287350 h 707734"/>
                <a:gd name="connsiteX7" fmla="*/ 67229 w 837464"/>
                <a:gd name="connsiteY7" fmla="*/ 9539 h 707734"/>
                <a:gd name="connsiteX8" fmla="*/ 155335 w 837464"/>
                <a:gd name="connsiteY8" fmla="*/ 70657 h 707734"/>
                <a:gd name="connsiteX9" fmla="*/ 183663 w 837464"/>
                <a:gd name="connsiteY9" fmla="*/ 61926 h 707734"/>
                <a:gd name="connsiteX0" fmla="*/ 183663 w 837464"/>
                <a:gd name="connsiteY0" fmla="*/ 93692 h 739500"/>
                <a:gd name="connsiteX1" fmla="*/ 739288 w 837464"/>
                <a:gd name="connsiteY1" fmla="*/ 338960 h 739500"/>
                <a:gd name="connsiteX2" fmla="*/ 811679 w 837464"/>
                <a:gd name="connsiteY2" fmla="*/ 731232 h 739500"/>
                <a:gd name="connsiteX3" fmla="*/ 726836 w 837464"/>
                <a:gd name="connsiteY3" fmla="*/ 492947 h 739500"/>
                <a:gd name="connsiteX4" fmla="*/ 181528 w 837464"/>
                <a:gd name="connsiteY4" fmla="*/ 440562 h 739500"/>
                <a:gd name="connsiteX5" fmla="*/ 74127 w 837464"/>
                <a:gd name="connsiteY5" fmla="*/ 725516 h 739500"/>
                <a:gd name="connsiteX6" fmla="*/ 57702 w 837464"/>
                <a:gd name="connsiteY6" fmla="*/ 319116 h 739500"/>
                <a:gd name="connsiteX7" fmla="*/ 67229 w 837464"/>
                <a:gd name="connsiteY7" fmla="*/ 41305 h 739500"/>
                <a:gd name="connsiteX8" fmla="*/ 155335 w 837464"/>
                <a:gd name="connsiteY8" fmla="*/ 102423 h 739500"/>
                <a:gd name="connsiteX9" fmla="*/ 172003 w 837464"/>
                <a:gd name="connsiteY9" fmla="*/ 30 h 739500"/>
                <a:gd name="connsiteX10" fmla="*/ 183663 w 837464"/>
                <a:gd name="connsiteY10" fmla="*/ 93692 h 739500"/>
                <a:gd name="connsiteX0" fmla="*/ 183663 w 837464"/>
                <a:gd name="connsiteY0" fmla="*/ 61927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183663 w 837464"/>
                <a:gd name="connsiteY9" fmla="*/ 61927 h 707735"/>
                <a:gd name="connsiteX0" fmla="*/ 205095 w 837464"/>
                <a:gd name="connsiteY0" fmla="*/ 64308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205095 w 837464"/>
                <a:gd name="connsiteY9" fmla="*/ 64308 h 707735"/>
                <a:gd name="connsiteX0" fmla="*/ 205095 w 837464"/>
                <a:gd name="connsiteY0" fmla="*/ 64308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205095 w 837464"/>
                <a:gd name="connsiteY9" fmla="*/ 64308 h 707735"/>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205095 w 837464"/>
                <a:gd name="connsiteY9"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28908 w 837464"/>
                <a:gd name="connsiteY0" fmla="*/ 91258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28908 w 837464"/>
                <a:gd name="connsiteY10" fmla="*/ 91258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43428 w 837464"/>
                <a:gd name="connsiteY8" fmla="*/ 90464 h 706110"/>
                <a:gd name="connsiteX9" fmla="*/ 160097 w 837464"/>
                <a:gd name="connsiteY9" fmla="*/ 30932 h 706110"/>
                <a:gd name="connsiteX10" fmla="*/ 257483 w 837464"/>
                <a:gd name="connsiteY10" fmla="*/ 93639 h 706110"/>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294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294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92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465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465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7464" h="699444">
                  <a:moveTo>
                    <a:pt x="257483" y="86973"/>
                  </a:moveTo>
                  <a:cubicBezTo>
                    <a:pt x="388715" y="147299"/>
                    <a:pt x="717594" y="2835"/>
                    <a:pt x="739288" y="298904"/>
                  </a:cubicBezTo>
                  <a:cubicBezTo>
                    <a:pt x="775323" y="279643"/>
                    <a:pt x="887560" y="379444"/>
                    <a:pt x="811679" y="691176"/>
                  </a:cubicBezTo>
                  <a:cubicBezTo>
                    <a:pt x="792141" y="747003"/>
                    <a:pt x="850911" y="503717"/>
                    <a:pt x="726836" y="452891"/>
                  </a:cubicBezTo>
                  <a:cubicBezTo>
                    <a:pt x="621811" y="404446"/>
                    <a:pt x="365322" y="497873"/>
                    <a:pt x="181528" y="400506"/>
                  </a:cubicBezTo>
                  <a:cubicBezTo>
                    <a:pt x="35187" y="379313"/>
                    <a:pt x="88414" y="714035"/>
                    <a:pt x="74127" y="685460"/>
                  </a:cubicBezTo>
                  <a:cubicBezTo>
                    <a:pt x="-403" y="623813"/>
                    <a:pt x="-39219" y="455009"/>
                    <a:pt x="57702" y="279060"/>
                  </a:cubicBezTo>
                  <a:cubicBezTo>
                    <a:pt x="25158" y="161586"/>
                    <a:pt x="40240" y="132218"/>
                    <a:pt x="46591" y="8393"/>
                  </a:cubicBezTo>
                  <a:cubicBezTo>
                    <a:pt x="62863" y="-27723"/>
                    <a:pt x="59729" y="63161"/>
                    <a:pt x="143428" y="83798"/>
                  </a:cubicBezTo>
                  <a:cubicBezTo>
                    <a:pt x="158906" y="87634"/>
                    <a:pt x="148628" y="57471"/>
                    <a:pt x="160097" y="24266"/>
                  </a:cubicBezTo>
                  <a:cubicBezTo>
                    <a:pt x="178709" y="43448"/>
                    <a:pt x="201432" y="69775"/>
                    <a:pt x="257483" y="86973"/>
                  </a:cubicBezTo>
                  <a:close/>
                </a:path>
              </a:pathLst>
            </a:custGeom>
            <a:solidFill>
              <a:srgbClr val="E4B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2" name="Group 91">
              <a:extLst>
                <a:ext uri="{FF2B5EF4-FFF2-40B4-BE49-F238E27FC236}">
                  <a16:creationId xmlns:a16="http://schemas.microsoft.com/office/drawing/2014/main" id="{FF63C557-F26C-442E-91E5-D6EBAF695A8F}"/>
                </a:ext>
              </a:extLst>
            </p:cNvPr>
            <p:cNvGrpSpPr/>
            <p:nvPr/>
          </p:nvGrpSpPr>
          <p:grpSpPr>
            <a:xfrm>
              <a:off x="12018963" y="456406"/>
              <a:ext cx="1562100" cy="1716410"/>
              <a:chOff x="12018963" y="456406"/>
              <a:chExt cx="1562100" cy="1716410"/>
            </a:xfrm>
          </p:grpSpPr>
          <p:sp>
            <p:nvSpPr>
              <p:cNvPr id="63" name="Freeform 25">
                <a:extLst>
                  <a:ext uri="{FF2B5EF4-FFF2-40B4-BE49-F238E27FC236}">
                    <a16:creationId xmlns:a16="http://schemas.microsoft.com/office/drawing/2014/main" id="{4D3E635E-4E1F-4B92-BEF5-7A39BF230276}"/>
                  </a:ext>
                </a:extLst>
              </p:cNvPr>
              <p:cNvSpPr>
                <a:spLocks/>
              </p:cNvSpPr>
              <p:nvPr/>
            </p:nvSpPr>
            <p:spPr bwMode="auto">
              <a:xfrm>
                <a:off x="13100050" y="1105693"/>
                <a:ext cx="58738" cy="252413"/>
              </a:xfrm>
              <a:custGeom>
                <a:avLst/>
                <a:gdLst>
                  <a:gd name="T0" fmla="*/ 13 w 13"/>
                  <a:gd name="T1" fmla="*/ 0 h 56"/>
                  <a:gd name="T2" fmla="*/ 13 w 13"/>
                  <a:gd name="T3" fmla="*/ 3 h 56"/>
                  <a:gd name="T4" fmla="*/ 0 w 13"/>
                  <a:gd name="T5" fmla="*/ 56 h 56"/>
                </a:gdLst>
                <a:ahLst/>
                <a:cxnLst>
                  <a:cxn ang="0">
                    <a:pos x="T0" y="T1"/>
                  </a:cxn>
                  <a:cxn ang="0">
                    <a:pos x="T2" y="T3"/>
                  </a:cxn>
                  <a:cxn ang="0">
                    <a:pos x="T4" y="T5"/>
                  </a:cxn>
                </a:cxnLst>
                <a:rect l="0" t="0" r="r" b="b"/>
                <a:pathLst>
                  <a:path w="13" h="56">
                    <a:moveTo>
                      <a:pt x="13" y="0"/>
                    </a:moveTo>
                    <a:cubicBezTo>
                      <a:pt x="13" y="1"/>
                      <a:pt x="13" y="2"/>
                      <a:pt x="13" y="3"/>
                    </a:cubicBezTo>
                    <a:cubicBezTo>
                      <a:pt x="11" y="23"/>
                      <a:pt x="6" y="41"/>
                      <a:pt x="0" y="5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4" name="Freeform 26">
                <a:extLst>
                  <a:ext uri="{FF2B5EF4-FFF2-40B4-BE49-F238E27FC236}">
                    <a16:creationId xmlns:a16="http://schemas.microsoft.com/office/drawing/2014/main" id="{00DEE2B3-BEDC-41CA-9D9E-96E823EE0E0B}"/>
                  </a:ext>
                </a:extLst>
              </p:cNvPr>
              <p:cNvSpPr>
                <a:spLocks/>
              </p:cNvSpPr>
              <p:nvPr/>
            </p:nvSpPr>
            <p:spPr bwMode="auto">
              <a:xfrm>
                <a:off x="12438063" y="1105693"/>
                <a:ext cx="360363" cy="517525"/>
              </a:xfrm>
              <a:custGeom>
                <a:avLst/>
                <a:gdLst>
                  <a:gd name="T0" fmla="*/ 80 w 80"/>
                  <a:gd name="T1" fmla="*/ 115 h 115"/>
                  <a:gd name="T2" fmla="*/ 0 w 80"/>
                  <a:gd name="T3" fmla="*/ 3 h 115"/>
                  <a:gd name="T4" fmla="*/ 0 w 80"/>
                  <a:gd name="T5" fmla="*/ 0 h 115"/>
                </a:gdLst>
                <a:ahLst/>
                <a:cxnLst>
                  <a:cxn ang="0">
                    <a:pos x="T0" y="T1"/>
                  </a:cxn>
                  <a:cxn ang="0">
                    <a:pos x="T2" y="T3"/>
                  </a:cxn>
                  <a:cxn ang="0">
                    <a:pos x="T4" y="T5"/>
                  </a:cxn>
                </a:cxnLst>
                <a:rect l="0" t="0" r="r" b="b"/>
                <a:pathLst>
                  <a:path w="80" h="115">
                    <a:moveTo>
                      <a:pt x="80" y="115"/>
                    </a:moveTo>
                    <a:cubicBezTo>
                      <a:pt x="46" y="115"/>
                      <a:pt x="6" y="72"/>
                      <a:pt x="0" y="3"/>
                    </a:cubicBezTo>
                    <a:cubicBezTo>
                      <a:pt x="0" y="2"/>
                      <a:pt x="0" y="1"/>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5" name="Freeform 27">
                <a:extLst>
                  <a:ext uri="{FF2B5EF4-FFF2-40B4-BE49-F238E27FC236}">
                    <a16:creationId xmlns:a16="http://schemas.microsoft.com/office/drawing/2014/main" id="{B889BEBB-67F5-46A3-8E9E-527BDDD4C297}"/>
                  </a:ext>
                </a:extLst>
              </p:cNvPr>
              <p:cNvSpPr>
                <a:spLocks/>
              </p:cNvSpPr>
              <p:nvPr/>
            </p:nvSpPr>
            <p:spPr bwMode="auto">
              <a:xfrm>
                <a:off x="12965113" y="1554956"/>
                <a:ext cx="615950" cy="617860"/>
              </a:xfrm>
              <a:custGeom>
                <a:avLst/>
                <a:gdLst>
                  <a:gd name="T0" fmla="*/ 0 w 137"/>
                  <a:gd name="T1" fmla="*/ 0 h 239"/>
                  <a:gd name="T2" fmla="*/ 0 w 137"/>
                  <a:gd name="T3" fmla="*/ 0 h 239"/>
                  <a:gd name="T4" fmla="*/ 137 w 137"/>
                  <a:gd name="T5" fmla="*/ 137 h 239"/>
                  <a:gd name="T6" fmla="*/ 137 w 137"/>
                  <a:gd name="T7" fmla="*/ 239 h 239"/>
                  <a:gd name="connsiteX0" fmla="*/ 0 w 10000"/>
                  <a:gd name="connsiteY0" fmla="*/ 0 h 5732"/>
                  <a:gd name="connsiteX1" fmla="*/ 0 w 10000"/>
                  <a:gd name="connsiteY1" fmla="*/ 0 h 5732"/>
                  <a:gd name="connsiteX2" fmla="*/ 10000 w 10000"/>
                  <a:gd name="connsiteY2" fmla="*/ 5732 h 5732"/>
                </a:gdLst>
                <a:ahLst/>
                <a:cxnLst>
                  <a:cxn ang="0">
                    <a:pos x="connsiteX0" y="connsiteY0"/>
                  </a:cxn>
                  <a:cxn ang="0">
                    <a:pos x="connsiteX1" y="connsiteY1"/>
                  </a:cxn>
                  <a:cxn ang="0">
                    <a:pos x="connsiteX2" y="connsiteY2"/>
                  </a:cxn>
                </a:cxnLst>
                <a:rect l="l" t="t" r="r" b="b"/>
                <a:pathLst>
                  <a:path w="10000" h="5732">
                    <a:moveTo>
                      <a:pt x="0" y="0"/>
                    </a:moveTo>
                    <a:lnTo>
                      <a:pt x="0" y="0"/>
                    </a:lnTo>
                    <a:cubicBezTo>
                      <a:pt x="5547" y="0"/>
                      <a:pt x="10000" y="2552"/>
                      <a:pt x="10000" y="573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6" name="Freeform 28">
                <a:extLst>
                  <a:ext uri="{FF2B5EF4-FFF2-40B4-BE49-F238E27FC236}">
                    <a16:creationId xmlns:a16="http://schemas.microsoft.com/office/drawing/2014/main" id="{B180F2C3-A1F3-4DB7-8E08-291B10B965F0}"/>
                  </a:ext>
                </a:extLst>
              </p:cNvPr>
              <p:cNvSpPr>
                <a:spLocks/>
              </p:cNvSpPr>
              <p:nvPr/>
            </p:nvSpPr>
            <p:spPr bwMode="auto">
              <a:xfrm>
                <a:off x="12018963" y="1554956"/>
                <a:ext cx="612775" cy="617572"/>
              </a:xfrm>
              <a:custGeom>
                <a:avLst/>
                <a:gdLst>
                  <a:gd name="T0" fmla="*/ 0 w 136"/>
                  <a:gd name="T1" fmla="*/ 243 h 243"/>
                  <a:gd name="T2" fmla="*/ 0 w 136"/>
                  <a:gd name="T3" fmla="*/ 137 h 243"/>
                  <a:gd name="T4" fmla="*/ 136 w 136"/>
                  <a:gd name="T5" fmla="*/ 0 h 243"/>
                  <a:gd name="T6" fmla="*/ 136 w 136"/>
                  <a:gd name="T7" fmla="*/ 0 h 243"/>
                  <a:gd name="connsiteX0" fmla="*/ 0 w 10000"/>
                  <a:gd name="connsiteY0" fmla="*/ 5638 h 5638"/>
                  <a:gd name="connsiteX1" fmla="*/ 10000 w 10000"/>
                  <a:gd name="connsiteY1" fmla="*/ 0 h 5638"/>
                  <a:gd name="connsiteX2" fmla="*/ 10000 w 10000"/>
                  <a:gd name="connsiteY2" fmla="*/ 0 h 5638"/>
                </a:gdLst>
                <a:ahLst/>
                <a:cxnLst>
                  <a:cxn ang="0">
                    <a:pos x="connsiteX0" y="connsiteY0"/>
                  </a:cxn>
                  <a:cxn ang="0">
                    <a:pos x="connsiteX1" y="connsiteY1"/>
                  </a:cxn>
                  <a:cxn ang="0">
                    <a:pos x="connsiteX2" y="connsiteY2"/>
                  </a:cxn>
                </a:cxnLst>
                <a:rect l="l" t="t" r="r" b="b"/>
                <a:pathLst>
                  <a:path w="10000" h="5638">
                    <a:moveTo>
                      <a:pt x="0" y="5638"/>
                    </a:moveTo>
                    <a:cubicBezTo>
                      <a:pt x="0" y="2510"/>
                      <a:pt x="4485" y="0"/>
                      <a:pt x="10000" y="0"/>
                    </a:cubicBezTo>
                    <a:lnTo>
                      <a:pt x="10000" y="0"/>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30">
                <a:extLst>
                  <a:ext uri="{FF2B5EF4-FFF2-40B4-BE49-F238E27FC236}">
                    <a16:creationId xmlns:a16="http://schemas.microsoft.com/office/drawing/2014/main" id="{DC4A6F61-B9C7-44BF-B283-EE2F3CB643D1}"/>
                  </a:ext>
                </a:extLst>
              </p:cNvPr>
              <p:cNvSpPr>
                <a:spLocks/>
              </p:cNvSpPr>
              <p:nvPr/>
            </p:nvSpPr>
            <p:spPr bwMode="auto">
              <a:xfrm>
                <a:off x="12950825" y="672306"/>
                <a:ext cx="288925" cy="460375"/>
              </a:xfrm>
              <a:custGeom>
                <a:avLst/>
                <a:gdLst>
                  <a:gd name="T0" fmla="*/ 0 w 64"/>
                  <a:gd name="T1" fmla="*/ 44 h 102"/>
                  <a:gd name="T2" fmla="*/ 45 w 64"/>
                  <a:gd name="T3" fmla="*/ 102 h 102"/>
                  <a:gd name="T4" fmla="*/ 34 w 64"/>
                  <a:gd name="T5" fmla="*/ 0 h 102"/>
                </a:gdLst>
                <a:ahLst/>
                <a:cxnLst>
                  <a:cxn ang="0">
                    <a:pos x="T0" y="T1"/>
                  </a:cxn>
                  <a:cxn ang="0">
                    <a:pos x="T2" y="T3"/>
                  </a:cxn>
                  <a:cxn ang="0">
                    <a:pos x="T4" y="T5"/>
                  </a:cxn>
                </a:cxnLst>
                <a:rect l="0" t="0" r="r" b="b"/>
                <a:pathLst>
                  <a:path w="64" h="102">
                    <a:moveTo>
                      <a:pt x="0" y="44"/>
                    </a:moveTo>
                    <a:cubicBezTo>
                      <a:pt x="0" y="44"/>
                      <a:pt x="51" y="28"/>
                      <a:pt x="45" y="102"/>
                    </a:cubicBezTo>
                    <a:cubicBezTo>
                      <a:pt x="62" y="91"/>
                      <a:pt x="64" y="19"/>
                      <a:pt x="34"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31">
                <a:extLst>
                  <a:ext uri="{FF2B5EF4-FFF2-40B4-BE49-F238E27FC236}">
                    <a16:creationId xmlns:a16="http://schemas.microsoft.com/office/drawing/2014/main" id="{4DE9F8CF-CC07-4969-A230-496F13923519}"/>
                  </a:ext>
                </a:extLst>
              </p:cNvPr>
              <p:cNvSpPr>
                <a:spLocks/>
              </p:cNvSpPr>
              <p:nvPr/>
            </p:nvSpPr>
            <p:spPr bwMode="auto">
              <a:xfrm>
                <a:off x="12365038" y="708818"/>
                <a:ext cx="149225" cy="409575"/>
              </a:xfrm>
              <a:custGeom>
                <a:avLst/>
                <a:gdLst>
                  <a:gd name="T0" fmla="*/ 33 w 33"/>
                  <a:gd name="T1" fmla="*/ 24 h 91"/>
                  <a:gd name="T2" fmla="*/ 16 w 33"/>
                  <a:gd name="T3" fmla="*/ 91 h 91"/>
                  <a:gd name="T4" fmla="*/ 16 w 33"/>
                  <a:gd name="T5" fmla="*/ 0 h 91"/>
                </a:gdLst>
                <a:ahLst/>
                <a:cxnLst>
                  <a:cxn ang="0">
                    <a:pos x="T0" y="T1"/>
                  </a:cxn>
                  <a:cxn ang="0">
                    <a:pos x="T2" y="T3"/>
                  </a:cxn>
                  <a:cxn ang="0">
                    <a:pos x="T4" y="T5"/>
                  </a:cxn>
                </a:cxnLst>
                <a:rect l="0" t="0" r="r" b="b"/>
                <a:pathLst>
                  <a:path w="33" h="91">
                    <a:moveTo>
                      <a:pt x="33" y="24"/>
                    </a:moveTo>
                    <a:cubicBezTo>
                      <a:pt x="27" y="31"/>
                      <a:pt x="13" y="50"/>
                      <a:pt x="16" y="91"/>
                    </a:cubicBezTo>
                    <a:cubicBezTo>
                      <a:pt x="0" y="85"/>
                      <a:pt x="0" y="33"/>
                      <a:pt x="16"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0" name="Freeform 32">
                <a:extLst>
                  <a:ext uri="{FF2B5EF4-FFF2-40B4-BE49-F238E27FC236}">
                    <a16:creationId xmlns:a16="http://schemas.microsoft.com/office/drawing/2014/main" id="{A4B5DB92-A90B-4419-82CF-E2B680D105DB}"/>
                  </a:ext>
                </a:extLst>
              </p:cNvPr>
              <p:cNvSpPr>
                <a:spLocks/>
              </p:cNvSpPr>
              <p:nvPr/>
            </p:nvSpPr>
            <p:spPr bwMode="auto">
              <a:xfrm>
                <a:off x="12423775" y="456406"/>
                <a:ext cx="414338" cy="414338"/>
              </a:xfrm>
              <a:custGeom>
                <a:avLst/>
                <a:gdLst>
                  <a:gd name="T0" fmla="*/ 92 w 92"/>
                  <a:gd name="T1" fmla="*/ 92 h 92"/>
                  <a:gd name="T2" fmla="*/ 55 w 92"/>
                  <a:gd name="T3" fmla="*/ 92 h 92"/>
                  <a:gd name="T4" fmla="*/ 0 w 92"/>
                  <a:gd name="T5" fmla="*/ 37 h 92"/>
                  <a:gd name="T6" fmla="*/ 0 w 92"/>
                  <a:gd name="T7" fmla="*/ 0 h 92"/>
                  <a:gd name="T8" fmla="*/ 1 w 92"/>
                  <a:gd name="T9" fmla="*/ 1 h 92"/>
                  <a:gd name="T10" fmla="*/ 21 w 92"/>
                  <a:gd name="T11" fmla="*/ 15 h 92"/>
                </a:gdLst>
                <a:ahLst/>
                <a:cxnLst>
                  <a:cxn ang="0">
                    <a:pos x="T0" y="T1"/>
                  </a:cxn>
                  <a:cxn ang="0">
                    <a:pos x="T2" y="T3"/>
                  </a:cxn>
                  <a:cxn ang="0">
                    <a:pos x="T4" y="T5"/>
                  </a:cxn>
                  <a:cxn ang="0">
                    <a:pos x="T6" y="T7"/>
                  </a:cxn>
                  <a:cxn ang="0">
                    <a:pos x="T8" y="T9"/>
                  </a:cxn>
                  <a:cxn ang="0">
                    <a:pos x="T10" y="T11"/>
                  </a:cxn>
                </a:cxnLst>
                <a:rect l="0" t="0" r="r" b="b"/>
                <a:pathLst>
                  <a:path w="92" h="92">
                    <a:moveTo>
                      <a:pt x="92" y="92"/>
                    </a:moveTo>
                    <a:cubicBezTo>
                      <a:pt x="55" y="92"/>
                      <a:pt x="55" y="92"/>
                      <a:pt x="55" y="92"/>
                    </a:cubicBezTo>
                    <a:cubicBezTo>
                      <a:pt x="25" y="92"/>
                      <a:pt x="0" y="68"/>
                      <a:pt x="0" y="37"/>
                    </a:cubicBezTo>
                    <a:cubicBezTo>
                      <a:pt x="0" y="0"/>
                      <a:pt x="0" y="0"/>
                      <a:pt x="0" y="0"/>
                    </a:cubicBezTo>
                    <a:cubicBezTo>
                      <a:pt x="1" y="1"/>
                      <a:pt x="1" y="1"/>
                      <a:pt x="1" y="1"/>
                    </a:cubicBezTo>
                    <a:cubicBezTo>
                      <a:pt x="6" y="8"/>
                      <a:pt x="13" y="13"/>
                      <a:pt x="21" y="15"/>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1" name="Freeform 33">
                <a:extLst>
                  <a:ext uri="{FF2B5EF4-FFF2-40B4-BE49-F238E27FC236}">
                    <a16:creationId xmlns:a16="http://schemas.microsoft.com/office/drawing/2014/main" id="{EC3D2B3D-3989-4753-82F1-8C719214FB08}"/>
                  </a:ext>
                </a:extLst>
              </p:cNvPr>
              <p:cNvSpPr>
                <a:spLocks/>
              </p:cNvSpPr>
              <p:nvPr/>
            </p:nvSpPr>
            <p:spPr bwMode="auto">
              <a:xfrm>
                <a:off x="12519025" y="456406"/>
                <a:ext cx="581025" cy="323850"/>
              </a:xfrm>
              <a:custGeom>
                <a:avLst/>
                <a:gdLst>
                  <a:gd name="T0" fmla="*/ 8 w 129"/>
                  <a:gd name="T1" fmla="*/ 54 h 72"/>
                  <a:gd name="T2" fmla="*/ 0 w 129"/>
                  <a:gd name="T3" fmla="*/ 21 h 72"/>
                  <a:gd name="T4" fmla="*/ 0 w 129"/>
                  <a:gd name="T5" fmla="*/ 0 h 72"/>
                  <a:gd name="T6" fmla="*/ 0 w 129"/>
                  <a:gd name="T7" fmla="*/ 1 h 72"/>
                  <a:gd name="T8" fmla="*/ 31 w 129"/>
                  <a:gd name="T9" fmla="*/ 17 h 72"/>
                  <a:gd name="T10" fmla="*/ 92 w 129"/>
                  <a:gd name="T11" fmla="*/ 17 h 72"/>
                  <a:gd name="T12" fmla="*/ 129 w 129"/>
                  <a:gd name="T13" fmla="*/ 54 h 72"/>
                  <a:gd name="T14" fmla="*/ 129 w 129"/>
                  <a:gd name="T15" fmla="*/ 54 h 72"/>
                  <a:gd name="T16" fmla="*/ 129 w 129"/>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72">
                    <a:moveTo>
                      <a:pt x="8" y="54"/>
                    </a:moveTo>
                    <a:cubicBezTo>
                      <a:pt x="3" y="44"/>
                      <a:pt x="0" y="33"/>
                      <a:pt x="0" y="21"/>
                    </a:cubicBezTo>
                    <a:cubicBezTo>
                      <a:pt x="0" y="0"/>
                      <a:pt x="0" y="0"/>
                      <a:pt x="0" y="0"/>
                    </a:cubicBezTo>
                    <a:cubicBezTo>
                      <a:pt x="0" y="1"/>
                      <a:pt x="0" y="1"/>
                      <a:pt x="0" y="1"/>
                    </a:cubicBezTo>
                    <a:cubicBezTo>
                      <a:pt x="8" y="11"/>
                      <a:pt x="19" y="17"/>
                      <a:pt x="31" y="17"/>
                    </a:cubicBezTo>
                    <a:cubicBezTo>
                      <a:pt x="92" y="17"/>
                      <a:pt x="92" y="17"/>
                      <a:pt x="92" y="17"/>
                    </a:cubicBezTo>
                    <a:cubicBezTo>
                      <a:pt x="112" y="17"/>
                      <a:pt x="129" y="34"/>
                      <a:pt x="129" y="54"/>
                    </a:cubicBezTo>
                    <a:cubicBezTo>
                      <a:pt x="129" y="54"/>
                      <a:pt x="129" y="54"/>
                      <a:pt x="129" y="54"/>
                    </a:cubicBezTo>
                    <a:cubicBezTo>
                      <a:pt x="129" y="56"/>
                      <a:pt x="129" y="71"/>
                      <a:pt x="129" y="7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2" name="Freeform 34">
                <a:extLst>
                  <a:ext uri="{FF2B5EF4-FFF2-40B4-BE49-F238E27FC236}">
                    <a16:creationId xmlns:a16="http://schemas.microsoft.com/office/drawing/2014/main" id="{CD343977-32D3-493E-972E-F94733AEE9CD}"/>
                  </a:ext>
                </a:extLst>
              </p:cNvPr>
              <p:cNvSpPr>
                <a:spLocks/>
              </p:cNvSpPr>
              <p:nvPr/>
            </p:nvSpPr>
            <p:spPr bwMode="auto">
              <a:xfrm>
                <a:off x="12577763" y="1564481"/>
                <a:ext cx="436563" cy="293688"/>
              </a:xfrm>
              <a:custGeom>
                <a:avLst/>
                <a:gdLst>
                  <a:gd name="T0" fmla="*/ 97 w 97"/>
                  <a:gd name="T1" fmla="*/ 0 h 65"/>
                  <a:gd name="T2" fmla="*/ 49 w 97"/>
                  <a:gd name="T3" fmla="*/ 65 h 65"/>
                  <a:gd name="T4" fmla="*/ 0 w 97"/>
                  <a:gd name="T5" fmla="*/ 0 h 65"/>
                </a:gdLst>
                <a:ahLst/>
                <a:cxnLst>
                  <a:cxn ang="0">
                    <a:pos x="T0" y="T1"/>
                  </a:cxn>
                  <a:cxn ang="0">
                    <a:pos x="T2" y="T3"/>
                  </a:cxn>
                  <a:cxn ang="0">
                    <a:pos x="T4" y="T5"/>
                  </a:cxn>
                </a:cxnLst>
                <a:rect l="0" t="0" r="r" b="b"/>
                <a:pathLst>
                  <a:path w="97" h="65">
                    <a:moveTo>
                      <a:pt x="97" y="0"/>
                    </a:moveTo>
                    <a:cubicBezTo>
                      <a:pt x="97" y="36"/>
                      <a:pt x="75" y="65"/>
                      <a:pt x="49" y="65"/>
                    </a:cubicBezTo>
                    <a:cubicBezTo>
                      <a:pt x="22" y="65"/>
                      <a:pt x="0" y="36"/>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7" name="Group 6">
            <a:extLst>
              <a:ext uri="{FF2B5EF4-FFF2-40B4-BE49-F238E27FC236}">
                <a16:creationId xmlns:a16="http://schemas.microsoft.com/office/drawing/2014/main" id="{AE5C5B3C-5373-49A0-B744-54D4B64F81EF}"/>
              </a:ext>
            </a:extLst>
          </p:cNvPr>
          <p:cNvGrpSpPr/>
          <p:nvPr/>
        </p:nvGrpSpPr>
        <p:grpSpPr>
          <a:xfrm>
            <a:off x="7128337" y="2020361"/>
            <a:ext cx="1202863" cy="1346994"/>
            <a:chOff x="10096230" y="532606"/>
            <a:chExt cx="1479329" cy="1656587"/>
          </a:xfrm>
        </p:grpSpPr>
        <p:sp>
          <p:nvSpPr>
            <p:cNvPr id="74" name="Rectangle 53">
              <a:extLst>
                <a:ext uri="{FF2B5EF4-FFF2-40B4-BE49-F238E27FC236}">
                  <a16:creationId xmlns:a16="http://schemas.microsoft.com/office/drawing/2014/main" id="{65B0DD6F-B256-4FD9-911C-1A68B4316A59}"/>
                </a:ext>
              </a:extLst>
            </p:cNvPr>
            <p:cNvSpPr/>
            <p:nvPr/>
          </p:nvSpPr>
          <p:spPr>
            <a:xfrm>
              <a:off x="10247818" y="559531"/>
              <a:ext cx="1060926" cy="1360849"/>
            </a:xfrm>
            <a:custGeom>
              <a:avLst/>
              <a:gdLst>
                <a:gd name="connsiteX0" fmla="*/ 0 w 1007007"/>
                <a:gd name="connsiteY0" fmla="*/ 0 h 1397001"/>
                <a:gd name="connsiteX1" fmla="*/ 1007007 w 1007007"/>
                <a:gd name="connsiteY1" fmla="*/ 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949857 w 1007007"/>
                <a:gd name="connsiteY1" fmla="*/ 6540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285750 w 1007007"/>
                <a:gd name="connsiteY0" fmla="*/ 320167 h 1279018"/>
                <a:gd name="connsiteX1" fmla="*/ 886357 w 1007007"/>
                <a:gd name="connsiteY1" fmla="*/ 104267 h 1279018"/>
                <a:gd name="connsiteX2" fmla="*/ 1007007 w 1007007"/>
                <a:gd name="connsiteY2" fmla="*/ 1279018 h 1279018"/>
                <a:gd name="connsiteX3" fmla="*/ 0 w 1007007"/>
                <a:gd name="connsiteY3" fmla="*/ 1279018 h 1279018"/>
                <a:gd name="connsiteX4" fmla="*/ 285750 w 1007007"/>
                <a:gd name="connsiteY4" fmla="*/ 320167 h 1279018"/>
                <a:gd name="connsiteX0" fmla="*/ 88900 w 1007007"/>
                <a:gd name="connsiteY0" fmla="*/ 134117 h 1315218"/>
                <a:gd name="connsiteX1" fmla="*/ 886357 w 1007007"/>
                <a:gd name="connsiteY1" fmla="*/ 140467 h 1315218"/>
                <a:gd name="connsiteX2" fmla="*/ 1007007 w 1007007"/>
                <a:gd name="connsiteY2" fmla="*/ 1315218 h 1315218"/>
                <a:gd name="connsiteX3" fmla="*/ 0 w 1007007"/>
                <a:gd name="connsiteY3" fmla="*/ 1315218 h 1315218"/>
                <a:gd name="connsiteX4" fmla="*/ 88900 w 1007007"/>
                <a:gd name="connsiteY4" fmla="*/ 134117 h 1315218"/>
                <a:gd name="connsiteX0" fmla="*/ 88900 w 1007007"/>
                <a:gd name="connsiteY0" fmla="*/ 198540 h 1379641"/>
                <a:gd name="connsiteX1" fmla="*/ 886357 w 1007007"/>
                <a:gd name="connsiteY1" fmla="*/ 204890 h 1379641"/>
                <a:gd name="connsiteX2" fmla="*/ 1007007 w 1007007"/>
                <a:gd name="connsiteY2" fmla="*/ 1379641 h 1379641"/>
                <a:gd name="connsiteX3" fmla="*/ 0 w 1007007"/>
                <a:gd name="connsiteY3" fmla="*/ 1379641 h 1379641"/>
                <a:gd name="connsiteX4" fmla="*/ 88900 w 1007007"/>
                <a:gd name="connsiteY4" fmla="*/ 198540 h 1379641"/>
                <a:gd name="connsiteX0" fmla="*/ 103188 w 1007007"/>
                <a:gd name="connsiteY0" fmla="*/ 205802 h 1374997"/>
                <a:gd name="connsiteX1" fmla="*/ 886357 w 1007007"/>
                <a:gd name="connsiteY1" fmla="*/ 200246 h 1374997"/>
                <a:gd name="connsiteX2" fmla="*/ 1007007 w 1007007"/>
                <a:gd name="connsiteY2" fmla="*/ 1374997 h 1374997"/>
                <a:gd name="connsiteX3" fmla="*/ 0 w 1007007"/>
                <a:gd name="connsiteY3" fmla="*/ 1374997 h 1374997"/>
                <a:gd name="connsiteX4" fmla="*/ 103188 w 1007007"/>
                <a:gd name="connsiteY4" fmla="*/ 205802 h 1374997"/>
                <a:gd name="connsiteX0" fmla="*/ 103188 w 1007007"/>
                <a:gd name="connsiteY0" fmla="*/ 205802 h 1374997"/>
                <a:gd name="connsiteX1" fmla="*/ 886357 w 1007007"/>
                <a:gd name="connsiteY1" fmla="*/ 200246 h 1374997"/>
                <a:gd name="connsiteX2" fmla="*/ 1007007 w 1007007"/>
                <a:gd name="connsiteY2" fmla="*/ 1374997 h 1374997"/>
                <a:gd name="connsiteX3" fmla="*/ 0 w 1007007"/>
                <a:gd name="connsiteY3" fmla="*/ 1374997 h 1374997"/>
                <a:gd name="connsiteX4" fmla="*/ 103188 w 1007007"/>
                <a:gd name="connsiteY4" fmla="*/ 205802 h 1374997"/>
                <a:gd name="connsiteX0" fmla="*/ 127000 w 1030819"/>
                <a:gd name="connsiteY0" fmla="*/ 205802 h 1374997"/>
                <a:gd name="connsiteX1" fmla="*/ 910169 w 1030819"/>
                <a:gd name="connsiteY1" fmla="*/ 200246 h 1374997"/>
                <a:gd name="connsiteX2" fmla="*/ 1030819 w 1030819"/>
                <a:gd name="connsiteY2" fmla="*/ 1374997 h 1374997"/>
                <a:gd name="connsiteX3" fmla="*/ 0 w 1030819"/>
                <a:gd name="connsiteY3" fmla="*/ 1113059 h 1374997"/>
                <a:gd name="connsiteX4" fmla="*/ 127000 w 1030819"/>
                <a:gd name="connsiteY4" fmla="*/ 205802 h 1374997"/>
                <a:gd name="connsiteX0" fmla="*/ 127000 w 1030819"/>
                <a:gd name="connsiteY0" fmla="*/ 205802 h 1374997"/>
                <a:gd name="connsiteX1" fmla="*/ 910169 w 1030819"/>
                <a:gd name="connsiteY1" fmla="*/ 200246 h 1374997"/>
                <a:gd name="connsiteX2" fmla="*/ 1030819 w 1030819"/>
                <a:gd name="connsiteY2" fmla="*/ 1374997 h 1374997"/>
                <a:gd name="connsiteX3" fmla="*/ 0 w 1030819"/>
                <a:gd name="connsiteY3" fmla="*/ 1113059 h 1374997"/>
                <a:gd name="connsiteX4" fmla="*/ 127000 w 1030819"/>
                <a:gd name="connsiteY4" fmla="*/ 205802 h 1374997"/>
                <a:gd name="connsiteX0" fmla="*/ 194866 w 1098685"/>
                <a:gd name="connsiteY0" fmla="*/ 133679 h 1302874"/>
                <a:gd name="connsiteX1" fmla="*/ 978035 w 1098685"/>
                <a:gd name="connsiteY1" fmla="*/ 128123 h 1302874"/>
                <a:gd name="connsiteX2" fmla="*/ 1098685 w 1098685"/>
                <a:gd name="connsiteY2" fmla="*/ 1302874 h 1302874"/>
                <a:gd name="connsiteX3" fmla="*/ 67866 w 1098685"/>
                <a:gd name="connsiteY3" fmla="*/ 1040936 h 1302874"/>
                <a:gd name="connsiteX4" fmla="*/ 194866 w 1098685"/>
                <a:gd name="connsiteY4" fmla="*/ 133679 h 1302874"/>
                <a:gd name="connsiteX0" fmla="*/ 178007 w 1081826"/>
                <a:gd name="connsiteY0" fmla="*/ 142060 h 1311255"/>
                <a:gd name="connsiteX1" fmla="*/ 961176 w 1081826"/>
                <a:gd name="connsiteY1" fmla="*/ 136504 h 1311255"/>
                <a:gd name="connsiteX2" fmla="*/ 1081826 w 1081826"/>
                <a:gd name="connsiteY2" fmla="*/ 1311255 h 1311255"/>
                <a:gd name="connsiteX3" fmla="*/ 51007 w 1081826"/>
                <a:gd name="connsiteY3" fmla="*/ 1049317 h 1311255"/>
                <a:gd name="connsiteX4" fmla="*/ 178007 w 1081826"/>
                <a:gd name="connsiteY4" fmla="*/ 142060 h 1311255"/>
                <a:gd name="connsiteX0" fmla="*/ 178007 w 1081826"/>
                <a:gd name="connsiteY0" fmla="*/ 122600 h 1291795"/>
                <a:gd name="connsiteX1" fmla="*/ 961176 w 1081826"/>
                <a:gd name="connsiteY1" fmla="*/ 117044 h 1291795"/>
                <a:gd name="connsiteX2" fmla="*/ 1081826 w 1081826"/>
                <a:gd name="connsiteY2" fmla="*/ 1291795 h 1291795"/>
                <a:gd name="connsiteX3" fmla="*/ 51007 w 1081826"/>
                <a:gd name="connsiteY3" fmla="*/ 1029857 h 1291795"/>
                <a:gd name="connsiteX4" fmla="*/ 178007 w 1081826"/>
                <a:gd name="connsiteY4" fmla="*/ 122600 h 1291795"/>
                <a:gd name="connsiteX0" fmla="*/ 192932 w 1096751"/>
                <a:gd name="connsiteY0" fmla="*/ 193781 h 1362976"/>
                <a:gd name="connsiteX1" fmla="*/ 976101 w 1096751"/>
                <a:gd name="connsiteY1" fmla="*/ 188225 h 1362976"/>
                <a:gd name="connsiteX2" fmla="*/ 1096751 w 1096751"/>
                <a:gd name="connsiteY2" fmla="*/ 1362976 h 1362976"/>
                <a:gd name="connsiteX3" fmla="*/ 65932 w 1096751"/>
                <a:gd name="connsiteY3" fmla="*/ 1101038 h 1362976"/>
                <a:gd name="connsiteX4" fmla="*/ 192932 w 1096751"/>
                <a:gd name="connsiteY4" fmla="*/ 193781 h 1362976"/>
                <a:gd name="connsiteX0" fmla="*/ 213571 w 1091196"/>
                <a:gd name="connsiteY0" fmla="*/ 175866 h 1390305"/>
                <a:gd name="connsiteX1" fmla="*/ 970546 w 1091196"/>
                <a:gd name="connsiteY1" fmla="*/ 215554 h 1390305"/>
                <a:gd name="connsiteX2" fmla="*/ 1091196 w 1091196"/>
                <a:gd name="connsiteY2" fmla="*/ 1390305 h 1390305"/>
                <a:gd name="connsiteX3" fmla="*/ 60377 w 1091196"/>
                <a:gd name="connsiteY3" fmla="*/ 1128367 h 1390305"/>
                <a:gd name="connsiteX4" fmla="*/ 213571 w 1091196"/>
                <a:gd name="connsiteY4" fmla="*/ 175866 h 1390305"/>
                <a:gd name="connsiteX0" fmla="*/ 275115 w 1152740"/>
                <a:gd name="connsiteY0" fmla="*/ 185058 h 1399497"/>
                <a:gd name="connsiteX1" fmla="*/ 1032090 w 1152740"/>
                <a:gd name="connsiteY1" fmla="*/ 224746 h 1399497"/>
                <a:gd name="connsiteX2" fmla="*/ 1152740 w 1152740"/>
                <a:gd name="connsiteY2" fmla="*/ 1399497 h 1399497"/>
                <a:gd name="connsiteX3" fmla="*/ 121921 w 1152740"/>
                <a:gd name="connsiteY3" fmla="*/ 1137559 h 1399497"/>
                <a:gd name="connsiteX4" fmla="*/ 275115 w 1152740"/>
                <a:gd name="connsiteY4" fmla="*/ 185058 h 1399497"/>
                <a:gd name="connsiteX0" fmla="*/ 275115 w 1152740"/>
                <a:gd name="connsiteY0" fmla="*/ 199991 h 1414430"/>
                <a:gd name="connsiteX1" fmla="*/ 1032090 w 1152740"/>
                <a:gd name="connsiteY1" fmla="*/ 239679 h 1414430"/>
                <a:gd name="connsiteX2" fmla="*/ 1152740 w 1152740"/>
                <a:gd name="connsiteY2" fmla="*/ 1414430 h 1414430"/>
                <a:gd name="connsiteX3" fmla="*/ 121921 w 1152740"/>
                <a:gd name="connsiteY3" fmla="*/ 1152492 h 1414430"/>
                <a:gd name="connsiteX4" fmla="*/ 275115 w 1152740"/>
                <a:gd name="connsiteY4" fmla="*/ 199991 h 1414430"/>
                <a:gd name="connsiteX0" fmla="*/ 215398 w 1093023"/>
                <a:gd name="connsiteY0" fmla="*/ 88728 h 1303167"/>
                <a:gd name="connsiteX1" fmla="*/ 977135 w 1093023"/>
                <a:gd name="connsiteY1" fmla="*/ 206998 h 1303167"/>
                <a:gd name="connsiteX2" fmla="*/ 1093023 w 1093023"/>
                <a:gd name="connsiteY2" fmla="*/ 1303167 h 1303167"/>
                <a:gd name="connsiteX3" fmla="*/ 62204 w 1093023"/>
                <a:gd name="connsiteY3" fmla="*/ 1041229 h 1303167"/>
                <a:gd name="connsiteX4" fmla="*/ 215398 w 1093023"/>
                <a:gd name="connsiteY4" fmla="*/ 88728 h 1303167"/>
                <a:gd name="connsiteX0" fmla="*/ 215398 w 1107316"/>
                <a:gd name="connsiteY0" fmla="*/ 180178 h 1394617"/>
                <a:gd name="connsiteX1" fmla="*/ 977135 w 1107316"/>
                <a:gd name="connsiteY1" fmla="*/ 298448 h 1394617"/>
                <a:gd name="connsiteX2" fmla="*/ 1093023 w 1107316"/>
                <a:gd name="connsiteY2" fmla="*/ 1394617 h 1394617"/>
                <a:gd name="connsiteX3" fmla="*/ 62204 w 1107316"/>
                <a:gd name="connsiteY3" fmla="*/ 1132679 h 1394617"/>
                <a:gd name="connsiteX4" fmla="*/ 215398 w 1107316"/>
                <a:gd name="connsiteY4" fmla="*/ 180178 h 1394617"/>
                <a:gd name="connsiteX0" fmla="*/ 215398 w 1093023"/>
                <a:gd name="connsiteY0" fmla="*/ 180178 h 1394617"/>
                <a:gd name="connsiteX1" fmla="*/ 977135 w 1093023"/>
                <a:gd name="connsiteY1" fmla="*/ 298448 h 1394617"/>
                <a:gd name="connsiteX2" fmla="*/ 1093023 w 1093023"/>
                <a:gd name="connsiteY2" fmla="*/ 1394617 h 1394617"/>
                <a:gd name="connsiteX3" fmla="*/ 62204 w 1093023"/>
                <a:gd name="connsiteY3" fmla="*/ 1132679 h 1394617"/>
                <a:gd name="connsiteX4" fmla="*/ 215398 w 1093023"/>
                <a:gd name="connsiteY4" fmla="*/ 180178 h 1394617"/>
                <a:gd name="connsiteX0" fmla="*/ 215398 w 1015003"/>
                <a:gd name="connsiteY0" fmla="*/ 180178 h 1377948"/>
                <a:gd name="connsiteX1" fmla="*/ 977135 w 1015003"/>
                <a:gd name="connsiteY1" fmla="*/ 298448 h 1377948"/>
                <a:gd name="connsiteX2" fmla="*/ 885855 w 1015003"/>
                <a:gd name="connsiteY2" fmla="*/ 1377948 h 1377948"/>
                <a:gd name="connsiteX3" fmla="*/ 62204 w 1015003"/>
                <a:gd name="connsiteY3" fmla="*/ 1132679 h 1377948"/>
                <a:gd name="connsiteX4" fmla="*/ 215398 w 1015003"/>
                <a:gd name="connsiteY4" fmla="*/ 180178 h 1377948"/>
                <a:gd name="connsiteX0" fmla="*/ 215398 w 1105772"/>
                <a:gd name="connsiteY0" fmla="*/ 180178 h 1377948"/>
                <a:gd name="connsiteX1" fmla="*/ 977135 w 1105772"/>
                <a:gd name="connsiteY1" fmla="*/ 298448 h 1377948"/>
                <a:gd name="connsiteX2" fmla="*/ 885855 w 1105772"/>
                <a:gd name="connsiteY2" fmla="*/ 1377948 h 1377948"/>
                <a:gd name="connsiteX3" fmla="*/ 62204 w 1105772"/>
                <a:gd name="connsiteY3" fmla="*/ 1132679 h 1377948"/>
                <a:gd name="connsiteX4" fmla="*/ 215398 w 1105772"/>
                <a:gd name="connsiteY4" fmla="*/ 180178 h 1377948"/>
                <a:gd name="connsiteX0" fmla="*/ 215398 w 1106455"/>
                <a:gd name="connsiteY0" fmla="*/ 180178 h 1377948"/>
                <a:gd name="connsiteX1" fmla="*/ 977135 w 1106455"/>
                <a:gd name="connsiteY1" fmla="*/ 298448 h 1377948"/>
                <a:gd name="connsiteX2" fmla="*/ 1098038 w 1106455"/>
                <a:gd name="connsiteY2" fmla="*/ 847724 h 1377948"/>
                <a:gd name="connsiteX3" fmla="*/ 885855 w 1106455"/>
                <a:gd name="connsiteY3" fmla="*/ 1377948 h 1377948"/>
                <a:gd name="connsiteX4" fmla="*/ 62204 w 1106455"/>
                <a:gd name="connsiteY4" fmla="*/ 1132679 h 1377948"/>
                <a:gd name="connsiteX5" fmla="*/ 215398 w 1106455"/>
                <a:gd name="connsiteY5" fmla="*/ 180178 h 1377948"/>
                <a:gd name="connsiteX0" fmla="*/ 215398 w 1072278"/>
                <a:gd name="connsiteY0" fmla="*/ 180178 h 1377948"/>
                <a:gd name="connsiteX1" fmla="*/ 977135 w 1072278"/>
                <a:gd name="connsiteY1" fmla="*/ 298448 h 1377948"/>
                <a:gd name="connsiteX2" fmla="*/ 1045651 w 1072278"/>
                <a:gd name="connsiteY2" fmla="*/ 857249 h 1377948"/>
                <a:gd name="connsiteX3" fmla="*/ 885855 w 1072278"/>
                <a:gd name="connsiteY3" fmla="*/ 1377948 h 1377948"/>
                <a:gd name="connsiteX4" fmla="*/ 62204 w 1072278"/>
                <a:gd name="connsiteY4" fmla="*/ 1132679 h 1377948"/>
                <a:gd name="connsiteX5" fmla="*/ 215398 w 1072278"/>
                <a:gd name="connsiteY5" fmla="*/ 180178 h 1377948"/>
                <a:gd name="connsiteX0" fmla="*/ 215398 w 1072278"/>
                <a:gd name="connsiteY0" fmla="*/ 180178 h 1377948"/>
                <a:gd name="connsiteX1" fmla="*/ 977135 w 1072278"/>
                <a:gd name="connsiteY1" fmla="*/ 298448 h 1377948"/>
                <a:gd name="connsiteX2" fmla="*/ 1045651 w 1072278"/>
                <a:gd name="connsiteY2" fmla="*/ 857249 h 1377948"/>
                <a:gd name="connsiteX3" fmla="*/ 885855 w 1072278"/>
                <a:gd name="connsiteY3" fmla="*/ 1377948 h 1377948"/>
                <a:gd name="connsiteX4" fmla="*/ 62204 w 1072278"/>
                <a:gd name="connsiteY4" fmla="*/ 1132679 h 1377948"/>
                <a:gd name="connsiteX5" fmla="*/ 215398 w 1072278"/>
                <a:gd name="connsiteY5" fmla="*/ 180178 h 1377948"/>
                <a:gd name="connsiteX0" fmla="*/ 215398 w 1059496"/>
                <a:gd name="connsiteY0" fmla="*/ 180178 h 1377948"/>
                <a:gd name="connsiteX1" fmla="*/ 977135 w 1059496"/>
                <a:gd name="connsiteY1" fmla="*/ 298448 h 1377948"/>
                <a:gd name="connsiteX2" fmla="*/ 1045651 w 1059496"/>
                <a:gd name="connsiteY2" fmla="*/ 857249 h 1377948"/>
                <a:gd name="connsiteX3" fmla="*/ 885855 w 1059496"/>
                <a:gd name="connsiteY3" fmla="*/ 1377948 h 1377948"/>
                <a:gd name="connsiteX4" fmla="*/ 62204 w 1059496"/>
                <a:gd name="connsiteY4" fmla="*/ 1132679 h 1377948"/>
                <a:gd name="connsiteX5" fmla="*/ 215398 w 1059496"/>
                <a:gd name="connsiteY5" fmla="*/ 180178 h 1377948"/>
                <a:gd name="connsiteX0" fmla="*/ 215398 w 1053666"/>
                <a:gd name="connsiteY0" fmla="*/ 180178 h 1377948"/>
                <a:gd name="connsiteX1" fmla="*/ 977135 w 1053666"/>
                <a:gd name="connsiteY1" fmla="*/ 298448 h 1377948"/>
                <a:gd name="connsiteX2" fmla="*/ 1045651 w 1053666"/>
                <a:gd name="connsiteY2" fmla="*/ 857249 h 1377948"/>
                <a:gd name="connsiteX3" fmla="*/ 885855 w 1053666"/>
                <a:gd name="connsiteY3" fmla="*/ 1377948 h 1377948"/>
                <a:gd name="connsiteX4" fmla="*/ 62204 w 1053666"/>
                <a:gd name="connsiteY4" fmla="*/ 1132679 h 1377948"/>
                <a:gd name="connsiteX5" fmla="*/ 215398 w 1053666"/>
                <a:gd name="connsiteY5" fmla="*/ 180178 h 1377948"/>
                <a:gd name="connsiteX0" fmla="*/ 215398 w 1053666"/>
                <a:gd name="connsiteY0" fmla="*/ 180178 h 1377948"/>
                <a:gd name="connsiteX1" fmla="*/ 977135 w 1053666"/>
                <a:gd name="connsiteY1" fmla="*/ 298448 h 1377948"/>
                <a:gd name="connsiteX2" fmla="*/ 1045651 w 1053666"/>
                <a:gd name="connsiteY2" fmla="*/ 857249 h 1377948"/>
                <a:gd name="connsiteX3" fmla="*/ 885855 w 1053666"/>
                <a:gd name="connsiteY3" fmla="*/ 1377948 h 1377948"/>
                <a:gd name="connsiteX4" fmla="*/ 62204 w 1053666"/>
                <a:gd name="connsiteY4" fmla="*/ 1132679 h 1377948"/>
                <a:gd name="connsiteX5" fmla="*/ 215398 w 1053666"/>
                <a:gd name="connsiteY5" fmla="*/ 180178 h 1377948"/>
                <a:gd name="connsiteX0" fmla="*/ 215398 w 1053666"/>
                <a:gd name="connsiteY0" fmla="*/ 185980 h 1383750"/>
                <a:gd name="connsiteX1" fmla="*/ 977135 w 1053666"/>
                <a:gd name="connsiteY1" fmla="*/ 304250 h 1383750"/>
                <a:gd name="connsiteX2" fmla="*/ 1045651 w 1053666"/>
                <a:gd name="connsiteY2" fmla="*/ 863051 h 1383750"/>
                <a:gd name="connsiteX3" fmla="*/ 885855 w 1053666"/>
                <a:gd name="connsiteY3" fmla="*/ 1383750 h 1383750"/>
                <a:gd name="connsiteX4" fmla="*/ 62204 w 1053666"/>
                <a:gd name="connsiteY4" fmla="*/ 1138481 h 1383750"/>
                <a:gd name="connsiteX5" fmla="*/ 215398 w 1053666"/>
                <a:gd name="connsiteY5" fmla="*/ 185980 h 1383750"/>
                <a:gd name="connsiteX0" fmla="*/ 215398 w 1053666"/>
                <a:gd name="connsiteY0" fmla="*/ 150830 h 1348600"/>
                <a:gd name="connsiteX1" fmla="*/ 977135 w 1053666"/>
                <a:gd name="connsiteY1" fmla="*/ 269100 h 1348600"/>
                <a:gd name="connsiteX2" fmla="*/ 1045651 w 1053666"/>
                <a:gd name="connsiteY2" fmla="*/ 827901 h 1348600"/>
                <a:gd name="connsiteX3" fmla="*/ 885855 w 1053666"/>
                <a:gd name="connsiteY3" fmla="*/ 1348600 h 1348600"/>
                <a:gd name="connsiteX4" fmla="*/ 62204 w 1053666"/>
                <a:gd name="connsiteY4" fmla="*/ 1103331 h 1348600"/>
                <a:gd name="connsiteX5" fmla="*/ 215398 w 1053666"/>
                <a:gd name="connsiteY5" fmla="*/ 150830 h 1348600"/>
                <a:gd name="connsiteX0" fmla="*/ 214969 w 1053237"/>
                <a:gd name="connsiteY0" fmla="*/ 181979 h 1379749"/>
                <a:gd name="connsiteX1" fmla="*/ 976706 w 1053237"/>
                <a:gd name="connsiteY1" fmla="*/ 300249 h 1379749"/>
                <a:gd name="connsiteX2" fmla="*/ 1045222 w 1053237"/>
                <a:gd name="connsiteY2" fmla="*/ 859050 h 1379749"/>
                <a:gd name="connsiteX3" fmla="*/ 885426 w 1053237"/>
                <a:gd name="connsiteY3" fmla="*/ 1379749 h 1379749"/>
                <a:gd name="connsiteX4" fmla="*/ 61775 w 1053237"/>
                <a:gd name="connsiteY4" fmla="*/ 1134480 h 1379749"/>
                <a:gd name="connsiteX5" fmla="*/ 214969 w 1053237"/>
                <a:gd name="connsiteY5" fmla="*/ 181979 h 1379749"/>
                <a:gd name="connsiteX0" fmla="*/ 214969 w 1068135"/>
                <a:gd name="connsiteY0" fmla="*/ 181979 h 1379749"/>
                <a:gd name="connsiteX1" fmla="*/ 976706 w 1068135"/>
                <a:gd name="connsiteY1" fmla="*/ 300249 h 1379749"/>
                <a:gd name="connsiteX2" fmla="*/ 1045222 w 1068135"/>
                <a:gd name="connsiteY2" fmla="*/ 859050 h 1379749"/>
                <a:gd name="connsiteX3" fmla="*/ 885426 w 1068135"/>
                <a:gd name="connsiteY3" fmla="*/ 1379749 h 1379749"/>
                <a:gd name="connsiteX4" fmla="*/ 61775 w 1068135"/>
                <a:gd name="connsiteY4" fmla="*/ 1134480 h 1379749"/>
                <a:gd name="connsiteX5" fmla="*/ 214969 w 1068135"/>
                <a:gd name="connsiteY5" fmla="*/ 181979 h 1379749"/>
                <a:gd name="connsiteX0" fmla="*/ 214969 w 1061957"/>
                <a:gd name="connsiteY0" fmla="*/ 181979 h 1379749"/>
                <a:gd name="connsiteX1" fmla="*/ 976706 w 1061957"/>
                <a:gd name="connsiteY1" fmla="*/ 300249 h 1379749"/>
                <a:gd name="connsiteX2" fmla="*/ 1045222 w 1061957"/>
                <a:gd name="connsiteY2" fmla="*/ 859050 h 1379749"/>
                <a:gd name="connsiteX3" fmla="*/ 885426 w 1061957"/>
                <a:gd name="connsiteY3" fmla="*/ 1379749 h 1379749"/>
                <a:gd name="connsiteX4" fmla="*/ 61775 w 1061957"/>
                <a:gd name="connsiteY4" fmla="*/ 1134480 h 1379749"/>
                <a:gd name="connsiteX5" fmla="*/ 214969 w 1061957"/>
                <a:gd name="connsiteY5" fmla="*/ 181979 h 1379749"/>
                <a:gd name="connsiteX0" fmla="*/ 214969 w 1056015"/>
                <a:gd name="connsiteY0" fmla="*/ 181979 h 1379749"/>
                <a:gd name="connsiteX1" fmla="*/ 976706 w 1056015"/>
                <a:gd name="connsiteY1" fmla="*/ 300249 h 1379749"/>
                <a:gd name="connsiteX2" fmla="*/ 1035697 w 1056015"/>
                <a:gd name="connsiteY2" fmla="*/ 868575 h 1379749"/>
                <a:gd name="connsiteX3" fmla="*/ 885426 w 1056015"/>
                <a:gd name="connsiteY3" fmla="*/ 1379749 h 1379749"/>
                <a:gd name="connsiteX4" fmla="*/ 61775 w 1056015"/>
                <a:gd name="connsiteY4" fmla="*/ 1134480 h 1379749"/>
                <a:gd name="connsiteX5" fmla="*/ 214969 w 1056015"/>
                <a:gd name="connsiteY5" fmla="*/ 181979 h 1379749"/>
                <a:gd name="connsiteX0" fmla="*/ 214969 w 1047133"/>
                <a:gd name="connsiteY0" fmla="*/ 181979 h 1358318"/>
                <a:gd name="connsiteX1" fmla="*/ 976706 w 1047133"/>
                <a:gd name="connsiteY1" fmla="*/ 300249 h 1358318"/>
                <a:gd name="connsiteX2" fmla="*/ 1035697 w 1047133"/>
                <a:gd name="connsiteY2" fmla="*/ 868575 h 1358318"/>
                <a:gd name="connsiteX3" fmla="*/ 885426 w 1047133"/>
                <a:gd name="connsiteY3" fmla="*/ 1358318 h 1358318"/>
                <a:gd name="connsiteX4" fmla="*/ 61775 w 1047133"/>
                <a:gd name="connsiteY4" fmla="*/ 1134480 h 1358318"/>
                <a:gd name="connsiteX5" fmla="*/ 214969 w 1047133"/>
                <a:gd name="connsiteY5" fmla="*/ 181979 h 1358318"/>
                <a:gd name="connsiteX0" fmla="*/ 214969 w 1048317"/>
                <a:gd name="connsiteY0" fmla="*/ 181979 h 1377368"/>
                <a:gd name="connsiteX1" fmla="*/ 976706 w 1048317"/>
                <a:gd name="connsiteY1" fmla="*/ 300249 h 1377368"/>
                <a:gd name="connsiteX2" fmla="*/ 1035697 w 1048317"/>
                <a:gd name="connsiteY2" fmla="*/ 868575 h 1377368"/>
                <a:gd name="connsiteX3" fmla="*/ 887808 w 1048317"/>
                <a:gd name="connsiteY3" fmla="*/ 1377368 h 1377368"/>
                <a:gd name="connsiteX4" fmla="*/ 61775 w 1048317"/>
                <a:gd name="connsiteY4" fmla="*/ 1134480 h 1377368"/>
                <a:gd name="connsiteX5" fmla="*/ 214969 w 1048317"/>
                <a:gd name="connsiteY5" fmla="*/ 181979 h 1377368"/>
                <a:gd name="connsiteX0" fmla="*/ 214969 w 1042136"/>
                <a:gd name="connsiteY0" fmla="*/ 181979 h 1377368"/>
                <a:gd name="connsiteX1" fmla="*/ 976706 w 1042136"/>
                <a:gd name="connsiteY1" fmla="*/ 300249 h 1377368"/>
                <a:gd name="connsiteX2" fmla="*/ 1035697 w 1042136"/>
                <a:gd name="connsiteY2" fmla="*/ 868575 h 1377368"/>
                <a:gd name="connsiteX3" fmla="*/ 887808 w 1042136"/>
                <a:gd name="connsiteY3" fmla="*/ 1377368 h 1377368"/>
                <a:gd name="connsiteX4" fmla="*/ 61775 w 1042136"/>
                <a:gd name="connsiteY4" fmla="*/ 1134480 h 1377368"/>
                <a:gd name="connsiteX5" fmla="*/ 214969 w 1042136"/>
                <a:gd name="connsiteY5" fmla="*/ 181979 h 1377368"/>
                <a:gd name="connsiteX0" fmla="*/ 214969 w 1049947"/>
                <a:gd name="connsiteY0" fmla="*/ 181979 h 1377368"/>
                <a:gd name="connsiteX1" fmla="*/ 976706 w 1049947"/>
                <a:gd name="connsiteY1" fmla="*/ 300249 h 1377368"/>
                <a:gd name="connsiteX2" fmla="*/ 1035697 w 1049947"/>
                <a:gd name="connsiteY2" fmla="*/ 868575 h 1377368"/>
                <a:gd name="connsiteX3" fmla="*/ 887808 w 1049947"/>
                <a:gd name="connsiteY3" fmla="*/ 1377368 h 1377368"/>
                <a:gd name="connsiteX4" fmla="*/ 61775 w 1049947"/>
                <a:gd name="connsiteY4" fmla="*/ 1134480 h 1377368"/>
                <a:gd name="connsiteX5" fmla="*/ 214969 w 1049947"/>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69231 h 1364620"/>
                <a:gd name="connsiteX1" fmla="*/ 976706 w 1055735"/>
                <a:gd name="connsiteY1" fmla="*/ 287501 h 1364620"/>
                <a:gd name="connsiteX2" fmla="*/ 1035697 w 1055735"/>
                <a:gd name="connsiteY2" fmla="*/ 855827 h 1364620"/>
                <a:gd name="connsiteX3" fmla="*/ 887808 w 1055735"/>
                <a:gd name="connsiteY3" fmla="*/ 1364620 h 1364620"/>
                <a:gd name="connsiteX4" fmla="*/ 61775 w 1055735"/>
                <a:gd name="connsiteY4" fmla="*/ 1121732 h 1364620"/>
                <a:gd name="connsiteX5" fmla="*/ 214969 w 1055735"/>
                <a:gd name="connsiteY5" fmla="*/ 169231 h 1364620"/>
                <a:gd name="connsiteX0" fmla="*/ 85015 w 925781"/>
                <a:gd name="connsiteY0" fmla="*/ 134622 h 1330011"/>
                <a:gd name="connsiteX1" fmla="*/ 846752 w 925781"/>
                <a:gd name="connsiteY1" fmla="*/ 252892 h 1330011"/>
                <a:gd name="connsiteX2" fmla="*/ 905743 w 925781"/>
                <a:gd name="connsiteY2" fmla="*/ 821218 h 1330011"/>
                <a:gd name="connsiteX3" fmla="*/ 757854 w 925781"/>
                <a:gd name="connsiteY3" fmla="*/ 1330011 h 1330011"/>
                <a:gd name="connsiteX4" fmla="*/ 119940 w 925781"/>
                <a:gd name="connsiteY4" fmla="*/ 1046642 h 1330011"/>
                <a:gd name="connsiteX5" fmla="*/ 85015 w 925781"/>
                <a:gd name="connsiteY5" fmla="*/ 134622 h 1330011"/>
                <a:gd name="connsiteX0" fmla="*/ 207587 w 1048353"/>
                <a:gd name="connsiteY0" fmla="*/ 137417 h 1332806"/>
                <a:gd name="connsiteX1" fmla="*/ 969324 w 1048353"/>
                <a:gd name="connsiteY1" fmla="*/ 255687 h 1332806"/>
                <a:gd name="connsiteX2" fmla="*/ 1028315 w 1048353"/>
                <a:gd name="connsiteY2" fmla="*/ 824013 h 1332806"/>
                <a:gd name="connsiteX3" fmla="*/ 880426 w 1048353"/>
                <a:gd name="connsiteY3" fmla="*/ 1332806 h 1332806"/>
                <a:gd name="connsiteX4" fmla="*/ 63918 w 1048353"/>
                <a:gd name="connsiteY4" fmla="*/ 1094680 h 1332806"/>
                <a:gd name="connsiteX5" fmla="*/ 207587 w 1048353"/>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78703"/>
                <a:gd name="connsiteY0" fmla="*/ 138156 h 1339935"/>
                <a:gd name="connsiteX1" fmla="*/ 919693 w 978703"/>
                <a:gd name="connsiteY1" fmla="*/ 256426 h 1339935"/>
                <a:gd name="connsiteX2" fmla="*/ 978684 w 978703"/>
                <a:gd name="connsiteY2" fmla="*/ 824752 h 1339935"/>
                <a:gd name="connsiteX3" fmla="*/ 830795 w 978703"/>
                <a:gd name="connsiteY3" fmla="*/ 1333545 h 1339935"/>
                <a:gd name="connsiteX4" fmla="*/ 340508 w 978703"/>
                <a:gd name="connsiteY4" fmla="*/ 1110504 h 1339935"/>
                <a:gd name="connsiteX5" fmla="*/ 0 w 978703"/>
                <a:gd name="connsiteY5" fmla="*/ 1107325 h 1339935"/>
                <a:gd name="connsiteX6" fmla="*/ 157956 w 978703"/>
                <a:gd name="connsiteY6" fmla="*/ 138156 h 1339935"/>
                <a:gd name="connsiteX0" fmla="*/ 157956 w 978703"/>
                <a:gd name="connsiteY0" fmla="*/ 138156 h 1336288"/>
                <a:gd name="connsiteX1" fmla="*/ 919693 w 978703"/>
                <a:gd name="connsiteY1" fmla="*/ 256426 h 1336288"/>
                <a:gd name="connsiteX2" fmla="*/ 978684 w 978703"/>
                <a:gd name="connsiteY2" fmla="*/ 824752 h 1336288"/>
                <a:gd name="connsiteX3" fmla="*/ 830795 w 978703"/>
                <a:gd name="connsiteY3" fmla="*/ 1333545 h 1336288"/>
                <a:gd name="connsiteX4" fmla="*/ 404801 w 978703"/>
                <a:gd name="connsiteY4" fmla="*/ 755698 h 1336288"/>
                <a:gd name="connsiteX5" fmla="*/ 0 w 978703"/>
                <a:gd name="connsiteY5" fmla="*/ 1107325 h 1336288"/>
                <a:gd name="connsiteX6" fmla="*/ 157956 w 978703"/>
                <a:gd name="connsiteY6" fmla="*/ 138156 h 1336288"/>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5888"/>
                <a:gd name="connsiteX1" fmla="*/ 919693 w 978703"/>
                <a:gd name="connsiteY1" fmla="*/ 256426 h 1335888"/>
                <a:gd name="connsiteX2" fmla="*/ 978684 w 978703"/>
                <a:gd name="connsiteY2" fmla="*/ 824752 h 1335888"/>
                <a:gd name="connsiteX3" fmla="*/ 830795 w 978703"/>
                <a:gd name="connsiteY3" fmla="*/ 1333545 h 1335888"/>
                <a:gd name="connsiteX4" fmla="*/ 347651 w 978703"/>
                <a:gd name="connsiteY4" fmla="*/ 974773 h 1335888"/>
                <a:gd name="connsiteX5" fmla="*/ 0 w 978703"/>
                <a:gd name="connsiteY5" fmla="*/ 1107325 h 1335888"/>
                <a:gd name="connsiteX6" fmla="*/ 157956 w 978703"/>
                <a:gd name="connsiteY6" fmla="*/ 138156 h 1335888"/>
                <a:gd name="connsiteX0" fmla="*/ 157956 w 978703"/>
                <a:gd name="connsiteY0" fmla="*/ 138156 h 1340991"/>
                <a:gd name="connsiteX1" fmla="*/ 919693 w 978703"/>
                <a:gd name="connsiteY1" fmla="*/ 256426 h 1340991"/>
                <a:gd name="connsiteX2" fmla="*/ 978684 w 978703"/>
                <a:gd name="connsiteY2" fmla="*/ 824752 h 1340991"/>
                <a:gd name="connsiteX3" fmla="*/ 830795 w 978703"/>
                <a:gd name="connsiteY3" fmla="*/ 1333545 h 1340991"/>
                <a:gd name="connsiteX4" fmla="*/ 514341 w 978703"/>
                <a:gd name="connsiteY4" fmla="*/ 1117648 h 1340991"/>
                <a:gd name="connsiteX5" fmla="*/ 347651 w 978703"/>
                <a:gd name="connsiteY5" fmla="*/ 974773 h 1340991"/>
                <a:gd name="connsiteX6" fmla="*/ 0 w 978703"/>
                <a:gd name="connsiteY6" fmla="*/ 1107325 h 1340991"/>
                <a:gd name="connsiteX7" fmla="*/ 157956 w 978703"/>
                <a:gd name="connsiteY7" fmla="*/ 138156 h 1340991"/>
                <a:gd name="connsiteX0" fmla="*/ 157956 w 978703"/>
                <a:gd name="connsiteY0" fmla="*/ 138156 h 1335332"/>
                <a:gd name="connsiteX1" fmla="*/ 919693 w 978703"/>
                <a:gd name="connsiteY1" fmla="*/ 256426 h 1335332"/>
                <a:gd name="connsiteX2" fmla="*/ 978684 w 978703"/>
                <a:gd name="connsiteY2" fmla="*/ 824752 h 1335332"/>
                <a:gd name="connsiteX3" fmla="*/ 830795 w 978703"/>
                <a:gd name="connsiteY3" fmla="*/ 1333545 h 1335332"/>
                <a:gd name="connsiteX4" fmla="*/ 576254 w 978703"/>
                <a:gd name="connsiteY4" fmla="*/ 355648 h 1335332"/>
                <a:gd name="connsiteX5" fmla="*/ 347651 w 978703"/>
                <a:gd name="connsiteY5" fmla="*/ 974773 h 1335332"/>
                <a:gd name="connsiteX6" fmla="*/ 0 w 978703"/>
                <a:gd name="connsiteY6" fmla="*/ 1107325 h 1335332"/>
                <a:gd name="connsiteX7" fmla="*/ 157956 w 978703"/>
                <a:gd name="connsiteY7" fmla="*/ 138156 h 1335332"/>
                <a:gd name="connsiteX0" fmla="*/ 157956 w 1001947"/>
                <a:gd name="connsiteY0" fmla="*/ 138156 h 1335332"/>
                <a:gd name="connsiteX1" fmla="*/ 919693 w 1001947"/>
                <a:gd name="connsiteY1" fmla="*/ 256426 h 1335332"/>
                <a:gd name="connsiteX2" fmla="*/ 978684 w 1001947"/>
                <a:gd name="connsiteY2" fmla="*/ 824752 h 1335332"/>
                <a:gd name="connsiteX3" fmla="*/ 830795 w 1001947"/>
                <a:gd name="connsiteY3" fmla="*/ 1333545 h 1335332"/>
                <a:gd name="connsiteX4" fmla="*/ 576254 w 1001947"/>
                <a:gd name="connsiteY4" fmla="*/ 355648 h 1335332"/>
                <a:gd name="connsiteX5" fmla="*/ 347651 w 1001947"/>
                <a:gd name="connsiteY5" fmla="*/ 974773 h 1335332"/>
                <a:gd name="connsiteX6" fmla="*/ 0 w 1001947"/>
                <a:gd name="connsiteY6" fmla="*/ 1107325 h 1335332"/>
                <a:gd name="connsiteX7" fmla="*/ 157956 w 1001947"/>
                <a:gd name="connsiteY7" fmla="*/ 138156 h 1335332"/>
                <a:gd name="connsiteX0" fmla="*/ 157956 w 1008833"/>
                <a:gd name="connsiteY0" fmla="*/ 138156 h 1335332"/>
                <a:gd name="connsiteX1" fmla="*/ 919693 w 1008833"/>
                <a:gd name="connsiteY1" fmla="*/ 256426 h 1335332"/>
                <a:gd name="connsiteX2" fmla="*/ 990590 w 1008833"/>
                <a:gd name="connsiteY2" fmla="*/ 827133 h 1335332"/>
                <a:gd name="connsiteX3" fmla="*/ 830795 w 1008833"/>
                <a:gd name="connsiteY3" fmla="*/ 1333545 h 1335332"/>
                <a:gd name="connsiteX4" fmla="*/ 576254 w 1008833"/>
                <a:gd name="connsiteY4" fmla="*/ 355648 h 1335332"/>
                <a:gd name="connsiteX5" fmla="*/ 347651 w 1008833"/>
                <a:gd name="connsiteY5" fmla="*/ 974773 h 1335332"/>
                <a:gd name="connsiteX6" fmla="*/ 0 w 1008833"/>
                <a:gd name="connsiteY6" fmla="*/ 1107325 h 1335332"/>
                <a:gd name="connsiteX7" fmla="*/ 157956 w 1008833"/>
                <a:gd name="connsiteY7" fmla="*/ 138156 h 1335332"/>
                <a:gd name="connsiteX0" fmla="*/ 157956 w 1018883"/>
                <a:gd name="connsiteY0" fmla="*/ 138156 h 1335332"/>
                <a:gd name="connsiteX1" fmla="*/ 919693 w 1018883"/>
                <a:gd name="connsiteY1" fmla="*/ 256426 h 1335332"/>
                <a:gd name="connsiteX2" fmla="*/ 990590 w 1018883"/>
                <a:gd name="connsiteY2" fmla="*/ 827133 h 1335332"/>
                <a:gd name="connsiteX3" fmla="*/ 830795 w 1018883"/>
                <a:gd name="connsiteY3" fmla="*/ 1333545 h 1335332"/>
                <a:gd name="connsiteX4" fmla="*/ 576254 w 1018883"/>
                <a:gd name="connsiteY4" fmla="*/ 355648 h 1335332"/>
                <a:gd name="connsiteX5" fmla="*/ 347651 w 1018883"/>
                <a:gd name="connsiteY5" fmla="*/ 974773 h 1335332"/>
                <a:gd name="connsiteX6" fmla="*/ 0 w 1018883"/>
                <a:gd name="connsiteY6" fmla="*/ 1107325 h 1335332"/>
                <a:gd name="connsiteX7" fmla="*/ 157956 w 1018883"/>
                <a:gd name="connsiteY7" fmla="*/ 138156 h 1335332"/>
                <a:gd name="connsiteX0" fmla="*/ 157956 w 1013832"/>
                <a:gd name="connsiteY0" fmla="*/ 138156 h 1335332"/>
                <a:gd name="connsiteX1" fmla="*/ 919693 w 1013832"/>
                <a:gd name="connsiteY1" fmla="*/ 256426 h 1335332"/>
                <a:gd name="connsiteX2" fmla="*/ 990590 w 1013832"/>
                <a:gd name="connsiteY2" fmla="*/ 827133 h 1335332"/>
                <a:gd name="connsiteX3" fmla="*/ 830795 w 1013832"/>
                <a:gd name="connsiteY3" fmla="*/ 1333545 h 1335332"/>
                <a:gd name="connsiteX4" fmla="*/ 576254 w 1013832"/>
                <a:gd name="connsiteY4" fmla="*/ 355648 h 1335332"/>
                <a:gd name="connsiteX5" fmla="*/ 347651 w 1013832"/>
                <a:gd name="connsiteY5" fmla="*/ 974773 h 1335332"/>
                <a:gd name="connsiteX6" fmla="*/ 0 w 1013832"/>
                <a:gd name="connsiteY6" fmla="*/ 1107325 h 1335332"/>
                <a:gd name="connsiteX7" fmla="*/ 157956 w 1013832"/>
                <a:gd name="connsiteY7" fmla="*/ 138156 h 1335332"/>
                <a:gd name="connsiteX0" fmla="*/ 157956 w 1006248"/>
                <a:gd name="connsiteY0" fmla="*/ 138156 h 1335332"/>
                <a:gd name="connsiteX1" fmla="*/ 919693 w 1006248"/>
                <a:gd name="connsiteY1" fmla="*/ 256426 h 1335332"/>
                <a:gd name="connsiteX2" fmla="*/ 990590 w 1006248"/>
                <a:gd name="connsiteY2" fmla="*/ 827133 h 1335332"/>
                <a:gd name="connsiteX3" fmla="*/ 830795 w 1006248"/>
                <a:gd name="connsiteY3" fmla="*/ 1333545 h 1335332"/>
                <a:gd name="connsiteX4" fmla="*/ 576254 w 1006248"/>
                <a:gd name="connsiteY4" fmla="*/ 355648 h 1335332"/>
                <a:gd name="connsiteX5" fmla="*/ 347651 w 1006248"/>
                <a:gd name="connsiteY5" fmla="*/ 974773 h 1335332"/>
                <a:gd name="connsiteX6" fmla="*/ 0 w 1006248"/>
                <a:gd name="connsiteY6" fmla="*/ 1107325 h 1335332"/>
                <a:gd name="connsiteX7" fmla="*/ 157956 w 1006248"/>
                <a:gd name="connsiteY7" fmla="*/ 138156 h 1335332"/>
                <a:gd name="connsiteX0" fmla="*/ 157956 w 1001579"/>
                <a:gd name="connsiteY0" fmla="*/ 138156 h 1335332"/>
                <a:gd name="connsiteX1" fmla="*/ 919693 w 1001579"/>
                <a:gd name="connsiteY1" fmla="*/ 256426 h 1335332"/>
                <a:gd name="connsiteX2" fmla="*/ 990590 w 1001579"/>
                <a:gd name="connsiteY2" fmla="*/ 827133 h 1335332"/>
                <a:gd name="connsiteX3" fmla="*/ 830795 w 1001579"/>
                <a:gd name="connsiteY3" fmla="*/ 1333545 h 1335332"/>
                <a:gd name="connsiteX4" fmla="*/ 576254 w 1001579"/>
                <a:gd name="connsiteY4" fmla="*/ 355648 h 1335332"/>
                <a:gd name="connsiteX5" fmla="*/ 347651 w 1001579"/>
                <a:gd name="connsiteY5" fmla="*/ 974773 h 1335332"/>
                <a:gd name="connsiteX6" fmla="*/ 0 w 1001579"/>
                <a:gd name="connsiteY6" fmla="*/ 1107325 h 1335332"/>
                <a:gd name="connsiteX7" fmla="*/ 157956 w 1001579"/>
                <a:gd name="connsiteY7" fmla="*/ 138156 h 1335332"/>
                <a:gd name="connsiteX0" fmla="*/ 157956 w 998103"/>
                <a:gd name="connsiteY0" fmla="*/ 138156 h 1335332"/>
                <a:gd name="connsiteX1" fmla="*/ 919693 w 998103"/>
                <a:gd name="connsiteY1" fmla="*/ 256426 h 1335332"/>
                <a:gd name="connsiteX2" fmla="*/ 985827 w 998103"/>
                <a:gd name="connsiteY2" fmla="*/ 819990 h 1335332"/>
                <a:gd name="connsiteX3" fmla="*/ 830795 w 998103"/>
                <a:gd name="connsiteY3" fmla="*/ 1333545 h 1335332"/>
                <a:gd name="connsiteX4" fmla="*/ 576254 w 998103"/>
                <a:gd name="connsiteY4" fmla="*/ 355648 h 1335332"/>
                <a:gd name="connsiteX5" fmla="*/ 347651 w 998103"/>
                <a:gd name="connsiteY5" fmla="*/ 974773 h 1335332"/>
                <a:gd name="connsiteX6" fmla="*/ 0 w 998103"/>
                <a:gd name="connsiteY6" fmla="*/ 1107325 h 1335332"/>
                <a:gd name="connsiteX7" fmla="*/ 157956 w 998103"/>
                <a:gd name="connsiteY7" fmla="*/ 138156 h 1335332"/>
                <a:gd name="connsiteX0" fmla="*/ 157956 w 1002330"/>
                <a:gd name="connsiteY0" fmla="*/ 138156 h 1335332"/>
                <a:gd name="connsiteX1" fmla="*/ 919693 w 1002330"/>
                <a:gd name="connsiteY1" fmla="*/ 256426 h 1335332"/>
                <a:gd name="connsiteX2" fmla="*/ 985827 w 1002330"/>
                <a:gd name="connsiteY2" fmla="*/ 819990 h 1335332"/>
                <a:gd name="connsiteX3" fmla="*/ 830795 w 1002330"/>
                <a:gd name="connsiteY3" fmla="*/ 1333545 h 1335332"/>
                <a:gd name="connsiteX4" fmla="*/ 576254 w 1002330"/>
                <a:gd name="connsiteY4" fmla="*/ 355648 h 1335332"/>
                <a:gd name="connsiteX5" fmla="*/ 347651 w 1002330"/>
                <a:gd name="connsiteY5" fmla="*/ 974773 h 1335332"/>
                <a:gd name="connsiteX6" fmla="*/ 0 w 1002330"/>
                <a:gd name="connsiteY6" fmla="*/ 1107325 h 1335332"/>
                <a:gd name="connsiteX7" fmla="*/ 157956 w 1002330"/>
                <a:gd name="connsiteY7" fmla="*/ 138156 h 1335332"/>
                <a:gd name="connsiteX0" fmla="*/ 157956 w 1002330"/>
                <a:gd name="connsiteY0" fmla="*/ 163741 h 1360917"/>
                <a:gd name="connsiteX1" fmla="*/ 919693 w 1002330"/>
                <a:gd name="connsiteY1" fmla="*/ 282011 h 1360917"/>
                <a:gd name="connsiteX2" fmla="*/ 985827 w 1002330"/>
                <a:gd name="connsiteY2" fmla="*/ 845575 h 1360917"/>
                <a:gd name="connsiteX3" fmla="*/ 830795 w 1002330"/>
                <a:gd name="connsiteY3" fmla="*/ 1359130 h 1360917"/>
                <a:gd name="connsiteX4" fmla="*/ 576254 w 1002330"/>
                <a:gd name="connsiteY4" fmla="*/ 381233 h 1360917"/>
                <a:gd name="connsiteX5" fmla="*/ 347651 w 1002330"/>
                <a:gd name="connsiteY5" fmla="*/ 1000358 h 1360917"/>
                <a:gd name="connsiteX6" fmla="*/ 0 w 1002330"/>
                <a:gd name="connsiteY6" fmla="*/ 1132910 h 1360917"/>
                <a:gd name="connsiteX7" fmla="*/ 157956 w 1002330"/>
                <a:gd name="connsiteY7" fmla="*/ 163741 h 1360917"/>
                <a:gd name="connsiteX0" fmla="*/ 157956 w 1002330"/>
                <a:gd name="connsiteY0" fmla="*/ 163741 h 1360687"/>
                <a:gd name="connsiteX1" fmla="*/ 919693 w 1002330"/>
                <a:gd name="connsiteY1" fmla="*/ 282011 h 1360687"/>
                <a:gd name="connsiteX2" fmla="*/ 985827 w 1002330"/>
                <a:gd name="connsiteY2" fmla="*/ 845575 h 1360687"/>
                <a:gd name="connsiteX3" fmla="*/ 830795 w 1002330"/>
                <a:gd name="connsiteY3" fmla="*/ 1359130 h 1360687"/>
                <a:gd name="connsiteX4" fmla="*/ 576254 w 1002330"/>
                <a:gd name="connsiteY4" fmla="*/ 233596 h 1360687"/>
                <a:gd name="connsiteX5" fmla="*/ 347651 w 1002330"/>
                <a:gd name="connsiteY5" fmla="*/ 1000358 h 1360687"/>
                <a:gd name="connsiteX6" fmla="*/ 0 w 1002330"/>
                <a:gd name="connsiteY6" fmla="*/ 1132910 h 1360687"/>
                <a:gd name="connsiteX7" fmla="*/ 157956 w 1002330"/>
                <a:gd name="connsiteY7" fmla="*/ 163741 h 1360687"/>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347651 w 1002330"/>
                <a:gd name="connsiteY5" fmla="*/ 1000358 h 1360733"/>
                <a:gd name="connsiteX6" fmla="*/ 0 w 1002330"/>
                <a:gd name="connsiteY6" fmla="*/ 1132910 h 1360733"/>
                <a:gd name="connsiteX7" fmla="*/ 157956 w 1002330"/>
                <a:gd name="connsiteY7"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388134 w 1002330"/>
                <a:gd name="connsiteY5" fmla="*/ 609834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52887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73821 w 1002330"/>
                <a:gd name="connsiteY5" fmla="*/ 452671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447666 w 988989"/>
                <a:gd name="connsiteY4" fmla="*/ 497915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711985 w 988989"/>
                <a:gd name="connsiteY4" fmla="*/ 4288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847716 w 988989"/>
                <a:gd name="connsiteY4" fmla="*/ 440765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2928 w 988989"/>
                <a:gd name="connsiteY4" fmla="*/ 4669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2928 w 988989"/>
                <a:gd name="connsiteY4" fmla="*/ 4669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885817 w 987714"/>
                <a:gd name="connsiteY4" fmla="*/ 828909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885817 w 987714"/>
                <a:gd name="connsiteY4" fmla="*/ 828909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1004985"/>
                <a:gd name="connsiteY0" fmla="*/ 163741 h 1359130"/>
                <a:gd name="connsiteX1" fmla="*/ 919693 w 1004985"/>
                <a:gd name="connsiteY1" fmla="*/ 282011 h 1359130"/>
                <a:gd name="connsiteX2" fmla="*/ 985827 w 1004985"/>
                <a:gd name="connsiteY2" fmla="*/ 845575 h 1359130"/>
                <a:gd name="connsiteX3" fmla="*/ 830795 w 1004985"/>
                <a:gd name="connsiteY3" fmla="*/ 1359130 h 1359130"/>
                <a:gd name="connsiteX4" fmla="*/ 731035 w 1004985"/>
                <a:gd name="connsiteY4" fmla="*/ 969403 h 1359130"/>
                <a:gd name="connsiteX5" fmla="*/ 890579 w 1004985"/>
                <a:gd name="connsiteY5" fmla="*/ 545539 h 1359130"/>
                <a:gd name="connsiteX6" fmla="*/ 645309 w 1004985"/>
                <a:gd name="connsiteY6" fmla="*/ 459816 h 1359130"/>
                <a:gd name="connsiteX7" fmla="*/ 323841 w 1004985"/>
                <a:gd name="connsiteY7" fmla="*/ 245502 h 1359130"/>
                <a:gd name="connsiteX8" fmla="*/ 173821 w 1004985"/>
                <a:gd name="connsiteY8" fmla="*/ 452671 h 1359130"/>
                <a:gd name="connsiteX9" fmla="*/ 347651 w 1004985"/>
                <a:gd name="connsiteY9" fmla="*/ 1000358 h 1359130"/>
                <a:gd name="connsiteX10" fmla="*/ 0 w 1004985"/>
                <a:gd name="connsiteY10" fmla="*/ 1132910 h 1359130"/>
                <a:gd name="connsiteX11" fmla="*/ 157956 w 1004985"/>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3821 w 1003776"/>
                <a:gd name="connsiteY8" fmla="*/ 452671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52403 w 1003776"/>
                <a:gd name="connsiteY8" fmla="*/ 205021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78597 w 1003776"/>
                <a:gd name="connsiteY8" fmla="*/ 235976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92885 w 1003776"/>
                <a:gd name="connsiteY8" fmla="*/ 233595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92885 w 1003776"/>
                <a:gd name="connsiteY8" fmla="*/ 233595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215106 w 1060926"/>
                <a:gd name="connsiteY0" fmla="*/ 163741 h 1359130"/>
                <a:gd name="connsiteX1" fmla="*/ 976843 w 1060926"/>
                <a:gd name="connsiteY1" fmla="*/ 282011 h 1359130"/>
                <a:gd name="connsiteX2" fmla="*/ 1042977 w 1060926"/>
                <a:gd name="connsiteY2" fmla="*/ 845575 h 1359130"/>
                <a:gd name="connsiteX3" fmla="*/ 887945 w 1060926"/>
                <a:gd name="connsiteY3" fmla="*/ 1359130 h 1359130"/>
                <a:gd name="connsiteX4" fmla="*/ 788185 w 1060926"/>
                <a:gd name="connsiteY4" fmla="*/ 969403 h 1359130"/>
                <a:gd name="connsiteX5" fmla="*/ 947729 w 1060926"/>
                <a:gd name="connsiteY5" fmla="*/ 545539 h 1359130"/>
                <a:gd name="connsiteX6" fmla="*/ 702459 w 1060926"/>
                <a:gd name="connsiteY6" fmla="*/ 459816 h 1359130"/>
                <a:gd name="connsiteX7" fmla="*/ 342891 w 1060926"/>
                <a:gd name="connsiteY7" fmla="*/ 164540 h 1359130"/>
                <a:gd name="connsiteX8" fmla="*/ 350035 w 1060926"/>
                <a:gd name="connsiteY8" fmla="*/ 233595 h 1359130"/>
                <a:gd name="connsiteX9" fmla="*/ 228590 w 1060926"/>
                <a:gd name="connsiteY9" fmla="*/ 431240 h 1359130"/>
                <a:gd name="connsiteX10" fmla="*/ 404801 w 1060926"/>
                <a:gd name="connsiteY10" fmla="*/ 1000358 h 1359130"/>
                <a:gd name="connsiteX11" fmla="*/ 0 w 1060926"/>
                <a:gd name="connsiteY11" fmla="*/ 1180535 h 1359130"/>
                <a:gd name="connsiteX12" fmla="*/ 215106 w 1060926"/>
                <a:gd name="connsiteY12" fmla="*/ 163741 h 1359130"/>
                <a:gd name="connsiteX0" fmla="*/ 215106 w 1060926"/>
                <a:gd name="connsiteY0" fmla="*/ 163741 h 1359130"/>
                <a:gd name="connsiteX1" fmla="*/ 976843 w 1060926"/>
                <a:gd name="connsiteY1" fmla="*/ 282011 h 1359130"/>
                <a:gd name="connsiteX2" fmla="*/ 1042977 w 1060926"/>
                <a:gd name="connsiteY2" fmla="*/ 845575 h 1359130"/>
                <a:gd name="connsiteX3" fmla="*/ 887945 w 1060926"/>
                <a:gd name="connsiteY3" fmla="*/ 1359130 h 1359130"/>
                <a:gd name="connsiteX4" fmla="*/ 788185 w 1060926"/>
                <a:gd name="connsiteY4" fmla="*/ 969403 h 1359130"/>
                <a:gd name="connsiteX5" fmla="*/ 947729 w 1060926"/>
                <a:gd name="connsiteY5" fmla="*/ 545539 h 1359130"/>
                <a:gd name="connsiteX6" fmla="*/ 702459 w 1060926"/>
                <a:gd name="connsiteY6" fmla="*/ 459816 h 1359130"/>
                <a:gd name="connsiteX7" fmla="*/ 342891 w 1060926"/>
                <a:gd name="connsiteY7" fmla="*/ 164540 h 1359130"/>
                <a:gd name="connsiteX8" fmla="*/ 350035 w 1060926"/>
                <a:gd name="connsiteY8" fmla="*/ 233595 h 1359130"/>
                <a:gd name="connsiteX9" fmla="*/ 228590 w 1060926"/>
                <a:gd name="connsiteY9" fmla="*/ 431240 h 1359130"/>
                <a:gd name="connsiteX10" fmla="*/ 404801 w 1060926"/>
                <a:gd name="connsiteY10" fmla="*/ 1000358 h 1359130"/>
                <a:gd name="connsiteX11" fmla="*/ 0 w 1060926"/>
                <a:gd name="connsiteY11" fmla="*/ 1180535 h 1359130"/>
                <a:gd name="connsiteX12" fmla="*/ 215106 w 1060926"/>
                <a:gd name="connsiteY12" fmla="*/ 163741 h 1359130"/>
                <a:gd name="connsiteX0" fmla="*/ 180181 w 1060926"/>
                <a:gd name="connsiteY0" fmla="*/ 155192 h 1369631"/>
                <a:gd name="connsiteX1" fmla="*/ 976843 w 1060926"/>
                <a:gd name="connsiteY1" fmla="*/ 292512 h 1369631"/>
                <a:gd name="connsiteX2" fmla="*/ 1042977 w 1060926"/>
                <a:gd name="connsiteY2" fmla="*/ 856076 h 1369631"/>
                <a:gd name="connsiteX3" fmla="*/ 887945 w 1060926"/>
                <a:gd name="connsiteY3" fmla="*/ 1369631 h 1369631"/>
                <a:gd name="connsiteX4" fmla="*/ 788185 w 1060926"/>
                <a:gd name="connsiteY4" fmla="*/ 979904 h 1369631"/>
                <a:gd name="connsiteX5" fmla="*/ 947729 w 1060926"/>
                <a:gd name="connsiteY5" fmla="*/ 556040 h 1369631"/>
                <a:gd name="connsiteX6" fmla="*/ 702459 w 1060926"/>
                <a:gd name="connsiteY6" fmla="*/ 470317 h 1369631"/>
                <a:gd name="connsiteX7" fmla="*/ 342891 w 1060926"/>
                <a:gd name="connsiteY7" fmla="*/ 175041 h 1369631"/>
                <a:gd name="connsiteX8" fmla="*/ 350035 w 1060926"/>
                <a:gd name="connsiteY8" fmla="*/ 244096 h 1369631"/>
                <a:gd name="connsiteX9" fmla="*/ 228590 w 1060926"/>
                <a:gd name="connsiteY9" fmla="*/ 441741 h 1369631"/>
                <a:gd name="connsiteX10" fmla="*/ 404801 w 1060926"/>
                <a:gd name="connsiteY10" fmla="*/ 1010859 h 1369631"/>
                <a:gd name="connsiteX11" fmla="*/ 0 w 1060926"/>
                <a:gd name="connsiteY11" fmla="*/ 1191036 h 1369631"/>
                <a:gd name="connsiteX12" fmla="*/ 180181 w 1060926"/>
                <a:gd name="connsiteY12" fmla="*/ 155192 h 1369631"/>
                <a:gd name="connsiteX0" fmla="*/ 170656 w 1060926"/>
                <a:gd name="connsiteY0" fmla="*/ 162285 h 1360849"/>
                <a:gd name="connsiteX1" fmla="*/ 976843 w 1060926"/>
                <a:gd name="connsiteY1" fmla="*/ 283730 h 1360849"/>
                <a:gd name="connsiteX2" fmla="*/ 1042977 w 1060926"/>
                <a:gd name="connsiteY2" fmla="*/ 847294 h 1360849"/>
                <a:gd name="connsiteX3" fmla="*/ 887945 w 1060926"/>
                <a:gd name="connsiteY3" fmla="*/ 1360849 h 1360849"/>
                <a:gd name="connsiteX4" fmla="*/ 788185 w 1060926"/>
                <a:gd name="connsiteY4" fmla="*/ 971122 h 1360849"/>
                <a:gd name="connsiteX5" fmla="*/ 947729 w 1060926"/>
                <a:gd name="connsiteY5" fmla="*/ 547258 h 1360849"/>
                <a:gd name="connsiteX6" fmla="*/ 702459 w 1060926"/>
                <a:gd name="connsiteY6" fmla="*/ 461535 h 1360849"/>
                <a:gd name="connsiteX7" fmla="*/ 342891 w 1060926"/>
                <a:gd name="connsiteY7" fmla="*/ 166259 h 1360849"/>
                <a:gd name="connsiteX8" fmla="*/ 350035 w 1060926"/>
                <a:gd name="connsiteY8" fmla="*/ 235314 h 1360849"/>
                <a:gd name="connsiteX9" fmla="*/ 228590 w 1060926"/>
                <a:gd name="connsiteY9" fmla="*/ 432959 h 1360849"/>
                <a:gd name="connsiteX10" fmla="*/ 404801 w 1060926"/>
                <a:gd name="connsiteY10" fmla="*/ 1002077 h 1360849"/>
                <a:gd name="connsiteX11" fmla="*/ 0 w 1060926"/>
                <a:gd name="connsiteY11" fmla="*/ 1182254 h 1360849"/>
                <a:gd name="connsiteX12" fmla="*/ 170656 w 1060926"/>
                <a:gd name="connsiteY12" fmla="*/ 162285 h 136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0926" h="1360849">
                  <a:moveTo>
                    <a:pt x="170656" y="162285"/>
                  </a:moveTo>
                  <a:cubicBezTo>
                    <a:pt x="316795" y="-46206"/>
                    <a:pt x="844091" y="-100547"/>
                    <a:pt x="976843" y="283730"/>
                  </a:cubicBezTo>
                  <a:cubicBezTo>
                    <a:pt x="1026319" y="499762"/>
                    <a:pt x="1022074" y="567761"/>
                    <a:pt x="1042977" y="847294"/>
                  </a:cubicBezTo>
                  <a:cubicBezTo>
                    <a:pt x="1063880" y="1126827"/>
                    <a:pt x="1107019" y="1330289"/>
                    <a:pt x="887945" y="1360849"/>
                  </a:cubicBezTo>
                  <a:cubicBezTo>
                    <a:pt x="916521" y="1291396"/>
                    <a:pt x="947290" y="1135297"/>
                    <a:pt x="788185" y="971122"/>
                  </a:cubicBezTo>
                  <a:cubicBezTo>
                    <a:pt x="926737" y="806950"/>
                    <a:pt x="961621" y="620681"/>
                    <a:pt x="947729" y="547258"/>
                  </a:cubicBezTo>
                  <a:cubicBezTo>
                    <a:pt x="893003" y="468810"/>
                    <a:pt x="794534" y="492491"/>
                    <a:pt x="702459" y="461535"/>
                  </a:cubicBezTo>
                  <a:cubicBezTo>
                    <a:pt x="425086" y="383087"/>
                    <a:pt x="371863" y="211900"/>
                    <a:pt x="342891" y="166259"/>
                  </a:cubicBezTo>
                  <a:cubicBezTo>
                    <a:pt x="344082" y="204756"/>
                    <a:pt x="357179" y="233727"/>
                    <a:pt x="350035" y="235314"/>
                  </a:cubicBezTo>
                  <a:cubicBezTo>
                    <a:pt x="328604" y="260714"/>
                    <a:pt x="243671" y="324215"/>
                    <a:pt x="228590" y="432959"/>
                  </a:cubicBezTo>
                  <a:cubicBezTo>
                    <a:pt x="188108" y="676639"/>
                    <a:pt x="286133" y="862511"/>
                    <a:pt x="404801" y="1002077"/>
                  </a:cubicBezTo>
                  <a:cubicBezTo>
                    <a:pt x="242522" y="1021524"/>
                    <a:pt x="140757" y="1056974"/>
                    <a:pt x="0" y="1182254"/>
                  </a:cubicBezTo>
                  <a:cubicBezTo>
                    <a:pt x="118446" y="608771"/>
                    <a:pt x="34043" y="344582"/>
                    <a:pt x="170656" y="162285"/>
                  </a:cubicBezTo>
                  <a:close/>
                </a:path>
              </a:pathLst>
            </a:custGeom>
            <a:solidFill>
              <a:srgbClr val="9A6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1" name="Group 90">
              <a:extLst>
                <a:ext uri="{FF2B5EF4-FFF2-40B4-BE49-F238E27FC236}">
                  <a16:creationId xmlns:a16="http://schemas.microsoft.com/office/drawing/2014/main" id="{45A720F7-A792-4BBE-9409-7000204C806C}"/>
                </a:ext>
              </a:extLst>
            </p:cNvPr>
            <p:cNvGrpSpPr/>
            <p:nvPr/>
          </p:nvGrpSpPr>
          <p:grpSpPr>
            <a:xfrm>
              <a:off x="10096230" y="532606"/>
              <a:ext cx="1479329" cy="1656587"/>
              <a:chOff x="10096230" y="532606"/>
              <a:chExt cx="1479329" cy="1656587"/>
            </a:xfrm>
          </p:grpSpPr>
          <p:sp>
            <p:nvSpPr>
              <p:cNvPr id="76" name="Freeform 9">
                <a:extLst>
                  <a:ext uri="{FF2B5EF4-FFF2-40B4-BE49-F238E27FC236}">
                    <a16:creationId xmlns:a16="http://schemas.microsoft.com/office/drawing/2014/main" id="{3A39B415-B041-4FF4-A39A-9CC519CA89DF}"/>
                  </a:ext>
                </a:extLst>
              </p:cNvPr>
              <p:cNvSpPr>
                <a:spLocks/>
              </p:cNvSpPr>
              <p:nvPr/>
            </p:nvSpPr>
            <p:spPr bwMode="auto">
              <a:xfrm>
                <a:off x="10096230" y="1559718"/>
                <a:ext cx="567008" cy="617396"/>
              </a:xfrm>
              <a:custGeom>
                <a:avLst/>
                <a:gdLst>
                  <a:gd name="T0" fmla="*/ 0 w 133"/>
                  <a:gd name="T1" fmla="*/ 242 h 242"/>
                  <a:gd name="T2" fmla="*/ 7 w 133"/>
                  <a:gd name="T3" fmla="*/ 137 h 242"/>
                  <a:gd name="T4" fmla="*/ 133 w 133"/>
                  <a:gd name="T5" fmla="*/ 0 h 242"/>
                  <a:gd name="connsiteX0" fmla="*/ 0 w 9474"/>
                  <a:gd name="connsiteY0" fmla="*/ 5661 h 5661"/>
                  <a:gd name="connsiteX1" fmla="*/ 9474 w 9474"/>
                  <a:gd name="connsiteY1" fmla="*/ 0 h 5661"/>
                </a:gdLst>
                <a:ahLst/>
                <a:cxnLst>
                  <a:cxn ang="0">
                    <a:pos x="connsiteX0" y="connsiteY0"/>
                  </a:cxn>
                  <a:cxn ang="0">
                    <a:pos x="connsiteX1" y="connsiteY1"/>
                  </a:cxn>
                </a:cxnLst>
                <a:rect l="l" t="t" r="r" b="b"/>
                <a:pathLst>
                  <a:path w="9474" h="5661">
                    <a:moveTo>
                      <a:pt x="0" y="5661"/>
                    </a:moveTo>
                    <a:cubicBezTo>
                      <a:pt x="0" y="2397"/>
                      <a:pt x="4286" y="331"/>
                      <a:pt x="9474"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10">
                <a:extLst>
                  <a:ext uri="{FF2B5EF4-FFF2-40B4-BE49-F238E27FC236}">
                    <a16:creationId xmlns:a16="http://schemas.microsoft.com/office/drawing/2014/main" id="{4F988DC1-E490-42F4-8301-D9BE322C041D}"/>
                  </a:ext>
                </a:extLst>
              </p:cNvPr>
              <p:cNvSpPr>
                <a:spLocks/>
              </p:cNvSpPr>
              <p:nvPr/>
            </p:nvSpPr>
            <p:spPr bwMode="auto">
              <a:xfrm>
                <a:off x="10366375" y="532606"/>
                <a:ext cx="981075" cy="1392238"/>
              </a:xfrm>
              <a:custGeom>
                <a:avLst/>
                <a:gdLst>
                  <a:gd name="T0" fmla="*/ 151 w 218"/>
                  <a:gd name="T1" fmla="*/ 222 h 309"/>
                  <a:gd name="T2" fmla="*/ 173 w 218"/>
                  <a:gd name="T3" fmla="*/ 309 h 309"/>
                  <a:gd name="T4" fmla="*/ 218 w 218"/>
                  <a:gd name="T5" fmla="*/ 267 h 309"/>
                  <a:gd name="T6" fmla="*/ 209 w 218"/>
                  <a:gd name="T7" fmla="*/ 125 h 309"/>
                  <a:gd name="T8" fmla="*/ 106 w 218"/>
                  <a:gd name="T9" fmla="*/ 0 h 309"/>
                  <a:gd name="T10" fmla="*/ 3 w 218"/>
                  <a:gd name="T11" fmla="*/ 116 h 309"/>
                  <a:gd name="T12" fmla="*/ 0 w 218"/>
                  <a:gd name="T13" fmla="*/ 162 h 309"/>
                </a:gdLst>
                <a:ahLst/>
                <a:cxnLst>
                  <a:cxn ang="0">
                    <a:pos x="T0" y="T1"/>
                  </a:cxn>
                  <a:cxn ang="0">
                    <a:pos x="T2" y="T3"/>
                  </a:cxn>
                  <a:cxn ang="0">
                    <a:pos x="T4" y="T5"/>
                  </a:cxn>
                  <a:cxn ang="0">
                    <a:pos x="T6" y="T7"/>
                  </a:cxn>
                  <a:cxn ang="0">
                    <a:pos x="T8" y="T9"/>
                  </a:cxn>
                  <a:cxn ang="0">
                    <a:pos x="T10" y="T11"/>
                  </a:cxn>
                  <a:cxn ang="0">
                    <a:pos x="T12" y="T13"/>
                  </a:cxn>
                </a:cxnLst>
                <a:rect l="0" t="0" r="r" b="b"/>
                <a:pathLst>
                  <a:path w="218" h="309">
                    <a:moveTo>
                      <a:pt x="151" y="222"/>
                    </a:moveTo>
                    <a:cubicBezTo>
                      <a:pt x="151" y="222"/>
                      <a:pt x="189" y="260"/>
                      <a:pt x="173" y="309"/>
                    </a:cubicBezTo>
                    <a:cubicBezTo>
                      <a:pt x="184" y="309"/>
                      <a:pt x="217" y="300"/>
                      <a:pt x="218" y="267"/>
                    </a:cubicBezTo>
                    <a:cubicBezTo>
                      <a:pt x="209" y="125"/>
                      <a:pt x="209" y="125"/>
                      <a:pt x="209" y="125"/>
                    </a:cubicBezTo>
                    <a:cubicBezTo>
                      <a:pt x="201" y="38"/>
                      <a:pt x="166" y="0"/>
                      <a:pt x="106" y="0"/>
                    </a:cubicBezTo>
                    <a:cubicBezTo>
                      <a:pt x="45" y="1"/>
                      <a:pt x="2" y="45"/>
                      <a:pt x="3" y="116"/>
                    </a:cubicBezTo>
                    <a:cubicBezTo>
                      <a:pt x="3" y="116"/>
                      <a:pt x="2" y="136"/>
                      <a:pt x="0" y="16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11">
                <a:extLst>
                  <a:ext uri="{FF2B5EF4-FFF2-40B4-BE49-F238E27FC236}">
                    <a16:creationId xmlns:a16="http://schemas.microsoft.com/office/drawing/2014/main" id="{DE48EA4A-ADE3-4014-B603-63FFA309FFCE}"/>
                  </a:ext>
                </a:extLst>
              </p:cNvPr>
              <p:cNvSpPr>
                <a:spLocks/>
              </p:cNvSpPr>
              <p:nvPr/>
            </p:nvSpPr>
            <p:spPr bwMode="auto">
              <a:xfrm>
                <a:off x="10320338" y="1262856"/>
                <a:ext cx="46038" cy="377825"/>
              </a:xfrm>
              <a:custGeom>
                <a:avLst/>
                <a:gdLst>
                  <a:gd name="T0" fmla="*/ 10 w 10"/>
                  <a:gd name="T1" fmla="*/ 0 h 84"/>
                  <a:gd name="T2" fmla="*/ 0 w 10"/>
                  <a:gd name="T3" fmla="*/ 84 h 84"/>
                </a:gdLst>
                <a:ahLst/>
                <a:cxnLst>
                  <a:cxn ang="0">
                    <a:pos x="T0" y="T1"/>
                  </a:cxn>
                  <a:cxn ang="0">
                    <a:pos x="T2" y="T3"/>
                  </a:cxn>
                </a:cxnLst>
                <a:rect l="0" t="0" r="r" b="b"/>
                <a:pathLst>
                  <a:path w="10" h="84">
                    <a:moveTo>
                      <a:pt x="10" y="0"/>
                    </a:moveTo>
                    <a:cubicBezTo>
                      <a:pt x="8" y="23"/>
                      <a:pt x="4" y="56"/>
                      <a:pt x="0" y="84"/>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9" name="Freeform 12">
                <a:extLst>
                  <a:ext uri="{FF2B5EF4-FFF2-40B4-BE49-F238E27FC236}">
                    <a16:creationId xmlns:a16="http://schemas.microsoft.com/office/drawing/2014/main" id="{57413886-C7A6-451C-8F04-699172D74EE0}"/>
                  </a:ext>
                </a:extLst>
              </p:cNvPr>
              <p:cNvSpPr>
                <a:spLocks/>
              </p:cNvSpPr>
              <p:nvPr/>
            </p:nvSpPr>
            <p:spPr bwMode="auto">
              <a:xfrm>
                <a:off x="10572750" y="1581943"/>
                <a:ext cx="531813" cy="352425"/>
              </a:xfrm>
              <a:custGeom>
                <a:avLst/>
                <a:gdLst>
                  <a:gd name="T0" fmla="*/ 118 w 118"/>
                  <a:gd name="T1" fmla="*/ 12 h 78"/>
                  <a:gd name="T2" fmla="*/ 59 w 118"/>
                  <a:gd name="T3" fmla="*/ 78 h 78"/>
                  <a:gd name="T4" fmla="*/ 0 w 118"/>
                  <a:gd name="T5" fmla="*/ 0 h 78"/>
                </a:gdLst>
                <a:ahLst/>
                <a:cxnLst>
                  <a:cxn ang="0">
                    <a:pos x="T0" y="T1"/>
                  </a:cxn>
                  <a:cxn ang="0">
                    <a:pos x="T2" y="T3"/>
                  </a:cxn>
                  <a:cxn ang="0">
                    <a:pos x="T4" y="T5"/>
                  </a:cxn>
                </a:cxnLst>
                <a:rect l="0" t="0" r="r" b="b"/>
                <a:pathLst>
                  <a:path w="118" h="78">
                    <a:moveTo>
                      <a:pt x="118" y="12"/>
                    </a:moveTo>
                    <a:cubicBezTo>
                      <a:pt x="113" y="49"/>
                      <a:pt x="89" y="78"/>
                      <a:pt x="59" y="78"/>
                    </a:cubicBezTo>
                    <a:cubicBezTo>
                      <a:pt x="27" y="78"/>
                      <a:pt x="0" y="43"/>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0" name="Freeform 13">
                <a:extLst>
                  <a:ext uri="{FF2B5EF4-FFF2-40B4-BE49-F238E27FC236}">
                    <a16:creationId xmlns:a16="http://schemas.microsoft.com/office/drawing/2014/main" id="{E0A6B155-FDA0-497B-8A15-0F7F7124054F}"/>
                  </a:ext>
                </a:extLst>
              </p:cNvPr>
              <p:cNvSpPr>
                <a:spLocks/>
              </p:cNvSpPr>
              <p:nvPr/>
            </p:nvSpPr>
            <p:spPr bwMode="auto">
              <a:xfrm>
                <a:off x="10487025" y="1608931"/>
                <a:ext cx="252413" cy="406400"/>
              </a:xfrm>
              <a:custGeom>
                <a:avLst/>
                <a:gdLst>
                  <a:gd name="T0" fmla="*/ 56 w 56"/>
                  <a:gd name="T1" fmla="*/ 90 h 90"/>
                  <a:gd name="T2" fmla="*/ 0 w 56"/>
                  <a:gd name="T3" fmla="*/ 0 h 90"/>
                </a:gdLst>
                <a:ahLst/>
                <a:cxnLst>
                  <a:cxn ang="0">
                    <a:pos x="T0" y="T1"/>
                  </a:cxn>
                  <a:cxn ang="0">
                    <a:pos x="T2" y="T3"/>
                  </a:cxn>
                </a:cxnLst>
                <a:rect l="0" t="0" r="r" b="b"/>
                <a:pathLst>
                  <a:path w="56" h="90">
                    <a:moveTo>
                      <a:pt x="56" y="90"/>
                    </a:moveTo>
                    <a:cubicBezTo>
                      <a:pt x="25" y="78"/>
                      <a:pt x="2" y="44"/>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1" name="Freeform 14">
                <a:extLst>
                  <a:ext uri="{FF2B5EF4-FFF2-40B4-BE49-F238E27FC236}">
                    <a16:creationId xmlns:a16="http://schemas.microsoft.com/office/drawing/2014/main" id="{6605766F-EE18-4AE9-8690-D6C1AA2215F8}"/>
                  </a:ext>
                </a:extLst>
              </p:cNvPr>
              <p:cNvSpPr>
                <a:spLocks/>
              </p:cNvSpPr>
              <p:nvPr/>
            </p:nvSpPr>
            <p:spPr bwMode="auto">
              <a:xfrm>
                <a:off x="10842625" y="1861343"/>
                <a:ext cx="276225" cy="171450"/>
              </a:xfrm>
              <a:custGeom>
                <a:avLst/>
                <a:gdLst>
                  <a:gd name="T0" fmla="*/ 61 w 61"/>
                  <a:gd name="T1" fmla="*/ 0 h 38"/>
                  <a:gd name="T2" fmla="*/ 0 w 61"/>
                  <a:gd name="T3" fmla="*/ 38 h 38"/>
                </a:gdLst>
                <a:ahLst/>
                <a:cxnLst>
                  <a:cxn ang="0">
                    <a:pos x="T0" y="T1"/>
                  </a:cxn>
                  <a:cxn ang="0">
                    <a:pos x="T2" y="T3"/>
                  </a:cxn>
                </a:cxnLst>
                <a:rect l="0" t="0" r="r" b="b"/>
                <a:pathLst>
                  <a:path w="61" h="38">
                    <a:moveTo>
                      <a:pt x="61" y="0"/>
                    </a:moveTo>
                    <a:cubicBezTo>
                      <a:pt x="47" y="23"/>
                      <a:pt x="25" y="37"/>
                      <a:pt x="0" y="38"/>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15">
                <a:extLst>
                  <a:ext uri="{FF2B5EF4-FFF2-40B4-BE49-F238E27FC236}">
                    <a16:creationId xmlns:a16="http://schemas.microsoft.com/office/drawing/2014/main" id="{98970002-6354-49E9-9818-40D8E93EB244}"/>
                  </a:ext>
                </a:extLst>
              </p:cNvPr>
              <p:cNvSpPr>
                <a:spLocks/>
              </p:cNvSpPr>
              <p:nvPr/>
            </p:nvSpPr>
            <p:spPr bwMode="auto">
              <a:xfrm>
                <a:off x="10474325" y="1005681"/>
                <a:ext cx="728663" cy="627063"/>
              </a:xfrm>
              <a:custGeom>
                <a:avLst/>
                <a:gdLst>
                  <a:gd name="T0" fmla="*/ 162 w 162"/>
                  <a:gd name="T1" fmla="*/ 24 h 139"/>
                  <a:gd name="T2" fmla="*/ 81 w 162"/>
                  <a:gd name="T3" fmla="*/ 139 h 139"/>
                  <a:gd name="T4" fmla="*/ 0 w 162"/>
                  <a:gd name="T5" fmla="*/ 24 h 139"/>
                  <a:gd name="T6" fmla="*/ 2 w 162"/>
                  <a:gd name="T7" fmla="*/ 0 h 139"/>
                </a:gdLst>
                <a:ahLst/>
                <a:cxnLst>
                  <a:cxn ang="0">
                    <a:pos x="T0" y="T1"/>
                  </a:cxn>
                  <a:cxn ang="0">
                    <a:pos x="T2" y="T3"/>
                  </a:cxn>
                  <a:cxn ang="0">
                    <a:pos x="T4" y="T5"/>
                  </a:cxn>
                  <a:cxn ang="0">
                    <a:pos x="T6" y="T7"/>
                  </a:cxn>
                </a:cxnLst>
                <a:rect l="0" t="0" r="r" b="b"/>
                <a:pathLst>
                  <a:path w="162" h="139">
                    <a:moveTo>
                      <a:pt x="162" y="24"/>
                    </a:moveTo>
                    <a:cubicBezTo>
                      <a:pt x="162" y="88"/>
                      <a:pt x="114" y="139"/>
                      <a:pt x="81" y="139"/>
                    </a:cubicBezTo>
                    <a:cubicBezTo>
                      <a:pt x="44" y="139"/>
                      <a:pt x="0" y="88"/>
                      <a:pt x="0" y="24"/>
                    </a:cubicBezTo>
                    <a:cubicBezTo>
                      <a:pt x="0" y="16"/>
                      <a:pt x="1" y="8"/>
                      <a:pt x="2"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16">
                <a:extLst>
                  <a:ext uri="{FF2B5EF4-FFF2-40B4-BE49-F238E27FC236}">
                    <a16:creationId xmlns:a16="http://schemas.microsoft.com/office/drawing/2014/main" id="{AE3B5530-B9D1-4B50-878D-8DAA6C14D545}"/>
                  </a:ext>
                </a:extLst>
              </p:cNvPr>
              <p:cNvSpPr>
                <a:spLocks/>
              </p:cNvSpPr>
              <p:nvPr/>
            </p:nvSpPr>
            <p:spPr bwMode="auto">
              <a:xfrm>
                <a:off x="10599738" y="718343"/>
                <a:ext cx="639763" cy="503238"/>
              </a:xfrm>
              <a:custGeom>
                <a:avLst/>
                <a:gdLst>
                  <a:gd name="T0" fmla="*/ 0 w 142"/>
                  <a:gd name="T1" fmla="*/ 0 h 112"/>
                  <a:gd name="T2" fmla="*/ 113 w 142"/>
                  <a:gd name="T3" fmla="*/ 74 h 112"/>
                  <a:gd name="T4" fmla="*/ 141 w 142"/>
                  <a:gd name="T5" fmla="*/ 112 h 112"/>
                </a:gdLst>
                <a:ahLst/>
                <a:cxnLst>
                  <a:cxn ang="0">
                    <a:pos x="T0" y="T1"/>
                  </a:cxn>
                  <a:cxn ang="0">
                    <a:pos x="T2" y="T3"/>
                  </a:cxn>
                  <a:cxn ang="0">
                    <a:pos x="T4" y="T5"/>
                  </a:cxn>
                </a:cxnLst>
                <a:rect l="0" t="0" r="r" b="b"/>
                <a:pathLst>
                  <a:path w="142" h="112">
                    <a:moveTo>
                      <a:pt x="0" y="0"/>
                    </a:moveTo>
                    <a:cubicBezTo>
                      <a:pt x="22" y="60"/>
                      <a:pt x="77" y="65"/>
                      <a:pt x="113" y="74"/>
                    </a:cubicBezTo>
                    <a:cubicBezTo>
                      <a:pt x="127" y="77"/>
                      <a:pt x="142" y="90"/>
                      <a:pt x="141" y="11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4" name="Freeform 17">
                <a:extLst>
                  <a:ext uri="{FF2B5EF4-FFF2-40B4-BE49-F238E27FC236}">
                    <a16:creationId xmlns:a16="http://schemas.microsoft.com/office/drawing/2014/main" id="{83EC0A23-CFF1-4361-9A5B-FD99CD6E77BF}"/>
                  </a:ext>
                </a:extLst>
              </p:cNvPr>
              <p:cNvSpPr>
                <a:spLocks/>
              </p:cNvSpPr>
              <p:nvPr/>
            </p:nvSpPr>
            <p:spPr bwMode="auto">
              <a:xfrm>
                <a:off x="10482263" y="804068"/>
                <a:ext cx="158750" cy="196850"/>
              </a:xfrm>
              <a:custGeom>
                <a:avLst/>
                <a:gdLst>
                  <a:gd name="T0" fmla="*/ 0 w 35"/>
                  <a:gd name="T1" fmla="*/ 44 h 44"/>
                  <a:gd name="T2" fmla="*/ 35 w 35"/>
                  <a:gd name="T3" fmla="*/ 0 h 44"/>
                </a:gdLst>
                <a:ahLst/>
                <a:cxnLst>
                  <a:cxn ang="0">
                    <a:pos x="T0" y="T1"/>
                  </a:cxn>
                  <a:cxn ang="0">
                    <a:pos x="T2" y="T3"/>
                  </a:cxn>
                </a:cxnLst>
                <a:rect l="0" t="0" r="r" b="b"/>
                <a:pathLst>
                  <a:path w="35" h="44">
                    <a:moveTo>
                      <a:pt x="0" y="44"/>
                    </a:moveTo>
                    <a:cubicBezTo>
                      <a:pt x="7" y="28"/>
                      <a:pt x="17" y="11"/>
                      <a:pt x="35"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39">
                <a:extLst>
                  <a:ext uri="{FF2B5EF4-FFF2-40B4-BE49-F238E27FC236}">
                    <a16:creationId xmlns:a16="http://schemas.microsoft.com/office/drawing/2014/main" id="{6F063607-5620-4640-97DA-C8905DBD2D88}"/>
                  </a:ext>
                </a:extLst>
              </p:cNvPr>
              <p:cNvSpPr>
                <a:spLocks/>
              </p:cNvSpPr>
              <p:nvPr/>
            </p:nvSpPr>
            <p:spPr bwMode="auto">
              <a:xfrm>
                <a:off x="11347440" y="1701810"/>
                <a:ext cx="228119" cy="487383"/>
              </a:xfrm>
              <a:custGeom>
                <a:avLst/>
                <a:gdLst>
                  <a:gd name="T0" fmla="*/ 0 w 63"/>
                  <a:gd name="T1" fmla="*/ 0 h 159"/>
                  <a:gd name="T2" fmla="*/ 63 w 63"/>
                  <a:gd name="T3" fmla="*/ 159 h 159"/>
                  <a:gd name="connsiteX0" fmla="*/ 0 w 11006"/>
                  <a:gd name="connsiteY0" fmla="*/ 0 h 14181"/>
                  <a:gd name="connsiteX1" fmla="*/ 11006 w 11006"/>
                  <a:gd name="connsiteY1" fmla="*/ 14181 h 14181"/>
                  <a:gd name="connsiteX0" fmla="*/ 0 w 11006"/>
                  <a:gd name="connsiteY0" fmla="*/ 0 h 14181"/>
                  <a:gd name="connsiteX1" fmla="*/ 11006 w 11006"/>
                  <a:gd name="connsiteY1" fmla="*/ 14181 h 14181"/>
                  <a:gd name="connsiteX0" fmla="*/ 0 w 11676"/>
                  <a:gd name="connsiteY0" fmla="*/ 0 h 14115"/>
                  <a:gd name="connsiteX1" fmla="*/ 11676 w 11676"/>
                  <a:gd name="connsiteY1" fmla="*/ 14115 h 14115"/>
                  <a:gd name="connsiteX0" fmla="*/ 0 w 8827"/>
                  <a:gd name="connsiteY0" fmla="*/ 0 h 13451"/>
                  <a:gd name="connsiteX1" fmla="*/ 8827 w 8827"/>
                  <a:gd name="connsiteY1" fmla="*/ 13451 h 13451"/>
                  <a:gd name="connsiteX0" fmla="*/ 0 w 10000"/>
                  <a:gd name="connsiteY0" fmla="*/ 0 h 10000"/>
                  <a:gd name="connsiteX1" fmla="*/ 10000 w 10000"/>
                  <a:gd name="connsiteY1" fmla="*/ 10000 h 10000"/>
                  <a:gd name="connsiteX0" fmla="*/ 0 w 10000"/>
                  <a:gd name="connsiteY0" fmla="*/ 0 h 10000"/>
                  <a:gd name="connsiteX1" fmla="*/ 10000 w 10000"/>
                  <a:gd name="connsiteY1" fmla="*/ 10000 h 10000"/>
                  <a:gd name="connsiteX0" fmla="*/ 0 w 10380"/>
                  <a:gd name="connsiteY0" fmla="*/ 0 h 9901"/>
                  <a:gd name="connsiteX1" fmla="*/ 10380 w 10380"/>
                  <a:gd name="connsiteY1" fmla="*/ 9901 h 9901"/>
                  <a:gd name="connsiteX0" fmla="*/ 0 w 10000"/>
                  <a:gd name="connsiteY0" fmla="*/ 0 h 10000"/>
                  <a:gd name="connsiteX1" fmla="*/ 10000 w 10000"/>
                  <a:gd name="connsiteY1" fmla="*/ 10000 h 10000"/>
                  <a:gd name="connsiteX0" fmla="*/ 0 w 10710"/>
                  <a:gd name="connsiteY0" fmla="*/ 0 h 9903"/>
                  <a:gd name="connsiteX1" fmla="*/ 10710 w 10710"/>
                  <a:gd name="connsiteY1" fmla="*/ 9903 h 9903"/>
                  <a:gd name="connsiteX0" fmla="*/ 0 w 10000"/>
                  <a:gd name="connsiteY0" fmla="*/ 0 h 10000"/>
                  <a:gd name="connsiteX1" fmla="*/ 10000 w 10000"/>
                  <a:gd name="connsiteY1" fmla="*/ 10000 h 10000"/>
                  <a:gd name="connsiteX0" fmla="*/ 0 w 10000"/>
                  <a:gd name="connsiteY0" fmla="*/ 0 h 10000"/>
                  <a:gd name="connsiteX1" fmla="*/ 7924 w 10000"/>
                  <a:gd name="connsiteY1" fmla="*/ 4345 h 10000"/>
                  <a:gd name="connsiteX2" fmla="*/ 10000 w 10000"/>
                  <a:gd name="connsiteY2" fmla="*/ 10000 h 10000"/>
                  <a:gd name="connsiteX0" fmla="*/ 0 w 7924"/>
                  <a:gd name="connsiteY0" fmla="*/ 0 h 4345"/>
                  <a:gd name="connsiteX1" fmla="*/ 7924 w 7924"/>
                  <a:gd name="connsiteY1" fmla="*/ 4345 h 4345"/>
                  <a:gd name="connsiteX0" fmla="*/ 0 w 10000"/>
                  <a:gd name="connsiteY0" fmla="*/ 0 h 10000"/>
                  <a:gd name="connsiteX1" fmla="*/ 10000 w 10000"/>
                  <a:gd name="connsiteY1" fmla="*/ 10000 h 10000"/>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324"/>
                  <a:gd name="connsiteY0" fmla="*/ 0 h 11853"/>
                  <a:gd name="connsiteX1" fmla="*/ 10324 w 10324"/>
                  <a:gd name="connsiteY1" fmla="*/ 11853 h 11853"/>
                  <a:gd name="connsiteX0" fmla="*/ 0 w 10324"/>
                  <a:gd name="connsiteY0" fmla="*/ 0 h 11853"/>
                  <a:gd name="connsiteX1" fmla="*/ 10324 w 10324"/>
                  <a:gd name="connsiteY1" fmla="*/ 11853 h 11853"/>
                </a:gdLst>
                <a:ahLst/>
                <a:cxnLst>
                  <a:cxn ang="0">
                    <a:pos x="connsiteX0" y="connsiteY0"/>
                  </a:cxn>
                  <a:cxn ang="0">
                    <a:pos x="connsiteX1" y="connsiteY1"/>
                  </a:cxn>
                </a:cxnLst>
                <a:rect l="l" t="t" r="r" b="b"/>
                <a:pathLst>
                  <a:path w="10324" h="11853">
                    <a:moveTo>
                      <a:pt x="0" y="0"/>
                    </a:moveTo>
                    <a:cubicBezTo>
                      <a:pt x="3225" y="1480"/>
                      <a:pt x="9538" y="3385"/>
                      <a:pt x="10324" y="11853"/>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93" name="Group 92">
            <a:extLst>
              <a:ext uri="{FF2B5EF4-FFF2-40B4-BE49-F238E27FC236}">
                <a16:creationId xmlns:a16="http://schemas.microsoft.com/office/drawing/2014/main" id="{FF28CAA8-82DB-4E1F-8B7D-60C5920ACC77}"/>
              </a:ext>
            </a:extLst>
          </p:cNvPr>
          <p:cNvGrpSpPr/>
          <p:nvPr/>
        </p:nvGrpSpPr>
        <p:grpSpPr>
          <a:xfrm>
            <a:off x="5451466" y="2538283"/>
            <a:ext cx="392113" cy="311150"/>
            <a:chOff x="2936876" y="5357813"/>
            <a:chExt cx="392113" cy="311150"/>
          </a:xfrm>
        </p:grpSpPr>
        <p:sp>
          <p:nvSpPr>
            <p:cNvPr id="94" name="Freeform 88">
              <a:extLst>
                <a:ext uri="{FF2B5EF4-FFF2-40B4-BE49-F238E27FC236}">
                  <a16:creationId xmlns:a16="http://schemas.microsoft.com/office/drawing/2014/main" id="{88B3E2E5-FBE8-42E2-81AD-251B3033A55F}"/>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5" name="Freeform 90">
              <a:extLst>
                <a:ext uri="{FF2B5EF4-FFF2-40B4-BE49-F238E27FC236}">
                  <a16:creationId xmlns:a16="http://schemas.microsoft.com/office/drawing/2014/main" id="{BB441F81-3350-438D-A4D1-50E583E9EE5C}"/>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6" name="Line 91">
              <a:extLst>
                <a:ext uri="{FF2B5EF4-FFF2-40B4-BE49-F238E27FC236}">
                  <a16:creationId xmlns:a16="http://schemas.microsoft.com/office/drawing/2014/main" id="{FBAF8C6E-8DC2-4DF8-88E3-1C17FF417902}"/>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7FE4C877-5DC8-4D03-B5C0-9B3024397E7A}"/>
              </a:ext>
            </a:extLst>
          </p:cNvPr>
          <p:cNvGrpSpPr/>
          <p:nvPr/>
        </p:nvGrpSpPr>
        <p:grpSpPr>
          <a:xfrm>
            <a:off x="2896542" y="4347181"/>
            <a:ext cx="1270166" cy="1418994"/>
            <a:chOff x="12018963" y="427681"/>
            <a:chExt cx="1562100" cy="1745135"/>
          </a:xfrm>
        </p:grpSpPr>
        <p:sp>
          <p:nvSpPr>
            <p:cNvPr id="98" name="Rectangle 51">
              <a:extLst>
                <a:ext uri="{FF2B5EF4-FFF2-40B4-BE49-F238E27FC236}">
                  <a16:creationId xmlns:a16="http://schemas.microsoft.com/office/drawing/2014/main" id="{1C7986E0-4FAE-4CC5-895D-10920474D841}"/>
                </a:ext>
              </a:extLst>
            </p:cNvPr>
            <p:cNvSpPr/>
            <p:nvPr/>
          </p:nvSpPr>
          <p:spPr>
            <a:xfrm>
              <a:off x="12340374" y="427681"/>
              <a:ext cx="837464" cy="699444"/>
            </a:xfrm>
            <a:custGeom>
              <a:avLst/>
              <a:gdLst>
                <a:gd name="connsiteX0" fmla="*/ 0 w 612775"/>
                <a:gd name="connsiteY0" fmla="*/ 0 h 622300"/>
                <a:gd name="connsiteX1" fmla="*/ 612775 w 612775"/>
                <a:gd name="connsiteY1" fmla="*/ 0 h 622300"/>
                <a:gd name="connsiteX2" fmla="*/ 612775 w 612775"/>
                <a:gd name="connsiteY2" fmla="*/ 622300 h 622300"/>
                <a:gd name="connsiteX3" fmla="*/ 0 w 612775"/>
                <a:gd name="connsiteY3" fmla="*/ 622300 h 622300"/>
                <a:gd name="connsiteX4" fmla="*/ 0 w 612775"/>
                <a:gd name="connsiteY4" fmla="*/ 0 h 622300"/>
                <a:gd name="connsiteX0" fmla="*/ 0 w 742315"/>
                <a:gd name="connsiteY0" fmla="*/ 0 h 622300"/>
                <a:gd name="connsiteX1" fmla="*/ 612775 w 742315"/>
                <a:gd name="connsiteY1" fmla="*/ 0 h 622300"/>
                <a:gd name="connsiteX2" fmla="*/ 742315 w 742315"/>
                <a:gd name="connsiteY2" fmla="*/ 599440 h 622300"/>
                <a:gd name="connsiteX3" fmla="*/ 0 w 742315"/>
                <a:gd name="connsiteY3" fmla="*/ 622300 h 622300"/>
                <a:gd name="connsiteX4" fmla="*/ 0 w 742315"/>
                <a:gd name="connsiteY4" fmla="*/ 0 h 622300"/>
                <a:gd name="connsiteX0" fmla="*/ 0 w 751551"/>
                <a:gd name="connsiteY0" fmla="*/ 0 h 622300"/>
                <a:gd name="connsiteX1" fmla="*/ 612775 w 751551"/>
                <a:gd name="connsiteY1" fmla="*/ 0 h 622300"/>
                <a:gd name="connsiteX2" fmla="*/ 742315 w 751551"/>
                <a:gd name="connsiteY2" fmla="*/ 599440 h 622300"/>
                <a:gd name="connsiteX3" fmla="*/ 0 w 751551"/>
                <a:gd name="connsiteY3" fmla="*/ 622300 h 622300"/>
                <a:gd name="connsiteX4" fmla="*/ 0 w 751551"/>
                <a:gd name="connsiteY4" fmla="*/ 0 h 622300"/>
                <a:gd name="connsiteX0" fmla="*/ 0 w 744819"/>
                <a:gd name="connsiteY0" fmla="*/ 0 h 635159"/>
                <a:gd name="connsiteX1" fmla="*/ 612775 w 744819"/>
                <a:gd name="connsiteY1" fmla="*/ 0 h 635159"/>
                <a:gd name="connsiteX2" fmla="*/ 735171 w 744819"/>
                <a:gd name="connsiteY2" fmla="*/ 635159 h 635159"/>
                <a:gd name="connsiteX3" fmla="*/ 0 w 744819"/>
                <a:gd name="connsiteY3" fmla="*/ 622300 h 635159"/>
                <a:gd name="connsiteX4" fmla="*/ 0 w 744819"/>
                <a:gd name="connsiteY4" fmla="*/ 0 h 635159"/>
                <a:gd name="connsiteX0" fmla="*/ 0 w 764959"/>
                <a:gd name="connsiteY0" fmla="*/ 0 h 635159"/>
                <a:gd name="connsiteX1" fmla="*/ 612775 w 764959"/>
                <a:gd name="connsiteY1" fmla="*/ 0 h 635159"/>
                <a:gd name="connsiteX2" fmla="*/ 735171 w 764959"/>
                <a:gd name="connsiteY2" fmla="*/ 635159 h 635159"/>
                <a:gd name="connsiteX3" fmla="*/ 0 w 764959"/>
                <a:gd name="connsiteY3" fmla="*/ 622300 h 635159"/>
                <a:gd name="connsiteX4" fmla="*/ 0 w 764959"/>
                <a:gd name="connsiteY4" fmla="*/ 0 h 635159"/>
                <a:gd name="connsiteX0" fmla="*/ 0 w 750900"/>
                <a:gd name="connsiteY0" fmla="*/ 0 h 635159"/>
                <a:gd name="connsiteX1" fmla="*/ 386556 w 750900"/>
                <a:gd name="connsiteY1" fmla="*/ 266700 h 635159"/>
                <a:gd name="connsiteX2" fmla="*/ 735171 w 750900"/>
                <a:gd name="connsiteY2" fmla="*/ 635159 h 635159"/>
                <a:gd name="connsiteX3" fmla="*/ 0 w 750900"/>
                <a:gd name="connsiteY3" fmla="*/ 622300 h 635159"/>
                <a:gd name="connsiteX4" fmla="*/ 0 w 750900"/>
                <a:gd name="connsiteY4" fmla="*/ 0 h 635159"/>
                <a:gd name="connsiteX0" fmla="*/ 0 w 769034"/>
                <a:gd name="connsiteY0" fmla="*/ 0 h 635159"/>
                <a:gd name="connsiteX1" fmla="*/ 643731 w 769034"/>
                <a:gd name="connsiteY1" fmla="*/ 119062 h 635159"/>
                <a:gd name="connsiteX2" fmla="*/ 735171 w 769034"/>
                <a:gd name="connsiteY2" fmla="*/ 635159 h 635159"/>
                <a:gd name="connsiteX3" fmla="*/ 0 w 769034"/>
                <a:gd name="connsiteY3" fmla="*/ 622300 h 635159"/>
                <a:gd name="connsiteX4" fmla="*/ 0 w 769034"/>
                <a:gd name="connsiteY4" fmla="*/ 0 h 635159"/>
                <a:gd name="connsiteX0" fmla="*/ 0 w 768095"/>
                <a:gd name="connsiteY0" fmla="*/ 0 h 635159"/>
                <a:gd name="connsiteX1" fmla="*/ 643731 w 768095"/>
                <a:gd name="connsiteY1" fmla="*/ 119062 h 635159"/>
                <a:gd name="connsiteX2" fmla="*/ 735171 w 768095"/>
                <a:gd name="connsiteY2" fmla="*/ 635159 h 635159"/>
                <a:gd name="connsiteX3" fmla="*/ 0 w 768095"/>
                <a:gd name="connsiteY3" fmla="*/ 622300 h 635159"/>
                <a:gd name="connsiteX4" fmla="*/ 0 w 768095"/>
                <a:gd name="connsiteY4" fmla="*/ 0 h 635159"/>
                <a:gd name="connsiteX0" fmla="*/ 0 w 765596"/>
                <a:gd name="connsiteY0" fmla="*/ 0 h 635159"/>
                <a:gd name="connsiteX1" fmla="*/ 624681 w 765596"/>
                <a:gd name="connsiteY1" fmla="*/ 142875 h 635159"/>
                <a:gd name="connsiteX2" fmla="*/ 735171 w 765596"/>
                <a:gd name="connsiteY2" fmla="*/ 635159 h 635159"/>
                <a:gd name="connsiteX3" fmla="*/ 0 w 765596"/>
                <a:gd name="connsiteY3" fmla="*/ 622300 h 635159"/>
                <a:gd name="connsiteX4" fmla="*/ 0 w 765596"/>
                <a:gd name="connsiteY4" fmla="*/ 0 h 635159"/>
                <a:gd name="connsiteX0" fmla="*/ 0 w 769138"/>
                <a:gd name="connsiteY0" fmla="*/ 0 h 635159"/>
                <a:gd name="connsiteX1" fmla="*/ 650874 w 769138"/>
                <a:gd name="connsiteY1" fmla="*/ 164306 h 635159"/>
                <a:gd name="connsiteX2" fmla="*/ 735171 w 769138"/>
                <a:gd name="connsiteY2" fmla="*/ 635159 h 635159"/>
                <a:gd name="connsiteX3" fmla="*/ 0 w 769138"/>
                <a:gd name="connsiteY3" fmla="*/ 622300 h 635159"/>
                <a:gd name="connsiteX4" fmla="*/ 0 w 769138"/>
                <a:gd name="connsiteY4" fmla="*/ 0 h 635159"/>
                <a:gd name="connsiteX0" fmla="*/ 0 w 765873"/>
                <a:gd name="connsiteY0" fmla="*/ 0 h 635159"/>
                <a:gd name="connsiteX1" fmla="*/ 650874 w 765873"/>
                <a:gd name="connsiteY1" fmla="*/ 164306 h 635159"/>
                <a:gd name="connsiteX2" fmla="*/ 735171 w 765873"/>
                <a:gd name="connsiteY2" fmla="*/ 635159 h 635159"/>
                <a:gd name="connsiteX3" fmla="*/ 0 w 765873"/>
                <a:gd name="connsiteY3" fmla="*/ 622300 h 635159"/>
                <a:gd name="connsiteX4" fmla="*/ 0 w 765873"/>
                <a:gd name="connsiteY4" fmla="*/ 0 h 635159"/>
                <a:gd name="connsiteX0" fmla="*/ 0 w 767769"/>
                <a:gd name="connsiteY0" fmla="*/ 0 h 635159"/>
                <a:gd name="connsiteX1" fmla="*/ 665161 w 767769"/>
                <a:gd name="connsiteY1" fmla="*/ 202406 h 635159"/>
                <a:gd name="connsiteX2" fmla="*/ 735171 w 767769"/>
                <a:gd name="connsiteY2" fmla="*/ 635159 h 635159"/>
                <a:gd name="connsiteX3" fmla="*/ 0 w 767769"/>
                <a:gd name="connsiteY3" fmla="*/ 622300 h 635159"/>
                <a:gd name="connsiteX4" fmla="*/ 0 w 767769"/>
                <a:gd name="connsiteY4" fmla="*/ 0 h 635159"/>
                <a:gd name="connsiteX0" fmla="*/ 0 w 766029"/>
                <a:gd name="connsiteY0" fmla="*/ 0 h 635159"/>
                <a:gd name="connsiteX1" fmla="*/ 665161 w 766029"/>
                <a:gd name="connsiteY1" fmla="*/ 202406 h 635159"/>
                <a:gd name="connsiteX2" fmla="*/ 735171 w 766029"/>
                <a:gd name="connsiteY2" fmla="*/ 635159 h 635159"/>
                <a:gd name="connsiteX3" fmla="*/ 0 w 766029"/>
                <a:gd name="connsiteY3" fmla="*/ 622300 h 635159"/>
                <a:gd name="connsiteX4" fmla="*/ 0 w 766029"/>
                <a:gd name="connsiteY4" fmla="*/ 0 h 635159"/>
                <a:gd name="connsiteX0" fmla="*/ 0 w 756603"/>
                <a:gd name="connsiteY0" fmla="*/ 0 h 635159"/>
                <a:gd name="connsiteX1" fmla="*/ 665161 w 756603"/>
                <a:gd name="connsiteY1" fmla="*/ 202406 h 635159"/>
                <a:gd name="connsiteX2" fmla="*/ 735171 w 756603"/>
                <a:gd name="connsiteY2" fmla="*/ 635159 h 635159"/>
                <a:gd name="connsiteX3" fmla="*/ 0 w 756603"/>
                <a:gd name="connsiteY3" fmla="*/ 622300 h 635159"/>
                <a:gd name="connsiteX4" fmla="*/ 0 w 756603"/>
                <a:gd name="connsiteY4" fmla="*/ 0 h 635159"/>
                <a:gd name="connsiteX0" fmla="*/ 0 w 756603"/>
                <a:gd name="connsiteY0" fmla="*/ 0 h 635159"/>
                <a:gd name="connsiteX1" fmla="*/ 665161 w 756603"/>
                <a:gd name="connsiteY1" fmla="*/ 202406 h 635159"/>
                <a:gd name="connsiteX2" fmla="*/ 735171 w 756603"/>
                <a:gd name="connsiteY2" fmla="*/ 635159 h 635159"/>
                <a:gd name="connsiteX3" fmla="*/ 0 w 756603"/>
                <a:gd name="connsiteY3" fmla="*/ 622300 h 635159"/>
                <a:gd name="connsiteX4" fmla="*/ 0 w 756603"/>
                <a:gd name="connsiteY4" fmla="*/ 0 h 635159"/>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603"/>
                <a:gd name="connsiteY0" fmla="*/ 0 h 637540"/>
                <a:gd name="connsiteX1" fmla="*/ 665161 w 756603"/>
                <a:gd name="connsiteY1" fmla="*/ 204787 h 637540"/>
                <a:gd name="connsiteX2" fmla="*/ 735171 w 756603"/>
                <a:gd name="connsiteY2" fmla="*/ 637540 h 637540"/>
                <a:gd name="connsiteX3" fmla="*/ 0 w 756603"/>
                <a:gd name="connsiteY3" fmla="*/ 624681 h 637540"/>
                <a:gd name="connsiteX4" fmla="*/ 100012 w 756603"/>
                <a:gd name="connsiteY4" fmla="*/ 0 h 637540"/>
                <a:gd name="connsiteX0" fmla="*/ 100012 w 756353"/>
                <a:gd name="connsiteY0" fmla="*/ 0 h 637540"/>
                <a:gd name="connsiteX1" fmla="*/ 662780 w 756353"/>
                <a:gd name="connsiteY1" fmla="*/ 245268 h 637540"/>
                <a:gd name="connsiteX2" fmla="*/ 735171 w 756353"/>
                <a:gd name="connsiteY2" fmla="*/ 637540 h 637540"/>
                <a:gd name="connsiteX3" fmla="*/ 0 w 756353"/>
                <a:gd name="connsiteY3" fmla="*/ 624681 h 637540"/>
                <a:gd name="connsiteX4" fmla="*/ 100012 w 756353"/>
                <a:gd name="connsiteY4" fmla="*/ 0 h 637540"/>
                <a:gd name="connsiteX0" fmla="*/ 100012 w 756353"/>
                <a:gd name="connsiteY0" fmla="*/ 0 h 637540"/>
                <a:gd name="connsiteX1" fmla="*/ 662780 w 756353"/>
                <a:gd name="connsiteY1" fmla="*/ 245268 h 637540"/>
                <a:gd name="connsiteX2" fmla="*/ 735171 w 756353"/>
                <a:gd name="connsiteY2" fmla="*/ 637540 h 637540"/>
                <a:gd name="connsiteX3" fmla="*/ 0 w 756353"/>
                <a:gd name="connsiteY3" fmla="*/ 624681 h 637540"/>
                <a:gd name="connsiteX4" fmla="*/ 100012 w 756353"/>
                <a:gd name="connsiteY4"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00012 w 760956"/>
                <a:gd name="connsiteY4"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81208 w 760956"/>
                <a:gd name="connsiteY4" fmla="*/ 111125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4533 w 760956"/>
                <a:gd name="connsiteY4" fmla="*/ 1588 h 637540"/>
                <a:gd name="connsiteX5" fmla="*/ 100012 w 760956"/>
                <a:gd name="connsiteY5"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2152 w 760956"/>
                <a:gd name="connsiteY4" fmla="*/ 275431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62158 w 760956"/>
                <a:gd name="connsiteY4" fmla="*/ 268287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9295 w 760956"/>
                <a:gd name="connsiteY4" fmla="*/ 239712 h 637540"/>
                <a:gd name="connsiteX5" fmla="*/ 14533 w 760956"/>
                <a:gd name="connsiteY5" fmla="*/ 1588 h 637540"/>
                <a:gd name="connsiteX6" fmla="*/ 100012 w 760956"/>
                <a:gd name="connsiteY6" fmla="*/ 0 h 637540"/>
                <a:gd name="connsiteX0" fmla="*/ 100012 w 760956"/>
                <a:gd name="connsiteY0" fmla="*/ 0 h 637540"/>
                <a:gd name="connsiteX1" fmla="*/ 662780 w 760956"/>
                <a:gd name="connsiteY1" fmla="*/ 245268 h 637540"/>
                <a:gd name="connsiteX2" fmla="*/ 735171 w 760956"/>
                <a:gd name="connsiteY2" fmla="*/ 637540 h 637540"/>
                <a:gd name="connsiteX3" fmla="*/ 0 w 760956"/>
                <a:gd name="connsiteY3" fmla="*/ 624681 h 637540"/>
                <a:gd name="connsiteX4" fmla="*/ 19295 w 760956"/>
                <a:gd name="connsiteY4" fmla="*/ 239712 h 637540"/>
                <a:gd name="connsiteX5" fmla="*/ 14533 w 760956"/>
                <a:gd name="connsiteY5" fmla="*/ 1588 h 637540"/>
                <a:gd name="connsiteX6" fmla="*/ 100012 w 760956"/>
                <a:gd name="connsiteY6" fmla="*/ 0 h 637540"/>
                <a:gd name="connsiteX0" fmla="*/ 122486 w 783430"/>
                <a:gd name="connsiteY0" fmla="*/ 0 h 637540"/>
                <a:gd name="connsiteX1" fmla="*/ 685254 w 783430"/>
                <a:gd name="connsiteY1" fmla="*/ 245268 h 637540"/>
                <a:gd name="connsiteX2" fmla="*/ 757645 w 783430"/>
                <a:gd name="connsiteY2" fmla="*/ 637540 h 637540"/>
                <a:gd name="connsiteX3" fmla="*/ 22474 w 783430"/>
                <a:gd name="connsiteY3" fmla="*/ 624681 h 637540"/>
                <a:gd name="connsiteX4" fmla="*/ 41769 w 783430"/>
                <a:gd name="connsiteY4" fmla="*/ 239712 h 637540"/>
                <a:gd name="connsiteX5" fmla="*/ 37007 w 783430"/>
                <a:gd name="connsiteY5" fmla="*/ 1588 h 637540"/>
                <a:gd name="connsiteX6" fmla="*/ 122486 w 783430"/>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7540"/>
                <a:gd name="connsiteX1" fmla="*/ 702246 w 800422"/>
                <a:gd name="connsiteY1" fmla="*/ 245268 h 637540"/>
                <a:gd name="connsiteX2" fmla="*/ 774637 w 800422"/>
                <a:gd name="connsiteY2" fmla="*/ 637540 h 637540"/>
                <a:gd name="connsiteX3" fmla="*/ 39466 w 800422"/>
                <a:gd name="connsiteY3" fmla="*/ 624681 h 637540"/>
                <a:gd name="connsiteX4" fmla="*/ 58761 w 800422"/>
                <a:gd name="connsiteY4" fmla="*/ 239712 h 637540"/>
                <a:gd name="connsiteX5" fmla="*/ 53999 w 800422"/>
                <a:gd name="connsiteY5" fmla="*/ 1588 h 637540"/>
                <a:gd name="connsiteX6" fmla="*/ 139478 w 800422"/>
                <a:gd name="connsiteY6" fmla="*/ 0 h 637540"/>
                <a:gd name="connsiteX0" fmla="*/ 139478 w 800422"/>
                <a:gd name="connsiteY0" fmla="*/ 0 h 639660"/>
                <a:gd name="connsiteX1" fmla="*/ 702246 w 800422"/>
                <a:gd name="connsiteY1" fmla="*/ 245268 h 639660"/>
                <a:gd name="connsiteX2" fmla="*/ 774637 w 800422"/>
                <a:gd name="connsiteY2" fmla="*/ 637540 h 639660"/>
                <a:gd name="connsiteX3" fmla="*/ 144486 w 800422"/>
                <a:gd name="connsiteY3" fmla="*/ 411163 h 639660"/>
                <a:gd name="connsiteX4" fmla="*/ 39466 w 800422"/>
                <a:gd name="connsiteY4" fmla="*/ 624681 h 639660"/>
                <a:gd name="connsiteX5" fmla="*/ 58761 w 800422"/>
                <a:gd name="connsiteY5" fmla="*/ 239712 h 639660"/>
                <a:gd name="connsiteX6" fmla="*/ 53999 w 800422"/>
                <a:gd name="connsiteY6" fmla="*/ 1588 h 639660"/>
                <a:gd name="connsiteX7" fmla="*/ 139478 w 800422"/>
                <a:gd name="connsiteY7" fmla="*/ 0 h 639660"/>
                <a:gd name="connsiteX0" fmla="*/ 139478 w 800422"/>
                <a:gd name="connsiteY0" fmla="*/ 0 h 639012"/>
                <a:gd name="connsiteX1" fmla="*/ 702246 w 800422"/>
                <a:gd name="connsiteY1" fmla="*/ 245268 h 639012"/>
                <a:gd name="connsiteX2" fmla="*/ 774637 w 800422"/>
                <a:gd name="connsiteY2" fmla="*/ 637540 h 639012"/>
                <a:gd name="connsiteX3" fmla="*/ 134961 w 800422"/>
                <a:gd name="connsiteY3" fmla="*/ 292101 h 639012"/>
                <a:gd name="connsiteX4" fmla="*/ 39466 w 800422"/>
                <a:gd name="connsiteY4" fmla="*/ 624681 h 639012"/>
                <a:gd name="connsiteX5" fmla="*/ 58761 w 800422"/>
                <a:gd name="connsiteY5" fmla="*/ 239712 h 639012"/>
                <a:gd name="connsiteX6" fmla="*/ 53999 w 800422"/>
                <a:gd name="connsiteY6" fmla="*/ 1588 h 639012"/>
                <a:gd name="connsiteX7" fmla="*/ 139478 w 800422"/>
                <a:gd name="connsiteY7" fmla="*/ 0 h 639012"/>
                <a:gd name="connsiteX0" fmla="*/ 139478 w 800422"/>
                <a:gd name="connsiteY0" fmla="*/ 0 h 639253"/>
                <a:gd name="connsiteX1" fmla="*/ 702246 w 800422"/>
                <a:gd name="connsiteY1" fmla="*/ 245268 h 639253"/>
                <a:gd name="connsiteX2" fmla="*/ 774637 w 800422"/>
                <a:gd name="connsiteY2" fmla="*/ 637540 h 639253"/>
                <a:gd name="connsiteX3" fmla="*/ 144486 w 800422"/>
                <a:gd name="connsiteY3" fmla="*/ 346870 h 639253"/>
                <a:gd name="connsiteX4" fmla="*/ 39466 w 800422"/>
                <a:gd name="connsiteY4" fmla="*/ 624681 h 639253"/>
                <a:gd name="connsiteX5" fmla="*/ 58761 w 800422"/>
                <a:gd name="connsiteY5" fmla="*/ 239712 h 639253"/>
                <a:gd name="connsiteX6" fmla="*/ 53999 w 800422"/>
                <a:gd name="connsiteY6" fmla="*/ 1588 h 639253"/>
                <a:gd name="connsiteX7" fmla="*/ 139478 w 800422"/>
                <a:gd name="connsiteY7" fmla="*/ 0 h 639253"/>
                <a:gd name="connsiteX0" fmla="*/ 139478 w 800422"/>
                <a:gd name="connsiteY0" fmla="*/ 0 h 639253"/>
                <a:gd name="connsiteX1" fmla="*/ 702246 w 800422"/>
                <a:gd name="connsiteY1" fmla="*/ 245268 h 639253"/>
                <a:gd name="connsiteX2" fmla="*/ 774637 w 800422"/>
                <a:gd name="connsiteY2" fmla="*/ 637540 h 639253"/>
                <a:gd name="connsiteX3" fmla="*/ 144486 w 800422"/>
                <a:gd name="connsiteY3" fmla="*/ 346870 h 639253"/>
                <a:gd name="connsiteX4" fmla="*/ 39466 w 800422"/>
                <a:gd name="connsiteY4" fmla="*/ 624681 h 639253"/>
                <a:gd name="connsiteX5" fmla="*/ 58761 w 800422"/>
                <a:gd name="connsiteY5" fmla="*/ 239712 h 639253"/>
                <a:gd name="connsiteX6" fmla="*/ 53999 w 800422"/>
                <a:gd name="connsiteY6" fmla="*/ 1588 h 639253"/>
                <a:gd name="connsiteX7" fmla="*/ 139478 w 800422"/>
                <a:gd name="connsiteY7" fmla="*/ 0 h 639253"/>
                <a:gd name="connsiteX0" fmla="*/ 139478 w 800422"/>
                <a:gd name="connsiteY0" fmla="*/ 0 h 639424"/>
                <a:gd name="connsiteX1" fmla="*/ 702246 w 800422"/>
                <a:gd name="connsiteY1" fmla="*/ 245268 h 639424"/>
                <a:gd name="connsiteX2" fmla="*/ 774637 w 800422"/>
                <a:gd name="connsiteY2" fmla="*/ 637540 h 639424"/>
                <a:gd name="connsiteX3" fmla="*/ 144486 w 800422"/>
                <a:gd name="connsiteY3" fmla="*/ 346870 h 639424"/>
                <a:gd name="connsiteX4" fmla="*/ 39466 w 800422"/>
                <a:gd name="connsiteY4" fmla="*/ 624681 h 639424"/>
                <a:gd name="connsiteX5" fmla="*/ 58761 w 800422"/>
                <a:gd name="connsiteY5" fmla="*/ 239712 h 639424"/>
                <a:gd name="connsiteX6" fmla="*/ 53999 w 800422"/>
                <a:gd name="connsiteY6" fmla="*/ 1588 h 639424"/>
                <a:gd name="connsiteX7" fmla="*/ 139478 w 800422"/>
                <a:gd name="connsiteY7" fmla="*/ 0 h 639424"/>
                <a:gd name="connsiteX0" fmla="*/ 139478 w 800422"/>
                <a:gd name="connsiteY0" fmla="*/ 0 h 659098"/>
                <a:gd name="connsiteX1" fmla="*/ 702246 w 800422"/>
                <a:gd name="connsiteY1" fmla="*/ 245268 h 659098"/>
                <a:gd name="connsiteX2" fmla="*/ 774637 w 800422"/>
                <a:gd name="connsiteY2" fmla="*/ 637540 h 659098"/>
                <a:gd name="connsiteX3" fmla="*/ 585018 w 800422"/>
                <a:gd name="connsiteY3" fmla="*/ 580230 h 659098"/>
                <a:gd name="connsiteX4" fmla="*/ 144486 w 800422"/>
                <a:gd name="connsiteY4" fmla="*/ 346870 h 659098"/>
                <a:gd name="connsiteX5" fmla="*/ 39466 w 800422"/>
                <a:gd name="connsiteY5" fmla="*/ 624681 h 659098"/>
                <a:gd name="connsiteX6" fmla="*/ 58761 w 800422"/>
                <a:gd name="connsiteY6" fmla="*/ 239712 h 659098"/>
                <a:gd name="connsiteX7" fmla="*/ 53999 w 800422"/>
                <a:gd name="connsiteY7" fmla="*/ 1588 h 659098"/>
                <a:gd name="connsiteX8" fmla="*/ 139478 w 800422"/>
                <a:gd name="connsiteY8" fmla="*/ 0 h 659098"/>
                <a:gd name="connsiteX0" fmla="*/ 139478 w 800422"/>
                <a:gd name="connsiteY0" fmla="*/ 0 h 645114"/>
                <a:gd name="connsiteX1" fmla="*/ 702246 w 800422"/>
                <a:gd name="connsiteY1" fmla="*/ 245268 h 645114"/>
                <a:gd name="connsiteX2" fmla="*/ 774637 w 800422"/>
                <a:gd name="connsiteY2" fmla="*/ 637540 h 645114"/>
                <a:gd name="connsiteX3" fmla="*/ 582637 w 800422"/>
                <a:gd name="connsiteY3" fmla="*/ 375442 h 645114"/>
                <a:gd name="connsiteX4" fmla="*/ 144486 w 800422"/>
                <a:gd name="connsiteY4" fmla="*/ 346870 h 645114"/>
                <a:gd name="connsiteX5" fmla="*/ 39466 w 800422"/>
                <a:gd name="connsiteY5" fmla="*/ 624681 h 645114"/>
                <a:gd name="connsiteX6" fmla="*/ 58761 w 800422"/>
                <a:gd name="connsiteY6" fmla="*/ 239712 h 645114"/>
                <a:gd name="connsiteX7" fmla="*/ 53999 w 800422"/>
                <a:gd name="connsiteY7" fmla="*/ 1588 h 645114"/>
                <a:gd name="connsiteX8" fmla="*/ 139478 w 800422"/>
                <a:gd name="connsiteY8" fmla="*/ 0 h 645114"/>
                <a:gd name="connsiteX0" fmla="*/ 139478 w 800422"/>
                <a:gd name="connsiteY0" fmla="*/ 0 h 644150"/>
                <a:gd name="connsiteX1" fmla="*/ 702246 w 800422"/>
                <a:gd name="connsiteY1" fmla="*/ 245268 h 644150"/>
                <a:gd name="connsiteX2" fmla="*/ 774637 w 800422"/>
                <a:gd name="connsiteY2" fmla="*/ 637540 h 644150"/>
                <a:gd name="connsiteX3" fmla="*/ 708844 w 800422"/>
                <a:gd name="connsiteY3" fmla="*/ 330198 h 644150"/>
                <a:gd name="connsiteX4" fmla="*/ 144486 w 800422"/>
                <a:gd name="connsiteY4" fmla="*/ 346870 h 644150"/>
                <a:gd name="connsiteX5" fmla="*/ 39466 w 800422"/>
                <a:gd name="connsiteY5" fmla="*/ 624681 h 644150"/>
                <a:gd name="connsiteX6" fmla="*/ 58761 w 800422"/>
                <a:gd name="connsiteY6" fmla="*/ 239712 h 644150"/>
                <a:gd name="connsiteX7" fmla="*/ 53999 w 800422"/>
                <a:gd name="connsiteY7" fmla="*/ 1588 h 644150"/>
                <a:gd name="connsiteX8" fmla="*/ 139478 w 800422"/>
                <a:gd name="connsiteY8" fmla="*/ 0 h 644150"/>
                <a:gd name="connsiteX0" fmla="*/ 139478 w 800422"/>
                <a:gd name="connsiteY0" fmla="*/ 0 h 645742"/>
                <a:gd name="connsiteX1" fmla="*/ 702246 w 800422"/>
                <a:gd name="connsiteY1" fmla="*/ 245268 h 645742"/>
                <a:gd name="connsiteX2" fmla="*/ 774637 w 800422"/>
                <a:gd name="connsiteY2" fmla="*/ 637540 h 645742"/>
                <a:gd name="connsiteX3" fmla="*/ 689794 w 800422"/>
                <a:gd name="connsiteY3" fmla="*/ 399255 h 645742"/>
                <a:gd name="connsiteX4" fmla="*/ 144486 w 800422"/>
                <a:gd name="connsiteY4" fmla="*/ 346870 h 645742"/>
                <a:gd name="connsiteX5" fmla="*/ 39466 w 800422"/>
                <a:gd name="connsiteY5" fmla="*/ 624681 h 645742"/>
                <a:gd name="connsiteX6" fmla="*/ 58761 w 800422"/>
                <a:gd name="connsiteY6" fmla="*/ 239712 h 645742"/>
                <a:gd name="connsiteX7" fmla="*/ 53999 w 800422"/>
                <a:gd name="connsiteY7" fmla="*/ 1588 h 645742"/>
                <a:gd name="connsiteX8" fmla="*/ 139478 w 800422"/>
                <a:gd name="connsiteY8" fmla="*/ 0 h 645742"/>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0 h 645808"/>
                <a:gd name="connsiteX1" fmla="*/ 702246 w 800422"/>
                <a:gd name="connsiteY1" fmla="*/ 245268 h 645808"/>
                <a:gd name="connsiteX2" fmla="*/ 774637 w 800422"/>
                <a:gd name="connsiteY2" fmla="*/ 637540 h 645808"/>
                <a:gd name="connsiteX3" fmla="*/ 689794 w 800422"/>
                <a:gd name="connsiteY3" fmla="*/ 399255 h 645808"/>
                <a:gd name="connsiteX4" fmla="*/ 144486 w 800422"/>
                <a:gd name="connsiteY4" fmla="*/ 346870 h 645808"/>
                <a:gd name="connsiteX5" fmla="*/ 39466 w 800422"/>
                <a:gd name="connsiteY5" fmla="*/ 624681 h 645808"/>
                <a:gd name="connsiteX6" fmla="*/ 58761 w 800422"/>
                <a:gd name="connsiteY6" fmla="*/ 239712 h 645808"/>
                <a:gd name="connsiteX7" fmla="*/ 53999 w 800422"/>
                <a:gd name="connsiteY7" fmla="*/ 1588 h 645808"/>
                <a:gd name="connsiteX8" fmla="*/ 139478 w 800422"/>
                <a:gd name="connsiteY8" fmla="*/ 0 h 645808"/>
                <a:gd name="connsiteX0" fmla="*/ 139478 w 800422"/>
                <a:gd name="connsiteY0" fmla="*/ 14287 h 660095"/>
                <a:gd name="connsiteX1" fmla="*/ 702246 w 800422"/>
                <a:gd name="connsiteY1" fmla="*/ 259555 h 660095"/>
                <a:gd name="connsiteX2" fmla="*/ 774637 w 800422"/>
                <a:gd name="connsiteY2" fmla="*/ 651827 h 660095"/>
                <a:gd name="connsiteX3" fmla="*/ 689794 w 800422"/>
                <a:gd name="connsiteY3" fmla="*/ 413542 h 660095"/>
                <a:gd name="connsiteX4" fmla="*/ 144486 w 800422"/>
                <a:gd name="connsiteY4" fmla="*/ 361157 h 660095"/>
                <a:gd name="connsiteX5" fmla="*/ 39466 w 800422"/>
                <a:gd name="connsiteY5" fmla="*/ 638968 h 660095"/>
                <a:gd name="connsiteX6" fmla="*/ 58761 w 800422"/>
                <a:gd name="connsiteY6" fmla="*/ 253999 h 660095"/>
                <a:gd name="connsiteX7" fmla="*/ 34949 w 800422"/>
                <a:gd name="connsiteY7" fmla="*/ 0 h 660095"/>
                <a:gd name="connsiteX8" fmla="*/ 139478 w 800422"/>
                <a:gd name="connsiteY8" fmla="*/ 14287 h 660095"/>
                <a:gd name="connsiteX0" fmla="*/ 146621 w 800422"/>
                <a:gd name="connsiteY0" fmla="*/ 14287 h 660095"/>
                <a:gd name="connsiteX1" fmla="*/ 702246 w 800422"/>
                <a:gd name="connsiteY1" fmla="*/ 259555 h 660095"/>
                <a:gd name="connsiteX2" fmla="*/ 774637 w 800422"/>
                <a:gd name="connsiteY2" fmla="*/ 651827 h 660095"/>
                <a:gd name="connsiteX3" fmla="*/ 689794 w 800422"/>
                <a:gd name="connsiteY3" fmla="*/ 413542 h 660095"/>
                <a:gd name="connsiteX4" fmla="*/ 144486 w 800422"/>
                <a:gd name="connsiteY4" fmla="*/ 361157 h 660095"/>
                <a:gd name="connsiteX5" fmla="*/ 39466 w 800422"/>
                <a:gd name="connsiteY5" fmla="*/ 638968 h 660095"/>
                <a:gd name="connsiteX6" fmla="*/ 58761 w 800422"/>
                <a:gd name="connsiteY6" fmla="*/ 253999 h 660095"/>
                <a:gd name="connsiteX7" fmla="*/ 34949 w 800422"/>
                <a:gd name="connsiteY7" fmla="*/ 0 h 660095"/>
                <a:gd name="connsiteX8" fmla="*/ 146621 w 800422"/>
                <a:gd name="connsiteY8" fmla="*/ 14287 h 660095"/>
                <a:gd name="connsiteX0" fmla="*/ 160096 w 813897"/>
                <a:gd name="connsiteY0" fmla="*/ 14287 h 660095"/>
                <a:gd name="connsiteX1" fmla="*/ 715721 w 813897"/>
                <a:gd name="connsiteY1" fmla="*/ 259555 h 660095"/>
                <a:gd name="connsiteX2" fmla="*/ 788112 w 813897"/>
                <a:gd name="connsiteY2" fmla="*/ 651827 h 660095"/>
                <a:gd name="connsiteX3" fmla="*/ 703269 w 813897"/>
                <a:gd name="connsiteY3" fmla="*/ 413542 h 660095"/>
                <a:gd name="connsiteX4" fmla="*/ 157961 w 813897"/>
                <a:gd name="connsiteY4" fmla="*/ 361157 h 660095"/>
                <a:gd name="connsiteX5" fmla="*/ 52941 w 813897"/>
                <a:gd name="connsiteY5" fmla="*/ 638968 h 660095"/>
                <a:gd name="connsiteX6" fmla="*/ 48423 w 813897"/>
                <a:gd name="connsiteY6" fmla="*/ 237330 h 660095"/>
                <a:gd name="connsiteX7" fmla="*/ 48424 w 813897"/>
                <a:gd name="connsiteY7" fmla="*/ 0 h 660095"/>
                <a:gd name="connsiteX8" fmla="*/ 160096 w 813897"/>
                <a:gd name="connsiteY8" fmla="*/ 14287 h 660095"/>
                <a:gd name="connsiteX0" fmla="*/ 180690 w 834491"/>
                <a:gd name="connsiteY0" fmla="*/ 14287 h 660095"/>
                <a:gd name="connsiteX1" fmla="*/ 736315 w 834491"/>
                <a:gd name="connsiteY1" fmla="*/ 259555 h 660095"/>
                <a:gd name="connsiteX2" fmla="*/ 808706 w 834491"/>
                <a:gd name="connsiteY2" fmla="*/ 651827 h 660095"/>
                <a:gd name="connsiteX3" fmla="*/ 723863 w 834491"/>
                <a:gd name="connsiteY3" fmla="*/ 413542 h 660095"/>
                <a:gd name="connsiteX4" fmla="*/ 178555 w 834491"/>
                <a:gd name="connsiteY4" fmla="*/ 361157 h 660095"/>
                <a:gd name="connsiteX5" fmla="*/ 73535 w 834491"/>
                <a:gd name="connsiteY5" fmla="*/ 638968 h 660095"/>
                <a:gd name="connsiteX6" fmla="*/ 69017 w 834491"/>
                <a:gd name="connsiteY6" fmla="*/ 237330 h 660095"/>
                <a:gd name="connsiteX7" fmla="*/ 69018 w 834491"/>
                <a:gd name="connsiteY7" fmla="*/ 0 h 660095"/>
                <a:gd name="connsiteX8" fmla="*/ 180690 w 834491"/>
                <a:gd name="connsiteY8" fmla="*/ 14287 h 660095"/>
                <a:gd name="connsiteX0" fmla="*/ 183132 w 836933"/>
                <a:gd name="connsiteY0" fmla="*/ 14287 h 664434"/>
                <a:gd name="connsiteX1" fmla="*/ 738757 w 836933"/>
                <a:gd name="connsiteY1" fmla="*/ 259555 h 664434"/>
                <a:gd name="connsiteX2" fmla="*/ 811148 w 836933"/>
                <a:gd name="connsiteY2" fmla="*/ 651827 h 664434"/>
                <a:gd name="connsiteX3" fmla="*/ 726305 w 836933"/>
                <a:gd name="connsiteY3" fmla="*/ 413542 h 664434"/>
                <a:gd name="connsiteX4" fmla="*/ 180997 w 836933"/>
                <a:gd name="connsiteY4" fmla="*/ 361157 h 664434"/>
                <a:gd name="connsiteX5" fmla="*/ 68833 w 836933"/>
                <a:gd name="connsiteY5" fmla="*/ 662780 h 664434"/>
                <a:gd name="connsiteX6" fmla="*/ 71459 w 836933"/>
                <a:gd name="connsiteY6" fmla="*/ 237330 h 664434"/>
                <a:gd name="connsiteX7" fmla="*/ 71460 w 836933"/>
                <a:gd name="connsiteY7" fmla="*/ 0 h 664434"/>
                <a:gd name="connsiteX8" fmla="*/ 183132 w 836933"/>
                <a:gd name="connsiteY8" fmla="*/ 14287 h 664434"/>
                <a:gd name="connsiteX0" fmla="*/ 181489 w 835290"/>
                <a:gd name="connsiteY0" fmla="*/ 14287 h 660095"/>
                <a:gd name="connsiteX1" fmla="*/ 737114 w 835290"/>
                <a:gd name="connsiteY1" fmla="*/ 259555 h 660095"/>
                <a:gd name="connsiteX2" fmla="*/ 809505 w 835290"/>
                <a:gd name="connsiteY2" fmla="*/ 651827 h 660095"/>
                <a:gd name="connsiteX3" fmla="*/ 724662 w 835290"/>
                <a:gd name="connsiteY3" fmla="*/ 413542 h 660095"/>
                <a:gd name="connsiteX4" fmla="*/ 179354 w 835290"/>
                <a:gd name="connsiteY4" fmla="*/ 361157 h 660095"/>
                <a:gd name="connsiteX5" fmla="*/ 71953 w 835290"/>
                <a:gd name="connsiteY5" fmla="*/ 646111 h 660095"/>
                <a:gd name="connsiteX6" fmla="*/ 69816 w 835290"/>
                <a:gd name="connsiteY6" fmla="*/ 237330 h 660095"/>
                <a:gd name="connsiteX7" fmla="*/ 69817 w 835290"/>
                <a:gd name="connsiteY7" fmla="*/ 0 h 660095"/>
                <a:gd name="connsiteX8" fmla="*/ 181489 w 835290"/>
                <a:gd name="connsiteY8" fmla="*/ 14287 h 660095"/>
                <a:gd name="connsiteX0" fmla="*/ 188496 w 842297"/>
                <a:gd name="connsiteY0" fmla="*/ 14287 h 660095"/>
                <a:gd name="connsiteX1" fmla="*/ 744121 w 842297"/>
                <a:gd name="connsiteY1" fmla="*/ 259555 h 660095"/>
                <a:gd name="connsiteX2" fmla="*/ 816512 w 842297"/>
                <a:gd name="connsiteY2" fmla="*/ 651827 h 660095"/>
                <a:gd name="connsiteX3" fmla="*/ 731669 w 842297"/>
                <a:gd name="connsiteY3" fmla="*/ 413542 h 660095"/>
                <a:gd name="connsiteX4" fmla="*/ 186361 w 842297"/>
                <a:gd name="connsiteY4" fmla="*/ 361157 h 660095"/>
                <a:gd name="connsiteX5" fmla="*/ 78960 w 842297"/>
                <a:gd name="connsiteY5" fmla="*/ 646111 h 660095"/>
                <a:gd name="connsiteX6" fmla="*/ 76823 w 842297"/>
                <a:gd name="connsiteY6" fmla="*/ 237330 h 660095"/>
                <a:gd name="connsiteX7" fmla="*/ 76824 w 842297"/>
                <a:gd name="connsiteY7" fmla="*/ 0 h 660095"/>
                <a:gd name="connsiteX8" fmla="*/ 188496 w 842297"/>
                <a:gd name="connsiteY8" fmla="*/ 14287 h 660095"/>
                <a:gd name="connsiteX0" fmla="*/ 189984 w 843785"/>
                <a:gd name="connsiteY0" fmla="*/ 14287 h 660095"/>
                <a:gd name="connsiteX1" fmla="*/ 745609 w 843785"/>
                <a:gd name="connsiteY1" fmla="*/ 259555 h 660095"/>
                <a:gd name="connsiteX2" fmla="*/ 818000 w 843785"/>
                <a:gd name="connsiteY2" fmla="*/ 651827 h 660095"/>
                <a:gd name="connsiteX3" fmla="*/ 733157 w 843785"/>
                <a:gd name="connsiteY3" fmla="*/ 413542 h 660095"/>
                <a:gd name="connsiteX4" fmla="*/ 187849 w 843785"/>
                <a:gd name="connsiteY4" fmla="*/ 361157 h 660095"/>
                <a:gd name="connsiteX5" fmla="*/ 80448 w 843785"/>
                <a:gd name="connsiteY5" fmla="*/ 646111 h 660095"/>
                <a:gd name="connsiteX6" fmla="*/ 78311 w 843785"/>
                <a:gd name="connsiteY6" fmla="*/ 237330 h 660095"/>
                <a:gd name="connsiteX7" fmla="*/ 78312 w 843785"/>
                <a:gd name="connsiteY7" fmla="*/ 0 h 660095"/>
                <a:gd name="connsiteX8" fmla="*/ 189984 w 843785"/>
                <a:gd name="connsiteY8" fmla="*/ 14287 h 660095"/>
                <a:gd name="connsiteX0" fmla="*/ 198944 w 852745"/>
                <a:gd name="connsiteY0" fmla="*/ 14287 h 660095"/>
                <a:gd name="connsiteX1" fmla="*/ 754569 w 852745"/>
                <a:gd name="connsiteY1" fmla="*/ 259555 h 660095"/>
                <a:gd name="connsiteX2" fmla="*/ 826960 w 852745"/>
                <a:gd name="connsiteY2" fmla="*/ 651827 h 660095"/>
                <a:gd name="connsiteX3" fmla="*/ 742117 w 852745"/>
                <a:gd name="connsiteY3" fmla="*/ 413542 h 660095"/>
                <a:gd name="connsiteX4" fmla="*/ 196809 w 852745"/>
                <a:gd name="connsiteY4" fmla="*/ 361157 h 660095"/>
                <a:gd name="connsiteX5" fmla="*/ 89408 w 852745"/>
                <a:gd name="connsiteY5" fmla="*/ 646111 h 660095"/>
                <a:gd name="connsiteX6" fmla="*/ 72983 w 852745"/>
                <a:gd name="connsiteY6" fmla="*/ 239711 h 660095"/>
                <a:gd name="connsiteX7" fmla="*/ 87272 w 852745"/>
                <a:gd name="connsiteY7" fmla="*/ 0 h 660095"/>
                <a:gd name="connsiteX8" fmla="*/ 198944 w 852745"/>
                <a:gd name="connsiteY8" fmla="*/ 14287 h 660095"/>
                <a:gd name="connsiteX0" fmla="*/ 183663 w 837464"/>
                <a:gd name="connsiteY0" fmla="*/ 14287 h 660095"/>
                <a:gd name="connsiteX1" fmla="*/ 739288 w 837464"/>
                <a:gd name="connsiteY1" fmla="*/ 259555 h 660095"/>
                <a:gd name="connsiteX2" fmla="*/ 811679 w 837464"/>
                <a:gd name="connsiteY2" fmla="*/ 651827 h 660095"/>
                <a:gd name="connsiteX3" fmla="*/ 726836 w 837464"/>
                <a:gd name="connsiteY3" fmla="*/ 413542 h 660095"/>
                <a:gd name="connsiteX4" fmla="*/ 181528 w 837464"/>
                <a:gd name="connsiteY4" fmla="*/ 361157 h 660095"/>
                <a:gd name="connsiteX5" fmla="*/ 74127 w 837464"/>
                <a:gd name="connsiteY5" fmla="*/ 646111 h 660095"/>
                <a:gd name="connsiteX6" fmla="*/ 57702 w 837464"/>
                <a:gd name="connsiteY6" fmla="*/ 239711 h 660095"/>
                <a:gd name="connsiteX7" fmla="*/ 71991 w 837464"/>
                <a:gd name="connsiteY7" fmla="*/ 0 h 660095"/>
                <a:gd name="connsiteX8" fmla="*/ 183663 w 837464"/>
                <a:gd name="connsiteY8" fmla="*/ 14287 h 6600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57704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57704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67229 w 837464"/>
                <a:gd name="connsiteY7" fmla="*/ 0 h 698195"/>
                <a:gd name="connsiteX8" fmla="*/ 183663 w 837464"/>
                <a:gd name="connsiteY8" fmla="*/ 52387 h 698195"/>
                <a:gd name="connsiteX0" fmla="*/ 183663 w 837464"/>
                <a:gd name="connsiteY0" fmla="*/ 52387 h 698195"/>
                <a:gd name="connsiteX1" fmla="*/ 739288 w 837464"/>
                <a:gd name="connsiteY1" fmla="*/ 297655 h 698195"/>
                <a:gd name="connsiteX2" fmla="*/ 811679 w 837464"/>
                <a:gd name="connsiteY2" fmla="*/ 689927 h 698195"/>
                <a:gd name="connsiteX3" fmla="*/ 726836 w 837464"/>
                <a:gd name="connsiteY3" fmla="*/ 451642 h 698195"/>
                <a:gd name="connsiteX4" fmla="*/ 181528 w 837464"/>
                <a:gd name="connsiteY4" fmla="*/ 399257 h 698195"/>
                <a:gd name="connsiteX5" fmla="*/ 74127 w 837464"/>
                <a:gd name="connsiteY5" fmla="*/ 684211 h 698195"/>
                <a:gd name="connsiteX6" fmla="*/ 57702 w 837464"/>
                <a:gd name="connsiteY6" fmla="*/ 277811 h 698195"/>
                <a:gd name="connsiteX7" fmla="*/ 67229 w 837464"/>
                <a:gd name="connsiteY7" fmla="*/ 0 h 698195"/>
                <a:gd name="connsiteX8" fmla="*/ 183663 w 837464"/>
                <a:gd name="connsiteY8" fmla="*/ 52387 h 698195"/>
                <a:gd name="connsiteX0" fmla="*/ 183663 w 837464"/>
                <a:gd name="connsiteY0" fmla="*/ 61006 h 706814"/>
                <a:gd name="connsiteX1" fmla="*/ 739288 w 837464"/>
                <a:gd name="connsiteY1" fmla="*/ 306274 h 706814"/>
                <a:gd name="connsiteX2" fmla="*/ 811679 w 837464"/>
                <a:gd name="connsiteY2" fmla="*/ 698546 h 706814"/>
                <a:gd name="connsiteX3" fmla="*/ 726836 w 837464"/>
                <a:gd name="connsiteY3" fmla="*/ 460261 h 706814"/>
                <a:gd name="connsiteX4" fmla="*/ 181528 w 837464"/>
                <a:gd name="connsiteY4" fmla="*/ 407876 h 706814"/>
                <a:gd name="connsiteX5" fmla="*/ 74127 w 837464"/>
                <a:gd name="connsiteY5" fmla="*/ 692830 h 706814"/>
                <a:gd name="connsiteX6" fmla="*/ 57702 w 837464"/>
                <a:gd name="connsiteY6" fmla="*/ 286430 h 706814"/>
                <a:gd name="connsiteX7" fmla="*/ 67229 w 837464"/>
                <a:gd name="connsiteY7" fmla="*/ 8619 h 706814"/>
                <a:gd name="connsiteX8" fmla="*/ 155335 w 837464"/>
                <a:gd name="connsiteY8" fmla="*/ 69737 h 706814"/>
                <a:gd name="connsiteX9" fmla="*/ 183663 w 837464"/>
                <a:gd name="connsiteY9" fmla="*/ 61006 h 706814"/>
                <a:gd name="connsiteX0" fmla="*/ 183663 w 837464"/>
                <a:gd name="connsiteY0" fmla="*/ 61926 h 707734"/>
                <a:gd name="connsiteX1" fmla="*/ 739288 w 837464"/>
                <a:gd name="connsiteY1" fmla="*/ 307194 h 707734"/>
                <a:gd name="connsiteX2" fmla="*/ 811679 w 837464"/>
                <a:gd name="connsiteY2" fmla="*/ 699466 h 707734"/>
                <a:gd name="connsiteX3" fmla="*/ 726836 w 837464"/>
                <a:gd name="connsiteY3" fmla="*/ 461181 h 707734"/>
                <a:gd name="connsiteX4" fmla="*/ 181528 w 837464"/>
                <a:gd name="connsiteY4" fmla="*/ 408796 h 707734"/>
                <a:gd name="connsiteX5" fmla="*/ 74127 w 837464"/>
                <a:gd name="connsiteY5" fmla="*/ 693750 h 707734"/>
                <a:gd name="connsiteX6" fmla="*/ 57702 w 837464"/>
                <a:gd name="connsiteY6" fmla="*/ 287350 h 707734"/>
                <a:gd name="connsiteX7" fmla="*/ 67229 w 837464"/>
                <a:gd name="connsiteY7" fmla="*/ 9539 h 707734"/>
                <a:gd name="connsiteX8" fmla="*/ 155335 w 837464"/>
                <a:gd name="connsiteY8" fmla="*/ 70657 h 707734"/>
                <a:gd name="connsiteX9" fmla="*/ 183663 w 837464"/>
                <a:gd name="connsiteY9" fmla="*/ 61926 h 707734"/>
                <a:gd name="connsiteX0" fmla="*/ 183663 w 837464"/>
                <a:gd name="connsiteY0" fmla="*/ 93692 h 739500"/>
                <a:gd name="connsiteX1" fmla="*/ 739288 w 837464"/>
                <a:gd name="connsiteY1" fmla="*/ 338960 h 739500"/>
                <a:gd name="connsiteX2" fmla="*/ 811679 w 837464"/>
                <a:gd name="connsiteY2" fmla="*/ 731232 h 739500"/>
                <a:gd name="connsiteX3" fmla="*/ 726836 w 837464"/>
                <a:gd name="connsiteY3" fmla="*/ 492947 h 739500"/>
                <a:gd name="connsiteX4" fmla="*/ 181528 w 837464"/>
                <a:gd name="connsiteY4" fmla="*/ 440562 h 739500"/>
                <a:gd name="connsiteX5" fmla="*/ 74127 w 837464"/>
                <a:gd name="connsiteY5" fmla="*/ 725516 h 739500"/>
                <a:gd name="connsiteX6" fmla="*/ 57702 w 837464"/>
                <a:gd name="connsiteY6" fmla="*/ 319116 h 739500"/>
                <a:gd name="connsiteX7" fmla="*/ 67229 w 837464"/>
                <a:gd name="connsiteY7" fmla="*/ 41305 h 739500"/>
                <a:gd name="connsiteX8" fmla="*/ 155335 w 837464"/>
                <a:gd name="connsiteY8" fmla="*/ 102423 h 739500"/>
                <a:gd name="connsiteX9" fmla="*/ 172003 w 837464"/>
                <a:gd name="connsiteY9" fmla="*/ 30 h 739500"/>
                <a:gd name="connsiteX10" fmla="*/ 183663 w 837464"/>
                <a:gd name="connsiteY10" fmla="*/ 93692 h 739500"/>
                <a:gd name="connsiteX0" fmla="*/ 183663 w 837464"/>
                <a:gd name="connsiteY0" fmla="*/ 61927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183663 w 837464"/>
                <a:gd name="connsiteY9" fmla="*/ 61927 h 707735"/>
                <a:gd name="connsiteX0" fmla="*/ 205095 w 837464"/>
                <a:gd name="connsiteY0" fmla="*/ 64308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205095 w 837464"/>
                <a:gd name="connsiteY9" fmla="*/ 64308 h 707735"/>
                <a:gd name="connsiteX0" fmla="*/ 205095 w 837464"/>
                <a:gd name="connsiteY0" fmla="*/ 64308 h 707735"/>
                <a:gd name="connsiteX1" fmla="*/ 739288 w 837464"/>
                <a:gd name="connsiteY1" fmla="*/ 307195 h 707735"/>
                <a:gd name="connsiteX2" fmla="*/ 811679 w 837464"/>
                <a:gd name="connsiteY2" fmla="*/ 699467 h 707735"/>
                <a:gd name="connsiteX3" fmla="*/ 726836 w 837464"/>
                <a:gd name="connsiteY3" fmla="*/ 461182 h 707735"/>
                <a:gd name="connsiteX4" fmla="*/ 181528 w 837464"/>
                <a:gd name="connsiteY4" fmla="*/ 408797 h 707735"/>
                <a:gd name="connsiteX5" fmla="*/ 74127 w 837464"/>
                <a:gd name="connsiteY5" fmla="*/ 693751 h 707735"/>
                <a:gd name="connsiteX6" fmla="*/ 57702 w 837464"/>
                <a:gd name="connsiteY6" fmla="*/ 287351 h 707735"/>
                <a:gd name="connsiteX7" fmla="*/ 67229 w 837464"/>
                <a:gd name="connsiteY7" fmla="*/ 9540 h 707735"/>
                <a:gd name="connsiteX8" fmla="*/ 155335 w 837464"/>
                <a:gd name="connsiteY8" fmla="*/ 70658 h 707735"/>
                <a:gd name="connsiteX9" fmla="*/ 205095 w 837464"/>
                <a:gd name="connsiteY9" fmla="*/ 64308 h 707735"/>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205095 w 837464"/>
                <a:gd name="connsiteY9"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05095 w 837464"/>
                <a:gd name="connsiteY0" fmla="*/ 62683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05095 w 837464"/>
                <a:gd name="connsiteY10" fmla="*/ 62683 h 706110"/>
                <a:gd name="connsiteX0" fmla="*/ 228908 w 837464"/>
                <a:gd name="connsiteY0" fmla="*/ 91258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28908 w 837464"/>
                <a:gd name="connsiteY10" fmla="*/ 91258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50572 w 837464"/>
                <a:gd name="connsiteY8" fmla="*/ 90464 h 706110"/>
                <a:gd name="connsiteX9" fmla="*/ 160097 w 837464"/>
                <a:gd name="connsiteY9" fmla="*/ 30932 h 706110"/>
                <a:gd name="connsiteX10" fmla="*/ 257483 w 837464"/>
                <a:gd name="connsiteY10" fmla="*/ 93639 h 706110"/>
                <a:gd name="connsiteX0" fmla="*/ 257483 w 837464"/>
                <a:gd name="connsiteY0" fmla="*/ 93639 h 706110"/>
                <a:gd name="connsiteX1" fmla="*/ 739288 w 837464"/>
                <a:gd name="connsiteY1" fmla="*/ 305570 h 706110"/>
                <a:gd name="connsiteX2" fmla="*/ 811679 w 837464"/>
                <a:gd name="connsiteY2" fmla="*/ 697842 h 706110"/>
                <a:gd name="connsiteX3" fmla="*/ 726836 w 837464"/>
                <a:gd name="connsiteY3" fmla="*/ 459557 h 706110"/>
                <a:gd name="connsiteX4" fmla="*/ 181528 w 837464"/>
                <a:gd name="connsiteY4" fmla="*/ 407172 h 706110"/>
                <a:gd name="connsiteX5" fmla="*/ 74127 w 837464"/>
                <a:gd name="connsiteY5" fmla="*/ 692126 h 706110"/>
                <a:gd name="connsiteX6" fmla="*/ 57702 w 837464"/>
                <a:gd name="connsiteY6" fmla="*/ 285726 h 706110"/>
                <a:gd name="connsiteX7" fmla="*/ 67229 w 837464"/>
                <a:gd name="connsiteY7" fmla="*/ 7915 h 706110"/>
                <a:gd name="connsiteX8" fmla="*/ 143428 w 837464"/>
                <a:gd name="connsiteY8" fmla="*/ 90464 h 706110"/>
                <a:gd name="connsiteX9" fmla="*/ 160097 w 837464"/>
                <a:gd name="connsiteY9" fmla="*/ 30932 h 706110"/>
                <a:gd name="connsiteX10" fmla="*/ 257483 w 837464"/>
                <a:gd name="connsiteY10" fmla="*/ 93639 h 706110"/>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294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294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592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465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 name="connsiteX0" fmla="*/ 257483 w 837464"/>
                <a:gd name="connsiteY0" fmla="*/ 86973 h 699444"/>
                <a:gd name="connsiteX1" fmla="*/ 739288 w 837464"/>
                <a:gd name="connsiteY1" fmla="*/ 298904 h 699444"/>
                <a:gd name="connsiteX2" fmla="*/ 811679 w 837464"/>
                <a:gd name="connsiteY2" fmla="*/ 691176 h 699444"/>
                <a:gd name="connsiteX3" fmla="*/ 726836 w 837464"/>
                <a:gd name="connsiteY3" fmla="*/ 452891 h 699444"/>
                <a:gd name="connsiteX4" fmla="*/ 181528 w 837464"/>
                <a:gd name="connsiteY4" fmla="*/ 400506 h 699444"/>
                <a:gd name="connsiteX5" fmla="*/ 74127 w 837464"/>
                <a:gd name="connsiteY5" fmla="*/ 685460 h 699444"/>
                <a:gd name="connsiteX6" fmla="*/ 57702 w 837464"/>
                <a:gd name="connsiteY6" fmla="*/ 279060 h 699444"/>
                <a:gd name="connsiteX7" fmla="*/ 46591 w 837464"/>
                <a:gd name="connsiteY7" fmla="*/ 8393 h 699444"/>
                <a:gd name="connsiteX8" fmla="*/ 143428 w 837464"/>
                <a:gd name="connsiteY8" fmla="*/ 83798 h 699444"/>
                <a:gd name="connsiteX9" fmla="*/ 160097 w 837464"/>
                <a:gd name="connsiteY9" fmla="*/ 24266 h 699444"/>
                <a:gd name="connsiteX10" fmla="*/ 257483 w 837464"/>
                <a:gd name="connsiteY10" fmla="*/ 86973 h 699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37464" h="699444">
                  <a:moveTo>
                    <a:pt x="257483" y="86973"/>
                  </a:moveTo>
                  <a:cubicBezTo>
                    <a:pt x="388715" y="147299"/>
                    <a:pt x="717594" y="2835"/>
                    <a:pt x="739288" y="298904"/>
                  </a:cubicBezTo>
                  <a:cubicBezTo>
                    <a:pt x="775323" y="279643"/>
                    <a:pt x="887560" y="379444"/>
                    <a:pt x="811679" y="691176"/>
                  </a:cubicBezTo>
                  <a:cubicBezTo>
                    <a:pt x="792141" y="747003"/>
                    <a:pt x="850911" y="503717"/>
                    <a:pt x="726836" y="452891"/>
                  </a:cubicBezTo>
                  <a:cubicBezTo>
                    <a:pt x="621811" y="404446"/>
                    <a:pt x="365322" y="497873"/>
                    <a:pt x="181528" y="400506"/>
                  </a:cubicBezTo>
                  <a:cubicBezTo>
                    <a:pt x="35187" y="379313"/>
                    <a:pt x="88414" y="714035"/>
                    <a:pt x="74127" y="685460"/>
                  </a:cubicBezTo>
                  <a:cubicBezTo>
                    <a:pt x="-403" y="623813"/>
                    <a:pt x="-39219" y="455009"/>
                    <a:pt x="57702" y="279060"/>
                  </a:cubicBezTo>
                  <a:cubicBezTo>
                    <a:pt x="25158" y="161586"/>
                    <a:pt x="40240" y="132218"/>
                    <a:pt x="46591" y="8393"/>
                  </a:cubicBezTo>
                  <a:cubicBezTo>
                    <a:pt x="62863" y="-27723"/>
                    <a:pt x="59729" y="63161"/>
                    <a:pt x="143428" y="83798"/>
                  </a:cubicBezTo>
                  <a:cubicBezTo>
                    <a:pt x="158906" y="87634"/>
                    <a:pt x="148628" y="57471"/>
                    <a:pt x="160097" y="24266"/>
                  </a:cubicBezTo>
                  <a:cubicBezTo>
                    <a:pt x="178709" y="43448"/>
                    <a:pt x="201432" y="69775"/>
                    <a:pt x="257483" y="86973"/>
                  </a:cubicBezTo>
                  <a:close/>
                </a:path>
              </a:pathLst>
            </a:custGeom>
            <a:solidFill>
              <a:srgbClr val="E4B7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99" name="Group 98">
              <a:extLst>
                <a:ext uri="{FF2B5EF4-FFF2-40B4-BE49-F238E27FC236}">
                  <a16:creationId xmlns:a16="http://schemas.microsoft.com/office/drawing/2014/main" id="{5C36D921-CD47-4D36-B553-1DFB32B7BCF0}"/>
                </a:ext>
              </a:extLst>
            </p:cNvPr>
            <p:cNvGrpSpPr/>
            <p:nvPr/>
          </p:nvGrpSpPr>
          <p:grpSpPr>
            <a:xfrm>
              <a:off x="12018963" y="456406"/>
              <a:ext cx="1562100" cy="1716410"/>
              <a:chOff x="12018963" y="456406"/>
              <a:chExt cx="1562100" cy="1716410"/>
            </a:xfrm>
          </p:grpSpPr>
          <p:sp>
            <p:nvSpPr>
              <p:cNvPr id="100" name="Freeform 25">
                <a:extLst>
                  <a:ext uri="{FF2B5EF4-FFF2-40B4-BE49-F238E27FC236}">
                    <a16:creationId xmlns:a16="http://schemas.microsoft.com/office/drawing/2014/main" id="{EEDE0E04-4AE1-4779-868F-3E6ADDDA15ED}"/>
                  </a:ext>
                </a:extLst>
              </p:cNvPr>
              <p:cNvSpPr>
                <a:spLocks/>
              </p:cNvSpPr>
              <p:nvPr/>
            </p:nvSpPr>
            <p:spPr bwMode="auto">
              <a:xfrm>
                <a:off x="13100050" y="1105693"/>
                <a:ext cx="58738" cy="252413"/>
              </a:xfrm>
              <a:custGeom>
                <a:avLst/>
                <a:gdLst>
                  <a:gd name="T0" fmla="*/ 13 w 13"/>
                  <a:gd name="T1" fmla="*/ 0 h 56"/>
                  <a:gd name="T2" fmla="*/ 13 w 13"/>
                  <a:gd name="T3" fmla="*/ 3 h 56"/>
                  <a:gd name="T4" fmla="*/ 0 w 13"/>
                  <a:gd name="T5" fmla="*/ 56 h 56"/>
                </a:gdLst>
                <a:ahLst/>
                <a:cxnLst>
                  <a:cxn ang="0">
                    <a:pos x="T0" y="T1"/>
                  </a:cxn>
                  <a:cxn ang="0">
                    <a:pos x="T2" y="T3"/>
                  </a:cxn>
                  <a:cxn ang="0">
                    <a:pos x="T4" y="T5"/>
                  </a:cxn>
                </a:cxnLst>
                <a:rect l="0" t="0" r="r" b="b"/>
                <a:pathLst>
                  <a:path w="13" h="56">
                    <a:moveTo>
                      <a:pt x="13" y="0"/>
                    </a:moveTo>
                    <a:cubicBezTo>
                      <a:pt x="13" y="1"/>
                      <a:pt x="13" y="2"/>
                      <a:pt x="13" y="3"/>
                    </a:cubicBezTo>
                    <a:cubicBezTo>
                      <a:pt x="11" y="23"/>
                      <a:pt x="6" y="41"/>
                      <a:pt x="0" y="5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1" name="Freeform 26">
                <a:extLst>
                  <a:ext uri="{FF2B5EF4-FFF2-40B4-BE49-F238E27FC236}">
                    <a16:creationId xmlns:a16="http://schemas.microsoft.com/office/drawing/2014/main" id="{8919A4C5-FA09-424B-A8F1-42CC6E40C823}"/>
                  </a:ext>
                </a:extLst>
              </p:cNvPr>
              <p:cNvSpPr>
                <a:spLocks/>
              </p:cNvSpPr>
              <p:nvPr/>
            </p:nvSpPr>
            <p:spPr bwMode="auto">
              <a:xfrm>
                <a:off x="12438063" y="1105693"/>
                <a:ext cx="360363" cy="517525"/>
              </a:xfrm>
              <a:custGeom>
                <a:avLst/>
                <a:gdLst>
                  <a:gd name="T0" fmla="*/ 80 w 80"/>
                  <a:gd name="T1" fmla="*/ 115 h 115"/>
                  <a:gd name="T2" fmla="*/ 0 w 80"/>
                  <a:gd name="T3" fmla="*/ 3 h 115"/>
                  <a:gd name="T4" fmla="*/ 0 w 80"/>
                  <a:gd name="T5" fmla="*/ 0 h 115"/>
                </a:gdLst>
                <a:ahLst/>
                <a:cxnLst>
                  <a:cxn ang="0">
                    <a:pos x="T0" y="T1"/>
                  </a:cxn>
                  <a:cxn ang="0">
                    <a:pos x="T2" y="T3"/>
                  </a:cxn>
                  <a:cxn ang="0">
                    <a:pos x="T4" y="T5"/>
                  </a:cxn>
                </a:cxnLst>
                <a:rect l="0" t="0" r="r" b="b"/>
                <a:pathLst>
                  <a:path w="80" h="115">
                    <a:moveTo>
                      <a:pt x="80" y="115"/>
                    </a:moveTo>
                    <a:cubicBezTo>
                      <a:pt x="46" y="115"/>
                      <a:pt x="6" y="72"/>
                      <a:pt x="0" y="3"/>
                    </a:cubicBezTo>
                    <a:cubicBezTo>
                      <a:pt x="0" y="2"/>
                      <a:pt x="0" y="1"/>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2" name="Freeform 27">
                <a:extLst>
                  <a:ext uri="{FF2B5EF4-FFF2-40B4-BE49-F238E27FC236}">
                    <a16:creationId xmlns:a16="http://schemas.microsoft.com/office/drawing/2014/main" id="{CD0C803B-19CC-4A58-86B6-C569C0B6EE35}"/>
                  </a:ext>
                </a:extLst>
              </p:cNvPr>
              <p:cNvSpPr>
                <a:spLocks/>
              </p:cNvSpPr>
              <p:nvPr/>
            </p:nvSpPr>
            <p:spPr bwMode="auto">
              <a:xfrm>
                <a:off x="12965113" y="1554956"/>
                <a:ext cx="615950" cy="617860"/>
              </a:xfrm>
              <a:custGeom>
                <a:avLst/>
                <a:gdLst>
                  <a:gd name="T0" fmla="*/ 0 w 137"/>
                  <a:gd name="T1" fmla="*/ 0 h 239"/>
                  <a:gd name="T2" fmla="*/ 0 w 137"/>
                  <a:gd name="T3" fmla="*/ 0 h 239"/>
                  <a:gd name="T4" fmla="*/ 137 w 137"/>
                  <a:gd name="T5" fmla="*/ 137 h 239"/>
                  <a:gd name="T6" fmla="*/ 137 w 137"/>
                  <a:gd name="T7" fmla="*/ 239 h 239"/>
                  <a:gd name="connsiteX0" fmla="*/ 0 w 10000"/>
                  <a:gd name="connsiteY0" fmla="*/ 0 h 5732"/>
                  <a:gd name="connsiteX1" fmla="*/ 0 w 10000"/>
                  <a:gd name="connsiteY1" fmla="*/ 0 h 5732"/>
                  <a:gd name="connsiteX2" fmla="*/ 10000 w 10000"/>
                  <a:gd name="connsiteY2" fmla="*/ 5732 h 5732"/>
                </a:gdLst>
                <a:ahLst/>
                <a:cxnLst>
                  <a:cxn ang="0">
                    <a:pos x="connsiteX0" y="connsiteY0"/>
                  </a:cxn>
                  <a:cxn ang="0">
                    <a:pos x="connsiteX1" y="connsiteY1"/>
                  </a:cxn>
                  <a:cxn ang="0">
                    <a:pos x="connsiteX2" y="connsiteY2"/>
                  </a:cxn>
                </a:cxnLst>
                <a:rect l="l" t="t" r="r" b="b"/>
                <a:pathLst>
                  <a:path w="10000" h="5732">
                    <a:moveTo>
                      <a:pt x="0" y="0"/>
                    </a:moveTo>
                    <a:lnTo>
                      <a:pt x="0" y="0"/>
                    </a:lnTo>
                    <a:cubicBezTo>
                      <a:pt x="5547" y="0"/>
                      <a:pt x="10000" y="2552"/>
                      <a:pt x="10000" y="573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3" name="Freeform 28">
                <a:extLst>
                  <a:ext uri="{FF2B5EF4-FFF2-40B4-BE49-F238E27FC236}">
                    <a16:creationId xmlns:a16="http://schemas.microsoft.com/office/drawing/2014/main" id="{77F52157-EB54-427E-942E-8D80D4068AE1}"/>
                  </a:ext>
                </a:extLst>
              </p:cNvPr>
              <p:cNvSpPr>
                <a:spLocks/>
              </p:cNvSpPr>
              <p:nvPr/>
            </p:nvSpPr>
            <p:spPr bwMode="auto">
              <a:xfrm>
                <a:off x="12018963" y="1554956"/>
                <a:ext cx="612775" cy="617572"/>
              </a:xfrm>
              <a:custGeom>
                <a:avLst/>
                <a:gdLst>
                  <a:gd name="T0" fmla="*/ 0 w 136"/>
                  <a:gd name="T1" fmla="*/ 243 h 243"/>
                  <a:gd name="T2" fmla="*/ 0 w 136"/>
                  <a:gd name="T3" fmla="*/ 137 h 243"/>
                  <a:gd name="T4" fmla="*/ 136 w 136"/>
                  <a:gd name="T5" fmla="*/ 0 h 243"/>
                  <a:gd name="T6" fmla="*/ 136 w 136"/>
                  <a:gd name="T7" fmla="*/ 0 h 243"/>
                  <a:gd name="connsiteX0" fmla="*/ 0 w 10000"/>
                  <a:gd name="connsiteY0" fmla="*/ 5638 h 5638"/>
                  <a:gd name="connsiteX1" fmla="*/ 10000 w 10000"/>
                  <a:gd name="connsiteY1" fmla="*/ 0 h 5638"/>
                  <a:gd name="connsiteX2" fmla="*/ 10000 w 10000"/>
                  <a:gd name="connsiteY2" fmla="*/ 0 h 5638"/>
                </a:gdLst>
                <a:ahLst/>
                <a:cxnLst>
                  <a:cxn ang="0">
                    <a:pos x="connsiteX0" y="connsiteY0"/>
                  </a:cxn>
                  <a:cxn ang="0">
                    <a:pos x="connsiteX1" y="connsiteY1"/>
                  </a:cxn>
                  <a:cxn ang="0">
                    <a:pos x="connsiteX2" y="connsiteY2"/>
                  </a:cxn>
                </a:cxnLst>
                <a:rect l="l" t="t" r="r" b="b"/>
                <a:pathLst>
                  <a:path w="10000" h="5638">
                    <a:moveTo>
                      <a:pt x="0" y="5638"/>
                    </a:moveTo>
                    <a:cubicBezTo>
                      <a:pt x="0" y="2510"/>
                      <a:pt x="4485" y="0"/>
                      <a:pt x="10000" y="0"/>
                    </a:cubicBezTo>
                    <a:lnTo>
                      <a:pt x="10000" y="0"/>
                    </a:ln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4" name="Freeform 30">
                <a:extLst>
                  <a:ext uri="{FF2B5EF4-FFF2-40B4-BE49-F238E27FC236}">
                    <a16:creationId xmlns:a16="http://schemas.microsoft.com/office/drawing/2014/main" id="{A3023C13-6218-4406-BD40-665A9B8881DA}"/>
                  </a:ext>
                </a:extLst>
              </p:cNvPr>
              <p:cNvSpPr>
                <a:spLocks/>
              </p:cNvSpPr>
              <p:nvPr/>
            </p:nvSpPr>
            <p:spPr bwMode="auto">
              <a:xfrm>
                <a:off x="12950825" y="672306"/>
                <a:ext cx="288925" cy="460375"/>
              </a:xfrm>
              <a:custGeom>
                <a:avLst/>
                <a:gdLst>
                  <a:gd name="T0" fmla="*/ 0 w 64"/>
                  <a:gd name="T1" fmla="*/ 44 h 102"/>
                  <a:gd name="T2" fmla="*/ 45 w 64"/>
                  <a:gd name="T3" fmla="*/ 102 h 102"/>
                  <a:gd name="T4" fmla="*/ 34 w 64"/>
                  <a:gd name="T5" fmla="*/ 0 h 102"/>
                </a:gdLst>
                <a:ahLst/>
                <a:cxnLst>
                  <a:cxn ang="0">
                    <a:pos x="T0" y="T1"/>
                  </a:cxn>
                  <a:cxn ang="0">
                    <a:pos x="T2" y="T3"/>
                  </a:cxn>
                  <a:cxn ang="0">
                    <a:pos x="T4" y="T5"/>
                  </a:cxn>
                </a:cxnLst>
                <a:rect l="0" t="0" r="r" b="b"/>
                <a:pathLst>
                  <a:path w="64" h="102">
                    <a:moveTo>
                      <a:pt x="0" y="44"/>
                    </a:moveTo>
                    <a:cubicBezTo>
                      <a:pt x="0" y="44"/>
                      <a:pt x="51" y="28"/>
                      <a:pt x="45" y="102"/>
                    </a:cubicBezTo>
                    <a:cubicBezTo>
                      <a:pt x="62" y="91"/>
                      <a:pt x="64" y="19"/>
                      <a:pt x="34"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5" name="Freeform 31">
                <a:extLst>
                  <a:ext uri="{FF2B5EF4-FFF2-40B4-BE49-F238E27FC236}">
                    <a16:creationId xmlns:a16="http://schemas.microsoft.com/office/drawing/2014/main" id="{4E480C11-FFFF-4B77-8261-12D2E513AE24}"/>
                  </a:ext>
                </a:extLst>
              </p:cNvPr>
              <p:cNvSpPr>
                <a:spLocks/>
              </p:cNvSpPr>
              <p:nvPr/>
            </p:nvSpPr>
            <p:spPr bwMode="auto">
              <a:xfrm>
                <a:off x="12365038" y="708818"/>
                <a:ext cx="149225" cy="409575"/>
              </a:xfrm>
              <a:custGeom>
                <a:avLst/>
                <a:gdLst>
                  <a:gd name="T0" fmla="*/ 33 w 33"/>
                  <a:gd name="T1" fmla="*/ 24 h 91"/>
                  <a:gd name="T2" fmla="*/ 16 w 33"/>
                  <a:gd name="T3" fmla="*/ 91 h 91"/>
                  <a:gd name="T4" fmla="*/ 16 w 33"/>
                  <a:gd name="T5" fmla="*/ 0 h 91"/>
                </a:gdLst>
                <a:ahLst/>
                <a:cxnLst>
                  <a:cxn ang="0">
                    <a:pos x="T0" y="T1"/>
                  </a:cxn>
                  <a:cxn ang="0">
                    <a:pos x="T2" y="T3"/>
                  </a:cxn>
                  <a:cxn ang="0">
                    <a:pos x="T4" y="T5"/>
                  </a:cxn>
                </a:cxnLst>
                <a:rect l="0" t="0" r="r" b="b"/>
                <a:pathLst>
                  <a:path w="33" h="91">
                    <a:moveTo>
                      <a:pt x="33" y="24"/>
                    </a:moveTo>
                    <a:cubicBezTo>
                      <a:pt x="27" y="31"/>
                      <a:pt x="13" y="50"/>
                      <a:pt x="16" y="91"/>
                    </a:cubicBezTo>
                    <a:cubicBezTo>
                      <a:pt x="0" y="85"/>
                      <a:pt x="0" y="33"/>
                      <a:pt x="16"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6" name="Freeform 32">
                <a:extLst>
                  <a:ext uri="{FF2B5EF4-FFF2-40B4-BE49-F238E27FC236}">
                    <a16:creationId xmlns:a16="http://schemas.microsoft.com/office/drawing/2014/main" id="{3BA3E647-3410-44C6-B817-CB6A8EBDA9CB}"/>
                  </a:ext>
                </a:extLst>
              </p:cNvPr>
              <p:cNvSpPr>
                <a:spLocks/>
              </p:cNvSpPr>
              <p:nvPr/>
            </p:nvSpPr>
            <p:spPr bwMode="auto">
              <a:xfrm>
                <a:off x="12423775" y="456406"/>
                <a:ext cx="414338" cy="414338"/>
              </a:xfrm>
              <a:custGeom>
                <a:avLst/>
                <a:gdLst>
                  <a:gd name="T0" fmla="*/ 92 w 92"/>
                  <a:gd name="T1" fmla="*/ 92 h 92"/>
                  <a:gd name="T2" fmla="*/ 55 w 92"/>
                  <a:gd name="T3" fmla="*/ 92 h 92"/>
                  <a:gd name="T4" fmla="*/ 0 w 92"/>
                  <a:gd name="T5" fmla="*/ 37 h 92"/>
                  <a:gd name="T6" fmla="*/ 0 w 92"/>
                  <a:gd name="T7" fmla="*/ 0 h 92"/>
                  <a:gd name="T8" fmla="*/ 1 w 92"/>
                  <a:gd name="T9" fmla="*/ 1 h 92"/>
                  <a:gd name="T10" fmla="*/ 21 w 92"/>
                  <a:gd name="T11" fmla="*/ 15 h 92"/>
                </a:gdLst>
                <a:ahLst/>
                <a:cxnLst>
                  <a:cxn ang="0">
                    <a:pos x="T0" y="T1"/>
                  </a:cxn>
                  <a:cxn ang="0">
                    <a:pos x="T2" y="T3"/>
                  </a:cxn>
                  <a:cxn ang="0">
                    <a:pos x="T4" y="T5"/>
                  </a:cxn>
                  <a:cxn ang="0">
                    <a:pos x="T6" y="T7"/>
                  </a:cxn>
                  <a:cxn ang="0">
                    <a:pos x="T8" y="T9"/>
                  </a:cxn>
                  <a:cxn ang="0">
                    <a:pos x="T10" y="T11"/>
                  </a:cxn>
                </a:cxnLst>
                <a:rect l="0" t="0" r="r" b="b"/>
                <a:pathLst>
                  <a:path w="92" h="92">
                    <a:moveTo>
                      <a:pt x="92" y="92"/>
                    </a:moveTo>
                    <a:cubicBezTo>
                      <a:pt x="55" y="92"/>
                      <a:pt x="55" y="92"/>
                      <a:pt x="55" y="92"/>
                    </a:cubicBezTo>
                    <a:cubicBezTo>
                      <a:pt x="25" y="92"/>
                      <a:pt x="0" y="68"/>
                      <a:pt x="0" y="37"/>
                    </a:cubicBezTo>
                    <a:cubicBezTo>
                      <a:pt x="0" y="0"/>
                      <a:pt x="0" y="0"/>
                      <a:pt x="0" y="0"/>
                    </a:cubicBezTo>
                    <a:cubicBezTo>
                      <a:pt x="1" y="1"/>
                      <a:pt x="1" y="1"/>
                      <a:pt x="1" y="1"/>
                    </a:cubicBezTo>
                    <a:cubicBezTo>
                      <a:pt x="6" y="8"/>
                      <a:pt x="13" y="13"/>
                      <a:pt x="21" y="15"/>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7" name="Freeform 33">
                <a:extLst>
                  <a:ext uri="{FF2B5EF4-FFF2-40B4-BE49-F238E27FC236}">
                    <a16:creationId xmlns:a16="http://schemas.microsoft.com/office/drawing/2014/main" id="{4B9D4B8F-30F3-4493-8D27-789C70D7737F}"/>
                  </a:ext>
                </a:extLst>
              </p:cNvPr>
              <p:cNvSpPr>
                <a:spLocks/>
              </p:cNvSpPr>
              <p:nvPr/>
            </p:nvSpPr>
            <p:spPr bwMode="auto">
              <a:xfrm>
                <a:off x="12519025" y="456406"/>
                <a:ext cx="581025" cy="323850"/>
              </a:xfrm>
              <a:custGeom>
                <a:avLst/>
                <a:gdLst>
                  <a:gd name="T0" fmla="*/ 8 w 129"/>
                  <a:gd name="T1" fmla="*/ 54 h 72"/>
                  <a:gd name="T2" fmla="*/ 0 w 129"/>
                  <a:gd name="T3" fmla="*/ 21 h 72"/>
                  <a:gd name="T4" fmla="*/ 0 w 129"/>
                  <a:gd name="T5" fmla="*/ 0 h 72"/>
                  <a:gd name="T6" fmla="*/ 0 w 129"/>
                  <a:gd name="T7" fmla="*/ 1 h 72"/>
                  <a:gd name="T8" fmla="*/ 31 w 129"/>
                  <a:gd name="T9" fmla="*/ 17 h 72"/>
                  <a:gd name="T10" fmla="*/ 92 w 129"/>
                  <a:gd name="T11" fmla="*/ 17 h 72"/>
                  <a:gd name="T12" fmla="*/ 129 w 129"/>
                  <a:gd name="T13" fmla="*/ 54 h 72"/>
                  <a:gd name="T14" fmla="*/ 129 w 129"/>
                  <a:gd name="T15" fmla="*/ 54 h 72"/>
                  <a:gd name="T16" fmla="*/ 129 w 129"/>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9" h="72">
                    <a:moveTo>
                      <a:pt x="8" y="54"/>
                    </a:moveTo>
                    <a:cubicBezTo>
                      <a:pt x="3" y="44"/>
                      <a:pt x="0" y="33"/>
                      <a:pt x="0" y="21"/>
                    </a:cubicBezTo>
                    <a:cubicBezTo>
                      <a:pt x="0" y="0"/>
                      <a:pt x="0" y="0"/>
                      <a:pt x="0" y="0"/>
                    </a:cubicBezTo>
                    <a:cubicBezTo>
                      <a:pt x="0" y="1"/>
                      <a:pt x="0" y="1"/>
                      <a:pt x="0" y="1"/>
                    </a:cubicBezTo>
                    <a:cubicBezTo>
                      <a:pt x="8" y="11"/>
                      <a:pt x="19" y="17"/>
                      <a:pt x="31" y="17"/>
                    </a:cubicBezTo>
                    <a:cubicBezTo>
                      <a:pt x="92" y="17"/>
                      <a:pt x="92" y="17"/>
                      <a:pt x="92" y="17"/>
                    </a:cubicBezTo>
                    <a:cubicBezTo>
                      <a:pt x="112" y="17"/>
                      <a:pt x="129" y="34"/>
                      <a:pt x="129" y="54"/>
                    </a:cubicBezTo>
                    <a:cubicBezTo>
                      <a:pt x="129" y="54"/>
                      <a:pt x="129" y="54"/>
                      <a:pt x="129" y="54"/>
                    </a:cubicBezTo>
                    <a:cubicBezTo>
                      <a:pt x="129" y="56"/>
                      <a:pt x="129" y="71"/>
                      <a:pt x="129" y="7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08" name="Freeform 34">
                <a:extLst>
                  <a:ext uri="{FF2B5EF4-FFF2-40B4-BE49-F238E27FC236}">
                    <a16:creationId xmlns:a16="http://schemas.microsoft.com/office/drawing/2014/main" id="{E3ABB6D4-3E45-49BC-A8F3-540D59F609D7}"/>
                  </a:ext>
                </a:extLst>
              </p:cNvPr>
              <p:cNvSpPr>
                <a:spLocks/>
              </p:cNvSpPr>
              <p:nvPr/>
            </p:nvSpPr>
            <p:spPr bwMode="auto">
              <a:xfrm>
                <a:off x="12577763" y="1564481"/>
                <a:ext cx="436563" cy="293688"/>
              </a:xfrm>
              <a:custGeom>
                <a:avLst/>
                <a:gdLst>
                  <a:gd name="T0" fmla="*/ 97 w 97"/>
                  <a:gd name="T1" fmla="*/ 0 h 65"/>
                  <a:gd name="T2" fmla="*/ 49 w 97"/>
                  <a:gd name="T3" fmla="*/ 65 h 65"/>
                  <a:gd name="T4" fmla="*/ 0 w 97"/>
                  <a:gd name="T5" fmla="*/ 0 h 65"/>
                </a:gdLst>
                <a:ahLst/>
                <a:cxnLst>
                  <a:cxn ang="0">
                    <a:pos x="T0" y="T1"/>
                  </a:cxn>
                  <a:cxn ang="0">
                    <a:pos x="T2" y="T3"/>
                  </a:cxn>
                  <a:cxn ang="0">
                    <a:pos x="T4" y="T5"/>
                  </a:cxn>
                </a:cxnLst>
                <a:rect l="0" t="0" r="r" b="b"/>
                <a:pathLst>
                  <a:path w="97" h="65">
                    <a:moveTo>
                      <a:pt x="97" y="0"/>
                    </a:moveTo>
                    <a:cubicBezTo>
                      <a:pt x="97" y="36"/>
                      <a:pt x="75" y="65"/>
                      <a:pt x="49" y="65"/>
                    </a:cubicBezTo>
                    <a:cubicBezTo>
                      <a:pt x="22" y="65"/>
                      <a:pt x="0" y="36"/>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09" name="Group 108">
            <a:extLst>
              <a:ext uri="{FF2B5EF4-FFF2-40B4-BE49-F238E27FC236}">
                <a16:creationId xmlns:a16="http://schemas.microsoft.com/office/drawing/2014/main" id="{94653F33-063C-46BC-B906-331E6DE11D53}"/>
              </a:ext>
            </a:extLst>
          </p:cNvPr>
          <p:cNvGrpSpPr/>
          <p:nvPr/>
        </p:nvGrpSpPr>
        <p:grpSpPr>
          <a:xfrm>
            <a:off x="7128337" y="4383181"/>
            <a:ext cx="1202863" cy="1346994"/>
            <a:chOff x="10096230" y="532606"/>
            <a:chExt cx="1479329" cy="1656587"/>
          </a:xfrm>
        </p:grpSpPr>
        <p:sp>
          <p:nvSpPr>
            <p:cNvPr id="110" name="Rectangle 53">
              <a:extLst>
                <a:ext uri="{FF2B5EF4-FFF2-40B4-BE49-F238E27FC236}">
                  <a16:creationId xmlns:a16="http://schemas.microsoft.com/office/drawing/2014/main" id="{03FE9465-9FF2-47B6-ADCE-361D0F858CE8}"/>
                </a:ext>
              </a:extLst>
            </p:cNvPr>
            <p:cNvSpPr/>
            <p:nvPr/>
          </p:nvSpPr>
          <p:spPr>
            <a:xfrm>
              <a:off x="10247818" y="559531"/>
              <a:ext cx="1060926" cy="1360849"/>
            </a:xfrm>
            <a:custGeom>
              <a:avLst/>
              <a:gdLst>
                <a:gd name="connsiteX0" fmla="*/ 0 w 1007007"/>
                <a:gd name="connsiteY0" fmla="*/ 0 h 1397001"/>
                <a:gd name="connsiteX1" fmla="*/ 1007007 w 1007007"/>
                <a:gd name="connsiteY1" fmla="*/ 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949857 w 1007007"/>
                <a:gd name="connsiteY1" fmla="*/ 6540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0 w 1007007"/>
                <a:gd name="connsiteY0" fmla="*/ 0 h 1397001"/>
                <a:gd name="connsiteX1" fmla="*/ 886357 w 1007007"/>
                <a:gd name="connsiteY1" fmla="*/ 222250 h 1397001"/>
                <a:gd name="connsiteX2" fmla="*/ 1007007 w 1007007"/>
                <a:gd name="connsiteY2" fmla="*/ 1397001 h 1397001"/>
                <a:gd name="connsiteX3" fmla="*/ 0 w 1007007"/>
                <a:gd name="connsiteY3" fmla="*/ 1397001 h 1397001"/>
                <a:gd name="connsiteX4" fmla="*/ 0 w 1007007"/>
                <a:gd name="connsiteY4" fmla="*/ 0 h 1397001"/>
                <a:gd name="connsiteX0" fmla="*/ 285750 w 1007007"/>
                <a:gd name="connsiteY0" fmla="*/ 320167 h 1279018"/>
                <a:gd name="connsiteX1" fmla="*/ 886357 w 1007007"/>
                <a:gd name="connsiteY1" fmla="*/ 104267 h 1279018"/>
                <a:gd name="connsiteX2" fmla="*/ 1007007 w 1007007"/>
                <a:gd name="connsiteY2" fmla="*/ 1279018 h 1279018"/>
                <a:gd name="connsiteX3" fmla="*/ 0 w 1007007"/>
                <a:gd name="connsiteY3" fmla="*/ 1279018 h 1279018"/>
                <a:gd name="connsiteX4" fmla="*/ 285750 w 1007007"/>
                <a:gd name="connsiteY4" fmla="*/ 320167 h 1279018"/>
                <a:gd name="connsiteX0" fmla="*/ 88900 w 1007007"/>
                <a:gd name="connsiteY0" fmla="*/ 134117 h 1315218"/>
                <a:gd name="connsiteX1" fmla="*/ 886357 w 1007007"/>
                <a:gd name="connsiteY1" fmla="*/ 140467 h 1315218"/>
                <a:gd name="connsiteX2" fmla="*/ 1007007 w 1007007"/>
                <a:gd name="connsiteY2" fmla="*/ 1315218 h 1315218"/>
                <a:gd name="connsiteX3" fmla="*/ 0 w 1007007"/>
                <a:gd name="connsiteY3" fmla="*/ 1315218 h 1315218"/>
                <a:gd name="connsiteX4" fmla="*/ 88900 w 1007007"/>
                <a:gd name="connsiteY4" fmla="*/ 134117 h 1315218"/>
                <a:gd name="connsiteX0" fmla="*/ 88900 w 1007007"/>
                <a:gd name="connsiteY0" fmla="*/ 198540 h 1379641"/>
                <a:gd name="connsiteX1" fmla="*/ 886357 w 1007007"/>
                <a:gd name="connsiteY1" fmla="*/ 204890 h 1379641"/>
                <a:gd name="connsiteX2" fmla="*/ 1007007 w 1007007"/>
                <a:gd name="connsiteY2" fmla="*/ 1379641 h 1379641"/>
                <a:gd name="connsiteX3" fmla="*/ 0 w 1007007"/>
                <a:gd name="connsiteY3" fmla="*/ 1379641 h 1379641"/>
                <a:gd name="connsiteX4" fmla="*/ 88900 w 1007007"/>
                <a:gd name="connsiteY4" fmla="*/ 198540 h 1379641"/>
                <a:gd name="connsiteX0" fmla="*/ 103188 w 1007007"/>
                <a:gd name="connsiteY0" fmla="*/ 205802 h 1374997"/>
                <a:gd name="connsiteX1" fmla="*/ 886357 w 1007007"/>
                <a:gd name="connsiteY1" fmla="*/ 200246 h 1374997"/>
                <a:gd name="connsiteX2" fmla="*/ 1007007 w 1007007"/>
                <a:gd name="connsiteY2" fmla="*/ 1374997 h 1374997"/>
                <a:gd name="connsiteX3" fmla="*/ 0 w 1007007"/>
                <a:gd name="connsiteY3" fmla="*/ 1374997 h 1374997"/>
                <a:gd name="connsiteX4" fmla="*/ 103188 w 1007007"/>
                <a:gd name="connsiteY4" fmla="*/ 205802 h 1374997"/>
                <a:gd name="connsiteX0" fmla="*/ 103188 w 1007007"/>
                <a:gd name="connsiteY0" fmla="*/ 205802 h 1374997"/>
                <a:gd name="connsiteX1" fmla="*/ 886357 w 1007007"/>
                <a:gd name="connsiteY1" fmla="*/ 200246 h 1374997"/>
                <a:gd name="connsiteX2" fmla="*/ 1007007 w 1007007"/>
                <a:gd name="connsiteY2" fmla="*/ 1374997 h 1374997"/>
                <a:gd name="connsiteX3" fmla="*/ 0 w 1007007"/>
                <a:gd name="connsiteY3" fmla="*/ 1374997 h 1374997"/>
                <a:gd name="connsiteX4" fmla="*/ 103188 w 1007007"/>
                <a:gd name="connsiteY4" fmla="*/ 205802 h 1374997"/>
                <a:gd name="connsiteX0" fmla="*/ 127000 w 1030819"/>
                <a:gd name="connsiteY0" fmla="*/ 205802 h 1374997"/>
                <a:gd name="connsiteX1" fmla="*/ 910169 w 1030819"/>
                <a:gd name="connsiteY1" fmla="*/ 200246 h 1374997"/>
                <a:gd name="connsiteX2" fmla="*/ 1030819 w 1030819"/>
                <a:gd name="connsiteY2" fmla="*/ 1374997 h 1374997"/>
                <a:gd name="connsiteX3" fmla="*/ 0 w 1030819"/>
                <a:gd name="connsiteY3" fmla="*/ 1113059 h 1374997"/>
                <a:gd name="connsiteX4" fmla="*/ 127000 w 1030819"/>
                <a:gd name="connsiteY4" fmla="*/ 205802 h 1374997"/>
                <a:gd name="connsiteX0" fmla="*/ 127000 w 1030819"/>
                <a:gd name="connsiteY0" fmla="*/ 205802 h 1374997"/>
                <a:gd name="connsiteX1" fmla="*/ 910169 w 1030819"/>
                <a:gd name="connsiteY1" fmla="*/ 200246 h 1374997"/>
                <a:gd name="connsiteX2" fmla="*/ 1030819 w 1030819"/>
                <a:gd name="connsiteY2" fmla="*/ 1374997 h 1374997"/>
                <a:gd name="connsiteX3" fmla="*/ 0 w 1030819"/>
                <a:gd name="connsiteY3" fmla="*/ 1113059 h 1374997"/>
                <a:gd name="connsiteX4" fmla="*/ 127000 w 1030819"/>
                <a:gd name="connsiteY4" fmla="*/ 205802 h 1374997"/>
                <a:gd name="connsiteX0" fmla="*/ 194866 w 1098685"/>
                <a:gd name="connsiteY0" fmla="*/ 133679 h 1302874"/>
                <a:gd name="connsiteX1" fmla="*/ 978035 w 1098685"/>
                <a:gd name="connsiteY1" fmla="*/ 128123 h 1302874"/>
                <a:gd name="connsiteX2" fmla="*/ 1098685 w 1098685"/>
                <a:gd name="connsiteY2" fmla="*/ 1302874 h 1302874"/>
                <a:gd name="connsiteX3" fmla="*/ 67866 w 1098685"/>
                <a:gd name="connsiteY3" fmla="*/ 1040936 h 1302874"/>
                <a:gd name="connsiteX4" fmla="*/ 194866 w 1098685"/>
                <a:gd name="connsiteY4" fmla="*/ 133679 h 1302874"/>
                <a:gd name="connsiteX0" fmla="*/ 178007 w 1081826"/>
                <a:gd name="connsiteY0" fmla="*/ 142060 h 1311255"/>
                <a:gd name="connsiteX1" fmla="*/ 961176 w 1081826"/>
                <a:gd name="connsiteY1" fmla="*/ 136504 h 1311255"/>
                <a:gd name="connsiteX2" fmla="*/ 1081826 w 1081826"/>
                <a:gd name="connsiteY2" fmla="*/ 1311255 h 1311255"/>
                <a:gd name="connsiteX3" fmla="*/ 51007 w 1081826"/>
                <a:gd name="connsiteY3" fmla="*/ 1049317 h 1311255"/>
                <a:gd name="connsiteX4" fmla="*/ 178007 w 1081826"/>
                <a:gd name="connsiteY4" fmla="*/ 142060 h 1311255"/>
                <a:gd name="connsiteX0" fmla="*/ 178007 w 1081826"/>
                <a:gd name="connsiteY0" fmla="*/ 122600 h 1291795"/>
                <a:gd name="connsiteX1" fmla="*/ 961176 w 1081826"/>
                <a:gd name="connsiteY1" fmla="*/ 117044 h 1291795"/>
                <a:gd name="connsiteX2" fmla="*/ 1081826 w 1081826"/>
                <a:gd name="connsiteY2" fmla="*/ 1291795 h 1291795"/>
                <a:gd name="connsiteX3" fmla="*/ 51007 w 1081826"/>
                <a:gd name="connsiteY3" fmla="*/ 1029857 h 1291795"/>
                <a:gd name="connsiteX4" fmla="*/ 178007 w 1081826"/>
                <a:gd name="connsiteY4" fmla="*/ 122600 h 1291795"/>
                <a:gd name="connsiteX0" fmla="*/ 192932 w 1096751"/>
                <a:gd name="connsiteY0" fmla="*/ 193781 h 1362976"/>
                <a:gd name="connsiteX1" fmla="*/ 976101 w 1096751"/>
                <a:gd name="connsiteY1" fmla="*/ 188225 h 1362976"/>
                <a:gd name="connsiteX2" fmla="*/ 1096751 w 1096751"/>
                <a:gd name="connsiteY2" fmla="*/ 1362976 h 1362976"/>
                <a:gd name="connsiteX3" fmla="*/ 65932 w 1096751"/>
                <a:gd name="connsiteY3" fmla="*/ 1101038 h 1362976"/>
                <a:gd name="connsiteX4" fmla="*/ 192932 w 1096751"/>
                <a:gd name="connsiteY4" fmla="*/ 193781 h 1362976"/>
                <a:gd name="connsiteX0" fmla="*/ 213571 w 1091196"/>
                <a:gd name="connsiteY0" fmla="*/ 175866 h 1390305"/>
                <a:gd name="connsiteX1" fmla="*/ 970546 w 1091196"/>
                <a:gd name="connsiteY1" fmla="*/ 215554 h 1390305"/>
                <a:gd name="connsiteX2" fmla="*/ 1091196 w 1091196"/>
                <a:gd name="connsiteY2" fmla="*/ 1390305 h 1390305"/>
                <a:gd name="connsiteX3" fmla="*/ 60377 w 1091196"/>
                <a:gd name="connsiteY3" fmla="*/ 1128367 h 1390305"/>
                <a:gd name="connsiteX4" fmla="*/ 213571 w 1091196"/>
                <a:gd name="connsiteY4" fmla="*/ 175866 h 1390305"/>
                <a:gd name="connsiteX0" fmla="*/ 275115 w 1152740"/>
                <a:gd name="connsiteY0" fmla="*/ 185058 h 1399497"/>
                <a:gd name="connsiteX1" fmla="*/ 1032090 w 1152740"/>
                <a:gd name="connsiteY1" fmla="*/ 224746 h 1399497"/>
                <a:gd name="connsiteX2" fmla="*/ 1152740 w 1152740"/>
                <a:gd name="connsiteY2" fmla="*/ 1399497 h 1399497"/>
                <a:gd name="connsiteX3" fmla="*/ 121921 w 1152740"/>
                <a:gd name="connsiteY3" fmla="*/ 1137559 h 1399497"/>
                <a:gd name="connsiteX4" fmla="*/ 275115 w 1152740"/>
                <a:gd name="connsiteY4" fmla="*/ 185058 h 1399497"/>
                <a:gd name="connsiteX0" fmla="*/ 275115 w 1152740"/>
                <a:gd name="connsiteY0" fmla="*/ 199991 h 1414430"/>
                <a:gd name="connsiteX1" fmla="*/ 1032090 w 1152740"/>
                <a:gd name="connsiteY1" fmla="*/ 239679 h 1414430"/>
                <a:gd name="connsiteX2" fmla="*/ 1152740 w 1152740"/>
                <a:gd name="connsiteY2" fmla="*/ 1414430 h 1414430"/>
                <a:gd name="connsiteX3" fmla="*/ 121921 w 1152740"/>
                <a:gd name="connsiteY3" fmla="*/ 1152492 h 1414430"/>
                <a:gd name="connsiteX4" fmla="*/ 275115 w 1152740"/>
                <a:gd name="connsiteY4" fmla="*/ 199991 h 1414430"/>
                <a:gd name="connsiteX0" fmla="*/ 215398 w 1093023"/>
                <a:gd name="connsiteY0" fmla="*/ 88728 h 1303167"/>
                <a:gd name="connsiteX1" fmla="*/ 977135 w 1093023"/>
                <a:gd name="connsiteY1" fmla="*/ 206998 h 1303167"/>
                <a:gd name="connsiteX2" fmla="*/ 1093023 w 1093023"/>
                <a:gd name="connsiteY2" fmla="*/ 1303167 h 1303167"/>
                <a:gd name="connsiteX3" fmla="*/ 62204 w 1093023"/>
                <a:gd name="connsiteY3" fmla="*/ 1041229 h 1303167"/>
                <a:gd name="connsiteX4" fmla="*/ 215398 w 1093023"/>
                <a:gd name="connsiteY4" fmla="*/ 88728 h 1303167"/>
                <a:gd name="connsiteX0" fmla="*/ 215398 w 1107316"/>
                <a:gd name="connsiteY0" fmla="*/ 180178 h 1394617"/>
                <a:gd name="connsiteX1" fmla="*/ 977135 w 1107316"/>
                <a:gd name="connsiteY1" fmla="*/ 298448 h 1394617"/>
                <a:gd name="connsiteX2" fmla="*/ 1093023 w 1107316"/>
                <a:gd name="connsiteY2" fmla="*/ 1394617 h 1394617"/>
                <a:gd name="connsiteX3" fmla="*/ 62204 w 1107316"/>
                <a:gd name="connsiteY3" fmla="*/ 1132679 h 1394617"/>
                <a:gd name="connsiteX4" fmla="*/ 215398 w 1107316"/>
                <a:gd name="connsiteY4" fmla="*/ 180178 h 1394617"/>
                <a:gd name="connsiteX0" fmla="*/ 215398 w 1093023"/>
                <a:gd name="connsiteY0" fmla="*/ 180178 h 1394617"/>
                <a:gd name="connsiteX1" fmla="*/ 977135 w 1093023"/>
                <a:gd name="connsiteY1" fmla="*/ 298448 h 1394617"/>
                <a:gd name="connsiteX2" fmla="*/ 1093023 w 1093023"/>
                <a:gd name="connsiteY2" fmla="*/ 1394617 h 1394617"/>
                <a:gd name="connsiteX3" fmla="*/ 62204 w 1093023"/>
                <a:gd name="connsiteY3" fmla="*/ 1132679 h 1394617"/>
                <a:gd name="connsiteX4" fmla="*/ 215398 w 1093023"/>
                <a:gd name="connsiteY4" fmla="*/ 180178 h 1394617"/>
                <a:gd name="connsiteX0" fmla="*/ 215398 w 1015003"/>
                <a:gd name="connsiteY0" fmla="*/ 180178 h 1377948"/>
                <a:gd name="connsiteX1" fmla="*/ 977135 w 1015003"/>
                <a:gd name="connsiteY1" fmla="*/ 298448 h 1377948"/>
                <a:gd name="connsiteX2" fmla="*/ 885855 w 1015003"/>
                <a:gd name="connsiteY2" fmla="*/ 1377948 h 1377948"/>
                <a:gd name="connsiteX3" fmla="*/ 62204 w 1015003"/>
                <a:gd name="connsiteY3" fmla="*/ 1132679 h 1377948"/>
                <a:gd name="connsiteX4" fmla="*/ 215398 w 1015003"/>
                <a:gd name="connsiteY4" fmla="*/ 180178 h 1377948"/>
                <a:gd name="connsiteX0" fmla="*/ 215398 w 1105772"/>
                <a:gd name="connsiteY0" fmla="*/ 180178 h 1377948"/>
                <a:gd name="connsiteX1" fmla="*/ 977135 w 1105772"/>
                <a:gd name="connsiteY1" fmla="*/ 298448 h 1377948"/>
                <a:gd name="connsiteX2" fmla="*/ 885855 w 1105772"/>
                <a:gd name="connsiteY2" fmla="*/ 1377948 h 1377948"/>
                <a:gd name="connsiteX3" fmla="*/ 62204 w 1105772"/>
                <a:gd name="connsiteY3" fmla="*/ 1132679 h 1377948"/>
                <a:gd name="connsiteX4" fmla="*/ 215398 w 1105772"/>
                <a:gd name="connsiteY4" fmla="*/ 180178 h 1377948"/>
                <a:gd name="connsiteX0" fmla="*/ 215398 w 1106455"/>
                <a:gd name="connsiteY0" fmla="*/ 180178 h 1377948"/>
                <a:gd name="connsiteX1" fmla="*/ 977135 w 1106455"/>
                <a:gd name="connsiteY1" fmla="*/ 298448 h 1377948"/>
                <a:gd name="connsiteX2" fmla="*/ 1098038 w 1106455"/>
                <a:gd name="connsiteY2" fmla="*/ 847724 h 1377948"/>
                <a:gd name="connsiteX3" fmla="*/ 885855 w 1106455"/>
                <a:gd name="connsiteY3" fmla="*/ 1377948 h 1377948"/>
                <a:gd name="connsiteX4" fmla="*/ 62204 w 1106455"/>
                <a:gd name="connsiteY4" fmla="*/ 1132679 h 1377948"/>
                <a:gd name="connsiteX5" fmla="*/ 215398 w 1106455"/>
                <a:gd name="connsiteY5" fmla="*/ 180178 h 1377948"/>
                <a:gd name="connsiteX0" fmla="*/ 215398 w 1072278"/>
                <a:gd name="connsiteY0" fmla="*/ 180178 h 1377948"/>
                <a:gd name="connsiteX1" fmla="*/ 977135 w 1072278"/>
                <a:gd name="connsiteY1" fmla="*/ 298448 h 1377948"/>
                <a:gd name="connsiteX2" fmla="*/ 1045651 w 1072278"/>
                <a:gd name="connsiteY2" fmla="*/ 857249 h 1377948"/>
                <a:gd name="connsiteX3" fmla="*/ 885855 w 1072278"/>
                <a:gd name="connsiteY3" fmla="*/ 1377948 h 1377948"/>
                <a:gd name="connsiteX4" fmla="*/ 62204 w 1072278"/>
                <a:gd name="connsiteY4" fmla="*/ 1132679 h 1377948"/>
                <a:gd name="connsiteX5" fmla="*/ 215398 w 1072278"/>
                <a:gd name="connsiteY5" fmla="*/ 180178 h 1377948"/>
                <a:gd name="connsiteX0" fmla="*/ 215398 w 1072278"/>
                <a:gd name="connsiteY0" fmla="*/ 180178 h 1377948"/>
                <a:gd name="connsiteX1" fmla="*/ 977135 w 1072278"/>
                <a:gd name="connsiteY1" fmla="*/ 298448 h 1377948"/>
                <a:gd name="connsiteX2" fmla="*/ 1045651 w 1072278"/>
                <a:gd name="connsiteY2" fmla="*/ 857249 h 1377948"/>
                <a:gd name="connsiteX3" fmla="*/ 885855 w 1072278"/>
                <a:gd name="connsiteY3" fmla="*/ 1377948 h 1377948"/>
                <a:gd name="connsiteX4" fmla="*/ 62204 w 1072278"/>
                <a:gd name="connsiteY4" fmla="*/ 1132679 h 1377948"/>
                <a:gd name="connsiteX5" fmla="*/ 215398 w 1072278"/>
                <a:gd name="connsiteY5" fmla="*/ 180178 h 1377948"/>
                <a:gd name="connsiteX0" fmla="*/ 215398 w 1059496"/>
                <a:gd name="connsiteY0" fmla="*/ 180178 h 1377948"/>
                <a:gd name="connsiteX1" fmla="*/ 977135 w 1059496"/>
                <a:gd name="connsiteY1" fmla="*/ 298448 h 1377948"/>
                <a:gd name="connsiteX2" fmla="*/ 1045651 w 1059496"/>
                <a:gd name="connsiteY2" fmla="*/ 857249 h 1377948"/>
                <a:gd name="connsiteX3" fmla="*/ 885855 w 1059496"/>
                <a:gd name="connsiteY3" fmla="*/ 1377948 h 1377948"/>
                <a:gd name="connsiteX4" fmla="*/ 62204 w 1059496"/>
                <a:gd name="connsiteY4" fmla="*/ 1132679 h 1377948"/>
                <a:gd name="connsiteX5" fmla="*/ 215398 w 1059496"/>
                <a:gd name="connsiteY5" fmla="*/ 180178 h 1377948"/>
                <a:gd name="connsiteX0" fmla="*/ 215398 w 1053666"/>
                <a:gd name="connsiteY0" fmla="*/ 180178 h 1377948"/>
                <a:gd name="connsiteX1" fmla="*/ 977135 w 1053666"/>
                <a:gd name="connsiteY1" fmla="*/ 298448 h 1377948"/>
                <a:gd name="connsiteX2" fmla="*/ 1045651 w 1053666"/>
                <a:gd name="connsiteY2" fmla="*/ 857249 h 1377948"/>
                <a:gd name="connsiteX3" fmla="*/ 885855 w 1053666"/>
                <a:gd name="connsiteY3" fmla="*/ 1377948 h 1377948"/>
                <a:gd name="connsiteX4" fmla="*/ 62204 w 1053666"/>
                <a:gd name="connsiteY4" fmla="*/ 1132679 h 1377948"/>
                <a:gd name="connsiteX5" fmla="*/ 215398 w 1053666"/>
                <a:gd name="connsiteY5" fmla="*/ 180178 h 1377948"/>
                <a:gd name="connsiteX0" fmla="*/ 215398 w 1053666"/>
                <a:gd name="connsiteY0" fmla="*/ 180178 h 1377948"/>
                <a:gd name="connsiteX1" fmla="*/ 977135 w 1053666"/>
                <a:gd name="connsiteY1" fmla="*/ 298448 h 1377948"/>
                <a:gd name="connsiteX2" fmla="*/ 1045651 w 1053666"/>
                <a:gd name="connsiteY2" fmla="*/ 857249 h 1377948"/>
                <a:gd name="connsiteX3" fmla="*/ 885855 w 1053666"/>
                <a:gd name="connsiteY3" fmla="*/ 1377948 h 1377948"/>
                <a:gd name="connsiteX4" fmla="*/ 62204 w 1053666"/>
                <a:gd name="connsiteY4" fmla="*/ 1132679 h 1377948"/>
                <a:gd name="connsiteX5" fmla="*/ 215398 w 1053666"/>
                <a:gd name="connsiteY5" fmla="*/ 180178 h 1377948"/>
                <a:gd name="connsiteX0" fmla="*/ 215398 w 1053666"/>
                <a:gd name="connsiteY0" fmla="*/ 185980 h 1383750"/>
                <a:gd name="connsiteX1" fmla="*/ 977135 w 1053666"/>
                <a:gd name="connsiteY1" fmla="*/ 304250 h 1383750"/>
                <a:gd name="connsiteX2" fmla="*/ 1045651 w 1053666"/>
                <a:gd name="connsiteY2" fmla="*/ 863051 h 1383750"/>
                <a:gd name="connsiteX3" fmla="*/ 885855 w 1053666"/>
                <a:gd name="connsiteY3" fmla="*/ 1383750 h 1383750"/>
                <a:gd name="connsiteX4" fmla="*/ 62204 w 1053666"/>
                <a:gd name="connsiteY4" fmla="*/ 1138481 h 1383750"/>
                <a:gd name="connsiteX5" fmla="*/ 215398 w 1053666"/>
                <a:gd name="connsiteY5" fmla="*/ 185980 h 1383750"/>
                <a:gd name="connsiteX0" fmla="*/ 215398 w 1053666"/>
                <a:gd name="connsiteY0" fmla="*/ 150830 h 1348600"/>
                <a:gd name="connsiteX1" fmla="*/ 977135 w 1053666"/>
                <a:gd name="connsiteY1" fmla="*/ 269100 h 1348600"/>
                <a:gd name="connsiteX2" fmla="*/ 1045651 w 1053666"/>
                <a:gd name="connsiteY2" fmla="*/ 827901 h 1348600"/>
                <a:gd name="connsiteX3" fmla="*/ 885855 w 1053666"/>
                <a:gd name="connsiteY3" fmla="*/ 1348600 h 1348600"/>
                <a:gd name="connsiteX4" fmla="*/ 62204 w 1053666"/>
                <a:gd name="connsiteY4" fmla="*/ 1103331 h 1348600"/>
                <a:gd name="connsiteX5" fmla="*/ 215398 w 1053666"/>
                <a:gd name="connsiteY5" fmla="*/ 150830 h 1348600"/>
                <a:gd name="connsiteX0" fmla="*/ 214969 w 1053237"/>
                <a:gd name="connsiteY0" fmla="*/ 181979 h 1379749"/>
                <a:gd name="connsiteX1" fmla="*/ 976706 w 1053237"/>
                <a:gd name="connsiteY1" fmla="*/ 300249 h 1379749"/>
                <a:gd name="connsiteX2" fmla="*/ 1045222 w 1053237"/>
                <a:gd name="connsiteY2" fmla="*/ 859050 h 1379749"/>
                <a:gd name="connsiteX3" fmla="*/ 885426 w 1053237"/>
                <a:gd name="connsiteY3" fmla="*/ 1379749 h 1379749"/>
                <a:gd name="connsiteX4" fmla="*/ 61775 w 1053237"/>
                <a:gd name="connsiteY4" fmla="*/ 1134480 h 1379749"/>
                <a:gd name="connsiteX5" fmla="*/ 214969 w 1053237"/>
                <a:gd name="connsiteY5" fmla="*/ 181979 h 1379749"/>
                <a:gd name="connsiteX0" fmla="*/ 214969 w 1068135"/>
                <a:gd name="connsiteY0" fmla="*/ 181979 h 1379749"/>
                <a:gd name="connsiteX1" fmla="*/ 976706 w 1068135"/>
                <a:gd name="connsiteY1" fmla="*/ 300249 h 1379749"/>
                <a:gd name="connsiteX2" fmla="*/ 1045222 w 1068135"/>
                <a:gd name="connsiteY2" fmla="*/ 859050 h 1379749"/>
                <a:gd name="connsiteX3" fmla="*/ 885426 w 1068135"/>
                <a:gd name="connsiteY3" fmla="*/ 1379749 h 1379749"/>
                <a:gd name="connsiteX4" fmla="*/ 61775 w 1068135"/>
                <a:gd name="connsiteY4" fmla="*/ 1134480 h 1379749"/>
                <a:gd name="connsiteX5" fmla="*/ 214969 w 1068135"/>
                <a:gd name="connsiteY5" fmla="*/ 181979 h 1379749"/>
                <a:gd name="connsiteX0" fmla="*/ 214969 w 1061957"/>
                <a:gd name="connsiteY0" fmla="*/ 181979 h 1379749"/>
                <a:gd name="connsiteX1" fmla="*/ 976706 w 1061957"/>
                <a:gd name="connsiteY1" fmla="*/ 300249 h 1379749"/>
                <a:gd name="connsiteX2" fmla="*/ 1045222 w 1061957"/>
                <a:gd name="connsiteY2" fmla="*/ 859050 h 1379749"/>
                <a:gd name="connsiteX3" fmla="*/ 885426 w 1061957"/>
                <a:gd name="connsiteY3" fmla="*/ 1379749 h 1379749"/>
                <a:gd name="connsiteX4" fmla="*/ 61775 w 1061957"/>
                <a:gd name="connsiteY4" fmla="*/ 1134480 h 1379749"/>
                <a:gd name="connsiteX5" fmla="*/ 214969 w 1061957"/>
                <a:gd name="connsiteY5" fmla="*/ 181979 h 1379749"/>
                <a:gd name="connsiteX0" fmla="*/ 214969 w 1056015"/>
                <a:gd name="connsiteY0" fmla="*/ 181979 h 1379749"/>
                <a:gd name="connsiteX1" fmla="*/ 976706 w 1056015"/>
                <a:gd name="connsiteY1" fmla="*/ 300249 h 1379749"/>
                <a:gd name="connsiteX2" fmla="*/ 1035697 w 1056015"/>
                <a:gd name="connsiteY2" fmla="*/ 868575 h 1379749"/>
                <a:gd name="connsiteX3" fmla="*/ 885426 w 1056015"/>
                <a:gd name="connsiteY3" fmla="*/ 1379749 h 1379749"/>
                <a:gd name="connsiteX4" fmla="*/ 61775 w 1056015"/>
                <a:gd name="connsiteY4" fmla="*/ 1134480 h 1379749"/>
                <a:gd name="connsiteX5" fmla="*/ 214969 w 1056015"/>
                <a:gd name="connsiteY5" fmla="*/ 181979 h 1379749"/>
                <a:gd name="connsiteX0" fmla="*/ 214969 w 1047133"/>
                <a:gd name="connsiteY0" fmla="*/ 181979 h 1358318"/>
                <a:gd name="connsiteX1" fmla="*/ 976706 w 1047133"/>
                <a:gd name="connsiteY1" fmla="*/ 300249 h 1358318"/>
                <a:gd name="connsiteX2" fmla="*/ 1035697 w 1047133"/>
                <a:gd name="connsiteY2" fmla="*/ 868575 h 1358318"/>
                <a:gd name="connsiteX3" fmla="*/ 885426 w 1047133"/>
                <a:gd name="connsiteY3" fmla="*/ 1358318 h 1358318"/>
                <a:gd name="connsiteX4" fmla="*/ 61775 w 1047133"/>
                <a:gd name="connsiteY4" fmla="*/ 1134480 h 1358318"/>
                <a:gd name="connsiteX5" fmla="*/ 214969 w 1047133"/>
                <a:gd name="connsiteY5" fmla="*/ 181979 h 1358318"/>
                <a:gd name="connsiteX0" fmla="*/ 214969 w 1048317"/>
                <a:gd name="connsiteY0" fmla="*/ 181979 h 1377368"/>
                <a:gd name="connsiteX1" fmla="*/ 976706 w 1048317"/>
                <a:gd name="connsiteY1" fmla="*/ 300249 h 1377368"/>
                <a:gd name="connsiteX2" fmla="*/ 1035697 w 1048317"/>
                <a:gd name="connsiteY2" fmla="*/ 868575 h 1377368"/>
                <a:gd name="connsiteX3" fmla="*/ 887808 w 1048317"/>
                <a:gd name="connsiteY3" fmla="*/ 1377368 h 1377368"/>
                <a:gd name="connsiteX4" fmla="*/ 61775 w 1048317"/>
                <a:gd name="connsiteY4" fmla="*/ 1134480 h 1377368"/>
                <a:gd name="connsiteX5" fmla="*/ 214969 w 1048317"/>
                <a:gd name="connsiteY5" fmla="*/ 181979 h 1377368"/>
                <a:gd name="connsiteX0" fmla="*/ 214969 w 1042136"/>
                <a:gd name="connsiteY0" fmla="*/ 181979 h 1377368"/>
                <a:gd name="connsiteX1" fmla="*/ 976706 w 1042136"/>
                <a:gd name="connsiteY1" fmla="*/ 300249 h 1377368"/>
                <a:gd name="connsiteX2" fmla="*/ 1035697 w 1042136"/>
                <a:gd name="connsiteY2" fmla="*/ 868575 h 1377368"/>
                <a:gd name="connsiteX3" fmla="*/ 887808 w 1042136"/>
                <a:gd name="connsiteY3" fmla="*/ 1377368 h 1377368"/>
                <a:gd name="connsiteX4" fmla="*/ 61775 w 1042136"/>
                <a:gd name="connsiteY4" fmla="*/ 1134480 h 1377368"/>
                <a:gd name="connsiteX5" fmla="*/ 214969 w 1042136"/>
                <a:gd name="connsiteY5" fmla="*/ 181979 h 1377368"/>
                <a:gd name="connsiteX0" fmla="*/ 214969 w 1049947"/>
                <a:gd name="connsiteY0" fmla="*/ 181979 h 1377368"/>
                <a:gd name="connsiteX1" fmla="*/ 976706 w 1049947"/>
                <a:gd name="connsiteY1" fmla="*/ 300249 h 1377368"/>
                <a:gd name="connsiteX2" fmla="*/ 1035697 w 1049947"/>
                <a:gd name="connsiteY2" fmla="*/ 868575 h 1377368"/>
                <a:gd name="connsiteX3" fmla="*/ 887808 w 1049947"/>
                <a:gd name="connsiteY3" fmla="*/ 1377368 h 1377368"/>
                <a:gd name="connsiteX4" fmla="*/ 61775 w 1049947"/>
                <a:gd name="connsiteY4" fmla="*/ 1134480 h 1377368"/>
                <a:gd name="connsiteX5" fmla="*/ 214969 w 1049947"/>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81979 h 1377368"/>
                <a:gd name="connsiteX1" fmla="*/ 976706 w 1055735"/>
                <a:gd name="connsiteY1" fmla="*/ 300249 h 1377368"/>
                <a:gd name="connsiteX2" fmla="*/ 1035697 w 1055735"/>
                <a:gd name="connsiteY2" fmla="*/ 868575 h 1377368"/>
                <a:gd name="connsiteX3" fmla="*/ 887808 w 1055735"/>
                <a:gd name="connsiteY3" fmla="*/ 1377368 h 1377368"/>
                <a:gd name="connsiteX4" fmla="*/ 61775 w 1055735"/>
                <a:gd name="connsiteY4" fmla="*/ 1134480 h 1377368"/>
                <a:gd name="connsiteX5" fmla="*/ 214969 w 1055735"/>
                <a:gd name="connsiteY5" fmla="*/ 181979 h 1377368"/>
                <a:gd name="connsiteX0" fmla="*/ 214969 w 1055735"/>
                <a:gd name="connsiteY0" fmla="*/ 169231 h 1364620"/>
                <a:gd name="connsiteX1" fmla="*/ 976706 w 1055735"/>
                <a:gd name="connsiteY1" fmla="*/ 287501 h 1364620"/>
                <a:gd name="connsiteX2" fmla="*/ 1035697 w 1055735"/>
                <a:gd name="connsiteY2" fmla="*/ 855827 h 1364620"/>
                <a:gd name="connsiteX3" fmla="*/ 887808 w 1055735"/>
                <a:gd name="connsiteY3" fmla="*/ 1364620 h 1364620"/>
                <a:gd name="connsiteX4" fmla="*/ 61775 w 1055735"/>
                <a:gd name="connsiteY4" fmla="*/ 1121732 h 1364620"/>
                <a:gd name="connsiteX5" fmla="*/ 214969 w 1055735"/>
                <a:gd name="connsiteY5" fmla="*/ 169231 h 1364620"/>
                <a:gd name="connsiteX0" fmla="*/ 85015 w 925781"/>
                <a:gd name="connsiteY0" fmla="*/ 134622 h 1330011"/>
                <a:gd name="connsiteX1" fmla="*/ 846752 w 925781"/>
                <a:gd name="connsiteY1" fmla="*/ 252892 h 1330011"/>
                <a:gd name="connsiteX2" fmla="*/ 905743 w 925781"/>
                <a:gd name="connsiteY2" fmla="*/ 821218 h 1330011"/>
                <a:gd name="connsiteX3" fmla="*/ 757854 w 925781"/>
                <a:gd name="connsiteY3" fmla="*/ 1330011 h 1330011"/>
                <a:gd name="connsiteX4" fmla="*/ 119940 w 925781"/>
                <a:gd name="connsiteY4" fmla="*/ 1046642 h 1330011"/>
                <a:gd name="connsiteX5" fmla="*/ 85015 w 925781"/>
                <a:gd name="connsiteY5" fmla="*/ 134622 h 1330011"/>
                <a:gd name="connsiteX0" fmla="*/ 207587 w 1048353"/>
                <a:gd name="connsiteY0" fmla="*/ 137417 h 1332806"/>
                <a:gd name="connsiteX1" fmla="*/ 969324 w 1048353"/>
                <a:gd name="connsiteY1" fmla="*/ 255687 h 1332806"/>
                <a:gd name="connsiteX2" fmla="*/ 1028315 w 1048353"/>
                <a:gd name="connsiteY2" fmla="*/ 824013 h 1332806"/>
                <a:gd name="connsiteX3" fmla="*/ 880426 w 1048353"/>
                <a:gd name="connsiteY3" fmla="*/ 1332806 h 1332806"/>
                <a:gd name="connsiteX4" fmla="*/ 63918 w 1048353"/>
                <a:gd name="connsiteY4" fmla="*/ 1094680 h 1332806"/>
                <a:gd name="connsiteX5" fmla="*/ 207587 w 1048353"/>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43669 w 984435"/>
                <a:gd name="connsiteY0" fmla="*/ 137417 h 1332806"/>
                <a:gd name="connsiteX1" fmla="*/ 905406 w 984435"/>
                <a:gd name="connsiteY1" fmla="*/ 255687 h 1332806"/>
                <a:gd name="connsiteX2" fmla="*/ 964397 w 984435"/>
                <a:gd name="connsiteY2" fmla="*/ 824013 h 1332806"/>
                <a:gd name="connsiteX3" fmla="*/ 816508 w 984435"/>
                <a:gd name="connsiteY3" fmla="*/ 1332806 h 1332806"/>
                <a:gd name="connsiteX4" fmla="*/ 0 w 984435"/>
                <a:gd name="connsiteY4" fmla="*/ 1094680 h 1332806"/>
                <a:gd name="connsiteX5" fmla="*/ 143669 w 984435"/>
                <a:gd name="connsiteY5" fmla="*/ 137417 h 1332806"/>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98722"/>
                <a:gd name="connsiteY0" fmla="*/ 138156 h 1333545"/>
                <a:gd name="connsiteX1" fmla="*/ 919693 w 998722"/>
                <a:gd name="connsiteY1" fmla="*/ 256426 h 1333545"/>
                <a:gd name="connsiteX2" fmla="*/ 978684 w 998722"/>
                <a:gd name="connsiteY2" fmla="*/ 824752 h 1333545"/>
                <a:gd name="connsiteX3" fmla="*/ 830795 w 998722"/>
                <a:gd name="connsiteY3" fmla="*/ 1333545 h 1333545"/>
                <a:gd name="connsiteX4" fmla="*/ 0 w 998722"/>
                <a:gd name="connsiteY4" fmla="*/ 1107325 h 1333545"/>
                <a:gd name="connsiteX5" fmla="*/ 157956 w 998722"/>
                <a:gd name="connsiteY5" fmla="*/ 138156 h 1333545"/>
                <a:gd name="connsiteX0" fmla="*/ 157956 w 978703"/>
                <a:gd name="connsiteY0" fmla="*/ 138156 h 1339935"/>
                <a:gd name="connsiteX1" fmla="*/ 919693 w 978703"/>
                <a:gd name="connsiteY1" fmla="*/ 256426 h 1339935"/>
                <a:gd name="connsiteX2" fmla="*/ 978684 w 978703"/>
                <a:gd name="connsiteY2" fmla="*/ 824752 h 1339935"/>
                <a:gd name="connsiteX3" fmla="*/ 830795 w 978703"/>
                <a:gd name="connsiteY3" fmla="*/ 1333545 h 1339935"/>
                <a:gd name="connsiteX4" fmla="*/ 340508 w 978703"/>
                <a:gd name="connsiteY4" fmla="*/ 1110504 h 1339935"/>
                <a:gd name="connsiteX5" fmla="*/ 0 w 978703"/>
                <a:gd name="connsiteY5" fmla="*/ 1107325 h 1339935"/>
                <a:gd name="connsiteX6" fmla="*/ 157956 w 978703"/>
                <a:gd name="connsiteY6" fmla="*/ 138156 h 1339935"/>
                <a:gd name="connsiteX0" fmla="*/ 157956 w 978703"/>
                <a:gd name="connsiteY0" fmla="*/ 138156 h 1336288"/>
                <a:gd name="connsiteX1" fmla="*/ 919693 w 978703"/>
                <a:gd name="connsiteY1" fmla="*/ 256426 h 1336288"/>
                <a:gd name="connsiteX2" fmla="*/ 978684 w 978703"/>
                <a:gd name="connsiteY2" fmla="*/ 824752 h 1336288"/>
                <a:gd name="connsiteX3" fmla="*/ 830795 w 978703"/>
                <a:gd name="connsiteY3" fmla="*/ 1333545 h 1336288"/>
                <a:gd name="connsiteX4" fmla="*/ 404801 w 978703"/>
                <a:gd name="connsiteY4" fmla="*/ 755698 h 1336288"/>
                <a:gd name="connsiteX5" fmla="*/ 0 w 978703"/>
                <a:gd name="connsiteY5" fmla="*/ 1107325 h 1336288"/>
                <a:gd name="connsiteX6" fmla="*/ 157956 w 978703"/>
                <a:gd name="connsiteY6" fmla="*/ 138156 h 1336288"/>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7782"/>
                <a:gd name="connsiteX1" fmla="*/ 919693 w 978703"/>
                <a:gd name="connsiteY1" fmla="*/ 256426 h 1337782"/>
                <a:gd name="connsiteX2" fmla="*/ 978684 w 978703"/>
                <a:gd name="connsiteY2" fmla="*/ 824752 h 1337782"/>
                <a:gd name="connsiteX3" fmla="*/ 830795 w 978703"/>
                <a:gd name="connsiteY3" fmla="*/ 1333545 h 1337782"/>
                <a:gd name="connsiteX4" fmla="*/ 347651 w 978703"/>
                <a:gd name="connsiteY4" fmla="*/ 974773 h 1337782"/>
                <a:gd name="connsiteX5" fmla="*/ 0 w 978703"/>
                <a:gd name="connsiteY5" fmla="*/ 1107325 h 1337782"/>
                <a:gd name="connsiteX6" fmla="*/ 157956 w 978703"/>
                <a:gd name="connsiteY6" fmla="*/ 138156 h 1337782"/>
                <a:gd name="connsiteX0" fmla="*/ 157956 w 978703"/>
                <a:gd name="connsiteY0" fmla="*/ 138156 h 1335888"/>
                <a:gd name="connsiteX1" fmla="*/ 919693 w 978703"/>
                <a:gd name="connsiteY1" fmla="*/ 256426 h 1335888"/>
                <a:gd name="connsiteX2" fmla="*/ 978684 w 978703"/>
                <a:gd name="connsiteY2" fmla="*/ 824752 h 1335888"/>
                <a:gd name="connsiteX3" fmla="*/ 830795 w 978703"/>
                <a:gd name="connsiteY3" fmla="*/ 1333545 h 1335888"/>
                <a:gd name="connsiteX4" fmla="*/ 347651 w 978703"/>
                <a:gd name="connsiteY4" fmla="*/ 974773 h 1335888"/>
                <a:gd name="connsiteX5" fmla="*/ 0 w 978703"/>
                <a:gd name="connsiteY5" fmla="*/ 1107325 h 1335888"/>
                <a:gd name="connsiteX6" fmla="*/ 157956 w 978703"/>
                <a:gd name="connsiteY6" fmla="*/ 138156 h 1335888"/>
                <a:gd name="connsiteX0" fmla="*/ 157956 w 978703"/>
                <a:gd name="connsiteY0" fmla="*/ 138156 h 1340991"/>
                <a:gd name="connsiteX1" fmla="*/ 919693 w 978703"/>
                <a:gd name="connsiteY1" fmla="*/ 256426 h 1340991"/>
                <a:gd name="connsiteX2" fmla="*/ 978684 w 978703"/>
                <a:gd name="connsiteY2" fmla="*/ 824752 h 1340991"/>
                <a:gd name="connsiteX3" fmla="*/ 830795 w 978703"/>
                <a:gd name="connsiteY3" fmla="*/ 1333545 h 1340991"/>
                <a:gd name="connsiteX4" fmla="*/ 514341 w 978703"/>
                <a:gd name="connsiteY4" fmla="*/ 1117648 h 1340991"/>
                <a:gd name="connsiteX5" fmla="*/ 347651 w 978703"/>
                <a:gd name="connsiteY5" fmla="*/ 974773 h 1340991"/>
                <a:gd name="connsiteX6" fmla="*/ 0 w 978703"/>
                <a:gd name="connsiteY6" fmla="*/ 1107325 h 1340991"/>
                <a:gd name="connsiteX7" fmla="*/ 157956 w 978703"/>
                <a:gd name="connsiteY7" fmla="*/ 138156 h 1340991"/>
                <a:gd name="connsiteX0" fmla="*/ 157956 w 978703"/>
                <a:gd name="connsiteY0" fmla="*/ 138156 h 1335332"/>
                <a:gd name="connsiteX1" fmla="*/ 919693 w 978703"/>
                <a:gd name="connsiteY1" fmla="*/ 256426 h 1335332"/>
                <a:gd name="connsiteX2" fmla="*/ 978684 w 978703"/>
                <a:gd name="connsiteY2" fmla="*/ 824752 h 1335332"/>
                <a:gd name="connsiteX3" fmla="*/ 830795 w 978703"/>
                <a:gd name="connsiteY3" fmla="*/ 1333545 h 1335332"/>
                <a:gd name="connsiteX4" fmla="*/ 576254 w 978703"/>
                <a:gd name="connsiteY4" fmla="*/ 355648 h 1335332"/>
                <a:gd name="connsiteX5" fmla="*/ 347651 w 978703"/>
                <a:gd name="connsiteY5" fmla="*/ 974773 h 1335332"/>
                <a:gd name="connsiteX6" fmla="*/ 0 w 978703"/>
                <a:gd name="connsiteY6" fmla="*/ 1107325 h 1335332"/>
                <a:gd name="connsiteX7" fmla="*/ 157956 w 978703"/>
                <a:gd name="connsiteY7" fmla="*/ 138156 h 1335332"/>
                <a:gd name="connsiteX0" fmla="*/ 157956 w 1001947"/>
                <a:gd name="connsiteY0" fmla="*/ 138156 h 1335332"/>
                <a:gd name="connsiteX1" fmla="*/ 919693 w 1001947"/>
                <a:gd name="connsiteY1" fmla="*/ 256426 h 1335332"/>
                <a:gd name="connsiteX2" fmla="*/ 978684 w 1001947"/>
                <a:gd name="connsiteY2" fmla="*/ 824752 h 1335332"/>
                <a:gd name="connsiteX3" fmla="*/ 830795 w 1001947"/>
                <a:gd name="connsiteY3" fmla="*/ 1333545 h 1335332"/>
                <a:gd name="connsiteX4" fmla="*/ 576254 w 1001947"/>
                <a:gd name="connsiteY4" fmla="*/ 355648 h 1335332"/>
                <a:gd name="connsiteX5" fmla="*/ 347651 w 1001947"/>
                <a:gd name="connsiteY5" fmla="*/ 974773 h 1335332"/>
                <a:gd name="connsiteX6" fmla="*/ 0 w 1001947"/>
                <a:gd name="connsiteY6" fmla="*/ 1107325 h 1335332"/>
                <a:gd name="connsiteX7" fmla="*/ 157956 w 1001947"/>
                <a:gd name="connsiteY7" fmla="*/ 138156 h 1335332"/>
                <a:gd name="connsiteX0" fmla="*/ 157956 w 1008833"/>
                <a:gd name="connsiteY0" fmla="*/ 138156 h 1335332"/>
                <a:gd name="connsiteX1" fmla="*/ 919693 w 1008833"/>
                <a:gd name="connsiteY1" fmla="*/ 256426 h 1335332"/>
                <a:gd name="connsiteX2" fmla="*/ 990590 w 1008833"/>
                <a:gd name="connsiteY2" fmla="*/ 827133 h 1335332"/>
                <a:gd name="connsiteX3" fmla="*/ 830795 w 1008833"/>
                <a:gd name="connsiteY3" fmla="*/ 1333545 h 1335332"/>
                <a:gd name="connsiteX4" fmla="*/ 576254 w 1008833"/>
                <a:gd name="connsiteY4" fmla="*/ 355648 h 1335332"/>
                <a:gd name="connsiteX5" fmla="*/ 347651 w 1008833"/>
                <a:gd name="connsiteY5" fmla="*/ 974773 h 1335332"/>
                <a:gd name="connsiteX6" fmla="*/ 0 w 1008833"/>
                <a:gd name="connsiteY6" fmla="*/ 1107325 h 1335332"/>
                <a:gd name="connsiteX7" fmla="*/ 157956 w 1008833"/>
                <a:gd name="connsiteY7" fmla="*/ 138156 h 1335332"/>
                <a:gd name="connsiteX0" fmla="*/ 157956 w 1018883"/>
                <a:gd name="connsiteY0" fmla="*/ 138156 h 1335332"/>
                <a:gd name="connsiteX1" fmla="*/ 919693 w 1018883"/>
                <a:gd name="connsiteY1" fmla="*/ 256426 h 1335332"/>
                <a:gd name="connsiteX2" fmla="*/ 990590 w 1018883"/>
                <a:gd name="connsiteY2" fmla="*/ 827133 h 1335332"/>
                <a:gd name="connsiteX3" fmla="*/ 830795 w 1018883"/>
                <a:gd name="connsiteY3" fmla="*/ 1333545 h 1335332"/>
                <a:gd name="connsiteX4" fmla="*/ 576254 w 1018883"/>
                <a:gd name="connsiteY4" fmla="*/ 355648 h 1335332"/>
                <a:gd name="connsiteX5" fmla="*/ 347651 w 1018883"/>
                <a:gd name="connsiteY5" fmla="*/ 974773 h 1335332"/>
                <a:gd name="connsiteX6" fmla="*/ 0 w 1018883"/>
                <a:gd name="connsiteY6" fmla="*/ 1107325 h 1335332"/>
                <a:gd name="connsiteX7" fmla="*/ 157956 w 1018883"/>
                <a:gd name="connsiteY7" fmla="*/ 138156 h 1335332"/>
                <a:gd name="connsiteX0" fmla="*/ 157956 w 1013832"/>
                <a:gd name="connsiteY0" fmla="*/ 138156 h 1335332"/>
                <a:gd name="connsiteX1" fmla="*/ 919693 w 1013832"/>
                <a:gd name="connsiteY1" fmla="*/ 256426 h 1335332"/>
                <a:gd name="connsiteX2" fmla="*/ 990590 w 1013832"/>
                <a:gd name="connsiteY2" fmla="*/ 827133 h 1335332"/>
                <a:gd name="connsiteX3" fmla="*/ 830795 w 1013832"/>
                <a:gd name="connsiteY3" fmla="*/ 1333545 h 1335332"/>
                <a:gd name="connsiteX4" fmla="*/ 576254 w 1013832"/>
                <a:gd name="connsiteY4" fmla="*/ 355648 h 1335332"/>
                <a:gd name="connsiteX5" fmla="*/ 347651 w 1013832"/>
                <a:gd name="connsiteY5" fmla="*/ 974773 h 1335332"/>
                <a:gd name="connsiteX6" fmla="*/ 0 w 1013832"/>
                <a:gd name="connsiteY6" fmla="*/ 1107325 h 1335332"/>
                <a:gd name="connsiteX7" fmla="*/ 157956 w 1013832"/>
                <a:gd name="connsiteY7" fmla="*/ 138156 h 1335332"/>
                <a:gd name="connsiteX0" fmla="*/ 157956 w 1006248"/>
                <a:gd name="connsiteY0" fmla="*/ 138156 h 1335332"/>
                <a:gd name="connsiteX1" fmla="*/ 919693 w 1006248"/>
                <a:gd name="connsiteY1" fmla="*/ 256426 h 1335332"/>
                <a:gd name="connsiteX2" fmla="*/ 990590 w 1006248"/>
                <a:gd name="connsiteY2" fmla="*/ 827133 h 1335332"/>
                <a:gd name="connsiteX3" fmla="*/ 830795 w 1006248"/>
                <a:gd name="connsiteY3" fmla="*/ 1333545 h 1335332"/>
                <a:gd name="connsiteX4" fmla="*/ 576254 w 1006248"/>
                <a:gd name="connsiteY4" fmla="*/ 355648 h 1335332"/>
                <a:gd name="connsiteX5" fmla="*/ 347651 w 1006248"/>
                <a:gd name="connsiteY5" fmla="*/ 974773 h 1335332"/>
                <a:gd name="connsiteX6" fmla="*/ 0 w 1006248"/>
                <a:gd name="connsiteY6" fmla="*/ 1107325 h 1335332"/>
                <a:gd name="connsiteX7" fmla="*/ 157956 w 1006248"/>
                <a:gd name="connsiteY7" fmla="*/ 138156 h 1335332"/>
                <a:gd name="connsiteX0" fmla="*/ 157956 w 1001579"/>
                <a:gd name="connsiteY0" fmla="*/ 138156 h 1335332"/>
                <a:gd name="connsiteX1" fmla="*/ 919693 w 1001579"/>
                <a:gd name="connsiteY1" fmla="*/ 256426 h 1335332"/>
                <a:gd name="connsiteX2" fmla="*/ 990590 w 1001579"/>
                <a:gd name="connsiteY2" fmla="*/ 827133 h 1335332"/>
                <a:gd name="connsiteX3" fmla="*/ 830795 w 1001579"/>
                <a:gd name="connsiteY3" fmla="*/ 1333545 h 1335332"/>
                <a:gd name="connsiteX4" fmla="*/ 576254 w 1001579"/>
                <a:gd name="connsiteY4" fmla="*/ 355648 h 1335332"/>
                <a:gd name="connsiteX5" fmla="*/ 347651 w 1001579"/>
                <a:gd name="connsiteY5" fmla="*/ 974773 h 1335332"/>
                <a:gd name="connsiteX6" fmla="*/ 0 w 1001579"/>
                <a:gd name="connsiteY6" fmla="*/ 1107325 h 1335332"/>
                <a:gd name="connsiteX7" fmla="*/ 157956 w 1001579"/>
                <a:gd name="connsiteY7" fmla="*/ 138156 h 1335332"/>
                <a:gd name="connsiteX0" fmla="*/ 157956 w 998103"/>
                <a:gd name="connsiteY0" fmla="*/ 138156 h 1335332"/>
                <a:gd name="connsiteX1" fmla="*/ 919693 w 998103"/>
                <a:gd name="connsiteY1" fmla="*/ 256426 h 1335332"/>
                <a:gd name="connsiteX2" fmla="*/ 985827 w 998103"/>
                <a:gd name="connsiteY2" fmla="*/ 819990 h 1335332"/>
                <a:gd name="connsiteX3" fmla="*/ 830795 w 998103"/>
                <a:gd name="connsiteY3" fmla="*/ 1333545 h 1335332"/>
                <a:gd name="connsiteX4" fmla="*/ 576254 w 998103"/>
                <a:gd name="connsiteY4" fmla="*/ 355648 h 1335332"/>
                <a:gd name="connsiteX5" fmla="*/ 347651 w 998103"/>
                <a:gd name="connsiteY5" fmla="*/ 974773 h 1335332"/>
                <a:gd name="connsiteX6" fmla="*/ 0 w 998103"/>
                <a:gd name="connsiteY6" fmla="*/ 1107325 h 1335332"/>
                <a:gd name="connsiteX7" fmla="*/ 157956 w 998103"/>
                <a:gd name="connsiteY7" fmla="*/ 138156 h 1335332"/>
                <a:gd name="connsiteX0" fmla="*/ 157956 w 1002330"/>
                <a:gd name="connsiteY0" fmla="*/ 138156 h 1335332"/>
                <a:gd name="connsiteX1" fmla="*/ 919693 w 1002330"/>
                <a:gd name="connsiteY1" fmla="*/ 256426 h 1335332"/>
                <a:gd name="connsiteX2" fmla="*/ 985827 w 1002330"/>
                <a:gd name="connsiteY2" fmla="*/ 819990 h 1335332"/>
                <a:gd name="connsiteX3" fmla="*/ 830795 w 1002330"/>
                <a:gd name="connsiteY3" fmla="*/ 1333545 h 1335332"/>
                <a:gd name="connsiteX4" fmla="*/ 576254 w 1002330"/>
                <a:gd name="connsiteY4" fmla="*/ 355648 h 1335332"/>
                <a:gd name="connsiteX5" fmla="*/ 347651 w 1002330"/>
                <a:gd name="connsiteY5" fmla="*/ 974773 h 1335332"/>
                <a:gd name="connsiteX6" fmla="*/ 0 w 1002330"/>
                <a:gd name="connsiteY6" fmla="*/ 1107325 h 1335332"/>
                <a:gd name="connsiteX7" fmla="*/ 157956 w 1002330"/>
                <a:gd name="connsiteY7" fmla="*/ 138156 h 1335332"/>
                <a:gd name="connsiteX0" fmla="*/ 157956 w 1002330"/>
                <a:gd name="connsiteY0" fmla="*/ 163741 h 1360917"/>
                <a:gd name="connsiteX1" fmla="*/ 919693 w 1002330"/>
                <a:gd name="connsiteY1" fmla="*/ 282011 h 1360917"/>
                <a:gd name="connsiteX2" fmla="*/ 985827 w 1002330"/>
                <a:gd name="connsiteY2" fmla="*/ 845575 h 1360917"/>
                <a:gd name="connsiteX3" fmla="*/ 830795 w 1002330"/>
                <a:gd name="connsiteY3" fmla="*/ 1359130 h 1360917"/>
                <a:gd name="connsiteX4" fmla="*/ 576254 w 1002330"/>
                <a:gd name="connsiteY4" fmla="*/ 381233 h 1360917"/>
                <a:gd name="connsiteX5" fmla="*/ 347651 w 1002330"/>
                <a:gd name="connsiteY5" fmla="*/ 1000358 h 1360917"/>
                <a:gd name="connsiteX6" fmla="*/ 0 w 1002330"/>
                <a:gd name="connsiteY6" fmla="*/ 1132910 h 1360917"/>
                <a:gd name="connsiteX7" fmla="*/ 157956 w 1002330"/>
                <a:gd name="connsiteY7" fmla="*/ 163741 h 1360917"/>
                <a:gd name="connsiteX0" fmla="*/ 157956 w 1002330"/>
                <a:gd name="connsiteY0" fmla="*/ 163741 h 1360687"/>
                <a:gd name="connsiteX1" fmla="*/ 919693 w 1002330"/>
                <a:gd name="connsiteY1" fmla="*/ 282011 h 1360687"/>
                <a:gd name="connsiteX2" fmla="*/ 985827 w 1002330"/>
                <a:gd name="connsiteY2" fmla="*/ 845575 h 1360687"/>
                <a:gd name="connsiteX3" fmla="*/ 830795 w 1002330"/>
                <a:gd name="connsiteY3" fmla="*/ 1359130 h 1360687"/>
                <a:gd name="connsiteX4" fmla="*/ 576254 w 1002330"/>
                <a:gd name="connsiteY4" fmla="*/ 233596 h 1360687"/>
                <a:gd name="connsiteX5" fmla="*/ 347651 w 1002330"/>
                <a:gd name="connsiteY5" fmla="*/ 1000358 h 1360687"/>
                <a:gd name="connsiteX6" fmla="*/ 0 w 1002330"/>
                <a:gd name="connsiteY6" fmla="*/ 1132910 h 1360687"/>
                <a:gd name="connsiteX7" fmla="*/ 157956 w 1002330"/>
                <a:gd name="connsiteY7" fmla="*/ 163741 h 1360687"/>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347651 w 1002330"/>
                <a:gd name="connsiteY5" fmla="*/ 1000358 h 1360733"/>
                <a:gd name="connsiteX6" fmla="*/ 0 w 1002330"/>
                <a:gd name="connsiteY6" fmla="*/ 1132910 h 1360733"/>
                <a:gd name="connsiteX7" fmla="*/ 157956 w 1002330"/>
                <a:gd name="connsiteY7"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388134 w 1002330"/>
                <a:gd name="connsiteY5" fmla="*/ 609834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52887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47615 w 1002330"/>
                <a:gd name="connsiteY5" fmla="*/ 547921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33"/>
                <a:gd name="connsiteX1" fmla="*/ 919693 w 1002330"/>
                <a:gd name="connsiteY1" fmla="*/ 282011 h 1360733"/>
                <a:gd name="connsiteX2" fmla="*/ 985827 w 1002330"/>
                <a:gd name="connsiteY2" fmla="*/ 845575 h 1360733"/>
                <a:gd name="connsiteX3" fmla="*/ 830795 w 1002330"/>
                <a:gd name="connsiteY3" fmla="*/ 1359130 h 1360733"/>
                <a:gd name="connsiteX4" fmla="*/ 419091 w 1002330"/>
                <a:gd name="connsiteY4" fmla="*/ 266933 h 1360733"/>
                <a:gd name="connsiteX5" fmla="*/ 169059 w 1002330"/>
                <a:gd name="connsiteY5" fmla="*/ 443146 h 1360733"/>
                <a:gd name="connsiteX6" fmla="*/ 347651 w 1002330"/>
                <a:gd name="connsiteY6" fmla="*/ 1000358 h 1360733"/>
                <a:gd name="connsiteX7" fmla="*/ 0 w 1002330"/>
                <a:gd name="connsiteY7" fmla="*/ 1132910 h 1360733"/>
                <a:gd name="connsiteX8" fmla="*/ 157956 w 1002330"/>
                <a:gd name="connsiteY8" fmla="*/ 163741 h 136073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69059 w 1002330"/>
                <a:gd name="connsiteY5" fmla="*/ 443146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1002330"/>
                <a:gd name="connsiteY0" fmla="*/ 163741 h 1360703"/>
                <a:gd name="connsiteX1" fmla="*/ 919693 w 1002330"/>
                <a:gd name="connsiteY1" fmla="*/ 282011 h 1360703"/>
                <a:gd name="connsiteX2" fmla="*/ 985827 w 1002330"/>
                <a:gd name="connsiteY2" fmla="*/ 845575 h 1360703"/>
                <a:gd name="connsiteX3" fmla="*/ 830795 w 1002330"/>
                <a:gd name="connsiteY3" fmla="*/ 1359130 h 1360703"/>
                <a:gd name="connsiteX4" fmla="*/ 323841 w 1002330"/>
                <a:gd name="connsiteY4" fmla="*/ 245502 h 1360703"/>
                <a:gd name="connsiteX5" fmla="*/ 173821 w 1002330"/>
                <a:gd name="connsiteY5" fmla="*/ 452671 h 1360703"/>
                <a:gd name="connsiteX6" fmla="*/ 347651 w 1002330"/>
                <a:gd name="connsiteY6" fmla="*/ 1000358 h 1360703"/>
                <a:gd name="connsiteX7" fmla="*/ 0 w 1002330"/>
                <a:gd name="connsiteY7" fmla="*/ 1132910 h 1360703"/>
                <a:gd name="connsiteX8" fmla="*/ 157956 w 1002330"/>
                <a:gd name="connsiteY8" fmla="*/ 163741 h 1360703"/>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447666 w 988989"/>
                <a:gd name="connsiteY4" fmla="*/ 497915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711985 w 988989"/>
                <a:gd name="connsiteY4" fmla="*/ 4288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847716 w 988989"/>
                <a:gd name="connsiteY4" fmla="*/ 440765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2928 w 988989"/>
                <a:gd name="connsiteY4" fmla="*/ 4669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2928 w 988989"/>
                <a:gd name="connsiteY4" fmla="*/ 466959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8989"/>
                <a:gd name="connsiteY0" fmla="*/ 163741 h 1366546"/>
                <a:gd name="connsiteX1" fmla="*/ 919693 w 988989"/>
                <a:gd name="connsiteY1" fmla="*/ 282011 h 1366546"/>
                <a:gd name="connsiteX2" fmla="*/ 985827 w 988989"/>
                <a:gd name="connsiteY2" fmla="*/ 845575 h 1366546"/>
                <a:gd name="connsiteX3" fmla="*/ 830795 w 988989"/>
                <a:gd name="connsiteY3" fmla="*/ 1359130 h 1366546"/>
                <a:gd name="connsiteX4" fmla="*/ 645309 w 988989"/>
                <a:gd name="connsiteY4" fmla="*/ 459816 h 1366546"/>
                <a:gd name="connsiteX5" fmla="*/ 323841 w 988989"/>
                <a:gd name="connsiteY5" fmla="*/ 245502 h 1366546"/>
                <a:gd name="connsiteX6" fmla="*/ 173821 w 988989"/>
                <a:gd name="connsiteY6" fmla="*/ 452671 h 1366546"/>
                <a:gd name="connsiteX7" fmla="*/ 347651 w 988989"/>
                <a:gd name="connsiteY7" fmla="*/ 1000358 h 1366546"/>
                <a:gd name="connsiteX8" fmla="*/ 0 w 988989"/>
                <a:gd name="connsiteY8" fmla="*/ 1132910 h 1366546"/>
                <a:gd name="connsiteX9" fmla="*/ 157956 w 988989"/>
                <a:gd name="connsiteY9" fmla="*/ 163741 h 1366546"/>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05"/>
                <a:gd name="connsiteY0" fmla="*/ 163741 h 1364895"/>
                <a:gd name="connsiteX1" fmla="*/ 919693 w 987705"/>
                <a:gd name="connsiteY1" fmla="*/ 282011 h 1364895"/>
                <a:gd name="connsiteX2" fmla="*/ 985827 w 987705"/>
                <a:gd name="connsiteY2" fmla="*/ 845575 h 1364895"/>
                <a:gd name="connsiteX3" fmla="*/ 830795 w 987705"/>
                <a:gd name="connsiteY3" fmla="*/ 1359130 h 1364895"/>
                <a:gd name="connsiteX4" fmla="*/ 890579 w 987705"/>
                <a:gd name="connsiteY4" fmla="*/ 545539 h 1364895"/>
                <a:gd name="connsiteX5" fmla="*/ 645309 w 987705"/>
                <a:gd name="connsiteY5" fmla="*/ 459816 h 1364895"/>
                <a:gd name="connsiteX6" fmla="*/ 323841 w 987705"/>
                <a:gd name="connsiteY6" fmla="*/ 245502 h 1364895"/>
                <a:gd name="connsiteX7" fmla="*/ 173821 w 987705"/>
                <a:gd name="connsiteY7" fmla="*/ 452671 h 1364895"/>
                <a:gd name="connsiteX8" fmla="*/ 347651 w 987705"/>
                <a:gd name="connsiteY8" fmla="*/ 1000358 h 1364895"/>
                <a:gd name="connsiteX9" fmla="*/ 0 w 987705"/>
                <a:gd name="connsiteY9" fmla="*/ 1132910 h 1364895"/>
                <a:gd name="connsiteX10" fmla="*/ 157956 w 987705"/>
                <a:gd name="connsiteY10" fmla="*/ 163741 h 1364895"/>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885817 w 987714"/>
                <a:gd name="connsiteY4" fmla="*/ 828909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885817 w 987714"/>
                <a:gd name="connsiteY4" fmla="*/ 828909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987714"/>
                <a:gd name="connsiteY0" fmla="*/ 163741 h 1359154"/>
                <a:gd name="connsiteX1" fmla="*/ 919693 w 987714"/>
                <a:gd name="connsiteY1" fmla="*/ 282011 h 1359154"/>
                <a:gd name="connsiteX2" fmla="*/ 985827 w 987714"/>
                <a:gd name="connsiteY2" fmla="*/ 845575 h 1359154"/>
                <a:gd name="connsiteX3" fmla="*/ 830795 w 987714"/>
                <a:gd name="connsiteY3" fmla="*/ 1359130 h 1359154"/>
                <a:gd name="connsiteX4" fmla="*/ 731035 w 987714"/>
                <a:gd name="connsiteY4" fmla="*/ 969403 h 1359154"/>
                <a:gd name="connsiteX5" fmla="*/ 890579 w 987714"/>
                <a:gd name="connsiteY5" fmla="*/ 545539 h 1359154"/>
                <a:gd name="connsiteX6" fmla="*/ 645309 w 987714"/>
                <a:gd name="connsiteY6" fmla="*/ 459816 h 1359154"/>
                <a:gd name="connsiteX7" fmla="*/ 323841 w 987714"/>
                <a:gd name="connsiteY7" fmla="*/ 245502 h 1359154"/>
                <a:gd name="connsiteX8" fmla="*/ 173821 w 987714"/>
                <a:gd name="connsiteY8" fmla="*/ 452671 h 1359154"/>
                <a:gd name="connsiteX9" fmla="*/ 347651 w 987714"/>
                <a:gd name="connsiteY9" fmla="*/ 1000358 h 1359154"/>
                <a:gd name="connsiteX10" fmla="*/ 0 w 987714"/>
                <a:gd name="connsiteY10" fmla="*/ 1132910 h 1359154"/>
                <a:gd name="connsiteX11" fmla="*/ 157956 w 987714"/>
                <a:gd name="connsiteY11" fmla="*/ 163741 h 1359154"/>
                <a:gd name="connsiteX0" fmla="*/ 157956 w 1004985"/>
                <a:gd name="connsiteY0" fmla="*/ 163741 h 1359130"/>
                <a:gd name="connsiteX1" fmla="*/ 919693 w 1004985"/>
                <a:gd name="connsiteY1" fmla="*/ 282011 h 1359130"/>
                <a:gd name="connsiteX2" fmla="*/ 985827 w 1004985"/>
                <a:gd name="connsiteY2" fmla="*/ 845575 h 1359130"/>
                <a:gd name="connsiteX3" fmla="*/ 830795 w 1004985"/>
                <a:gd name="connsiteY3" fmla="*/ 1359130 h 1359130"/>
                <a:gd name="connsiteX4" fmla="*/ 731035 w 1004985"/>
                <a:gd name="connsiteY4" fmla="*/ 969403 h 1359130"/>
                <a:gd name="connsiteX5" fmla="*/ 890579 w 1004985"/>
                <a:gd name="connsiteY5" fmla="*/ 545539 h 1359130"/>
                <a:gd name="connsiteX6" fmla="*/ 645309 w 1004985"/>
                <a:gd name="connsiteY6" fmla="*/ 459816 h 1359130"/>
                <a:gd name="connsiteX7" fmla="*/ 323841 w 1004985"/>
                <a:gd name="connsiteY7" fmla="*/ 245502 h 1359130"/>
                <a:gd name="connsiteX8" fmla="*/ 173821 w 1004985"/>
                <a:gd name="connsiteY8" fmla="*/ 452671 h 1359130"/>
                <a:gd name="connsiteX9" fmla="*/ 347651 w 1004985"/>
                <a:gd name="connsiteY9" fmla="*/ 1000358 h 1359130"/>
                <a:gd name="connsiteX10" fmla="*/ 0 w 1004985"/>
                <a:gd name="connsiteY10" fmla="*/ 1132910 h 1359130"/>
                <a:gd name="connsiteX11" fmla="*/ 157956 w 1004985"/>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3821 w 1003776"/>
                <a:gd name="connsiteY8" fmla="*/ 452671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23841 w 1003776"/>
                <a:gd name="connsiteY7" fmla="*/ 245502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314316 w 1003776"/>
                <a:gd name="connsiteY7" fmla="*/ 224071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171440 w 1003776"/>
                <a:gd name="connsiteY8" fmla="*/ 431240 h 1359130"/>
                <a:gd name="connsiteX9" fmla="*/ 347651 w 1003776"/>
                <a:gd name="connsiteY9" fmla="*/ 1000358 h 1359130"/>
                <a:gd name="connsiteX10" fmla="*/ 0 w 1003776"/>
                <a:gd name="connsiteY10" fmla="*/ 1132910 h 1359130"/>
                <a:gd name="connsiteX11" fmla="*/ 157956 w 1003776"/>
                <a:gd name="connsiteY11"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52403 w 1003776"/>
                <a:gd name="connsiteY8" fmla="*/ 205021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88122 w 1003776"/>
                <a:gd name="connsiteY8" fmla="*/ 240739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78597 w 1003776"/>
                <a:gd name="connsiteY8" fmla="*/ 235976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92885 w 1003776"/>
                <a:gd name="connsiteY8" fmla="*/ 233595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157956 w 1003776"/>
                <a:gd name="connsiteY0" fmla="*/ 163741 h 1359130"/>
                <a:gd name="connsiteX1" fmla="*/ 919693 w 1003776"/>
                <a:gd name="connsiteY1" fmla="*/ 282011 h 1359130"/>
                <a:gd name="connsiteX2" fmla="*/ 985827 w 1003776"/>
                <a:gd name="connsiteY2" fmla="*/ 845575 h 1359130"/>
                <a:gd name="connsiteX3" fmla="*/ 830795 w 1003776"/>
                <a:gd name="connsiteY3" fmla="*/ 1359130 h 1359130"/>
                <a:gd name="connsiteX4" fmla="*/ 731035 w 1003776"/>
                <a:gd name="connsiteY4" fmla="*/ 969403 h 1359130"/>
                <a:gd name="connsiteX5" fmla="*/ 890579 w 1003776"/>
                <a:gd name="connsiteY5" fmla="*/ 545539 h 1359130"/>
                <a:gd name="connsiteX6" fmla="*/ 645309 w 1003776"/>
                <a:gd name="connsiteY6" fmla="*/ 459816 h 1359130"/>
                <a:gd name="connsiteX7" fmla="*/ 285741 w 1003776"/>
                <a:gd name="connsiteY7" fmla="*/ 164540 h 1359130"/>
                <a:gd name="connsiteX8" fmla="*/ 292885 w 1003776"/>
                <a:gd name="connsiteY8" fmla="*/ 233595 h 1359130"/>
                <a:gd name="connsiteX9" fmla="*/ 171440 w 1003776"/>
                <a:gd name="connsiteY9" fmla="*/ 431240 h 1359130"/>
                <a:gd name="connsiteX10" fmla="*/ 347651 w 1003776"/>
                <a:gd name="connsiteY10" fmla="*/ 1000358 h 1359130"/>
                <a:gd name="connsiteX11" fmla="*/ 0 w 1003776"/>
                <a:gd name="connsiteY11" fmla="*/ 1132910 h 1359130"/>
                <a:gd name="connsiteX12" fmla="*/ 157956 w 1003776"/>
                <a:gd name="connsiteY12" fmla="*/ 163741 h 1359130"/>
                <a:gd name="connsiteX0" fmla="*/ 215106 w 1060926"/>
                <a:gd name="connsiteY0" fmla="*/ 163741 h 1359130"/>
                <a:gd name="connsiteX1" fmla="*/ 976843 w 1060926"/>
                <a:gd name="connsiteY1" fmla="*/ 282011 h 1359130"/>
                <a:gd name="connsiteX2" fmla="*/ 1042977 w 1060926"/>
                <a:gd name="connsiteY2" fmla="*/ 845575 h 1359130"/>
                <a:gd name="connsiteX3" fmla="*/ 887945 w 1060926"/>
                <a:gd name="connsiteY3" fmla="*/ 1359130 h 1359130"/>
                <a:gd name="connsiteX4" fmla="*/ 788185 w 1060926"/>
                <a:gd name="connsiteY4" fmla="*/ 969403 h 1359130"/>
                <a:gd name="connsiteX5" fmla="*/ 947729 w 1060926"/>
                <a:gd name="connsiteY5" fmla="*/ 545539 h 1359130"/>
                <a:gd name="connsiteX6" fmla="*/ 702459 w 1060926"/>
                <a:gd name="connsiteY6" fmla="*/ 459816 h 1359130"/>
                <a:gd name="connsiteX7" fmla="*/ 342891 w 1060926"/>
                <a:gd name="connsiteY7" fmla="*/ 164540 h 1359130"/>
                <a:gd name="connsiteX8" fmla="*/ 350035 w 1060926"/>
                <a:gd name="connsiteY8" fmla="*/ 233595 h 1359130"/>
                <a:gd name="connsiteX9" fmla="*/ 228590 w 1060926"/>
                <a:gd name="connsiteY9" fmla="*/ 431240 h 1359130"/>
                <a:gd name="connsiteX10" fmla="*/ 404801 w 1060926"/>
                <a:gd name="connsiteY10" fmla="*/ 1000358 h 1359130"/>
                <a:gd name="connsiteX11" fmla="*/ 0 w 1060926"/>
                <a:gd name="connsiteY11" fmla="*/ 1180535 h 1359130"/>
                <a:gd name="connsiteX12" fmla="*/ 215106 w 1060926"/>
                <a:gd name="connsiteY12" fmla="*/ 163741 h 1359130"/>
                <a:gd name="connsiteX0" fmla="*/ 215106 w 1060926"/>
                <a:gd name="connsiteY0" fmla="*/ 163741 h 1359130"/>
                <a:gd name="connsiteX1" fmla="*/ 976843 w 1060926"/>
                <a:gd name="connsiteY1" fmla="*/ 282011 h 1359130"/>
                <a:gd name="connsiteX2" fmla="*/ 1042977 w 1060926"/>
                <a:gd name="connsiteY2" fmla="*/ 845575 h 1359130"/>
                <a:gd name="connsiteX3" fmla="*/ 887945 w 1060926"/>
                <a:gd name="connsiteY3" fmla="*/ 1359130 h 1359130"/>
                <a:gd name="connsiteX4" fmla="*/ 788185 w 1060926"/>
                <a:gd name="connsiteY4" fmla="*/ 969403 h 1359130"/>
                <a:gd name="connsiteX5" fmla="*/ 947729 w 1060926"/>
                <a:gd name="connsiteY5" fmla="*/ 545539 h 1359130"/>
                <a:gd name="connsiteX6" fmla="*/ 702459 w 1060926"/>
                <a:gd name="connsiteY6" fmla="*/ 459816 h 1359130"/>
                <a:gd name="connsiteX7" fmla="*/ 342891 w 1060926"/>
                <a:gd name="connsiteY7" fmla="*/ 164540 h 1359130"/>
                <a:gd name="connsiteX8" fmla="*/ 350035 w 1060926"/>
                <a:gd name="connsiteY8" fmla="*/ 233595 h 1359130"/>
                <a:gd name="connsiteX9" fmla="*/ 228590 w 1060926"/>
                <a:gd name="connsiteY9" fmla="*/ 431240 h 1359130"/>
                <a:gd name="connsiteX10" fmla="*/ 404801 w 1060926"/>
                <a:gd name="connsiteY10" fmla="*/ 1000358 h 1359130"/>
                <a:gd name="connsiteX11" fmla="*/ 0 w 1060926"/>
                <a:gd name="connsiteY11" fmla="*/ 1180535 h 1359130"/>
                <a:gd name="connsiteX12" fmla="*/ 215106 w 1060926"/>
                <a:gd name="connsiteY12" fmla="*/ 163741 h 1359130"/>
                <a:gd name="connsiteX0" fmla="*/ 180181 w 1060926"/>
                <a:gd name="connsiteY0" fmla="*/ 155192 h 1369631"/>
                <a:gd name="connsiteX1" fmla="*/ 976843 w 1060926"/>
                <a:gd name="connsiteY1" fmla="*/ 292512 h 1369631"/>
                <a:gd name="connsiteX2" fmla="*/ 1042977 w 1060926"/>
                <a:gd name="connsiteY2" fmla="*/ 856076 h 1369631"/>
                <a:gd name="connsiteX3" fmla="*/ 887945 w 1060926"/>
                <a:gd name="connsiteY3" fmla="*/ 1369631 h 1369631"/>
                <a:gd name="connsiteX4" fmla="*/ 788185 w 1060926"/>
                <a:gd name="connsiteY4" fmla="*/ 979904 h 1369631"/>
                <a:gd name="connsiteX5" fmla="*/ 947729 w 1060926"/>
                <a:gd name="connsiteY5" fmla="*/ 556040 h 1369631"/>
                <a:gd name="connsiteX6" fmla="*/ 702459 w 1060926"/>
                <a:gd name="connsiteY6" fmla="*/ 470317 h 1369631"/>
                <a:gd name="connsiteX7" fmla="*/ 342891 w 1060926"/>
                <a:gd name="connsiteY7" fmla="*/ 175041 h 1369631"/>
                <a:gd name="connsiteX8" fmla="*/ 350035 w 1060926"/>
                <a:gd name="connsiteY8" fmla="*/ 244096 h 1369631"/>
                <a:gd name="connsiteX9" fmla="*/ 228590 w 1060926"/>
                <a:gd name="connsiteY9" fmla="*/ 441741 h 1369631"/>
                <a:gd name="connsiteX10" fmla="*/ 404801 w 1060926"/>
                <a:gd name="connsiteY10" fmla="*/ 1010859 h 1369631"/>
                <a:gd name="connsiteX11" fmla="*/ 0 w 1060926"/>
                <a:gd name="connsiteY11" fmla="*/ 1191036 h 1369631"/>
                <a:gd name="connsiteX12" fmla="*/ 180181 w 1060926"/>
                <a:gd name="connsiteY12" fmla="*/ 155192 h 1369631"/>
                <a:gd name="connsiteX0" fmla="*/ 170656 w 1060926"/>
                <a:gd name="connsiteY0" fmla="*/ 162285 h 1360849"/>
                <a:gd name="connsiteX1" fmla="*/ 976843 w 1060926"/>
                <a:gd name="connsiteY1" fmla="*/ 283730 h 1360849"/>
                <a:gd name="connsiteX2" fmla="*/ 1042977 w 1060926"/>
                <a:gd name="connsiteY2" fmla="*/ 847294 h 1360849"/>
                <a:gd name="connsiteX3" fmla="*/ 887945 w 1060926"/>
                <a:gd name="connsiteY3" fmla="*/ 1360849 h 1360849"/>
                <a:gd name="connsiteX4" fmla="*/ 788185 w 1060926"/>
                <a:gd name="connsiteY4" fmla="*/ 971122 h 1360849"/>
                <a:gd name="connsiteX5" fmla="*/ 947729 w 1060926"/>
                <a:gd name="connsiteY5" fmla="*/ 547258 h 1360849"/>
                <a:gd name="connsiteX6" fmla="*/ 702459 w 1060926"/>
                <a:gd name="connsiteY6" fmla="*/ 461535 h 1360849"/>
                <a:gd name="connsiteX7" fmla="*/ 342891 w 1060926"/>
                <a:gd name="connsiteY7" fmla="*/ 166259 h 1360849"/>
                <a:gd name="connsiteX8" fmla="*/ 350035 w 1060926"/>
                <a:gd name="connsiteY8" fmla="*/ 235314 h 1360849"/>
                <a:gd name="connsiteX9" fmla="*/ 228590 w 1060926"/>
                <a:gd name="connsiteY9" fmla="*/ 432959 h 1360849"/>
                <a:gd name="connsiteX10" fmla="*/ 404801 w 1060926"/>
                <a:gd name="connsiteY10" fmla="*/ 1002077 h 1360849"/>
                <a:gd name="connsiteX11" fmla="*/ 0 w 1060926"/>
                <a:gd name="connsiteY11" fmla="*/ 1182254 h 1360849"/>
                <a:gd name="connsiteX12" fmla="*/ 170656 w 1060926"/>
                <a:gd name="connsiteY12" fmla="*/ 162285 h 1360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60926" h="1360849">
                  <a:moveTo>
                    <a:pt x="170656" y="162285"/>
                  </a:moveTo>
                  <a:cubicBezTo>
                    <a:pt x="316795" y="-46206"/>
                    <a:pt x="844091" y="-100547"/>
                    <a:pt x="976843" y="283730"/>
                  </a:cubicBezTo>
                  <a:cubicBezTo>
                    <a:pt x="1026319" y="499762"/>
                    <a:pt x="1022074" y="567761"/>
                    <a:pt x="1042977" y="847294"/>
                  </a:cubicBezTo>
                  <a:cubicBezTo>
                    <a:pt x="1063880" y="1126827"/>
                    <a:pt x="1107019" y="1330289"/>
                    <a:pt x="887945" y="1360849"/>
                  </a:cubicBezTo>
                  <a:cubicBezTo>
                    <a:pt x="916521" y="1291396"/>
                    <a:pt x="947290" y="1135297"/>
                    <a:pt x="788185" y="971122"/>
                  </a:cubicBezTo>
                  <a:cubicBezTo>
                    <a:pt x="926737" y="806950"/>
                    <a:pt x="961621" y="620681"/>
                    <a:pt x="947729" y="547258"/>
                  </a:cubicBezTo>
                  <a:cubicBezTo>
                    <a:pt x="893003" y="468810"/>
                    <a:pt x="794534" y="492491"/>
                    <a:pt x="702459" y="461535"/>
                  </a:cubicBezTo>
                  <a:cubicBezTo>
                    <a:pt x="425086" y="383087"/>
                    <a:pt x="371863" y="211900"/>
                    <a:pt x="342891" y="166259"/>
                  </a:cubicBezTo>
                  <a:cubicBezTo>
                    <a:pt x="344082" y="204756"/>
                    <a:pt x="357179" y="233727"/>
                    <a:pt x="350035" y="235314"/>
                  </a:cubicBezTo>
                  <a:cubicBezTo>
                    <a:pt x="328604" y="260714"/>
                    <a:pt x="243671" y="324215"/>
                    <a:pt x="228590" y="432959"/>
                  </a:cubicBezTo>
                  <a:cubicBezTo>
                    <a:pt x="188108" y="676639"/>
                    <a:pt x="286133" y="862511"/>
                    <a:pt x="404801" y="1002077"/>
                  </a:cubicBezTo>
                  <a:cubicBezTo>
                    <a:pt x="242522" y="1021524"/>
                    <a:pt x="140757" y="1056974"/>
                    <a:pt x="0" y="1182254"/>
                  </a:cubicBezTo>
                  <a:cubicBezTo>
                    <a:pt x="118446" y="608771"/>
                    <a:pt x="34043" y="344582"/>
                    <a:pt x="170656" y="162285"/>
                  </a:cubicBezTo>
                  <a:close/>
                </a:path>
              </a:pathLst>
            </a:custGeom>
            <a:solidFill>
              <a:srgbClr val="9A6E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11" name="Group 110">
              <a:extLst>
                <a:ext uri="{FF2B5EF4-FFF2-40B4-BE49-F238E27FC236}">
                  <a16:creationId xmlns:a16="http://schemas.microsoft.com/office/drawing/2014/main" id="{43A9C0C1-5E44-46F1-9FAE-96F2592F2A95}"/>
                </a:ext>
              </a:extLst>
            </p:cNvPr>
            <p:cNvGrpSpPr/>
            <p:nvPr/>
          </p:nvGrpSpPr>
          <p:grpSpPr>
            <a:xfrm>
              <a:off x="10096230" y="532606"/>
              <a:ext cx="1479329" cy="1656587"/>
              <a:chOff x="10096230" y="532606"/>
              <a:chExt cx="1479329" cy="1656587"/>
            </a:xfrm>
          </p:grpSpPr>
          <p:sp>
            <p:nvSpPr>
              <p:cNvPr id="112" name="Freeform 9">
                <a:extLst>
                  <a:ext uri="{FF2B5EF4-FFF2-40B4-BE49-F238E27FC236}">
                    <a16:creationId xmlns:a16="http://schemas.microsoft.com/office/drawing/2014/main" id="{F9E30020-B3EE-49C9-BFF8-AEE1F853F30A}"/>
                  </a:ext>
                </a:extLst>
              </p:cNvPr>
              <p:cNvSpPr>
                <a:spLocks/>
              </p:cNvSpPr>
              <p:nvPr/>
            </p:nvSpPr>
            <p:spPr bwMode="auto">
              <a:xfrm>
                <a:off x="10096230" y="1559718"/>
                <a:ext cx="567008" cy="617396"/>
              </a:xfrm>
              <a:custGeom>
                <a:avLst/>
                <a:gdLst>
                  <a:gd name="T0" fmla="*/ 0 w 133"/>
                  <a:gd name="T1" fmla="*/ 242 h 242"/>
                  <a:gd name="T2" fmla="*/ 7 w 133"/>
                  <a:gd name="T3" fmla="*/ 137 h 242"/>
                  <a:gd name="T4" fmla="*/ 133 w 133"/>
                  <a:gd name="T5" fmla="*/ 0 h 242"/>
                  <a:gd name="connsiteX0" fmla="*/ 0 w 9474"/>
                  <a:gd name="connsiteY0" fmla="*/ 5661 h 5661"/>
                  <a:gd name="connsiteX1" fmla="*/ 9474 w 9474"/>
                  <a:gd name="connsiteY1" fmla="*/ 0 h 5661"/>
                </a:gdLst>
                <a:ahLst/>
                <a:cxnLst>
                  <a:cxn ang="0">
                    <a:pos x="connsiteX0" y="connsiteY0"/>
                  </a:cxn>
                  <a:cxn ang="0">
                    <a:pos x="connsiteX1" y="connsiteY1"/>
                  </a:cxn>
                </a:cxnLst>
                <a:rect l="l" t="t" r="r" b="b"/>
                <a:pathLst>
                  <a:path w="9474" h="5661">
                    <a:moveTo>
                      <a:pt x="0" y="5661"/>
                    </a:moveTo>
                    <a:cubicBezTo>
                      <a:pt x="0" y="2397"/>
                      <a:pt x="4286" y="331"/>
                      <a:pt x="9474"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3" name="Freeform 10">
                <a:extLst>
                  <a:ext uri="{FF2B5EF4-FFF2-40B4-BE49-F238E27FC236}">
                    <a16:creationId xmlns:a16="http://schemas.microsoft.com/office/drawing/2014/main" id="{1122906A-1375-4A2C-8D81-22BF6B8A2B12}"/>
                  </a:ext>
                </a:extLst>
              </p:cNvPr>
              <p:cNvSpPr>
                <a:spLocks/>
              </p:cNvSpPr>
              <p:nvPr/>
            </p:nvSpPr>
            <p:spPr bwMode="auto">
              <a:xfrm>
                <a:off x="10366375" y="532606"/>
                <a:ext cx="981075" cy="1392238"/>
              </a:xfrm>
              <a:custGeom>
                <a:avLst/>
                <a:gdLst>
                  <a:gd name="T0" fmla="*/ 151 w 218"/>
                  <a:gd name="T1" fmla="*/ 222 h 309"/>
                  <a:gd name="T2" fmla="*/ 173 w 218"/>
                  <a:gd name="T3" fmla="*/ 309 h 309"/>
                  <a:gd name="T4" fmla="*/ 218 w 218"/>
                  <a:gd name="T5" fmla="*/ 267 h 309"/>
                  <a:gd name="T6" fmla="*/ 209 w 218"/>
                  <a:gd name="T7" fmla="*/ 125 h 309"/>
                  <a:gd name="T8" fmla="*/ 106 w 218"/>
                  <a:gd name="T9" fmla="*/ 0 h 309"/>
                  <a:gd name="T10" fmla="*/ 3 w 218"/>
                  <a:gd name="T11" fmla="*/ 116 h 309"/>
                  <a:gd name="T12" fmla="*/ 0 w 218"/>
                  <a:gd name="T13" fmla="*/ 162 h 309"/>
                </a:gdLst>
                <a:ahLst/>
                <a:cxnLst>
                  <a:cxn ang="0">
                    <a:pos x="T0" y="T1"/>
                  </a:cxn>
                  <a:cxn ang="0">
                    <a:pos x="T2" y="T3"/>
                  </a:cxn>
                  <a:cxn ang="0">
                    <a:pos x="T4" y="T5"/>
                  </a:cxn>
                  <a:cxn ang="0">
                    <a:pos x="T6" y="T7"/>
                  </a:cxn>
                  <a:cxn ang="0">
                    <a:pos x="T8" y="T9"/>
                  </a:cxn>
                  <a:cxn ang="0">
                    <a:pos x="T10" y="T11"/>
                  </a:cxn>
                  <a:cxn ang="0">
                    <a:pos x="T12" y="T13"/>
                  </a:cxn>
                </a:cxnLst>
                <a:rect l="0" t="0" r="r" b="b"/>
                <a:pathLst>
                  <a:path w="218" h="309">
                    <a:moveTo>
                      <a:pt x="151" y="222"/>
                    </a:moveTo>
                    <a:cubicBezTo>
                      <a:pt x="151" y="222"/>
                      <a:pt x="189" y="260"/>
                      <a:pt x="173" y="309"/>
                    </a:cubicBezTo>
                    <a:cubicBezTo>
                      <a:pt x="184" y="309"/>
                      <a:pt x="217" y="300"/>
                      <a:pt x="218" y="267"/>
                    </a:cubicBezTo>
                    <a:cubicBezTo>
                      <a:pt x="209" y="125"/>
                      <a:pt x="209" y="125"/>
                      <a:pt x="209" y="125"/>
                    </a:cubicBezTo>
                    <a:cubicBezTo>
                      <a:pt x="201" y="38"/>
                      <a:pt x="166" y="0"/>
                      <a:pt x="106" y="0"/>
                    </a:cubicBezTo>
                    <a:cubicBezTo>
                      <a:pt x="45" y="1"/>
                      <a:pt x="2" y="45"/>
                      <a:pt x="3" y="116"/>
                    </a:cubicBezTo>
                    <a:cubicBezTo>
                      <a:pt x="3" y="116"/>
                      <a:pt x="2" y="136"/>
                      <a:pt x="0" y="16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4" name="Freeform 11">
                <a:extLst>
                  <a:ext uri="{FF2B5EF4-FFF2-40B4-BE49-F238E27FC236}">
                    <a16:creationId xmlns:a16="http://schemas.microsoft.com/office/drawing/2014/main" id="{5F777D37-00B9-4F96-8B7E-340ADD8714EC}"/>
                  </a:ext>
                </a:extLst>
              </p:cNvPr>
              <p:cNvSpPr>
                <a:spLocks/>
              </p:cNvSpPr>
              <p:nvPr/>
            </p:nvSpPr>
            <p:spPr bwMode="auto">
              <a:xfrm>
                <a:off x="10320338" y="1262856"/>
                <a:ext cx="46038" cy="377825"/>
              </a:xfrm>
              <a:custGeom>
                <a:avLst/>
                <a:gdLst>
                  <a:gd name="T0" fmla="*/ 10 w 10"/>
                  <a:gd name="T1" fmla="*/ 0 h 84"/>
                  <a:gd name="T2" fmla="*/ 0 w 10"/>
                  <a:gd name="T3" fmla="*/ 84 h 84"/>
                </a:gdLst>
                <a:ahLst/>
                <a:cxnLst>
                  <a:cxn ang="0">
                    <a:pos x="T0" y="T1"/>
                  </a:cxn>
                  <a:cxn ang="0">
                    <a:pos x="T2" y="T3"/>
                  </a:cxn>
                </a:cxnLst>
                <a:rect l="0" t="0" r="r" b="b"/>
                <a:pathLst>
                  <a:path w="10" h="84">
                    <a:moveTo>
                      <a:pt x="10" y="0"/>
                    </a:moveTo>
                    <a:cubicBezTo>
                      <a:pt x="8" y="23"/>
                      <a:pt x="4" y="56"/>
                      <a:pt x="0" y="84"/>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5" name="Freeform 12">
                <a:extLst>
                  <a:ext uri="{FF2B5EF4-FFF2-40B4-BE49-F238E27FC236}">
                    <a16:creationId xmlns:a16="http://schemas.microsoft.com/office/drawing/2014/main" id="{F2A10F4A-FC14-4DEC-A5D7-A2A9F55C7E49}"/>
                  </a:ext>
                </a:extLst>
              </p:cNvPr>
              <p:cNvSpPr>
                <a:spLocks/>
              </p:cNvSpPr>
              <p:nvPr/>
            </p:nvSpPr>
            <p:spPr bwMode="auto">
              <a:xfrm>
                <a:off x="10572750" y="1581943"/>
                <a:ext cx="531813" cy="352425"/>
              </a:xfrm>
              <a:custGeom>
                <a:avLst/>
                <a:gdLst>
                  <a:gd name="T0" fmla="*/ 118 w 118"/>
                  <a:gd name="T1" fmla="*/ 12 h 78"/>
                  <a:gd name="T2" fmla="*/ 59 w 118"/>
                  <a:gd name="T3" fmla="*/ 78 h 78"/>
                  <a:gd name="T4" fmla="*/ 0 w 118"/>
                  <a:gd name="T5" fmla="*/ 0 h 78"/>
                </a:gdLst>
                <a:ahLst/>
                <a:cxnLst>
                  <a:cxn ang="0">
                    <a:pos x="T0" y="T1"/>
                  </a:cxn>
                  <a:cxn ang="0">
                    <a:pos x="T2" y="T3"/>
                  </a:cxn>
                  <a:cxn ang="0">
                    <a:pos x="T4" y="T5"/>
                  </a:cxn>
                </a:cxnLst>
                <a:rect l="0" t="0" r="r" b="b"/>
                <a:pathLst>
                  <a:path w="118" h="78">
                    <a:moveTo>
                      <a:pt x="118" y="12"/>
                    </a:moveTo>
                    <a:cubicBezTo>
                      <a:pt x="113" y="49"/>
                      <a:pt x="89" y="78"/>
                      <a:pt x="59" y="78"/>
                    </a:cubicBezTo>
                    <a:cubicBezTo>
                      <a:pt x="27" y="78"/>
                      <a:pt x="0" y="43"/>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6" name="Freeform 13">
                <a:extLst>
                  <a:ext uri="{FF2B5EF4-FFF2-40B4-BE49-F238E27FC236}">
                    <a16:creationId xmlns:a16="http://schemas.microsoft.com/office/drawing/2014/main" id="{B4D70802-8376-470E-B88C-3E7C9AE6196F}"/>
                  </a:ext>
                </a:extLst>
              </p:cNvPr>
              <p:cNvSpPr>
                <a:spLocks/>
              </p:cNvSpPr>
              <p:nvPr/>
            </p:nvSpPr>
            <p:spPr bwMode="auto">
              <a:xfrm>
                <a:off x="10487025" y="1608931"/>
                <a:ext cx="252413" cy="406400"/>
              </a:xfrm>
              <a:custGeom>
                <a:avLst/>
                <a:gdLst>
                  <a:gd name="T0" fmla="*/ 56 w 56"/>
                  <a:gd name="T1" fmla="*/ 90 h 90"/>
                  <a:gd name="T2" fmla="*/ 0 w 56"/>
                  <a:gd name="T3" fmla="*/ 0 h 90"/>
                </a:gdLst>
                <a:ahLst/>
                <a:cxnLst>
                  <a:cxn ang="0">
                    <a:pos x="T0" y="T1"/>
                  </a:cxn>
                  <a:cxn ang="0">
                    <a:pos x="T2" y="T3"/>
                  </a:cxn>
                </a:cxnLst>
                <a:rect l="0" t="0" r="r" b="b"/>
                <a:pathLst>
                  <a:path w="56" h="90">
                    <a:moveTo>
                      <a:pt x="56" y="90"/>
                    </a:moveTo>
                    <a:cubicBezTo>
                      <a:pt x="25" y="78"/>
                      <a:pt x="2" y="44"/>
                      <a:pt x="0"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7" name="Freeform 14">
                <a:extLst>
                  <a:ext uri="{FF2B5EF4-FFF2-40B4-BE49-F238E27FC236}">
                    <a16:creationId xmlns:a16="http://schemas.microsoft.com/office/drawing/2014/main" id="{33EB4EF7-758B-4B66-8756-1BC7DAEF0F87}"/>
                  </a:ext>
                </a:extLst>
              </p:cNvPr>
              <p:cNvSpPr>
                <a:spLocks/>
              </p:cNvSpPr>
              <p:nvPr/>
            </p:nvSpPr>
            <p:spPr bwMode="auto">
              <a:xfrm>
                <a:off x="10842625" y="1861343"/>
                <a:ext cx="276225" cy="171450"/>
              </a:xfrm>
              <a:custGeom>
                <a:avLst/>
                <a:gdLst>
                  <a:gd name="T0" fmla="*/ 61 w 61"/>
                  <a:gd name="T1" fmla="*/ 0 h 38"/>
                  <a:gd name="T2" fmla="*/ 0 w 61"/>
                  <a:gd name="T3" fmla="*/ 38 h 38"/>
                </a:gdLst>
                <a:ahLst/>
                <a:cxnLst>
                  <a:cxn ang="0">
                    <a:pos x="T0" y="T1"/>
                  </a:cxn>
                  <a:cxn ang="0">
                    <a:pos x="T2" y="T3"/>
                  </a:cxn>
                </a:cxnLst>
                <a:rect l="0" t="0" r="r" b="b"/>
                <a:pathLst>
                  <a:path w="61" h="38">
                    <a:moveTo>
                      <a:pt x="61" y="0"/>
                    </a:moveTo>
                    <a:cubicBezTo>
                      <a:pt x="47" y="23"/>
                      <a:pt x="25" y="37"/>
                      <a:pt x="0" y="38"/>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8" name="Freeform 15">
                <a:extLst>
                  <a:ext uri="{FF2B5EF4-FFF2-40B4-BE49-F238E27FC236}">
                    <a16:creationId xmlns:a16="http://schemas.microsoft.com/office/drawing/2014/main" id="{739A3250-7E27-49CC-B625-1875F832F61F}"/>
                  </a:ext>
                </a:extLst>
              </p:cNvPr>
              <p:cNvSpPr>
                <a:spLocks/>
              </p:cNvSpPr>
              <p:nvPr/>
            </p:nvSpPr>
            <p:spPr bwMode="auto">
              <a:xfrm>
                <a:off x="10474325" y="1005681"/>
                <a:ext cx="728663" cy="627063"/>
              </a:xfrm>
              <a:custGeom>
                <a:avLst/>
                <a:gdLst>
                  <a:gd name="T0" fmla="*/ 162 w 162"/>
                  <a:gd name="T1" fmla="*/ 24 h 139"/>
                  <a:gd name="T2" fmla="*/ 81 w 162"/>
                  <a:gd name="T3" fmla="*/ 139 h 139"/>
                  <a:gd name="T4" fmla="*/ 0 w 162"/>
                  <a:gd name="T5" fmla="*/ 24 h 139"/>
                  <a:gd name="T6" fmla="*/ 2 w 162"/>
                  <a:gd name="T7" fmla="*/ 0 h 139"/>
                </a:gdLst>
                <a:ahLst/>
                <a:cxnLst>
                  <a:cxn ang="0">
                    <a:pos x="T0" y="T1"/>
                  </a:cxn>
                  <a:cxn ang="0">
                    <a:pos x="T2" y="T3"/>
                  </a:cxn>
                  <a:cxn ang="0">
                    <a:pos x="T4" y="T5"/>
                  </a:cxn>
                  <a:cxn ang="0">
                    <a:pos x="T6" y="T7"/>
                  </a:cxn>
                </a:cxnLst>
                <a:rect l="0" t="0" r="r" b="b"/>
                <a:pathLst>
                  <a:path w="162" h="139">
                    <a:moveTo>
                      <a:pt x="162" y="24"/>
                    </a:moveTo>
                    <a:cubicBezTo>
                      <a:pt x="162" y="88"/>
                      <a:pt x="114" y="139"/>
                      <a:pt x="81" y="139"/>
                    </a:cubicBezTo>
                    <a:cubicBezTo>
                      <a:pt x="44" y="139"/>
                      <a:pt x="0" y="88"/>
                      <a:pt x="0" y="24"/>
                    </a:cubicBezTo>
                    <a:cubicBezTo>
                      <a:pt x="0" y="16"/>
                      <a:pt x="1" y="8"/>
                      <a:pt x="2"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9" name="Freeform 16">
                <a:extLst>
                  <a:ext uri="{FF2B5EF4-FFF2-40B4-BE49-F238E27FC236}">
                    <a16:creationId xmlns:a16="http://schemas.microsoft.com/office/drawing/2014/main" id="{425462CB-F516-48F7-AB10-D504BA1D3BD7}"/>
                  </a:ext>
                </a:extLst>
              </p:cNvPr>
              <p:cNvSpPr>
                <a:spLocks/>
              </p:cNvSpPr>
              <p:nvPr/>
            </p:nvSpPr>
            <p:spPr bwMode="auto">
              <a:xfrm>
                <a:off x="10599738" y="718343"/>
                <a:ext cx="639763" cy="503238"/>
              </a:xfrm>
              <a:custGeom>
                <a:avLst/>
                <a:gdLst>
                  <a:gd name="T0" fmla="*/ 0 w 142"/>
                  <a:gd name="T1" fmla="*/ 0 h 112"/>
                  <a:gd name="T2" fmla="*/ 113 w 142"/>
                  <a:gd name="T3" fmla="*/ 74 h 112"/>
                  <a:gd name="T4" fmla="*/ 141 w 142"/>
                  <a:gd name="T5" fmla="*/ 112 h 112"/>
                </a:gdLst>
                <a:ahLst/>
                <a:cxnLst>
                  <a:cxn ang="0">
                    <a:pos x="T0" y="T1"/>
                  </a:cxn>
                  <a:cxn ang="0">
                    <a:pos x="T2" y="T3"/>
                  </a:cxn>
                  <a:cxn ang="0">
                    <a:pos x="T4" y="T5"/>
                  </a:cxn>
                </a:cxnLst>
                <a:rect l="0" t="0" r="r" b="b"/>
                <a:pathLst>
                  <a:path w="142" h="112">
                    <a:moveTo>
                      <a:pt x="0" y="0"/>
                    </a:moveTo>
                    <a:cubicBezTo>
                      <a:pt x="22" y="60"/>
                      <a:pt x="77" y="65"/>
                      <a:pt x="113" y="74"/>
                    </a:cubicBezTo>
                    <a:cubicBezTo>
                      <a:pt x="127" y="77"/>
                      <a:pt x="142" y="90"/>
                      <a:pt x="141" y="11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0" name="Freeform 17">
                <a:extLst>
                  <a:ext uri="{FF2B5EF4-FFF2-40B4-BE49-F238E27FC236}">
                    <a16:creationId xmlns:a16="http://schemas.microsoft.com/office/drawing/2014/main" id="{1D1A1DF3-E633-4E0D-843C-D75334DE06BC}"/>
                  </a:ext>
                </a:extLst>
              </p:cNvPr>
              <p:cNvSpPr>
                <a:spLocks/>
              </p:cNvSpPr>
              <p:nvPr/>
            </p:nvSpPr>
            <p:spPr bwMode="auto">
              <a:xfrm>
                <a:off x="10482263" y="804068"/>
                <a:ext cx="158750" cy="196850"/>
              </a:xfrm>
              <a:custGeom>
                <a:avLst/>
                <a:gdLst>
                  <a:gd name="T0" fmla="*/ 0 w 35"/>
                  <a:gd name="T1" fmla="*/ 44 h 44"/>
                  <a:gd name="T2" fmla="*/ 35 w 35"/>
                  <a:gd name="T3" fmla="*/ 0 h 44"/>
                </a:gdLst>
                <a:ahLst/>
                <a:cxnLst>
                  <a:cxn ang="0">
                    <a:pos x="T0" y="T1"/>
                  </a:cxn>
                  <a:cxn ang="0">
                    <a:pos x="T2" y="T3"/>
                  </a:cxn>
                </a:cxnLst>
                <a:rect l="0" t="0" r="r" b="b"/>
                <a:pathLst>
                  <a:path w="35" h="44">
                    <a:moveTo>
                      <a:pt x="0" y="44"/>
                    </a:moveTo>
                    <a:cubicBezTo>
                      <a:pt x="7" y="28"/>
                      <a:pt x="17" y="11"/>
                      <a:pt x="35" y="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1" name="Freeform 39">
                <a:extLst>
                  <a:ext uri="{FF2B5EF4-FFF2-40B4-BE49-F238E27FC236}">
                    <a16:creationId xmlns:a16="http://schemas.microsoft.com/office/drawing/2014/main" id="{D9035D96-5A5C-4CFC-A7A5-8E0A747CA837}"/>
                  </a:ext>
                </a:extLst>
              </p:cNvPr>
              <p:cNvSpPr>
                <a:spLocks/>
              </p:cNvSpPr>
              <p:nvPr/>
            </p:nvSpPr>
            <p:spPr bwMode="auto">
              <a:xfrm>
                <a:off x="11347440" y="1701810"/>
                <a:ext cx="228119" cy="487383"/>
              </a:xfrm>
              <a:custGeom>
                <a:avLst/>
                <a:gdLst>
                  <a:gd name="T0" fmla="*/ 0 w 63"/>
                  <a:gd name="T1" fmla="*/ 0 h 159"/>
                  <a:gd name="T2" fmla="*/ 63 w 63"/>
                  <a:gd name="T3" fmla="*/ 159 h 159"/>
                  <a:gd name="connsiteX0" fmla="*/ 0 w 11006"/>
                  <a:gd name="connsiteY0" fmla="*/ 0 h 14181"/>
                  <a:gd name="connsiteX1" fmla="*/ 11006 w 11006"/>
                  <a:gd name="connsiteY1" fmla="*/ 14181 h 14181"/>
                  <a:gd name="connsiteX0" fmla="*/ 0 w 11006"/>
                  <a:gd name="connsiteY0" fmla="*/ 0 h 14181"/>
                  <a:gd name="connsiteX1" fmla="*/ 11006 w 11006"/>
                  <a:gd name="connsiteY1" fmla="*/ 14181 h 14181"/>
                  <a:gd name="connsiteX0" fmla="*/ 0 w 11676"/>
                  <a:gd name="connsiteY0" fmla="*/ 0 h 14115"/>
                  <a:gd name="connsiteX1" fmla="*/ 11676 w 11676"/>
                  <a:gd name="connsiteY1" fmla="*/ 14115 h 14115"/>
                  <a:gd name="connsiteX0" fmla="*/ 0 w 8827"/>
                  <a:gd name="connsiteY0" fmla="*/ 0 h 13451"/>
                  <a:gd name="connsiteX1" fmla="*/ 8827 w 8827"/>
                  <a:gd name="connsiteY1" fmla="*/ 13451 h 13451"/>
                  <a:gd name="connsiteX0" fmla="*/ 0 w 10000"/>
                  <a:gd name="connsiteY0" fmla="*/ 0 h 10000"/>
                  <a:gd name="connsiteX1" fmla="*/ 10000 w 10000"/>
                  <a:gd name="connsiteY1" fmla="*/ 10000 h 10000"/>
                  <a:gd name="connsiteX0" fmla="*/ 0 w 10000"/>
                  <a:gd name="connsiteY0" fmla="*/ 0 h 10000"/>
                  <a:gd name="connsiteX1" fmla="*/ 10000 w 10000"/>
                  <a:gd name="connsiteY1" fmla="*/ 10000 h 10000"/>
                  <a:gd name="connsiteX0" fmla="*/ 0 w 10380"/>
                  <a:gd name="connsiteY0" fmla="*/ 0 h 9901"/>
                  <a:gd name="connsiteX1" fmla="*/ 10380 w 10380"/>
                  <a:gd name="connsiteY1" fmla="*/ 9901 h 9901"/>
                  <a:gd name="connsiteX0" fmla="*/ 0 w 10000"/>
                  <a:gd name="connsiteY0" fmla="*/ 0 h 10000"/>
                  <a:gd name="connsiteX1" fmla="*/ 10000 w 10000"/>
                  <a:gd name="connsiteY1" fmla="*/ 10000 h 10000"/>
                  <a:gd name="connsiteX0" fmla="*/ 0 w 10710"/>
                  <a:gd name="connsiteY0" fmla="*/ 0 h 9903"/>
                  <a:gd name="connsiteX1" fmla="*/ 10710 w 10710"/>
                  <a:gd name="connsiteY1" fmla="*/ 9903 h 9903"/>
                  <a:gd name="connsiteX0" fmla="*/ 0 w 10000"/>
                  <a:gd name="connsiteY0" fmla="*/ 0 h 10000"/>
                  <a:gd name="connsiteX1" fmla="*/ 10000 w 10000"/>
                  <a:gd name="connsiteY1" fmla="*/ 10000 h 10000"/>
                  <a:gd name="connsiteX0" fmla="*/ 0 w 10000"/>
                  <a:gd name="connsiteY0" fmla="*/ 0 h 10000"/>
                  <a:gd name="connsiteX1" fmla="*/ 7924 w 10000"/>
                  <a:gd name="connsiteY1" fmla="*/ 4345 h 10000"/>
                  <a:gd name="connsiteX2" fmla="*/ 10000 w 10000"/>
                  <a:gd name="connsiteY2" fmla="*/ 10000 h 10000"/>
                  <a:gd name="connsiteX0" fmla="*/ 0 w 7924"/>
                  <a:gd name="connsiteY0" fmla="*/ 0 h 4345"/>
                  <a:gd name="connsiteX1" fmla="*/ 7924 w 7924"/>
                  <a:gd name="connsiteY1" fmla="*/ 4345 h 4345"/>
                  <a:gd name="connsiteX0" fmla="*/ 0 w 10000"/>
                  <a:gd name="connsiteY0" fmla="*/ 0 h 10000"/>
                  <a:gd name="connsiteX1" fmla="*/ 10000 w 10000"/>
                  <a:gd name="connsiteY1" fmla="*/ 10000 h 10000"/>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108"/>
                  <a:gd name="connsiteY0" fmla="*/ 0 h 12027"/>
                  <a:gd name="connsiteX1" fmla="*/ 10108 w 10108"/>
                  <a:gd name="connsiteY1" fmla="*/ 12027 h 12027"/>
                  <a:gd name="connsiteX0" fmla="*/ 0 w 10324"/>
                  <a:gd name="connsiteY0" fmla="*/ 0 h 11853"/>
                  <a:gd name="connsiteX1" fmla="*/ 10324 w 10324"/>
                  <a:gd name="connsiteY1" fmla="*/ 11853 h 11853"/>
                  <a:gd name="connsiteX0" fmla="*/ 0 w 10324"/>
                  <a:gd name="connsiteY0" fmla="*/ 0 h 11853"/>
                  <a:gd name="connsiteX1" fmla="*/ 10324 w 10324"/>
                  <a:gd name="connsiteY1" fmla="*/ 11853 h 11853"/>
                </a:gdLst>
                <a:ahLst/>
                <a:cxnLst>
                  <a:cxn ang="0">
                    <a:pos x="connsiteX0" y="connsiteY0"/>
                  </a:cxn>
                  <a:cxn ang="0">
                    <a:pos x="connsiteX1" y="connsiteY1"/>
                  </a:cxn>
                </a:cxnLst>
                <a:rect l="l" t="t" r="r" b="b"/>
                <a:pathLst>
                  <a:path w="10324" h="11853">
                    <a:moveTo>
                      <a:pt x="0" y="0"/>
                    </a:moveTo>
                    <a:cubicBezTo>
                      <a:pt x="3225" y="1480"/>
                      <a:pt x="9538" y="3385"/>
                      <a:pt x="10324" y="11853"/>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grpSp>
        <p:nvGrpSpPr>
          <p:cNvPr id="122" name="Group 121">
            <a:extLst>
              <a:ext uri="{FF2B5EF4-FFF2-40B4-BE49-F238E27FC236}">
                <a16:creationId xmlns:a16="http://schemas.microsoft.com/office/drawing/2014/main" id="{9390FC0F-270C-4D76-BF44-F6EF0F0CECA7}"/>
              </a:ext>
            </a:extLst>
          </p:cNvPr>
          <p:cNvGrpSpPr/>
          <p:nvPr/>
        </p:nvGrpSpPr>
        <p:grpSpPr>
          <a:xfrm flipH="1">
            <a:off x="5451466" y="4901103"/>
            <a:ext cx="392113" cy="311150"/>
            <a:chOff x="2936876" y="5357813"/>
            <a:chExt cx="392113" cy="311150"/>
          </a:xfrm>
        </p:grpSpPr>
        <p:sp>
          <p:nvSpPr>
            <p:cNvPr id="123" name="Freeform 88">
              <a:extLst>
                <a:ext uri="{FF2B5EF4-FFF2-40B4-BE49-F238E27FC236}">
                  <a16:creationId xmlns:a16="http://schemas.microsoft.com/office/drawing/2014/main" id="{A46D6E5F-BE9C-4B94-9A77-F6F7DB9600EF}"/>
                </a:ext>
              </a:extLst>
            </p:cNvPr>
            <p:cNvSpPr>
              <a:spLocks/>
            </p:cNvSpPr>
            <p:nvPr/>
          </p:nvSpPr>
          <p:spPr bwMode="auto">
            <a:xfrm>
              <a:off x="3054351" y="5357813"/>
              <a:ext cx="211138" cy="311150"/>
            </a:xfrm>
            <a:custGeom>
              <a:avLst/>
              <a:gdLst>
                <a:gd name="T0" fmla="*/ 0 w 133"/>
                <a:gd name="T1" fmla="*/ 196 h 196"/>
                <a:gd name="T2" fmla="*/ 133 w 133"/>
                <a:gd name="T3" fmla="*/ 99 h 196"/>
                <a:gd name="T4" fmla="*/ 0 w 133"/>
                <a:gd name="T5" fmla="*/ 0 h 196"/>
                <a:gd name="T6" fmla="*/ 0 w 133"/>
                <a:gd name="T7" fmla="*/ 196 h 196"/>
              </a:gdLst>
              <a:ahLst/>
              <a:cxnLst>
                <a:cxn ang="0">
                  <a:pos x="T0" y="T1"/>
                </a:cxn>
                <a:cxn ang="0">
                  <a:pos x="T2" y="T3"/>
                </a:cxn>
                <a:cxn ang="0">
                  <a:pos x="T4" y="T5"/>
                </a:cxn>
                <a:cxn ang="0">
                  <a:pos x="T6" y="T7"/>
                </a:cxn>
              </a:cxnLst>
              <a:rect l="0" t="0" r="r" b="b"/>
              <a:pathLst>
                <a:path w="133" h="196">
                  <a:moveTo>
                    <a:pt x="0" y="196"/>
                  </a:moveTo>
                  <a:lnTo>
                    <a:pt x="133" y="99"/>
                  </a:lnTo>
                  <a:lnTo>
                    <a:pt x="0" y="0"/>
                  </a:lnTo>
                  <a:lnTo>
                    <a:pt x="0" y="196"/>
                  </a:lnTo>
                  <a:close/>
                </a:path>
              </a:pathLst>
            </a:custGeom>
            <a:solidFill>
              <a:srgbClr val="A1B5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24" name="Freeform 90">
              <a:extLst>
                <a:ext uri="{FF2B5EF4-FFF2-40B4-BE49-F238E27FC236}">
                  <a16:creationId xmlns:a16="http://schemas.microsoft.com/office/drawing/2014/main" id="{CD967C09-5D92-4E8E-B8CE-F60BF085E4DA}"/>
                </a:ext>
              </a:extLst>
            </p:cNvPr>
            <p:cNvSpPr>
              <a:spLocks/>
            </p:cNvSpPr>
            <p:nvPr/>
          </p:nvSpPr>
          <p:spPr bwMode="auto">
            <a:xfrm>
              <a:off x="3194051" y="5416550"/>
              <a:ext cx="134938" cy="198438"/>
            </a:xfrm>
            <a:custGeom>
              <a:avLst/>
              <a:gdLst>
                <a:gd name="T0" fmla="*/ 0 w 85"/>
                <a:gd name="T1" fmla="*/ 125 h 125"/>
                <a:gd name="T2" fmla="*/ 85 w 85"/>
                <a:gd name="T3" fmla="*/ 62 h 125"/>
                <a:gd name="T4" fmla="*/ 0 w 85"/>
                <a:gd name="T5" fmla="*/ 0 h 125"/>
              </a:gdLst>
              <a:ahLst/>
              <a:cxnLst>
                <a:cxn ang="0">
                  <a:pos x="T0" y="T1"/>
                </a:cxn>
                <a:cxn ang="0">
                  <a:pos x="T2" y="T3"/>
                </a:cxn>
                <a:cxn ang="0">
                  <a:pos x="T4" y="T5"/>
                </a:cxn>
              </a:cxnLst>
              <a:rect l="0" t="0" r="r" b="b"/>
              <a:pathLst>
                <a:path w="85" h="125">
                  <a:moveTo>
                    <a:pt x="0" y="125"/>
                  </a:moveTo>
                  <a:lnTo>
                    <a:pt x="85" y="62"/>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5" name="Line 91">
              <a:extLst>
                <a:ext uri="{FF2B5EF4-FFF2-40B4-BE49-F238E27FC236}">
                  <a16:creationId xmlns:a16="http://schemas.microsoft.com/office/drawing/2014/main" id="{DE33FF28-9B96-4F1A-A71B-D68E94E44C37}"/>
                </a:ext>
              </a:extLst>
            </p:cNvPr>
            <p:cNvSpPr>
              <a:spLocks noChangeShapeType="1"/>
            </p:cNvSpPr>
            <p:nvPr/>
          </p:nvSpPr>
          <p:spPr bwMode="auto">
            <a:xfrm flipH="1">
              <a:off x="2936876" y="5519738"/>
              <a:ext cx="315913"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5" name="Content Placeholder 7"/>
          <p:cNvSpPr txBox="1">
            <a:spLocks/>
          </p:cNvSpPr>
          <p:nvPr/>
        </p:nvSpPr>
        <p:spPr>
          <a:xfrm>
            <a:off x="254845" y="3926055"/>
            <a:ext cx="1367491" cy="2106129"/>
          </a:xfrm>
          <a:prstGeom prst="rect">
            <a:avLst/>
          </a:prstGeom>
          <a:solidFill>
            <a:srgbClr val="B9C7C2"/>
          </a:solidFill>
          <a:ln w="9525">
            <a:noFill/>
          </a:ln>
        </p:spPr>
        <p:txBody>
          <a:bodyPr vert="horz" wrap="square" lIns="72000" tIns="72000" rIns="72000" bIns="72000" rtlCol="0" anchor="ctr" anchorCtr="0">
            <a:noAutofit/>
          </a:bodyPr>
          <a:lstStyle>
            <a:lvl1pPr marL="0" indent="0" algn="l" defTabSz="914400" rtl="0" eaLnBrk="1" latinLnBrk="0" hangingPunct="1">
              <a:spcBef>
                <a:spcPts val="600"/>
              </a:spcBef>
              <a:buFont typeface="Arial" pitchFamily="34" charset="0"/>
              <a:buNone/>
              <a:defRPr sz="1800" kern="1200">
                <a:solidFill>
                  <a:schemeClr val="tx1"/>
                </a:solidFill>
                <a:latin typeface="Arial" pitchFamily="34" charset="0"/>
                <a:ea typeface="+mn-ea"/>
                <a:cs typeface="Arial" pitchFamily="34" charset="0"/>
              </a:defRPr>
            </a:lvl1pPr>
            <a:lvl2pPr marL="144000" indent="-144000" algn="l" defTabSz="914400" rtl="0" eaLnBrk="1" latinLnBrk="0" hangingPunct="1">
              <a:spcBef>
                <a:spcPts val="600"/>
              </a:spcBef>
              <a:buClr>
                <a:schemeClr val="tx1"/>
              </a:buClr>
              <a:buFont typeface="Arial" pitchFamily="34" charset="0"/>
              <a:buChar char="•"/>
              <a:defRPr sz="1800" kern="1200" baseline="0">
                <a:solidFill>
                  <a:schemeClr val="tx1"/>
                </a:solidFill>
                <a:latin typeface="Arial" pitchFamily="34" charset="0"/>
                <a:ea typeface="+mn-ea"/>
                <a:cs typeface="Arial" pitchFamily="34" charset="0"/>
              </a:defRPr>
            </a:lvl2pPr>
            <a:lvl3pPr marL="288000" indent="-144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3pPr>
            <a:lvl4pPr marL="432000" indent="-144000" algn="l" defTabSz="914400" rtl="0" eaLnBrk="1" latinLnBrk="0" hangingPunct="1">
              <a:spcBef>
                <a:spcPts val="600"/>
              </a:spcBef>
              <a:buClr>
                <a:schemeClr val="tx1"/>
              </a:buClr>
              <a:buFont typeface="Arial" pitchFamily="34" charset="0"/>
              <a:buChar char="»"/>
              <a:tabLst/>
              <a:defRPr sz="1800" kern="1200">
                <a:solidFill>
                  <a:schemeClr val="tx1"/>
                </a:solidFill>
                <a:latin typeface="Arial" pitchFamily="34" charset="0"/>
                <a:ea typeface="+mn-ea"/>
                <a:cs typeface="Arial" pitchFamily="34" charset="0"/>
              </a:defRPr>
            </a:lvl4pPr>
            <a:lvl5pPr marL="576000" indent="-180000" algn="l" defTabSz="914400" rtl="0" eaLnBrk="1" latinLnBrk="0" hangingPunct="1">
              <a:spcBef>
                <a:spcPts val="600"/>
              </a:spcBef>
              <a:buClr>
                <a:schemeClr val="tx1"/>
              </a:buClr>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defRPr/>
            </a:pPr>
            <a:r>
              <a:rPr lang="en-GB" sz="6600" dirty="0">
                <a:solidFill>
                  <a:schemeClr val="bg1"/>
                </a:solidFill>
                <a:latin typeface="Impact" panose="020B0806030902050204" pitchFamily="34" charset="0"/>
              </a:rPr>
              <a:t>I</a:t>
            </a:r>
          </a:p>
        </p:txBody>
      </p:sp>
    </p:spTree>
    <p:extLst>
      <p:ext uri="{BB962C8B-B14F-4D97-AF65-F5344CB8AC3E}">
        <p14:creationId xmlns:p14="http://schemas.microsoft.com/office/powerpoint/2010/main" val="774738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65053B44-69BD-4EFD-9517-24AA6AF6FE99}"/>
              </a:ext>
            </a:extLst>
          </p:cNvPr>
          <p:cNvSpPr/>
          <p:nvPr/>
        </p:nvSpPr>
        <p:spPr>
          <a:xfrm>
            <a:off x="273050" y="2674138"/>
            <a:ext cx="9359900" cy="3076213"/>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graphicFrame>
        <p:nvGraphicFramePr>
          <p:cNvPr id="2" name="Object 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16" imgH="216" progId="TCLayout.ActiveDocument.1">
                  <p:embed/>
                </p:oleObj>
              </mc:Choice>
              <mc:Fallback>
                <p:oleObj name="think-cell Slide" r:id="rId5" imgW="216" imgH="216"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en-GB" dirty="0"/>
              <a:t>Literature on Advocacy and </a:t>
            </a:r>
            <a:r>
              <a:rPr lang="en-GB" dirty="0">
                <a:solidFill>
                  <a:srgbClr val="342F2B"/>
                </a:solidFill>
                <a:latin typeface="Arial" pitchFamily="34" charset="0"/>
              </a:rPr>
              <a:t>Inquiry</a:t>
            </a:r>
            <a:endParaRPr lang="en-GB" dirty="0"/>
          </a:p>
        </p:txBody>
      </p:sp>
      <p:sp>
        <p:nvSpPr>
          <p:cNvPr id="13" name="Text Placeholder 12">
            <a:extLst>
              <a:ext uri="{FF2B5EF4-FFF2-40B4-BE49-F238E27FC236}">
                <a16:creationId xmlns:a16="http://schemas.microsoft.com/office/drawing/2014/main" id="{4C038C4F-AE47-4EE8-BA1A-E5C9910BBFBD}"/>
              </a:ext>
            </a:extLst>
          </p:cNvPr>
          <p:cNvSpPr>
            <a:spLocks noGrp="1"/>
          </p:cNvSpPr>
          <p:nvPr>
            <p:ph type="body" sz="quarter" idx="13"/>
          </p:nvPr>
        </p:nvSpPr>
        <p:spPr/>
        <p:txBody>
          <a:bodyPr/>
          <a:lstStyle/>
          <a:p>
            <a:endParaRPr lang="en-GB" dirty="0"/>
          </a:p>
        </p:txBody>
      </p:sp>
      <p:sp>
        <p:nvSpPr>
          <p:cNvPr id="14" name="Text Placeholder 13">
            <a:extLst>
              <a:ext uri="{FF2B5EF4-FFF2-40B4-BE49-F238E27FC236}">
                <a16:creationId xmlns:a16="http://schemas.microsoft.com/office/drawing/2014/main" id="{3B5B6CF6-E459-4137-89C9-AA6E9A7331D9}"/>
              </a:ext>
            </a:extLst>
          </p:cNvPr>
          <p:cNvSpPr>
            <a:spLocks noGrp="1"/>
          </p:cNvSpPr>
          <p:nvPr>
            <p:ph type="body" sz="quarter" idx="14"/>
          </p:nvPr>
        </p:nvSpPr>
        <p:spPr/>
        <p:txBody>
          <a:bodyPr/>
          <a:lstStyle/>
          <a:p>
            <a:endParaRPr lang="en-GB" dirty="0"/>
          </a:p>
        </p:txBody>
      </p:sp>
      <p:pic>
        <p:nvPicPr>
          <p:cNvPr id="7182" name="Picture 14"/>
          <p:cNvPicPr>
            <a:picLocks noChangeAspect="1" noChangeArrowheads="1"/>
          </p:cNvPicPr>
          <p:nvPr/>
        </p:nvPicPr>
        <p:blipFill rotWithShape="1">
          <a:blip r:embed="rId7">
            <a:extLst>
              <a:ext uri="{28A0092B-C50C-407E-A947-70E740481C1C}">
                <a14:useLocalDpi xmlns:a14="http://schemas.microsoft.com/office/drawing/2010/main" val="0"/>
              </a:ext>
            </a:extLst>
          </a:blip>
          <a:srcRect l="52819" t="20777" r="38431" b="56708"/>
          <a:stretch/>
        </p:blipFill>
        <p:spPr bwMode="auto">
          <a:xfrm>
            <a:off x="7592272" y="2945311"/>
            <a:ext cx="1741357" cy="25202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14"/>
          <p:cNvPicPr>
            <a:picLocks noChangeAspect="1" noChangeArrowheads="1"/>
          </p:cNvPicPr>
          <p:nvPr/>
        </p:nvPicPr>
        <p:blipFill rotWithShape="1">
          <a:blip r:embed="rId7">
            <a:extLst>
              <a:ext uri="{28A0092B-C50C-407E-A947-70E740481C1C}">
                <a14:useLocalDpi xmlns:a14="http://schemas.microsoft.com/office/drawing/2010/main" val="0"/>
              </a:ext>
            </a:extLst>
          </a:blip>
          <a:srcRect l="36586" t="20777" r="54530" b="56085"/>
          <a:stretch/>
        </p:blipFill>
        <p:spPr bwMode="auto">
          <a:xfrm>
            <a:off x="5262790" y="2945311"/>
            <a:ext cx="1720368" cy="25202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83" name="Picture 15"/>
          <p:cNvPicPr>
            <a:picLocks noChangeAspect="1" noChangeArrowheads="1"/>
          </p:cNvPicPr>
          <p:nvPr/>
        </p:nvPicPr>
        <p:blipFill rotWithShape="1">
          <a:blip r:embed="rId8">
            <a:extLst>
              <a:ext uri="{28A0092B-C50C-407E-A947-70E740481C1C}">
                <a14:useLocalDpi xmlns:a14="http://schemas.microsoft.com/office/drawing/2010/main" val="0"/>
              </a:ext>
            </a:extLst>
          </a:blip>
          <a:srcRect l="20405" t="42745" r="70772" b="33594"/>
          <a:stretch/>
        </p:blipFill>
        <p:spPr bwMode="auto">
          <a:xfrm>
            <a:off x="2931325" y="2945311"/>
            <a:ext cx="1703346" cy="249807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8">
            <a:extLst>
              <a:ext uri="{FF2B5EF4-FFF2-40B4-BE49-F238E27FC236}">
                <a16:creationId xmlns:a16="http://schemas.microsoft.com/office/drawing/2014/main" id="{B32DE4D0-BD76-4660-9409-D37110986ED3}"/>
              </a:ext>
            </a:extLst>
          </p:cNvPr>
          <p:cNvPicPr>
            <a:picLocks noChangeAspect="1"/>
          </p:cNvPicPr>
          <p:nvPr/>
        </p:nvPicPr>
        <p:blipFill>
          <a:blip r:embed="rId9"/>
          <a:stretch>
            <a:fillRect/>
          </a:stretch>
        </p:blipFill>
        <p:spPr>
          <a:xfrm>
            <a:off x="604551" y="2945311"/>
            <a:ext cx="1676968" cy="2520503"/>
          </a:xfrm>
          <a:prstGeom prst="rect">
            <a:avLst/>
          </a:prstGeom>
        </p:spPr>
      </p:pic>
      <p:sp>
        <p:nvSpPr>
          <p:cNvPr id="17" name="Rektangel 16">
            <a:extLst>
              <a:ext uri="{FF2B5EF4-FFF2-40B4-BE49-F238E27FC236}">
                <a16:creationId xmlns:a16="http://schemas.microsoft.com/office/drawing/2014/main" id="{1132A126-5551-4795-9363-86DA439800C3}"/>
              </a:ext>
            </a:extLst>
          </p:cNvPr>
          <p:cNvSpPr/>
          <p:nvPr/>
        </p:nvSpPr>
        <p:spPr>
          <a:xfrm>
            <a:off x="273049" y="1714256"/>
            <a:ext cx="2339973" cy="401623"/>
          </a:xfrm>
          <a:prstGeom prst="rect">
            <a:avLst/>
          </a:prstGeom>
          <a:solidFill>
            <a:srgbClr val="B9C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00"/>
              </a:spcBef>
            </a:pPr>
            <a:r>
              <a:rPr lang="en-GB" sz="1200" b="1" dirty="0">
                <a:solidFill>
                  <a:srgbClr val="1F2023"/>
                </a:solidFill>
                <a:latin typeface="Arial" pitchFamily="34" charset="0"/>
                <a:cs typeface="Arial" pitchFamily="34" charset="0"/>
              </a:rPr>
              <a:t>Roger Martin</a:t>
            </a:r>
          </a:p>
        </p:txBody>
      </p:sp>
      <p:sp>
        <p:nvSpPr>
          <p:cNvPr id="18" name="Rektangel 28">
            <a:extLst>
              <a:ext uri="{FF2B5EF4-FFF2-40B4-BE49-F238E27FC236}">
                <a16:creationId xmlns:a16="http://schemas.microsoft.com/office/drawing/2014/main" id="{AB12B7F7-E66A-421D-B0E0-1702863E77AC}"/>
              </a:ext>
            </a:extLst>
          </p:cNvPr>
          <p:cNvSpPr/>
          <p:nvPr/>
        </p:nvSpPr>
        <p:spPr>
          <a:xfrm>
            <a:off x="2612998" y="1714256"/>
            <a:ext cx="2340000" cy="401623"/>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Jonathan </a:t>
            </a:r>
            <a:r>
              <a:rPr lang="en-GB" sz="1200" b="1" dirty="0" err="1">
                <a:solidFill>
                  <a:schemeClr val="tx1"/>
                </a:solidFill>
              </a:rPr>
              <a:t>Haidt</a:t>
            </a:r>
            <a:endParaRPr lang="en-GB" sz="1200" b="1" dirty="0">
              <a:solidFill>
                <a:schemeClr val="tx1"/>
              </a:solidFill>
            </a:endParaRPr>
          </a:p>
        </p:txBody>
      </p:sp>
      <p:sp>
        <p:nvSpPr>
          <p:cNvPr id="19" name="Rektangel 29">
            <a:extLst>
              <a:ext uri="{FF2B5EF4-FFF2-40B4-BE49-F238E27FC236}">
                <a16:creationId xmlns:a16="http://schemas.microsoft.com/office/drawing/2014/main" id="{9F452D23-0277-4182-BAC3-47FC6E755D0D}"/>
              </a:ext>
            </a:extLst>
          </p:cNvPr>
          <p:cNvSpPr/>
          <p:nvPr/>
        </p:nvSpPr>
        <p:spPr>
          <a:xfrm>
            <a:off x="4952974" y="1714256"/>
            <a:ext cx="2340000" cy="401623"/>
          </a:xfrm>
          <a:prstGeom prst="rect">
            <a:avLst/>
          </a:prstGeom>
          <a:solidFill>
            <a:srgbClr val="B9C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Chris </a:t>
            </a:r>
            <a:r>
              <a:rPr lang="en-GB" sz="1200" b="1" dirty="0" err="1">
                <a:solidFill>
                  <a:schemeClr val="tx1"/>
                </a:solidFill>
              </a:rPr>
              <a:t>Argyris</a:t>
            </a:r>
            <a:endParaRPr lang="en-GB" sz="1200" b="1" dirty="0">
              <a:solidFill>
                <a:schemeClr val="tx1"/>
              </a:solidFill>
            </a:endParaRPr>
          </a:p>
        </p:txBody>
      </p:sp>
      <p:sp>
        <p:nvSpPr>
          <p:cNvPr id="20" name="Rektangel 30">
            <a:extLst>
              <a:ext uri="{FF2B5EF4-FFF2-40B4-BE49-F238E27FC236}">
                <a16:creationId xmlns:a16="http://schemas.microsoft.com/office/drawing/2014/main" id="{2150209E-BEE9-46FE-B91F-EDD89D24B223}"/>
              </a:ext>
            </a:extLst>
          </p:cNvPr>
          <p:cNvSpPr/>
          <p:nvPr/>
        </p:nvSpPr>
        <p:spPr>
          <a:xfrm>
            <a:off x="7292950" y="1714256"/>
            <a:ext cx="2340000" cy="401623"/>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00" b="1" dirty="0">
                <a:solidFill>
                  <a:schemeClr val="tx1"/>
                </a:solidFill>
              </a:rPr>
              <a:t>Chris </a:t>
            </a:r>
            <a:r>
              <a:rPr lang="en-GB" sz="1200" b="1" dirty="0" err="1">
                <a:solidFill>
                  <a:schemeClr val="tx1"/>
                </a:solidFill>
              </a:rPr>
              <a:t>Argyris</a:t>
            </a:r>
            <a:endParaRPr lang="en-GB" sz="1200" b="1" dirty="0">
              <a:solidFill>
                <a:schemeClr val="tx1"/>
              </a:solidFill>
            </a:endParaRPr>
          </a:p>
        </p:txBody>
      </p:sp>
      <p:grpSp>
        <p:nvGrpSpPr>
          <p:cNvPr id="16" name="Group 15">
            <a:extLst>
              <a:ext uri="{FF2B5EF4-FFF2-40B4-BE49-F238E27FC236}">
                <a16:creationId xmlns:a16="http://schemas.microsoft.com/office/drawing/2014/main" id="{CA4D9F44-EDB7-4ADB-9384-96A6B0400BD7}"/>
              </a:ext>
            </a:extLst>
          </p:cNvPr>
          <p:cNvGrpSpPr/>
          <p:nvPr/>
        </p:nvGrpSpPr>
        <p:grpSpPr>
          <a:xfrm>
            <a:off x="2611932" y="2943698"/>
            <a:ext cx="4681030" cy="2499690"/>
            <a:chOff x="2611932" y="4539043"/>
            <a:chExt cx="4681030" cy="1560099"/>
          </a:xfrm>
        </p:grpSpPr>
        <p:cxnSp>
          <p:nvCxnSpPr>
            <p:cNvPr id="21" name="Straight Connector 20">
              <a:extLst>
                <a:ext uri="{FF2B5EF4-FFF2-40B4-BE49-F238E27FC236}">
                  <a16:creationId xmlns:a16="http://schemas.microsoft.com/office/drawing/2014/main" id="{C88C613B-47B3-4F15-AA0D-BEEA2F6C6528}"/>
                </a:ext>
              </a:extLst>
            </p:cNvPr>
            <p:cNvCxnSpPr>
              <a:cxnSpLocks/>
            </p:cNvCxnSpPr>
            <p:nvPr/>
          </p:nvCxnSpPr>
          <p:spPr>
            <a:xfrm>
              <a:off x="2611932" y="4553856"/>
              <a:ext cx="0" cy="154528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8C8A429-E78E-4350-AE3B-2A4274D6A70F}"/>
                </a:ext>
              </a:extLst>
            </p:cNvPr>
            <p:cNvCxnSpPr>
              <a:cxnSpLocks/>
            </p:cNvCxnSpPr>
            <p:nvPr/>
          </p:nvCxnSpPr>
          <p:spPr>
            <a:xfrm>
              <a:off x="4952272" y="4553856"/>
              <a:ext cx="0" cy="154528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4983D5-419A-49B8-B639-832DB6CF945D}"/>
                </a:ext>
              </a:extLst>
            </p:cNvPr>
            <p:cNvCxnSpPr>
              <a:cxnSpLocks/>
            </p:cNvCxnSpPr>
            <p:nvPr/>
          </p:nvCxnSpPr>
          <p:spPr>
            <a:xfrm>
              <a:off x="7292962" y="4539043"/>
              <a:ext cx="0" cy="1560099"/>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sp>
        <p:nvSpPr>
          <p:cNvPr id="12" name="TextBox 11">
            <a:extLst>
              <a:ext uri="{FF2B5EF4-FFF2-40B4-BE49-F238E27FC236}">
                <a16:creationId xmlns:a16="http://schemas.microsoft.com/office/drawing/2014/main" id="{3E181A44-E559-413C-8F45-204DE2EB6719}"/>
              </a:ext>
            </a:extLst>
          </p:cNvPr>
          <p:cNvSpPr txBox="1"/>
          <p:nvPr/>
        </p:nvSpPr>
        <p:spPr>
          <a:xfrm>
            <a:off x="273048" y="2278412"/>
            <a:ext cx="2338883" cy="184666"/>
          </a:xfrm>
          <a:prstGeom prst="rect">
            <a:avLst/>
          </a:prstGeom>
          <a:noFill/>
        </p:spPr>
        <p:txBody>
          <a:bodyPr wrap="square" lIns="108000" tIns="0" rIns="0" bIns="0" rtlCol="0">
            <a:spAutoFit/>
          </a:bodyPr>
          <a:lstStyle/>
          <a:p>
            <a:pPr algn="ctr">
              <a:spcBef>
                <a:spcPts val="400"/>
              </a:spcBef>
            </a:pPr>
            <a:r>
              <a:rPr lang="en-GB" sz="1200" dirty="0">
                <a:solidFill>
                  <a:srgbClr val="1F2023"/>
                </a:solidFill>
                <a:latin typeface="Arial" pitchFamily="34" charset="0"/>
                <a:cs typeface="Arial" pitchFamily="34" charset="0"/>
              </a:rPr>
              <a:t>Creating great choices</a:t>
            </a:r>
          </a:p>
        </p:txBody>
      </p:sp>
      <p:sp>
        <p:nvSpPr>
          <p:cNvPr id="25" name="TextBox 24">
            <a:extLst>
              <a:ext uri="{FF2B5EF4-FFF2-40B4-BE49-F238E27FC236}">
                <a16:creationId xmlns:a16="http://schemas.microsoft.com/office/drawing/2014/main" id="{3E181A44-E559-413C-8F45-204DE2EB6719}"/>
              </a:ext>
            </a:extLst>
          </p:cNvPr>
          <p:cNvSpPr txBox="1"/>
          <p:nvPr/>
        </p:nvSpPr>
        <p:spPr>
          <a:xfrm>
            <a:off x="2611932" y="2278412"/>
            <a:ext cx="2338883" cy="184666"/>
          </a:xfrm>
          <a:prstGeom prst="rect">
            <a:avLst/>
          </a:prstGeom>
          <a:noFill/>
        </p:spPr>
        <p:txBody>
          <a:bodyPr wrap="square" lIns="108000" tIns="0" rIns="0" bIns="0" rtlCol="0">
            <a:spAutoFit/>
          </a:bodyPr>
          <a:lstStyle/>
          <a:p>
            <a:pPr algn="ctr">
              <a:spcBef>
                <a:spcPts val="400"/>
              </a:spcBef>
            </a:pPr>
            <a:r>
              <a:rPr lang="en-GB" sz="1200" dirty="0">
                <a:solidFill>
                  <a:srgbClr val="1F2023"/>
                </a:solidFill>
                <a:latin typeface="Arial" pitchFamily="34" charset="0"/>
                <a:cs typeface="Arial" pitchFamily="34" charset="0"/>
              </a:rPr>
              <a:t>The Righteous Mind</a:t>
            </a:r>
          </a:p>
        </p:txBody>
      </p:sp>
      <p:sp>
        <p:nvSpPr>
          <p:cNvPr id="26" name="TextBox 25">
            <a:extLst>
              <a:ext uri="{FF2B5EF4-FFF2-40B4-BE49-F238E27FC236}">
                <a16:creationId xmlns:a16="http://schemas.microsoft.com/office/drawing/2014/main" id="{3E181A44-E559-413C-8F45-204DE2EB6719}"/>
              </a:ext>
            </a:extLst>
          </p:cNvPr>
          <p:cNvSpPr txBox="1"/>
          <p:nvPr/>
        </p:nvSpPr>
        <p:spPr>
          <a:xfrm>
            <a:off x="4954067" y="2213749"/>
            <a:ext cx="2338883" cy="369332"/>
          </a:xfrm>
          <a:prstGeom prst="rect">
            <a:avLst/>
          </a:prstGeom>
          <a:noFill/>
        </p:spPr>
        <p:txBody>
          <a:bodyPr wrap="square" lIns="108000" tIns="0" rIns="0" bIns="0" rtlCol="0">
            <a:spAutoFit/>
          </a:bodyPr>
          <a:lstStyle/>
          <a:p>
            <a:pPr algn="ctr">
              <a:spcBef>
                <a:spcPts val="400"/>
              </a:spcBef>
            </a:pPr>
            <a:r>
              <a:rPr lang="en-GB" sz="1200" dirty="0">
                <a:solidFill>
                  <a:srgbClr val="1F2023"/>
                </a:solidFill>
                <a:latin typeface="Arial" pitchFamily="34" charset="0"/>
                <a:cs typeface="Arial" pitchFamily="34" charset="0"/>
              </a:rPr>
              <a:t>Flawed Advice and the Management Trap</a:t>
            </a:r>
          </a:p>
        </p:txBody>
      </p:sp>
      <p:sp>
        <p:nvSpPr>
          <p:cNvPr id="27" name="TextBox 26">
            <a:extLst>
              <a:ext uri="{FF2B5EF4-FFF2-40B4-BE49-F238E27FC236}">
                <a16:creationId xmlns:a16="http://schemas.microsoft.com/office/drawing/2014/main" id="{3E181A44-E559-413C-8F45-204DE2EB6719}"/>
              </a:ext>
            </a:extLst>
          </p:cNvPr>
          <p:cNvSpPr txBox="1"/>
          <p:nvPr/>
        </p:nvSpPr>
        <p:spPr>
          <a:xfrm>
            <a:off x="7340574" y="2278412"/>
            <a:ext cx="2338883" cy="184666"/>
          </a:xfrm>
          <a:prstGeom prst="rect">
            <a:avLst/>
          </a:prstGeom>
          <a:noFill/>
        </p:spPr>
        <p:txBody>
          <a:bodyPr wrap="square" lIns="108000" tIns="0" rIns="0" bIns="0" rtlCol="0">
            <a:spAutoFit/>
          </a:bodyPr>
          <a:lstStyle/>
          <a:p>
            <a:pPr algn="ctr">
              <a:spcBef>
                <a:spcPts val="400"/>
              </a:spcBef>
            </a:pPr>
            <a:r>
              <a:rPr lang="en-GB" sz="1200" dirty="0">
                <a:solidFill>
                  <a:srgbClr val="1F2023"/>
                </a:solidFill>
                <a:latin typeface="Arial" pitchFamily="34" charset="0"/>
                <a:cs typeface="Arial" pitchFamily="34" charset="0"/>
              </a:rPr>
              <a:t>Organizational Traps</a:t>
            </a:r>
          </a:p>
        </p:txBody>
      </p:sp>
      <p:sp>
        <p:nvSpPr>
          <p:cNvPr id="8" name="Triangle 7"/>
          <p:cNvSpPr/>
          <p:nvPr/>
        </p:nvSpPr>
        <p:spPr>
          <a:xfrm flipV="1">
            <a:off x="1177985" y="2607023"/>
            <a:ext cx="419128" cy="193514"/>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8" name="Triangle 27"/>
          <p:cNvSpPr/>
          <p:nvPr/>
        </p:nvSpPr>
        <p:spPr>
          <a:xfrm flipV="1">
            <a:off x="3571809" y="2607023"/>
            <a:ext cx="419128" cy="193514"/>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29" name="Triangle 28"/>
          <p:cNvSpPr/>
          <p:nvPr/>
        </p:nvSpPr>
        <p:spPr>
          <a:xfrm flipV="1">
            <a:off x="5913410" y="2607023"/>
            <a:ext cx="419128" cy="193514"/>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30" name="Triangle 29"/>
          <p:cNvSpPr/>
          <p:nvPr/>
        </p:nvSpPr>
        <p:spPr>
          <a:xfrm flipV="1">
            <a:off x="8253386" y="2607023"/>
            <a:ext cx="419128" cy="193514"/>
          </a:xfrm>
          <a:prstGeom prst="triangl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Tree>
    <p:extLst>
      <p:ext uri="{BB962C8B-B14F-4D97-AF65-F5344CB8AC3E}">
        <p14:creationId xmlns:p14="http://schemas.microsoft.com/office/powerpoint/2010/main" val="283175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 name="Rectangle 71">
            <a:extLst>
              <a:ext uri="{FF2B5EF4-FFF2-40B4-BE49-F238E27FC236}">
                <a16:creationId xmlns:a16="http://schemas.microsoft.com/office/drawing/2014/main" id="{01A649C7-601B-4206-BD92-03500A9245FA}"/>
              </a:ext>
            </a:extLst>
          </p:cNvPr>
          <p:cNvSpPr/>
          <p:nvPr/>
        </p:nvSpPr>
        <p:spPr>
          <a:xfrm>
            <a:off x="1436695" y="4541781"/>
            <a:ext cx="7022050" cy="1787277"/>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cxnSp>
        <p:nvCxnSpPr>
          <p:cNvPr id="74" name="Straight Connector 73">
            <a:extLst>
              <a:ext uri="{FF2B5EF4-FFF2-40B4-BE49-F238E27FC236}">
                <a16:creationId xmlns:a16="http://schemas.microsoft.com/office/drawing/2014/main" id="{A44005A6-6A46-477D-A476-C2F2649DE3F8}"/>
              </a:ext>
            </a:extLst>
          </p:cNvPr>
          <p:cNvCxnSpPr>
            <a:cxnSpLocks/>
          </p:cNvCxnSpPr>
          <p:nvPr/>
        </p:nvCxnSpPr>
        <p:spPr>
          <a:xfrm>
            <a:off x="3779986" y="4724510"/>
            <a:ext cx="0" cy="14218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11A364E9-02FE-4060-A2BE-1B9ACB4CB84D}"/>
              </a:ext>
            </a:extLst>
          </p:cNvPr>
          <p:cNvCxnSpPr>
            <a:cxnSpLocks/>
          </p:cNvCxnSpPr>
          <p:nvPr/>
        </p:nvCxnSpPr>
        <p:spPr>
          <a:xfrm>
            <a:off x="6127366" y="4724510"/>
            <a:ext cx="0" cy="1421818"/>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1B478E50-4200-4512-84AA-F32253AD3B0F}"/>
              </a:ext>
            </a:extLst>
          </p:cNvPr>
          <p:cNvSpPr/>
          <p:nvPr/>
        </p:nvSpPr>
        <p:spPr>
          <a:xfrm>
            <a:off x="273050" y="1899202"/>
            <a:ext cx="9359900" cy="1787277"/>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58" name="Rektangel 28">
            <a:extLst>
              <a:ext uri="{FF2B5EF4-FFF2-40B4-BE49-F238E27FC236}">
                <a16:creationId xmlns:a16="http://schemas.microsoft.com/office/drawing/2014/main" id="{FBB6349C-EE1D-4134-BB1F-D8CC38EAEAE7}"/>
              </a:ext>
            </a:extLst>
          </p:cNvPr>
          <p:cNvSpPr/>
          <p:nvPr/>
        </p:nvSpPr>
        <p:spPr>
          <a:xfrm>
            <a:off x="4951926" y="1291450"/>
            <a:ext cx="2340000" cy="268304"/>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err="1">
                <a:solidFill>
                  <a:schemeClr val="tx1"/>
                </a:solidFill>
              </a:rPr>
              <a:t>Brené</a:t>
            </a:r>
            <a:r>
              <a:rPr lang="en-GB" sz="900" b="1" dirty="0">
                <a:solidFill>
                  <a:schemeClr val="tx1"/>
                </a:solidFill>
              </a:rPr>
              <a:t> Brown</a:t>
            </a:r>
          </a:p>
        </p:txBody>
      </p:sp>
      <p:sp>
        <p:nvSpPr>
          <p:cNvPr id="59" name="Rektangel 30">
            <a:extLst>
              <a:ext uri="{FF2B5EF4-FFF2-40B4-BE49-F238E27FC236}">
                <a16:creationId xmlns:a16="http://schemas.microsoft.com/office/drawing/2014/main" id="{A0DA2D52-1F1A-463C-9D94-05CBDA338DFD}"/>
              </a:ext>
            </a:extLst>
          </p:cNvPr>
          <p:cNvSpPr/>
          <p:nvPr/>
        </p:nvSpPr>
        <p:spPr>
          <a:xfrm>
            <a:off x="7292950" y="1291450"/>
            <a:ext cx="2340000" cy="268304"/>
          </a:xfrm>
          <a:prstGeom prst="rect">
            <a:avLst/>
          </a:prstGeom>
          <a:solidFill>
            <a:srgbClr val="B9C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err="1">
                <a:solidFill>
                  <a:schemeClr val="tx1"/>
                </a:solidFill>
              </a:rPr>
              <a:t>Maryléne</a:t>
            </a:r>
            <a:r>
              <a:rPr lang="en-GB" sz="900" b="1" dirty="0">
                <a:solidFill>
                  <a:schemeClr val="tx1"/>
                </a:solidFill>
              </a:rPr>
              <a:t> Gagne</a:t>
            </a:r>
          </a:p>
        </p:txBody>
      </p:sp>
      <p:sp>
        <p:nvSpPr>
          <p:cNvPr id="60" name="Rektangel 30">
            <a:extLst>
              <a:ext uri="{FF2B5EF4-FFF2-40B4-BE49-F238E27FC236}">
                <a16:creationId xmlns:a16="http://schemas.microsoft.com/office/drawing/2014/main" id="{2B4574B3-9BF5-4AC5-B6A7-DA7DC860A480}"/>
              </a:ext>
            </a:extLst>
          </p:cNvPr>
          <p:cNvSpPr/>
          <p:nvPr/>
        </p:nvSpPr>
        <p:spPr>
          <a:xfrm>
            <a:off x="2610901" y="1291450"/>
            <a:ext cx="2340000" cy="268304"/>
          </a:xfrm>
          <a:prstGeom prst="rect">
            <a:avLst/>
          </a:prstGeom>
          <a:solidFill>
            <a:srgbClr val="B9C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tx1"/>
                </a:solidFill>
              </a:rPr>
              <a:t>Daniel H. Pink</a:t>
            </a:r>
          </a:p>
        </p:txBody>
      </p:sp>
      <p:sp>
        <p:nvSpPr>
          <p:cNvPr id="61" name="Rektangel 28">
            <a:extLst>
              <a:ext uri="{FF2B5EF4-FFF2-40B4-BE49-F238E27FC236}">
                <a16:creationId xmlns:a16="http://schemas.microsoft.com/office/drawing/2014/main" id="{ACC5F066-9859-4CDA-8BA4-0D67432433F5}"/>
              </a:ext>
            </a:extLst>
          </p:cNvPr>
          <p:cNvSpPr/>
          <p:nvPr/>
        </p:nvSpPr>
        <p:spPr>
          <a:xfrm>
            <a:off x="269876" y="1291450"/>
            <a:ext cx="2340000" cy="268304"/>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tx1"/>
                </a:solidFill>
              </a:rPr>
              <a:t>William Miller &amp; Stephen </a:t>
            </a:r>
            <a:r>
              <a:rPr lang="en-GB" sz="900" b="1" dirty="0" err="1">
                <a:solidFill>
                  <a:schemeClr val="tx1"/>
                </a:solidFill>
              </a:rPr>
              <a:t>Rollnick</a:t>
            </a:r>
            <a:endParaRPr lang="en-GB" sz="900" b="1" dirty="0">
              <a:solidFill>
                <a:schemeClr val="tx1"/>
              </a:solidFill>
            </a:endParaRPr>
          </a:p>
        </p:txBody>
      </p:sp>
      <p:pic>
        <p:nvPicPr>
          <p:cNvPr id="8207" name="Picture 15" descr="Image result for self determination theory gagne">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45639" y="2031950"/>
            <a:ext cx="1067382" cy="152178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269876" y="269876"/>
            <a:ext cx="8240140" cy="692336"/>
          </a:xfrm>
        </p:spPr>
        <p:txBody>
          <a:bodyPr/>
          <a:lstStyle/>
          <a:p>
            <a:r>
              <a:rPr lang="en-GB" dirty="0"/>
              <a:t>Literature on Motivational Drivers in Conversations </a:t>
            </a:r>
          </a:p>
        </p:txBody>
      </p:sp>
      <p:sp>
        <p:nvSpPr>
          <p:cNvPr id="6" name="Text Placeholder 5">
            <a:extLst>
              <a:ext uri="{FF2B5EF4-FFF2-40B4-BE49-F238E27FC236}">
                <a16:creationId xmlns:a16="http://schemas.microsoft.com/office/drawing/2014/main" id="{4EC77363-F312-4D34-8A55-DDD1CC57E322}"/>
              </a:ext>
            </a:extLst>
          </p:cNvPr>
          <p:cNvSpPr>
            <a:spLocks noGrp="1"/>
          </p:cNvSpPr>
          <p:nvPr>
            <p:ph type="body" sz="quarter" idx="13"/>
          </p:nvPr>
        </p:nvSpPr>
        <p:spPr/>
        <p:txBody>
          <a:bodyPr/>
          <a:lstStyle/>
          <a:p>
            <a:endParaRPr lang="en-GB" dirty="0"/>
          </a:p>
        </p:txBody>
      </p:sp>
      <p:sp>
        <p:nvSpPr>
          <p:cNvPr id="7" name="Text Placeholder 6">
            <a:extLst>
              <a:ext uri="{FF2B5EF4-FFF2-40B4-BE49-F238E27FC236}">
                <a16:creationId xmlns:a16="http://schemas.microsoft.com/office/drawing/2014/main" id="{9ACC497F-7D20-47A5-8A17-522824413994}"/>
              </a:ext>
            </a:extLst>
          </p:cNvPr>
          <p:cNvSpPr>
            <a:spLocks noGrp="1"/>
          </p:cNvSpPr>
          <p:nvPr>
            <p:ph type="body" sz="quarter" idx="14"/>
          </p:nvPr>
        </p:nvSpPr>
        <p:spPr/>
        <p:txBody>
          <a:bodyPr/>
          <a:lstStyle/>
          <a:p>
            <a:endParaRPr lang="en-GB" dirty="0"/>
          </a:p>
        </p:txBody>
      </p:sp>
      <p:pic>
        <p:nvPicPr>
          <p:cNvPr id="8194" name="Picture 2" descr="Image result for drive daniel pink">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64383" y="2031950"/>
            <a:ext cx="1047660" cy="152178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614557" y="1617701"/>
            <a:ext cx="2346425" cy="2769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Drive - The surprising Truth About What Motivate Us </a:t>
            </a:r>
          </a:p>
        </p:txBody>
      </p:sp>
      <p:pic>
        <p:nvPicPr>
          <p:cNvPr id="8196" name="Picture 4" descr="Image result for simon sinek start with why">
            <a:hlinkClick r:id="rId7"/>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397104" y="4640321"/>
            <a:ext cx="1012490" cy="1521780"/>
          </a:xfrm>
          <a:prstGeom prst="rect">
            <a:avLst/>
          </a:prstGeom>
          <a:noFill/>
          <a:extLst>
            <a:ext uri="{909E8E84-426E-40DD-AFC4-6F175D3DCCD1}">
              <a14:hiddenFill xmlns:a14="http://schemas.microsoft.com/office/drawing/2010/main">
                <a:solidFill>
                  <a:srgbClr val="FFFFFF"/>
                </a:solidFill>
              </a14:hiddenFill>
            </a:ext>
          </a:extLst>
        </p:spPr>
      </p:pic>
      <p:pic>
        <p:nvPicPr>
          <p:cNvPr id="8201" name="Picture 9"/>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68091" y="4640321"/>
            <a:ext cx="1077208" cy="1521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203" name="Picture 11" descr="Image result for Appreciative Inquiry: A Positive Revolution in Change">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964992" y="4640321"/>
            <a:ext cx="988100" cy="1521780"/>
          </a:xfrm>
          <a:prstGeom prst="rect">
            <a:avLst/>
          </a:prstGeom>
          <a:noFill/>
          <a:extLst>
            <a:ext uri="{909E8E84-426E-40DD-AFC4-6F175D3DCCD1}">
              <a14:hiddenFill xmlns:a14="http://schemas.microsoft.com/office/drawing/2010/main">
                <a:solidFill>
                  <a:srgbClr val="FFFFFF"/>
                </a:solidFill>
              </a14:hiddenFill>
            </a:ext>
          </a:extLst>
        </p:spPr>
      </p:pic>
      <p:pic>
        <p:nvPicPr>
          <p:cNvPr id="8205" name="Picture 13" descr="Image result for brene brown daring greatly">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633105" y="2031950"/>
            <a:ext cx="1001332" cy="1521780"/>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4960112" y="1661710"/>
            <a:ext cx="2342375" cy="1384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Daring Greatly</a:t>
            </a:r>
          </a:p>
        </p:txBody>
      </p:sp>
      <p:sp>
        <p:nvSpPr>
          <p:cNvPr id="16" name="TextBox 15"/>
          <p:cNvSpPr txBox="1"/>
          <p:nvPr/>
        </p:nvSpPr>
        <p:spPr>
          <a:xfrm>
            <a:off x="7310615" y="1595059"/>
            <a:ext cx="2336550" cy="276999"/>
          </a:xfrm>
          <a:prstGeom prst="rect">
            <a:avLst/>
          </a:prstGeom>
          <a:noFill/>
        </p:spPr>
        <p:txBody>
          <a:bodyPr wrap="square" lIns="180000" tIns="0" rIns="180000" bIns="0" rtlCol="0">
            <a:spAutoFit/>
          </a:bodyPr>
          <a:lstStyle/>
          <a:p>
            <a:pPr algn="ctr">
              <a:spcBef>
                <a:spcPts val="200"/>
              </a:spcBef>
            </a:pPr>
            <a:r>
              <a:rPr lang="en-GB" sz="900" dirty="0">
                <a:solidFill>
                  <a:srgbClr val="1F2023"/>
                </a:solidFill>
                <a:latin typeface="Arial" pitchFamily="34" charset="0"/>
                <a:cs typeface="Arial" pitchFamily="34" charset="0"/>
              </a:rPr>
              <a:t>Work Engagement, Motivation , and Self-Determination Theory </a:t>
            </a:r>
          </a:p>
        </p:txBody>
      </p:sp>
      <p:sp>
        <p:nvSpPr>
          <p:cNvPr id="4" name="AutoShape 2" descr="Image result for motivational interviewing helping people change"/>
          <p:cNvSpPr>
            <a:spLocks noChangeAspect="1" noChangeArrowheads="1"/>
          </p:cNvSpPr>
          <p:nvPr/>
        </p:nvSpPr>
        <p:spPr bwMode="auto">
          <a:xfrm>
            <a:off x="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pic>
        <p:nvPicPr>
          <p:cNvPr id="8195"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42729" y="2031950"/>
            <a:ext cx="999852" cy="15217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273048" y="1595059"/>
            <a:ext cx="2342385" cy="2769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Motivational Interviewing – Helping People to Change</a:t>
            </a:r>
          </a:p>
        </p:txBody>
      </p:sp>
      <p:grpSp>
        <p:nvGrpSpPr>
          <p:cNvPr id="9" name="Group 8">
            <a:extLst>
              <a:ext uri="{FF2B5EF4-FFF2-40B4-BE49-F238E27FC236}">
                <a16:creationId xmlns:a16="http://schemas.microsoft.com/office/drawing/2014/main" id="{20E992C2-A725-4829-90C9-48839674F45F}"/>
              </a:ext>
            </a:extLst>
          </p:cNvPr>
          <p:cNvGrpSpPr/>
          <p:nvPr/>
        </p:nvGrpSpPr>
        <p:grpSpPr>
          <a:xfrm>
            <a:off x="-11575849" y="4521419"/>
            <a:ext cx="9382233" cy="2144538"/>
            <a:chOff x="269876" y="3816973"/>
            <a:chExt cx="9382233" cy="2499690"/>
          </a:xfrm>
        </p:grpSpPr>
        <p:cxnSp>
          <p:nvCxnSpPr>
            <p:cNvPr id="21" name="Straight Connector 20">
              <a:extLst>
                <a:ext uri="{FF2B5EF4-FFF2-40B4-BE49-F238E27FC236}">
                  <a16:creationId xmlns:a16="http://schemas.microsoft.com/office/drawing/2014/main" id="{32CBDF55-14E3-4EA1-A4DC-AB0F352EE71E}"/>
                </a:ext>
              </a:extLst>
            </p:cNvPr>
            <p:cNvCxnSpPr>
              <a:cxnSpLocks/>
            </p:cNvCxnSpPr>
            <p:nvPr/>
          </p:nvCxnSpPr>
          <p:spPr>
            <a:xfrm>
              <a:off x="2615434"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C82DE3D2-6366-49A5-A3E5-43C79A072C60}"/>
                </a:ext>
              </a:extLst>
            </p:cNvPr>
            <p:cNvCxnSpPr>
              <a:cxnSpLocks/>
            </p:cNvCxnSpPr>
            <p:nvPr/>
          </p:nvCxnSpPr>
          <p:spPr>
            <a:xfrm>
              <a:off x="4960992"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904611D-3F73-476C-94BA-D09FA3439059}"/>
                </a:ext>
              </a:extLst>
            </p:cNvPr>
            <p:cNvCxnSpPr>
              <a:cxnSpLocks/>
            </p:cNvCxnSpPr>
            <p:nvPr/>
          </p:nvCxnSpPr>
          <p:spPr>
            <a:xfrm>
              <a:off x="7306550" y="3816973"/>
              <a:ext cx="0" cy="249969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2002D2BD-BB4B-4760-A0F9-36FD8150D091}"/>
                </a:ext>
              </a:extLst>
            </p:cNvPr>
            <p:cNvCxnSpPr>
              <a:cxnSpLocks/>
            </p:cNvCxnSpPr>
            <p:nvPr/>
          </p:nvCxnSpPr>
          <p:spPr>
            <a:xfrm>
              <a:off x="269876"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3ADDBF93-2A11-4E9F-A22B-ECE9E09C261B}"/>
                </a:ext>
              </a:extLst>
            </p:cNvPr>
            <p:cNvCxnSpPr>
              <a:cxnSpLocks/>
            </p:cNvCxnSpPr>
            <p:nvPr/>
          </p:nvCxnSpPr>
          <p:spPr>
            <a:xfrm>
              <a:off x="9652109" y="3816973"/>
              <a:ext cx="0" cy="249969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D4243DFD-55B2-4CE8-A788-D11314EFCA9C}"/>
              </a:ext>
            </a:extLst>
          </p:cNvPr>
          <p:cNvGrpSpPr/>
          <p:nvPr/>
        </p:nvGrpSpPr>
        <p:grpSpPr>
          <a:xfrm>
            <a:off x="2615434" y="2081931"/>
            <a:ext cx="4691116" cy="1421818"/>
            <a:chOff x="2615434" y="1198986"/>
            <a:chExt cx="4691116" cy="2124176"/>
          </a:xfrm>
        </p:grpSpPr>
        <p:cxnSp>
          <p:nvCxnSpPr>
            <p:cNvPr id="30" name="Straight Connector 29">
              <a:extLst>
                <a:ext uri="{FF2B5EF4-FFF2-40B4-BE49-F238E27FC236}">
                  <a16:creationId xmlns:a16="http://schemas.microsoft.com/office/drawing/2014/main" id="{DDCB6907-91BC-4EED-BC0C-8F665A173312}"/>
                </a:ext>
              </a:extLst>
            </p:cNvPr>
            <p:cNvCxnSpPr>
              <a:cxnSpLocks/>
            </p:cNvCxnSpPr>
            <p:nvPr/>
          </p:nvCxnSpPr>
          <p:spPr>
            <a:xfrm>
              <a:off x="2615434" y="1198986"/>
              <a:ext cx="0" cy="212417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2132CE8-A182-48E9-9A9F-EDDDBB1ACEBF}"/>
                </a:ext>
              </a:extLst>
            </p:cNvPr>
            <p:cNvCxnSpPr>
              <a:cxnSpLocks/>
            </p:cNvCxnSpPr>
            <p:nvPr/>
          </p:nvCxnSpPr>
          <p:spPr>
            <a:xfrm>
              <a:off x="7306550" y="1198986"/>
              <a:ext cx="0" cy="212417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539201-69F9-4A4E-B460-8C3C20155A69}"/>
                </a:ext>
              </a:extLst>
            </p:cNvPr>
            <p:cNvCxnSpPr>
              <a:cxnSpLocks/>
            </p:cNvCxnSpPr>
            <p:nvPr/>
          </p:nvCxnSpPr>
          <p:spPr>
            <a:xfrm>
              <a:off x="4960992" y="1198986"/>
              <a:ext cx="0" cy="212417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B791570A-F287-4D6E-B9CF-2BE5B04EE26A}"/>
              </a:ext>
            </a:extLst>
          </p:cNvPr>
          <p:cNvGrpSpPr/>
          <p:nvPr/>
        </p:nvGrpSpPr>
        <p:grpSpPr>
          <a:xfrm>
            <a:off x="-11575849" y="7111054"/>
            <a:ext cx="9382233" cy="2144538"/>
            <a:chOff x="269876" y="3816973"/>
            <a:chExt cx="9382233" cy="2499690"/>
          </a:xfrm>
        </p:grpSpPr>
        <p:cxnSp>
          <p:nvCxnSpPr>
            <p:cNvPr id="39" name="Straight Connector 38">
              <a:extLst>
                <a:ext uri="{FF2B5EF4-FFF2-40B4-BE49-F238E27FC236}">
                  <a16:creationId xmlns:a16="http://schemas.microsoft.com/office/drawing/2014/main" id="{760F933A-F00D-48CC-AF8E-5D81D03A0271}"/>
                </a:ext>
              </a:extLst>
            </p:cNvPr>
            <p:cNvCxnSpPr>
              <a:cxnSpLocks/>
            </p:cNvCxnSpPr>
            <p:nvPr/>
          </p:nvCxnSpPr>
          <p:spPr>
            <a:xfrm>
              <a:off x="2615434"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76808DF-DABF-4561-B5B2-914D9DC5861E}"/>
                </a:ext>
              </a:extLst>
            </p:cNvPr>
            <p:cNvCxnSpPr>
              <a:cxnSpLocks/>
            </p:cNvCxnSpPr>
            <p:nvPr/>
          </p:nvCxnSpPr>
          <p:spPr>
            <a:xfrm>
              <a:off x="4960992"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46D628D-3FB0-48BD-8900-4958C3FF8E45}"/>
                </a:ext>
              </a:extLst>
            </p:cNvPr>
            <p:cNvCxnSpPr>
              <a:cxnSpLocks/>
            </p:cNvCxnSpPr>
            <p:nvPr/>
          </p:nvCxnSpPr>
          <p:spPr>
            <a:xfrm>
              <a:off x="7306550" y="3816973"/>
              <a:ext cx="0" cy="249969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45489695-F12F-4612-8CA2-2482E8625310}"/>
                </a:ext>
              </a:extLst>
            </p:cNvPr>
            <p:cNvCxnSpPr>
              <a:cxnSpLocks/>
            </p:cNvCxnSpPr>
            <p:nvPr/>
          </p:nvCxnSpPr>
          <p:spPr>
            <a:xfrm>
              <a:off x="269876" y="3840707"/>
              <a:ext cx="0" cy="2475956"/>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7EE2618-C8A4-4C4B-AB9E-A72F0FBF77DF}"/>
                </a:ext>
              </a:extLst>
            </p:cNvPr>
            <p:cNvCxnSpPr>
              <a:cxnSpLocks/>
            </p:cNvCxnSpPr>
            <p:nvPr/>
          </p:nvCxnSpPr>
          <p:spPr>
            <a:xfrm>
              <a:off x="9652109" y="3816973"/>
              <a:ext cx="0" cy="249969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sp>
        <p:nvSpPr>
          <p:cNvPr id="63" name="Rektangel 28">
            <a:extLst>
              <a:ext uri="{FF2B5EF4-FFF2-40B4-BE49-F238E27FC236}">
                <a16:creationId xmlns:a16="http://schemas.microsoft.com/office/drawing/2014/main" id="{65763E95-5124-4A35-881E-072DA24DF71A}"/>
              </a:ext>
            </a:extLst>
          </p:cNvPr>
          <p:cNvSpPr/>
          <p:nvPr/>
        </p:nvSpPr>
        <p:spPr>
          <a:xfrm>
            <a:off x="6118745" y="3942190"/>
            <a:ext cx="2340000" cy="268304"/>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tx1"/>
                </a:solidFill>
              </a:rPr>
              <a:t>David </a:t>
            </a:r>
            <a:r>
              <a:rPr lang="en-GB" sz="900" b="1" dirty="0" err="1">
                <a:solidFill>
                  <a:schemeClr val="tx1"/>
                </a:solidFill>
              </a:rPr>
              <a:t>Cooperider</a:t>
            </a:r>
            <a:r>
              <a:rPr lang="en-GB" sz="900" b="1" dirty="0">
                <a:solidFill>
                  <a:schemeClr val="tx1"/>
                </a:solidFill>
              </a:rPr>
              <a:t> &amp; Diana Whitney</a:t>
            </a:r>
          </a:p>
        </p:txBody>
      </p:sp>
      <p:sp>
        <p:nvSpPr>
          <p:cNvPr id="64" name="Rektangel 30">
            <a:extLst>
              <a:ext uri="{FF2B5EF4-FFF2-40B4-BE49-F238E27FC236}">
                <a16:creationId xmlns:a16="http://schemas.microsoft.com/office/drawing/2014/main" id="{54ACA9D4-53A2-4413-8D40-51F3863FDA72}"/>
              </a:ext>
            </a:extLst>
          </p:cNvPr>
          <p:cNvSpPr/>
          <p:nvPr/>
        </p:nvSpPr>
        <p:spPr>
          <a:xfrm>
            <a:off x="3777719" y="3942190"/>
            <a:ext cx="2342093" cy="268304"/>
          </a:xfrm>
          <a:prstGeom prst="rect">
            <a:avLst/>
          </a:prstGeom>
          <a:solidFill>
            <a:srgbClr val="B9C7C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tx1"/>
                </a:solidFill>
              </a:rPr>
              <a:t>Simon </a:t>
            </a:r>
            <a:r>
              <a:rPr lang="en-GB" sz="900" b="1" dirty="0" err="1">
                <a:solidFill>
                  <a:schemeClr val="tx1"/>
                </a:solidFill>
              </a:rPr>
              <a:t>Sinek</a:t>
            </a:r>
            <a:endParaRPr lang="en-GB" sz="900" b="1" dirty="0">
              <a:solidFill>
                <a:schemeClr val="tx1"/>
              </a:solidFill>
            </a:endParaRPr>
          </a:p>
        </p:txBody>
      </p:sp>
      <p:sp>
        <p:nvSpPr>
          <p:cNvPr id="65" name="Rektangel 28">
            <a:extLst>
              <a:ext uri="{FF2B5EF4-FFF2-40B4-BE49-F238E27FC236}">
                <a16:creationId xmlns:a16="http://schemas.microsoft.com/office/drawing/2014/main" id="{A2E7C537-EF67-4F25-BC40-A1F9238A0336}"/>
              </a:ext>
            </a:extLst>
          </p:cNvPr>
          <p:cNvSpPr/>
          <p:nvPr/>
        </p:nvSpPr>
        <p:spPr>
          <a:xfrm>
            <a:off x="1436695" y="3942190"/>
            <a:ext cx="2340000" cy="268304"/>
          </a:xfrm>
          <a:prstGeom prst="rect">
            <a:avLst/>
          </a:prstGeom>
          <a:solidFill>
            <a:srgbClr val="D0DAD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chemeClr val="tx1"/>
                </a:solidFill>
              </a:rPr>
              <a:t>Dan </a:t>
            </a:r>
            <a:r>
              <a:rPr lang="en-GB" sz="900" b="1" dirty="0" err="1">
                <a:solidFill>
                  <a:schemeClr val="tx1"/>
                </a:solidFill>
              </a:rPr>
              <a:t>Ariely</a:t>
            </a:r>
            <a:endParaRPr lang="en-GB" sz="900" b="1" dirty="0">
              <a:solidFill>
                <a:schemeClr val="tx1"/>
              </a:solidFill>
            </a:endParaRPr>
          </a:p>
        </p:txBody>
      </p:sp>
      <p:sp>
        <p:nvSpPr>
          <p:cNvPr id="66" name="TextBox 65">
            <a:extLst>
              <a:ext uri="{FF2B5EF4-FFF2-40B4-BE49-F238E27FC236}">
                <a16:creationId xmlns:a16="http://schemas.microsoft.com/office/drawing/2014/main" id="{CB1D3912-A5F7-4792-84A1-38DD627D065D}"/>
              </a:ext>
            </a:extLst>
          </p:cNvPr>
          <p:cNvSpPr txBox="1"/>
          <p:nvPr/>
        </p:nvSpPr>
        <p:spPr>
          <a:xfrm>
            <a:off x="3781376" y="4292213"/>
            <a:ext cx="2346425" cy="1384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Start with why </a:t>
            </a:r>
          </a:p>
        </p:txBody>
      </p:sp>
      <p:sp>
        <p:nvSpPr>
          <p:cNvPr id="67" name="TextBox 66">
            <a:extLst>
              <a:ext uri="{FF2B5EF4-FFF2-40B4-BE49-F238E27FC236}">
                <a16:creationId xmlns:a16="http://schemas.microsoft.com/office/drawing/2014/main" id="{63037718-D8B4-4225-B219-A25BC7AF022A}"/>
              </a:ext>
            </a:extLst>
          </p:cNvPr>
          <p:cNvSpPr txBox="1"/>
          <p:nvPr/>
        </p:nvSpPr>
        <p:spPr>
          <a:xfrm>
            <a:off x="6126931" y="4227866"/>
            <a:ext cx="2342375" cy="2769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Appreciative Inquiry – A Positive Revolution to Change</a:t>
            </a:r>
          </a:p>
        </p:txBody>
      </p:sp>
      <p:sp>
        <p:nvSpPr>
          <p:cNvPr id="68" name="TextBox 67">
            <a:extLst>
              <a:ext uri="{FF2B5EF4-FFF2-40B4-BE49-F238E27FC236}">
                <a16:creationId xmlns:a16="http://schemas.microsoft.com/office/drawing/2014/main" id="{5CD0CDB2-E967-4BA7-BEBC-1659C70B1FED}"/>
              </a:ext>
            </a:extLst>
          </p:cNvPr>
          <p:cNvSpPr txBox="1"/>
          <p:nvPr/>
        </p:nvSpPr>
        <p:spPr>
          <a:xfrm>
            <a:off x="1439867" y="4246065"/>
            <a:ext cx="2342385" cy="276999"/>
          </a:xfrm>
          <a:prstGeom prst="rect">
            <a:avLst/>
          </a:prstGeom>
          <a:noFill/>
        </p:spPr>
        <p:txBody>
          <a:bodyPr wrap="square" lIns="108000" tIns="0" rIns="108000" bIns="0" rtlCol="0">
            <a:spAutoFit/>
          </a:bodyPr>
          <a:lstStyle/>
          <a:p>
            <a:pPr algn="ctr">
              <a:spcBef>
                <a:spcPts val="200"/>
              </a:spcBef>
            </a:pPr>
            <a:r>
              <a:rPr lang="en-GB" sz="900" dirty="0">
                <a:solidFill>
                  <a:srgbClr val="1F2023"/>
                </a:solidFill>
                <a:latin typeface="Arial" pitchFamily="34" charset="0"/>
                <a:cs typeface="Arial" pitchFamily="34" charset="0"/>
              </a:rPr>
              <a:t>Payoff - The hidden Logic that Shapes Our Motivation</a:t>
            </a:r>
          </a:p>
        </p:txBody>
      </p:sp>
    </p:spTree>
    <p:extLst>
      <p:ext uri="{BB962C8B-B14F-4D97-AF65-F5344CB8AC3E}">
        <p14:creationId xmlns:p14="http://schemas.microsoft.com/office/powerpoint/2010/main" val="8728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Rounded Corners 101">
            <a:extLst>
              <a:ext uri="{FF2B5EF4-FFF2-40B4-BE49-F238E27FC236}">
                <a16:creationId xmlns:a16="http://schemas.microsoft.com/office/drawing/2014/main" id="{F2BAC2EE-22B1-4D2B-B8F6-0FF1B9F5C7A1}"/>
              </a:ext>
            </a:extLst>
          </p:cNvPr>
          <p:cNvSpPr/>
          <p:nvPr/>
        </p:nvSpPr>
        <p:spPr>
          <a:xfrm>
            <a:off x="3910336" y="1660355"/>
            <a:ext cx="1961243" cy="450850"/>
          </a:xfrm>
          <a:prstGeom prst="roundRect">
            <a:avLst>
              <a:gd name="adj" fmla="val 8216"/>
            </a:avLst>
          </a:prstGeom>
          <a:solidFill>
            <a:schemeClr val="accent2"/>
          </a:solidFill>
          <a:ln w="17463" cap="rnd">
            <a:noFill/>
            <a:prstDash val="solid"/>
            <a:round/>
            <a:headEnd/>
            <a:tailEnd/>
          </a:ln>
        </p:spPr>
        <p:txBody>
          <a:bodyPr vert="horz" wrap="square" lIns="91440" tIns="45720" rIns="91440" bIns="45720" numCol="1" anchor="ctr" anchorCtr="0" compatLnSpc="1">
            <a:prstTxWarp prst="textNoShape">
              <a:avLst/>
            </a:prstTxWarp>
          </a:bodyPr>
          <a:lstStyle/>
          <a:p>
            <a:pPr algn="ctr"/>
            <a:endParaRPr lang="en-GB" dirty="0">
              <a:solidFill>
                <a:schemeClr val="tx1"/>
              </a:solidFill>
            </a:endParaRPr>
          </a:p>
        </p:txBody>
      </p:sp>
      <p:sp>
        <p:nvSpPr>
          <p:cNvPr id="46" name="Freeform 42"/>
          <p:cNvSpPr>
            <a:spLocks/>
          </p:cNvSpPr>
          <p:nvPr/>
        </p:nvSpPr>
        <p:spPr bwMode="auto">
          <a:xfrm>
            <a:off x="-3439" y="4448858"/>
            <a:ext cx="9909439" cy="1434306"/>
          </a:xfrm>
          <a:custGeom>
            <a:avLst/>
            <a:gdLst>
              <a:gd name="T0" fmla="*/ 0 w 2641"/>
              <a:gd name="T1" fmla="*/ 380 h 380"/>
              <a:gd name="T2" fmla="*/ 0 w 2641"/>
              <a:gd name="T3" fmla="*/ 175 h 380"/>
              <a:gd name="T4" fmla="*/ 641 w 2641"/>
              <a:gd name="T5" fmla="*/ 153 h 380"/>
              <a:gd name="T6" fmla="*/ 1337 w 2641"/>
              <a:gd name="T7" fmla="*/ 134 h 380"/>
              <a:gd name="T8" fmla="*/ 1989 w 2641"/>
              <a:gd name="T9" fmla="*/ 146 h 380"/>
              <a:gd name="T10" fmla="*/ 2497 w 2641"/>
              <a:gd name="T11" fmla="*/ 135 h 380"/>
              <a:gd name="T12" fmla="*/ 2641 w 2641"/>
              <a:gd name="T13" fmla="*/ 135 h 380"/>
              <a:gd name="T14" fmla="*/ 2641 w 2641"/>
              <a:gd name="T15" fmla="*/ 380 h 380"/>
              <a:gd name="T16" fmla="*/ 0 w 2641"/>
              <a:gd name="T17"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1" h="380">
                <a:moveTo>
                  <a:pt x="0" y="380"/>
                </a:moveTo>
                <a:cubicBezTo>
                  <a:pt x="0" y="175"/>
                  <a:pt x="0" y="175"/>
                  <a:pt x="0" y="175"/>
                </a:cubicBezTo>
                <a:cubicBezTo>
                  <a:pt x="355" y="8"/>
                  <a:pt x="395" y="259"/>
                  <a:pt x="641" y="153"/>
                </a:cubicBezTo>
                <a:cubicBezTo>
                  <a:pt x="998" y="0"/>
                  <a:pt x="959" y="318"/>
                  <a:pt x="1337" y="134"/>
                </a:cubicBezTo>
                <a:cubicBezTo>
                  <a:pt x="1581" y="15"/>
                  <a:pt x="1606" y="295"/>
                  <a:pt x="1989" y="146"/>
                </a:cubicBezTo>
                <a:cubicBezTo>
                  <a:pt x="2179" y="72"/>
                  <a:pt x="2206" y="270"/>
                  <a:pt x="2497" y="135"/>
                </a:cubicBezTo>
                <a:cubicBezTo>
                  <a:pt x="2556" y="108"/>
                  <a:pt x="2603" y="120"/>
                  <a:pt x="2641" y="135"/>
                </a:cubicBezTo>
                <a:cubicBezTo>
                  <a:pt x="2641" y="380"/>
                  <a:pt x="2641" y="380"/>
                  <a:pt x="2641" y="380"/>
                </a:cubicBezTo>
                <a:lnTo>
                  <a:pt x="0" y="380"/>
                </a:lnTo>
                <a:close/>
              </a:path>
            </a:pathLst>
          </a:custGeom>
          <a:solidFill>
            <a:srgbClr val="ACAFB1"/>
          </a:solidFill>
          <a:ln>
            <a:noFill/>
          </a:ln>
          <a:extLst/>
        </p:spPr>
        <p:txBody>
          <a:bodyPr vert="horz" wrap="square" lIns="99060" tIns="49530" rIns="99060" bIns="49530" numCol="1" anchor="t" anchorCtr="0" compatLnSpc="1">
            <a:prstTxWarp prst="textNoShape">
              <a:avLst/>
            </a:prstTxWarp>
          </a:bodyPr>
          <a:lstStyle/>
          <a:p>
            <a:endParaRPr lang="en-GB" sz="1463" dirty="0">
              <a:solidFill>
                <a:schemeClr val="accent1"/>
              </a:solidFill>
            </a:endParaRPr>
          </a:p>
        </p:txBody>
      </p:sp>
      <p:sp>
        <p:nvSpPr>
          <p:cNvPr id="47" name="Freeform 43"/>
          <p:cNvSpPr>
            <a:spLocks/>
          </p:cNvSpPr>
          <p:nvPr/>
        </p:nvSpPr>
        <p:spPr bwMode="auto">
          <a:xfrm>
            <a:off x="-3441" y="4604856"/>
            <a:ext cx="9909439" cy="1432587"/>
          </a:xfrm>
          <a:custGeom>
            <a:avLst/>
            <a:gdLst>
              <a:gd name="T0" fmla="*/ 2641 w 2641"/>
              <a:gd name="T1" fmla="*/ 172 h 380"/>
              <a:gd name="T2" fmla="*/ 2009 w 2641"/>
              <a:gd name="T3" fmla="*/ 154 h 380"/>
              <a:gd name="T4" fmla="*/ 1314 w 2641"/>
              <a:gd name="T5" fmla="*/ 135 h 380"/>
              <a:gd name="T6" fmla="*/ 662 w 2641"/>
              <a:gd name="T7" fmla="*/ 147 h 380"/>
              <a:gd name="T8" fmla="*/ 153 w 2641"/>
              <a:gd name="T9" fmla="*/ 135 h 380"/>
              <a:gd name="T10" fmla="*/ 0 w 2641"/>
              <a:gd name="T11" fmla="*/ 140 h 380"/>
              <a:gd name="T12" fmla="*/ 0 w 2641"/>
              <a:gd name="T13" fmla="*/ 380 h 380"/>
              <a:gd name="T14" fmla="*/ 2641 w 2641"/>
              <a:gd name="T15" fmla="*/ 380 h 380"/>
              <a:gd name="T16" fmla="*/ 2641 w 2641"/>
              <a:gd name="T17" fmla="*/ 17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1" h="380">
                <a:moveTo>
                  <a:pt x="2641" y="172"/>
                </a:moveTo>
                <a:cubicBezTo>
                  <a:pt x="2295" y="13"/>
                  <a:pt x="2253" y="259"/>
                  <a:pt x="2009" y="154"/>
                </a:cubicBezTo>
                <a:cubicBezTo>
                  <a:pt x="1653" y="0"/>
                  <a:pt x="1692" y="319"/>
                  <a:pt x="1314" y="135"/>
                </a:cubicBezTo>
                <a:cubicBezTo>
                  <a:pt x="1070" y="16"/>
                  <a:pt x="1044" y="296"/>
                  <a:pt x="662" y="147"/>
                </a:cubicBezTo>
                <a:cubicBezTo>
                  <a:pt x="471" y="73"/>
                  <a:pt x="444" y="271"/>
                  <a:pt x="153" y="135"/>
                </a:cubicBezTo>
                <a:cubicBezTo>
                  <a:pt x="90" y="106"/>
                  <a:pt x="40" y="123"/>
                  <a:pt x="0" y="140"/>
                </a:cubicBezTo>
                <a:cubicBezTo>
                  <a:pt x="0" y="380"/>
                  <a:pt x="0" y="380"/>
                  <a:pt x="0" y="380"/>
                </a:cubicBezTo>
                <a:cubicBezTo>
                  <a:pt x="2641" y="380"/>
                  <a:pt x="2641" y="380"/>
                  <a:pt x="2641" y="380"/>
                </a:cubicBezTo>
                <a:lnTo>
                  <a:pt x="2641" y="172"/>
                </a:lnTo>
                <a:close/>
              </a:path>
            </a:pathLst>
          </a:custGeom>
          <a:solidFill>
            <a:srgbClr val="00B0F0"/>
          </a:solidFill>
          <a:ln>
            <a:noFill/>
          </a:ln>
        </p:spPr>
        <p:txBody>
          <a:bodyPr vert="horz" wrap="square" lIns="99060" tIns="49530" rIns="99060" bIns="49530" numCol="1" anchor="t" anchorCtr="0" compatLnSpc="1">
            <a:prstTxWarp prst="textNoShape">
              <a:avLst/>
            </a:prstTxWarp>
          </a:bodyPr>
          <a:lstStyle/>
          <a:p>
            <a:endParaRPr lang="en-GB" sz="1463" dirty="0"/>
          </a:p>
        </p:txBody>
      </p:sp>
      <p:sp>
        <p:nvSpPr>
          <p:cNvPr id="55" name="Freeform 54"/>
          <p:cNvSpPr/>
          <p:nvPr/>
        </p:nvSpPr>
        <p:spPr bwMode="auto">
          <a:xfrm>
            <a:off x="-3437" y="5478425"/>
            <a:ext cx="9909439" cy="1239507"/>
          </a:xfrm>
          <a:custGeom>
            <a:avLst/>
            <a:gdLst>
              <a:gd name="connsiteX0" fmla="*/ 4973449 w 9147175"/>
              <a:gd name="connsiteY0" fmla="*/ 50 h 693400"/>
              <a:gd name="connsiteX1" fmla="*/ 6819685 w 9147175"/>
              <a:gd name="connsiteY1" fmla="*/ 149166 h 693400"/>
              <a:gd name="connsiteX2" fmla="*/ 8582620 w 9147175"/>
              <a:gd name="connsiteY2" fmla="*/ 107407 h 693400"/>
              <a:gd name="connsiteX3" fmla="*/ 9147175 w 9147175"/>
              <a:gd name="connsiteY3" fmla="*/ 138726 h 693400"/>
              <a:gd name="connsiteX4" fmla="*/ 9147175 w 9147175"/>
              <a:gd name="connsiteY4" fmla="*/ 693125 h 693400"/>
              <a:gd name="connsiteX5" fmla="*/ 9147175 w 9147175"/>
              <a:gd name="connsiteY5" fmla="*/ 693400 h 693400"/>
              <a:gd name="connsiteX6" fmla="*/ 0 w 9147175"/>
              <a:gd name="connsiteY6" fmla="*/ 693400 h 693400"/>
              <a:gd name="connsiteX7" fmla="*/ 0 w 9147175"/>
              <a:gd name="connsiteY7" fmla="*/ 218766 h 693400"/>
              <a:gd name="connsiteX8" fmla="*/ 2154314 w 9147175"/>
              <a:gd name="connsiteY8" fmla="*/ 173526 h 693400"/>
              <a:gd name="connsiteX9" fmla="*/ 4564929 w 9147175"/>
              <a:gd name="connsiteY9" fmla="*/ 103927 h 693400"/>
              <a:gd name="connsiteX10" fmla="*/ 4973449 w 9147175"/>
              <a:gd name="connsiteY10" fmla="*/ 50 h 693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147175" h="693400">
                <a:moveTo>
                  <a:pt x="4973449" y="50"/>
                </a:moveTo>
                <a:cubicBezTo>
                  <a:pt x="5485970" y="6202"/>
                  <a:pt x="5744693" y="570460"/>
                  <a:pt x="6819685" y="149166"/>
                </a:cubicBezTo>
                <a:cubicBezTo>
                  <a:pt x="7481219" y="-111831"/>
                  <a:pt x="7574734" y="577202"/>
                  <a:pt x="8582620" y="107407"/>
                </a:cubicBezTo>
                <a:cubicBezTo>
                  <a:pt x="8821603" y="-3952"/>
                  <a:pt x="9005170" y="76087"/>
                  <a:pt x="9147175" y="138726"/>
                </a:cubicBezTo>
                <a:cubicBezTo>
                  <a:pt x="9147175" y="395374"/>
                  <a:pt x="9147175" y="571819"/>
                  <a:pt x="9147175" y="693125"/>
                </a:cubicBezTo>
                <a:lnTo>
                  <a:pt x="9147175" y="693400"/>
                </a:lnTo>
                <a:lnTo>
                  <a:pt x="0" y="693400"/>
                </a:lnTo>
                <a:lnTo>
                  <a:pt x="0" y="218766"/>
                </a:lnTo>
                <a:cubicBezTo>
                  <a:pt x="1167209" y="-303230"/>
                  <a:pt x="1319604" y="535443"/>
                  <a:pt x="2154314" y="173526"/>
                </a:cubicBezTo>
                <a:cubicBezTo>
                  <a:pt x="3390793" y="-362389"/>
                  <a:pt x="3252252" y="744241"/>
                  <a:pt x="4564929" y="103927"/>
                </a:cubicBezTo>
                <a:cubicBezTo>
                  <a:pt x="4723385" y="26932"/>
                  <a:pt x="4855175" y="-1370"/>
                  <a:pt x="4973449" y="50"/>
                </a:cubicBezTo>
                <a:close/>
              </a:path>
            </a:pathLst>
          </a:custGeom>
          <a:solidFill>
            <a:srgbClr val="0070C0"/>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2" name="Title 1"/>
          <p:cNvSpPr>
            <a:spLocks noGrp="1"/>
          </p:cNvSpPr>
          <p:nvPr>
            <p:ph type="title"/>
          </p:nvPr>
        </p:nvSpPr>
        <p:spPr/>
        <p:txBody>
          <a:bodyPr/>
          <a:lstStyle/>
          <a:p>
            <a:r>
              <a:rPr lang="en-GB" dirty="0"/>
              <a:t>Ladder of inference</a:t>
            </a:r>
          </a:p>
        </p:txBody>
      </p:sp>
      <p:sp>
        <p:nvSpPr>
          <p:cNvPr id="9" name="Text Placeholder 8">
            <a:extLst>
              <a:ext uri="{FF2B5EF4-FFF2-40B4-BE49-F238E27FC236}">
                <a16:creationId xmlns:a16="http://schemas.microsoft.com/office/drawing/2014/main" id="{065A4419-16CB-45AF-A0FB-3BBA6C13FEDF}"/>
              </a:ext>
            </a:extLst>
          </p:cNvPr>
          <p:cNvSpPr>
            <a:spLocks noGrp="1"/>
          </p:cNvSpPr>
          <p:nvPr>
            <p:ph type="body" sz="quarter" idx="13"/>
          </p:nvPr>
        </p:nvSpPr>
        <p:spPr/>
        <p:txBody>
          <a:bodyPr/>
          <a:lstStyle/>
          <a:p>
            <a:endParaRPr lang="en-GB" dirty="0"/>
          </a:p>
        </p:txBody>
      </p:sp>
      <p:sp>
        <p:nvSpPr>
          <p:cNvPr id="10" name="Text Placeholder 9">
            <a:extLst>
              <a:ext uri="{FF2B5EF4-FFF2-40B4-BE49-F238E27FC236}">
                <a16:creationId xmlns:a16="http://schemas.microsoft.com/office/drawing/2014/main" id="{61C2748E-A35A-4836-81C3-841AD5F279F8}"/>
              </a:ext>
            </a:extLst>
          </p:cNvPr>
          <p:cNvSpPr>
            <a:spLocks noGrp="1"/>
          </p:cNvSpPr>
          <p:nvPr>
            <p:ph type="body" sz="quarter" idx="14"/>
          </p:nvPr>
        </p:nvSpPr>
        <p:spPr/>
        <p:txBody>
          <a:bodyPr/>
          <a:lstStyle/>
          <a:p>
            <a:endParaRPr lang="en-GB" dirty="0"/>
          </a:p>
        </p:txBody>
      </p:sp>
      <p:sp>
        <p:nvSpPr>
          <p:cNvPr id="22" name="Oval 21"/>
          <p:cNvSpPr/>
          <p:nvPr/>
        </p:nvSpPr>
        <p:spPr>
          <a:xfrm flipV="1">
            <a:off x="7203064" y="5239127"/>
            <a:ext cx="144611" cy="144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42" name="Oval 41"/>
          <p:cNvSpPr/>
          <p:nvPr/>
        </p:nvSpPr>
        <p:spPr>
          <a:xfrm flipV="1">
            <a:off x="7928147" y="5693976"/>
            <a:ext cx="144611" cy="144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52" name="TextBox 51"/>
          <p:cNvSpPr txBox="1"/>
          <p:nvPr/>
        </p:nvSpPr>
        <p:spPr>
          <a:xfrm flipH="1">
            <a:off x="6605885" y="6181704"/>
            <a:ext cx="3027065" cy="123111"/>
          </a:xfrm>
          <a:prstGeom prst="rect">
            <a:avLst/>
          </a:prstGeom>
          <a:noFill/>
        </p:spPr>
        <p:txBody>
          <a:bodyPr wrap="square" lIns="0" tIns="0" rIns="0" bIns="0" rtlCol="0">
            <a:spAutoFit/>
          </a:bodyPr>
          <a:lstStyle/>
          <a:p>
            <a:pPr algn="r"/>
            <a:r>
              <a:rPr lang="en-GB" sz="800" dirty="0" err="1"/>
              <a:t>Soruce</a:t>
            </a:r>
            <a:r>
              <a:rPr lang="en-GB" sz="800" dirty="0"/>
              <a:t>: Chris Argyris</a:t>
            </a:r>
          </a:p>
        </p:txBody>
      </p:sp>
      <p:sp>
        <p:nvSpPr>
          <p:cNvPr id="24" name="Oval 23"/>
          <p:cNvSpPr/>
          <p:nvPr/>
        </p:nvSpPr>
        <p:spPr bwMode="auto">
          <a:xfrm>
            <a:off x="4190460" y="5280549"/>
            <a:ext cx="367953" cy="142352"/>
          </a:xfrm>
          <a:prstGeom prst="ellipse">
            <a:avLst/>
          </a:prstGeom>
          <a:solidFill>
            <a:schemeClr val="tx2">
              <a:lumMod val="60000"/>
              <a:lumOff val="40000"/>
              <a:alpha val="63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56" name="Oval 55"/>
          <p:cNvSpPr/>
          <p:nvPr/>
        </p:nvSpPr>
        <p:spPr bwMode="auto">
          <a:xfrm>
            <a:off x="5347590" y="5280549"/>
            <a:ext cx="367953" cy="142352"/>
          </a:xfrm>
          <a:prstGeom prst="ellipse">
            <a:avLst/>
          </a:prstGeom>
          <a:solidFill>
            <a:schemeClr val="tx2">
              <a:lumMod val="60000"/>
              <a:lumOff val="40000"/>
              <a:alpha val="63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grpSp>
        <p:nvGrpSpPr>
          <p:cNvPr id="28" name="Group 27"/>
          <p:cNvGrpSpPr/>
          <p:nvPr/>
        </p:nvGrpSpPr>
        <p:grpSpPr>
          <a:xfrm>
            <a:off x="4321433" y="2137357"/>
            <a:ext cx="1267477" cy="3240228"/>
            <a:chOff x="3940397" y="1719884"/>
            <a:chExt cx="1263207" cy="2753068"/>
          </a:xfrm>
          <a:solidFill>
            <a:srgbClr val="E0BCA6"/>
          </a:solidFill>
        </p:grpSpPr>
        <p:sp>
          <p:nvSpPr>
            <p:cNvPr id="27" name="Rounded Rectangle 26"/>
            <p:cNvSpPr/>
            <p:nvPr/>
          </p:nvSpPr>
          <p:spPr bwMode="auto">
            <a:xfrm>
              <a:off x="3940397" y="1719884"/>
              <a:ext cx="114300" cy="2753068"/>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53" name="Rounded Rectangle 52"/>
            <p:cNvSpPr/>
            <p:nvPr/>
          </p:nvSpPr>
          <p:spPr bwMode="auto">
            <a:xfrm>
              <a:off x="5089304" y="1719884"/>
              <a:ext cx="114300" cy="2753068"/>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grpSp>
          <p:nvGrpSpPr>
            <p:cNvPr id="23" name="Group 22"/>
            <p:cNvGrpSpPr/>
            <p:nvPr/>
          </p:nvGrpSpPr>
          <p:grpSpPr>
            <a:xfrm>
              <a:off x="3998776" y="2152075"/>
              <a:ext cx="1167569" cy="1888686"/>
              <a:chOff x="3998776" y="2095681"/>
              <a:chExt cx="1167569" cy="1888686"/>
            </a:xfrm>
            <a:grpFill/>
          </p:grpSpPr>
          <p:sp>
            <p:nvSpPr>
              <p:cNvPr id="57" name="Rounded Rectangle 56"/>
              <p:cNvSpPr/>
              <p:nvPr/>
            </p:nvSpPr>
            <p:spPr bwMode="auto">
              <a:xfrm rot="16200000">
                <a:off x="4530606" y="2456239"/>
                <a:ext cx="103909" cy="1167569"/>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48" name="Rounded Rectangle 47"/>
              <p:cNvSpPr/>
              <p:nvPr/>
            </p:nvSpPr>
            <p:spPr bwMode="auto">
              <a:xfrm rot="16200000">
                <a:off x="4530606" y="1563851"/>
                <a:ext cx="103909" cy="1167569"/>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49" name="Rounded Rectangle 48"/>
              <p:cNvSpPr/>
              <p:nvPr/>
            </p:nvSpPr>
            <p:spPr bwMode="auto">
              <a:xfrm rot="16200000">
                <a:off x="4530606" y="2010045"/>
                <a:ext cx="103909" cy="1167569"/>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50" name="Rounded Rectangle 49"/>
              <p:cNvSpPr/>
              <p:nvPr/>
            </p:nvSpPr>
            <p:spPr bwMode="auto">
              <a:xfrm rot="16200000">
                <a:off x="4530606" y="2902433"/>
                <a:ext cx="103909" cy="1167569"/>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sp>
            <p:nvSpPr>
              <p:cNvPr id="51" name="Rounded Rectangle 50"/>
              <p:cNvSpPr/>
              <p:nvPr/>
            </p:nvSpPr>
            <p:spPr bwMode="auto">
              <a:xfrm rot="16200000">
                <a:off x="4530606" y="3348628"/>
                <a:ext cx="103909" cy="1167569"/>
              </a:xfrm>
              <a:prstGeom prst="roundRect">
                <a:avLst>
                  <a:gd name="adj" fmla="val 50000"/>
                </a:avLst>
              </a:prstGeom>
              <a:grp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defTabSz="990576">
                  <a:lnSpc>
                    <a:spcPct val="83000"/>
                  </a:lnSpc>
                </a:pPr>
                <a:endParaRPr lang="en-GB" sz="2275" dirty="0">
                  <a:latin typeface="Georgia" pitchFamily="18" charset="0"/>
                </a:endParaRPr>
              </a:p>
            </p:txBody>
          </p:sp>
        </p:grpSp>
      </p:grpSp>
      <p:grpSp>
        <p:nvGrpSpPr>
          <p:cNvPr id="61" name="Group 60"/>
          <p:cNvGrpSpPr/>
          <p:nvPr/>
        </p:nvGrpSpPr>
        <p:grpSpPr>
          <a:xfrm>
            <a:off x="4271305" y="4023142"/>
            <a:ext cx="12743" cy="792727"/>
            <a:chOff x="3892601" y="3322146"/>
            <a:chExt cx="12700" cy="673543"/>
          </a:xfrm>
        </p:grpSpPr>
        <p:cxnSp>
          <p:nvCxnSpPr>
            <p:cNvPr id="59" name="Elbow Connector 58"/>
            <p:cNvCxnSpPr/>
            <p:nvPr/>
          </p:nvCxnSpPr>
          <p:spPr bwMode="auto">
            <a:xfrm rot="10800000">
              <a:off x="3892601" y="3773145"/>
              <a:ext cx="12700" cy="222544"/>
            </a:xfrm>
            <a:prstGeom prst="bentConnector3">
              <a:avLst>
                <a:gd name="adj1" fmla="val 1800000"/>
              </a:avLst>
            </a:prstGeom>
            <a:solidFill>
              <a:schemeClr val="tx2"/>
            </a:solidFill>
            <a:ln w="6350" cap="flat" cmpd="sng" algn="ctr">
              <a:solidFill>
                <a:srgbClr val="838789"/>
              </a:solidFill>
              <a:prstDash val="solid"/>
              <a:round/>
              <a:headEnd type="none" w="med" len="med"/>
              <a:tailEnd type="triangle" w="sm" len="sm"/>
            </a:ln>
            <a:effectLst/>
          </p:spPr>
        </p:cxnSp>
        <p:cxnSp>
          <p:nvCxnSpPr>
            <p:cNvPr id="60" name="Elbow Connector 59"/>
            <p:cNvCxnSpPr/>
            <p:nvPr/>
          </p:nvCxnSpPr>
          <p:spPr bwMode="auto">
            <a:xfrm rot="10800000">
              <a:off x="3892601" y="3322146"/>
              <a:ext cx="12700" cy="222544"/>
            </a:xfrm>
            <a:prstGeom prst="bentConnector3">
              <a:avLst>
                <a:gd name="adj1" fmla="val 1800000"/>
              </a:avLst>
            </a:prstGeom>
            <a:solidFill>
              <a:schemeClr val="tx2"/>
            </a:solidFill>
            <a:ln w="6350" cap="flat" cmpd="sng" algn="ctr">
              <a:solidFill>
                <a:srgbClr val="838789"/>
              </a:solidFill>
              <a:prstDash val="solid"/>
              <a:round/>
              <a:headEnd type="none" w="med" len="med"/>
              <a:tailEnd type="triangle" w="sm" len="sm"/>
            </a:ln>
            <a:effectLst/>
          </p:spPr>
        </p:cxnSp>
      </p:grpSp>
      <p:grpSp>
        <p:nvGrpSpPr>
          <p:cNvPr id="62" name="Group 61"/>
          <p:cNvGrpSpPr/>
          <p:nvPr/>
        </p:nvGrpSpPr>
        <p:grpSpPr>
          <a:xfrm>
            <a:off x="4271305" y="2960036"/>
            <a:ext cx="12743" cy="792727"/>
            <a:chOff x="3892601" y="3322146"/>
            <a:chExt cx="12700" cy="673543"/>
          </a:xfrm>
        </p:grpSpPr>
        <p:cxnSp>
          <p:nvCxnSpPr>
            <p:cNvPr id="63" name="Elbow Connector 62"/>
            <p:cNvCxnSpPr/>
            <p:nvPr/>
          </p:nvCxnSpPr>
          <p:spPr bwMode="auto">
            <a:xfrm rot="10800000">
              <a:off x="3892601" y="3773145"/>
              <a:ext cx="12700" cy="222544"/>
            </a:xfrm>
            <a:prstGeom prst="bentConnector3">
              <a:avLst>
                <a:gd name="adj1" fmla="val 1800000"/>
              </a:avLst>
            </a:prstGeom>
            <a:solidFill>
              <a:schemeClr val="tx2"/>
            </a:solidFill>
            <a:ln w="6350" cap="flat" cmpd="sng" algn="ctr">
              <a:solidFill>
                <a:srgbClr val="838789"/>
              </a:solidFill>
              <a:prstDash val="solid"/>
              <a:round/>
              <a:headEnd type="none" w="med" len="med"/>
              <a:tailEnd type="triangle" w="sm" len="sm"/>
            </a:ln>
            <a:effectLst/>
          </p:spPr>
        </p:cxnSp>
        <p:cxnSp>
          <p:nvCxnSpPr>
            <p:cNvPr id="64" name="Elbow Connector 63"/>
            <p:cNvCxnSpPr/>
            <p:nvPr/>
          </p:nvCxnSpPr>
          <p:spPr bwMode="auto">
            <a:xfrm rot="10800000">
              <a:off x="3892601" y="3322146"/>
              <a:ext cx="12700" cy="222544"/>
            </a:xfrm>
            <a:prstGeom prst="bentConnector3">
              <a:avLst>
                <a:gd name="adj1" fmla="val 1800000"/>
              </a:avLst>
            </a:prstGeom>
            <a:solidFill>
              <a:schemeClr val="tx2"/>
            </a:solidFill>
            <a:ln w="6350" cap="flat" cmpd="sng" algn="ctr">
              <a:solidFill>
                <a:srgbClr val="838789"/>
              </a:solidFill>
              <a:prstDash val="solid"/>
              <a:round/>
              <a:headEnd type="none" w="med" len="med"/>
              <a:tailEnd type="triangle" w="sm" len="sm"/>
            </a:ln>
            <a:effectLst/>
          </p:spPr>
        </p:cxnSp>
      </p:grpSp>
      <p:cxnSp>
        <p:nvCxnSpPr>
          <p:cNvPr id="66" name="Elbow Connector 65"/>
          <p:cNvCxnSpPr/>
          <p:nvPr/>
        </p:nvCxnSpPr>
        <p:spPr bwMode="auto">
          <a:xfrm rot="10800000">
            <a:off x="4271305" y="2430751"/>
            <a:ext cx="12743" cy="261923"/>
          </a:xfrm>
          <a:prstGeom prst="bentConnector3">
            <a:avLst>
              <a:gd name="adj1" fmla="val 1800000"/>
            </a:avLst>
          </a:prstGeom>
          <a:solidFill>
            <a:schemeClr val="tx2"/>
          </a:solidFill>
          <a:ln w="6350" cap="flat" cmpd="sng" algn="ctr">
            <a:solidFill>
              <a:srgbClr val="838789"/>
            </a:solidFill>
            <a:prstDash val="solid"/>
            <a:round/>
            <a:headEnd type="none" w="med" len="med"/>
            <a:tailEnd type="triangle" w="sm" len="sm"/>
          </a:ln>
          <a:effectLst/>
        </p:spPr>
      </p:cxnSp>
      <p:sp>
        <p:nvSpPr>
          <p:cNvPr id="68" name="Oval 67"/>
          <p:cNvSpPr/>
          <p:nvPr/>
        </p:nvSpPr>
        <p:spPr>
          <a:xfrm flipV="1">
            <a:off x="8911970" y="5228734"/>
            <a:ext cx="144611" cy="144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69" name="Oval 68"/>
          <p:cNvSpPr/>
          <p:nvPr/>
        </p:nvSpPr>
        <p:spPr>
          <a:xfrm flipV="1">
            <a:off x="5654782" y="5668543"/>
            <a:ext cx="144611" cy="1443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grpSp>
        <p:nvGrpSpPr>
          <p:cNvPr id="74" name="Group 73"/>
          <p:cNvGrpSpPr/>
          <p:nvPr/>
        </p:nvGrpSpPr>
        <p:grpSpPr>
          <a:xfrm flipH="1">
            <a:off x="640868" y="5228734"/>
            <a:ext cx="3401799" cy="609542"/>
            <a:chOff x="591570" y="4329758"/>
            <a:chExt cx="3140122" cy="562654"/>
          </a:xfrm>
        </p:grpSpPr>
        <p:sp>
          <p:nvSpPr>
            <p:cNvPr id="70" name="Oval 69"/>
            <p:cNvSpPr/>
            <p:nvPr/>
          </p:nvSpPr>
          <p:spPr>
            <a:xfrm flipV="1">
              <a:off x="2020753" y="4339352"/>
              <a:ext cx="133487" cy="133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71" name="Oval 70"/>
            <p:cNvSpPr/>
            <p:nvPr/>
          </p:nvSpPr>
          <p:spPr>
            <a:xfrm flipV="1">
              <a:off x="2690061" y="4759212"/>
              <a:ext cx="133487" cy="133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72" name="Oval 71"/>
            <p:cNvSpPr/>
            <p:nvPr/>
          </p:nvSpPr>
          <p:spPr>
            <a:xfrm flipV="1">
              <a:off x="3598205" y="4329758"/>
              <a:ext cx="133487" cy="133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sp>
          <p:nvSpPr>
            <p:cNvPr id="73" name="Oval 72"/>
            <p:cNvSpPr/>
            <p:nvPr/>
          </p:nvSpPr>
          <p:spPr>
            <a:xfrm flipV="1">
              <a:off x="591570" y="4735736"/>
              <a:ext cx="133487" cy="1332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488"/>
                </a:spcBef>
              </a:pPr>
              <a:endParaRPr lang="en-GB" sz="1706" dirty="0">
                <a:solidFill>
                  <a:schemeClr val="accent5"/>
                </a:solidFill>
              </a:endParaRPr>
            </a:p>
          </p:txBody>
        </p:sp>
      </p:grpSp>
      <p:sp>
        <p:nvSpPr>
          <p:cNvPr id="75" name="TextBox 74"/>
          <p:cNvSpPr txBox="1"/>
          <p:nvPr/>
        </p:nvSpPr>
        <p:spPr>
          <a:xfrm>
            <a:off x="4523663" y="5989648"/>
            <a:ext cx="1647853" cy="576293"/>
          </a:xfrm>
          <a:prstGeom prst="rect">
            <a:avLst/>
          </a:prstGeom>
          <a:solidFill>
            <a:srgbClr val="D0DAD6">
              <a:alpha val="62000"/>
            </a:srgbClr>
          </a:solidFill>
        </p:spPr>
        <p:txBody>
          <a:bodyPr wrap="square" lIns="108000" tIns="72000" rIns="108000" bIns="72000" rtlCol="0">
            <a:spAutoFit/>
          </a:bodyPr>
          <a:lstStyle/>
          <a:p>
            <a:pPr algn="ctr" defTabSz="145750">
              <a:spcBef>
                <a:spcPts val="488"/>
              </a:spcBef>
              <a:buClr>
                <a:srgbClr val="00DEE6"/>
              </a:buClr>
            </a:pPr>
            <a:r>
              <a:rPr lang="en-GB" sz="1400" b="1" dirty="0">
                <a:solidFill>
                  <a:srgbClr val="1F2023"/>
                </a:solidFill>
              </a:rPr>
              <a:t>Data/ Information</a:t>
            </a:r>
          </a:p>
        </p:txBody>
      </p:sp>
      <p:sp>
        <p:nvSpPr>
          <p:cNvPr id="76" name="Rectangle: Rounded Corners 75"/>
          <p:cNvSpPr/>
          <p:nvPr/>
        </p:nvSpPr>
        <p:spPr>
          <a:xfrm>
            <a:off x="3970658" y="1603271"/>
            <a:ext cx="1961243" cy="450850"/>
          </a:xfrm>
          <a:prstGeom prst="roundRect">
            <a:avLst>
              <a:gd name="adj" fmla="val 8216"/>
            </a:avLst>
          </a:pr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108000" rIns="91440" bIns="45720" numCol="1" anchor="ctr" anchorCtr="0" compatLnSpc="1">
            <a:prstTxWarp prst="textNoShape">
              <a:avLst/>
            </a:prstTxWarp>
          </a:bodyPr>
          <a:lstStyle/>
          <a:p>
            <a:pPr algn="ctr"/>
            <a:r>
              <a:rPr lang="en-GB" b="1" dirty="0">
                <a:solidFill>
                  <a:schemeClr val="bg1"/>
                </a:solidFill>
              </a:rPr>
              <a:t>Conclusion</a:t>
            </a:r>
          </a:p>
        </p:txBody>
      </p:sp>
      <p:cxnSp>
        <p:nvCxnSpPr>
          <p:cNvPr id="86" name="Straight Arrow Connector 85"/>
          <p:cNvCxnSpPr>
            <a:cxnSpLocks/>
            <a:stCxn id="87" idx="2"/>
            <a:endCxn id="69" idx="5"/>
          </p:cNvCxnSpPr>
          <p:nvPr/>
        </p:nvCxnSpPr>
        <p:spPr bwMode="auto">
          <a:xfrm flipH="1">
            <a:off x="5778215" y="4101029"/>
            <a:ext cx="1516367" cy="1588646"/>
          </a:xfrm>
          <a:prstGeom prst="straightConnector1">
            <a:avLst/>
          </a:prstGeom>
          <a:solidFill>
            <a:schemeClr val="tx2"/>
          </a:solidFill>
          <a:ln w="12700" cap="flat" cmpd="sng" algn="ctr">
            <a:solidFill>
              <a:srgbClr val="30373B"/>
            </a:solidFill>
            <a:prstDash val="solid"/>
            <a:round/>
            <a:headEnd type="none" w="med" len="med"/>
            <a:tailEnd type="triangle" w="med" len="med"/>
          </a:ln>
          <a:effectLst/>
        </p:spPr>
      </p:cxnSp>
      <p:cxnSp>
        <p:nvCxnSpPr>
          <p:cNvPr id="45" name="Straight Arrow Connector 44">
            <a:extLst>
              <a:ext uri="{FF2B5EF4-FFF2-40B4-BE49-F238E27FC236}">
                <a16:creationId xmlns:a16="http://schemas.microsoft.com/office/drawing/2014/main" id="{A3351FF0-B3B7-4E11-AACA-75D96F79461E}"/>
              </a:ext>
            </a:extLst>
          </p:cNvPr>
          <p:cNvCxnSpPr>
            <a:cxnSpLocks/>
          </p:cNvCxnSpPr>
          <p:nvPr/>
        </p:nvCxnSpPr>
        <p:spPr bwMode="auto">
          <a:xfrm flipH="1">
            <a:off x="1769303" y="4083036"/>
            <a:ext cx="4867307" cy="1618165"/>
          </a:xfrm>
          <a:prstGeom prst="straightConnector1">
            <a:avLst/>
          </a:prstGeom>
          <a:solidFill>
            <a:schemeClr val="tx2"/>
          </a:solidFill>
          <a:ln w="12700" cap="flat" cmpd="sng" algn="ctr">
            <a:solidFill>
              <a:srgbClr val="30373B"/>
            </a:solidFill>
            <a:prstDash val="solid"/>
            <a:round/>
            <a:headEnd type="none" w="med" len="med"/>
            <a:tailEnd type="triangle" w="med" len="med"/>
          </a:ln>
          <a:effectLst/>
        </p:spPr>
      </p:cxnSp>
      <p:cxnSp>
        <p:nvCxnSpPr>
          <p:cNvPr id="54" name="Straight Arrow Connector 53">
            <a:extLst>
              <a:ext uri="{FF2B5EF4-FFF2-40B4-BE49-F238E27FC236}">
                <a16:creationId xmlns:a16="http://schemas.microsoft.com/office/drawing/2014/main" id="{CE185D20-32BE-49B3-A6FA-7752EEE31E64}"/>
              </a:ext>
            </a:extLst>
          </p:cNvPr>
          <p:cNvCxnSpPr>
            <a:cxnSpLocks/>
            <a:endCxn id="68" idx="3"/>
          </p:cNvCxnSpPr>
          <p:nvPr/>
        </p:nvCxnSpPr>
        <p:spPr bwMode="auto">
          <a:xfrm>
            <a:off x="7956550" y="4079875"/>
            <a:ext cx="976598" cy="1169991"/>
          </a:xfrm>
          <a:prstGeom prst="straightConnector1">
            <a:avLst/>
          </a:prstGeom>
          <a:solidFill>
            <a:schemeClr val="tx2"/>
          </a:solidFill>
          <a:ln w="12700" cap="flat" cmpd="sng" algn="ctr">
            <a:solidFill>
              <a:srgbClr val="30373B"/>
            </a:solidFill>
            <a:prstDash val="solid"/>
            <a:round/>
            <a:headEnd type="none" w="med" len="med"/>
            <a:tailEnd type="triangle" w="med" len="med"/>
          </a:ln>
          <a:effectLst/>
        </p:spPr>
      </p:cxnSp>
      <p:sp>
        <p:nvSpPr>
          <p:cNvPr id="4" name="Rectangle 3">
            <a:extLst>
              <a:ext uri="{FF2B5EF4-FFF2-40B4-BE49-F238E27FC236}">
                <a16:creationId xmlns:a16="http://schemas.microsoft.com/office/drawing/2014/main" id="{4D50BD4B-B115-49C2-BCE6-BED626053C7B}"/>
              </a:ext>
            </a:extLst>
          </p:cNvPr>
          <p:cNvSpPr/>
          <p:nvPr/>
        </p:nvSpPr>
        <p:spPr>
          <a:xfrm>
            <a:off x="2215792" y="3463179"/>
            <a:ext cx="1530969" cy="360850"/>
          </a:xfrm>
          <a:prstGeom prst="rect">
            <a:avLst/>
          </a:prstGeom>
          <a:solidFill>
            <a:srgbClr val="E8E5E1"/>
          </a:solidFill>
        </p:spPr>
        <p:txBody>
          <a:bodyPr wrap="none" lIns="108000" tIns="72000" rIns="108000" bIns="72000" rtlCol="0">
            <a:spAutoFit/>
          </a:bodyPr>
          <a:lstStyle/>
          <a:p>
            <a:pPr defTabSz="145750">
              <a:spcBef>
                <a:spcPts val="488"/>
              </a:spcBef>
              <a:buClr>
                <a:srgbClr val="00DEE6"/>
              </a:buClr>
            </a:pPr>
            <a:r>
              <a:rPr lang="en-GB" sz="1400" b="1" dirty="0">
                <a:solidFill>
                  <a:srgbClr val="342F2B"/>
                </a:solidFill>
                <a:cs typeface="Arial" pitchFamily="34" charset="0"/>
              </a:rPr>
              <a:t>Argument/logic</a:t>
            </a:r>
          </a:p>
        </p:txBody>
      </p:sp>
      <p:grpSp>
        <p:nvGrpSpPr>
          <p:cNvPr id="58" name="Group 57">
            <a:extLst>
              <a:ext uri="{FF2B5EF4-FFF2-40B4-BE49-F238E27FC236}">
                <a16:creationId xmlns:a16="http://schemas.microsoft.com/office/drawing/2014/main" id="{C5928753-1F23-4B53-958F-5AA61507E2FF}"/>
              </a:ext>
            </a:extLst>
          </p:cNvPr>
          <p:cNvGrpSpPr/>
          <p:nvPr/>
        </p:nvGrpSpPr>
        <p:grpSpPr>
          <a:xfrm>
            <a:off x="7187920" y="1911932"/>
            <a:ext cx="635000" cy="450850"/>
            <a:chOff x="7432675" y="3806825"/>
            <a:chExt cx="635000" cy="450850"/>
          </a:xfrm>
        </p:grpSpPr>
        <p:sp>
          <p:nvSpPr>
            <p:cNvPr id="65" name="Freeform 33">
              <a:extLst>
                <a:ext uri="{FF2B5EF4-FFF2-40B4-BE49-F238E27FC236}">
                  <a16:creationId xmlns:a16="http://schemas.microsoft.com/office/drawing/2014/main" id="{99C02036-7ECB-4224-A16D-4DC89711E99A}"/>
                </a:ext>
              </a:extLst>
            </p:cNvPr>
            <p:cNvSpPr>
              <a:spLocks noEditPoints="1"/>
            </p:cNvSpPr>
            <p:nvPr/>
          </p:nvSpPr>
          <p:spPr bwMode="auto">
            <a:xfrm>
              <a:off x="7432675" y="3806825"/>
              <a:ext cx="635000" cy="450850"/>
            </a:xfrm>
            <a:custGeom>
              <a:avLst/>
              <a:gdLst>
                <a:gd name="T0" fmla="*/ 78 w 141"/>
                <a:gd name="T1" fmla="*/ 100 h 100"/>
                <a:gd name="T2" fmla="*/ 27 w 141"/>
                <a:gd name="T3" fmla="*/ 100 h 100"/>
                <a:gd name="T4" fmla="*/ 0 w 141"/>
                <a:gd name="T5" fmla="*/ 73 h 100"/>
                <a:gd name="T6" fmla="*/ 26 w 141"/>
                <a:gd name="T7" fmla="*/ 46 h 100"/>
                <a:gd name="T8" fmla="*/ 82 w 141"/>
                <a:gd name="T9" fmla="*/ 0 h 100"/>
                <a:gd name="T10" fmla="*/ 82 w 141"/>
                <a:gd name="T11" fmla="*/ 0 h 100"/>
                <a:gd name="T12" fmla="*/ 141 w 141"/>
                <a:gd name="T13" fmla="*/ 66 h 100"/>
                <a:gd name="T14" fmla="*/ 141 w 141"/>
                <a:gd name="T15" fmla="*/ 66 h 100"/>
                <a:gd name="T16" fmla="*/ 107 w 141"/>
                <a:gd name="T17" fmla="*/ 100 h 100"/>
                <a:gd name="T18" fmla="*/ 107 w 14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00">
                  <a:moveTo>
                    <a:pt x="78" y="100"/>
                  </a:moveTo>
                  <a:cubicBezTo>
                    <a:pt x="27" y="100"/>
                    <a:pt x="27" y="100"/>
                    <a:pt x="27" y="100"/>
                  </a:cubicBezTo>
                  <a:cubicBezTo>
                    <a:pt x="12" y="100"/>
                    <a:pt x="0" y="88"/>
                    <a:pt x="0" y="73"/>
                  </a:cubicBezTo>
                  <a:cubicBezTo>
                    <a:pt x="0" y="59"/>
                    <a:pt x="12" y="47"/>
                    <a:pt x="26" y="46"/>
                  </a:cubicBezTo>
                  <a:cubicBezTo>
                    <a:pt x="34" y="19"/>
                    <a:pt x="56" y="0"/>
                    <a:pt x="82" y="0"/>
                  </a:cubicBezTo>
                  <a:moveTo>
                    <a:pt x="82" y="0"/>
                  </a:moveTo>
                  <a:cubicBezTo>
                    <a:pt x="114" y="0"/>
                    <a:pt x="141" y="29"/>
                    <a:pt x="141" y="66"/>
                  </a:cubicBezTo>
                  <a:cubicBezTo>
                    <a:pt x="141" y="66"/>
                    <a:pt x="141" y="66"/>
                    <a:pt x="141" y="66"/>
                  </a:cubicBezTo>
                  <a:cubicBezTo>
                    <a:pt x="141" y="85"/>
                    <a:pt x="126" y="100"/>
                    <a:pt x="107" y="100"/>
                  </a:cubicBezTo>
                  <a:cubicBezTo>
                    <a:pt x="107" y="100"/>
                    <a:pt x="107" y="100"/>
                    <a:pt x="107" y="10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7" name="Freeform 34">
              <a:extLst>
                <a:ext uri="{FF2B5EF4-FFF2-40B4-BE49-F238E27FC236}">
                  <a16:creationId xmlns:a16="http://schemas.microsoft.com/office/drawing/2014/main" id="{D2ABBE09-10C3-4CBF-9218-7BD17EA5092A}"/>
                </a:ext>
              </a:extLst>
            </p:cNvPr>
            <p:cNvSpPr>
              <a:spLocks/>
            </p:cNvSpPr>
            <p:nvPr/>
          </p:nvSpPr>
          <p:spPr bwMode="auto">
            <a:xfrm>
              <a:off x="7559675" y="4041775"/>
              <a:ext cx="84137" cy="76200"/>
            </a:xfrm>
            <a:custGeom>
              <a:avLst/>
              <a:gdLst>
                <a:gd name="T0" fmla="*/ 16 w 19"/>
                <a:gd name="T1" fmla="*/ 0 h 17"/>
                <a:gd name="T2" fmla="*/ 18 w 19"/>
                <a:gd name="T3" fmla="*/ 4 h 17"/>
                <a:gd name="T4" fmla="*/ 11 w 19"/>
                <a:gd name="T5" fmla="*/ 16 h 17"/>
                <a:gd name="T6" fmla="*/ 0 w 19"/>
                <a:gd name="T7" fmla="*/ 10 h 17"/>
              </a:gdLst>
              <a:ahLst/>
              <a:cxnLst>
                <a:cxn ang="0">
                  <a:pos x="T0" y="T1"/>
                </a:cxn>
                <a:cxn ang="0">
                  <a:pos x="T2" y="T3"/>
                </a:cxn>
                <a:cxn ang="0">
                  <a:pos x="T4" y="T5"/>
                </a:cxn>
                <a:cxn ang="0">
                  <a:pos x="T6" y="T7"/>
                </a:cxn>
              </a:cxnLst>
              <a:rect l="0" t="0" r="r" b="b"/>
              <a:pathLst>
                <a:path w="19" h="17">
                  <a:moveTo>
                    <a:pt x="16" y="0"/>
                  </a:moveTo>
                  <a:cubicBezTo>
                    <a:pt x="17" y="1"/>
                    <a:pt x="18" y="3"/>
                    <a:pt x="18" y="4"/>
                  </a:cubicBezTo>
                  <a:cubicBezTo>
                    <a:pt x="19" y="9"/>
                    <a:pt x="16" y="14"/>
                    <a:pt x="11" y="16"/>
                  </a:cubicBezTo>
                  <a:cubicBezTo>
                    <a:pt x="7" y="17"/>
                    <a:pt x="2" y="14"/>
                    <a:pt x="0" y="1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7" name="Freeform 35">
              <a:extLst>
                <a:ext uri="{FF2B5EF4-FFF2-40B4-BE49-F238E27FC236}">
                  <a16:creationId xmlns:a16="http://schemas.microsoft.com/office/drawing/2014/main" id="{72E5F9A5-E094-4F42-BBB3-F8E350E7F878}"/>
                </a:ext>
              </a:extLst>
            </p:cNvPr>
            <p:cNvSpPr>
              <a:spLocks/>
            </p:cNvSpPr>
            <p:nvPr/>
          </p:nvSpPr>
          <p:spPr bwMode="auto">
            <a:xfrm>
              <a:off x="7550150" y="4010025"/>
              <a:ext cx="76200" cy="26987"/>
            </a:xfrm>
            <a:custGeom>
              <a:avLst/>
              <a:gdLst>
                <a:gd name="T0" fmla="*/ 0 w 17"/>
                <a:gd name="T1" fmla="*/ 1 h 6"/>
                <a:gd name="T2" fmla="*/ 17 w 17"/>
                <a:gd name="T3" fmla="*/ 6 h 6"/>
              </a:gdLst>
              <a:ahLst/>
              <a:cxnLst>
                <a:cxn ang="0">
                  <a:pos x="T0" y="T1"/>
                </a:cxn>
                <a:cxn ang="0">
                  <a:pos x="T2" y="T3"/>
                </a:cxn>
              </a:cxnLst>
              <a:rect l="0" t="0" r="r" b="b"/>
              <a:pathLst>
                <a:path w="17" h="6">
                  <a:moveTo>
                    <a:pt x="0" y="1"/>
                  </a:moveTo>
                  <a:cubicBezTo>
                    <a:pt x="0" y="1"/>
                    <a:pt x="10" y="0"/>
                    <a:pt x="17" y="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78" name="Freeform 36">
              <a:extLst>
                <a:ext uri="{FF2B5EF4-FFF2-40B4-BE49-F238E27FC236}">
                  <a16:creationId xmlns:a16="http://schemas.microsoft.com/office/drawing/2014/main" id="{2BE8FA92-6384-4652-8ABF-1918EEE57A24}"/>
                </a:ext>
              </a:extLst>
            </p:cNvPr>
            <p:cNvSpPr>
              <a:spLocks/>
            </p:cNvSpPr>
            <p:nvPr/>
          </p:nvSpPr>
          <p:spPr bwMode="auto">
            <a:xfrm>
              <a:off x="7535863" y="4000500"/>
              <a:ext cx="23812" cy="85725"/>
            </a:xfrm>
            <a:custGeom>
              <a:avLst/>
              <a:gdLst>
                <a:gd name="T0" fmla="*/ 4 w 5"/>
                <a:gd name="T1" fmla="*/ 0 h 19"/>
                <a:gd name="T2" fmla="*/ 5 w 5"/>
                <a:gd name="T3" fmla="*/ 19 h 19"/>
              </a:gdLst>
              <a:ahLst/>
              <a:cxnLst>
                <a:cxn ang="0">
                  <a:pos x="T0" y="T1"/>
                </a:cxn>
                <a:cxn ang="0">
                  <a:pos x="T2" y="T3"/>
                </a:cxn>
              </a:cxnLst>
              <a:rect l="0" t="0" r="r" b="b"/>
              <a:pathLst>
                <a:path w="5" h="19">
                  <a:moveTo>
                    <a:pt x="4" y="0"/>
                  </a:moveTo>
                  <a:cubicBezTo>
                    <a:pt x="4" y="0"/>
                    <a:pt x="0" y="10"/>
                    <a:pt x="5" y="19"/>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79" name="Freeform 37">
            <a:extLst>
              <a:ext uri="{FF2B5EF4-FFF2-40B4-BE49-F238E27FC236}">
                <a16:creationId xmlns:a16="http://schemas.microsoft.com/office/drawing/2014/main" id="{9CB9262A-72E1-4FAE-9975-4705EEAC840C}"/>
              </a:ext>
            </a:extLst>
          </p:cNvPr>
          <p:cNvSpPr>
            <a:spLocks noEditPoints="1"/>
          </p:cNvSpPr>
          <p:nvPr/>
        </p:nvSpPr>
        <p:spPr bwMode="auto">
          <a:xfrm>
            <a:off x="8831950" y="2430751"/>
            <a:ext cx="449262" cy="325437"/>
          </a:xfrm>
          <a:custGeom>
            <a:avLst/>
            <a:gdLst>
              <a:gd name="T0" fmla="*/ 55 w 100"/>
              <a:gd name="T1" fmla="*/ 72 h 72"/>
              <a:gd name="T2" fmla="*/ 19 w 100"/>
              <a:gd name="T3" fmla="*/ 72 h 72"/>
              <a:gd name="T4" fmla="*/ 0 w 100"/>
              <a:gd name="T5" fmla="*/ 53 h 72"/>
              <a:gd name="T6" fmla="*/ 18 w 100"/>
              <a:gd name="T7" fmla="*/ 33 h 72"/>
              <a:gd name="T8" fmla="*/ 58 w 100"/>
              <a:gd name="T9" fmla="*/ 0 h 72"/>
              <a:gd name="T10" fmla="*/ 58 w 100"/>
              <a:gd name="T11" fmla="*/ 0 h 72"/>
              <a:gd name="T12" fmla="*/ 100 w 100"/>
              <a:gd name="T13" fmla="*/ 48 h 72"/>
              <a:gd name="T14" fmla="*/ 100 w 100"/>
              <a:gd name="T15" fmla="*/ 48 h 72"/>
              <a:gd name="T16" fmla="*/ 76 w 100"/>
              <a:gd name="T17" fmla="*/ 72 h 72"/>
              <a:gd name="T18" fmla="*/ 76 w 100"/>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72">
                <a:moveTo>
                  <a:pt x="55" y="72"/>
                </a:moveTo>
                <a:cubicBezTo>
                  <a:pt x="19" y="72"/>
                  <a:pt x="19" y="72"/>
                  <a:pt x="19" y="72"/>
                </a:cubicBezTo>
                <a:cubicBezTo>
                  <a:pt x="8" y="72"/>
                  <a:pt x="0" y="63"/>
                  <a:pt x="0" y="53"/>
                </a:cubicBezTo>
                <a:cubicBezTo>
                  <a:pt x="0" y="42"/>
                  <a:pt x="8" y="34"/>
                  <a:pt x="18" y="33"/>
                </a:cubicBezTo>
                <a:cubicBezTo>
                  <a:pt x="24" y="14"/>
                  <a:pt x="39" y="0"/>
                  <a:pt x="58" y="0"/>
                </a:cubicBezTo>
                <a:moveTo>
                  <a:pt x="58" y="0"/>
                </a:moveTo>
                <a:cubicBezTo>
                  <a:pt x="81" y="0"/>
                  <a:pt x="100" y="21"/>
                  <a:pt x="100" y="48"/>
                </a:cubicBezTo>
                <a:cubicBezTo>
                  <a:pt x="100" y="48"/>
                  <a:pt x="100" y="48"/>
                  <a:pt x="100" y="48"/>
                </a:cubicBezTo>
                <a:cubicBezTo>
                  <a:pt x="100" y="61"/>
                  <a:pt x="89" y="72"/>
                  <a:pt x="76" y="72"/>
                </a:cubicBezTo>
                <a:cubicBezTo>
                  <a:pt x="76" y="72"/>
                  <a:pt x="76" y="72"/>
                  <a:pt x="76" y="7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80" name="Group 79">
            <a:extLst>
              <a:ext uri="{FF2B5EF4-FFF2-40B4-BE49-F238E27FC236}">
                <a16:creationId xmlns:a16="http://schemas.microsoft.com/office/drawing/2014/main" id="{ECE13AE4-5857-42BE-AFFE-85ADBF01AE20}"/>
              </a:ext>
            </a:extLst>
          </p:cNvPr>
          <p:cNvGrpSpPr/>
          <p:nvPr/>
        </p:nvGrpSpPr>
        <p:grpSpPr>
          <a:xfrm>
            <a:off x="2001622" y="2291838"/>
            <a:ext cx="635000" cy="450850"/>
            <a:chOff x="7432675" y="3806825"/>
            <a:chExt cx="635000" cy="450850"/>
          </a:xfrm>
        </p:grpSpPr>
        <p:sp>
          <p:nvSpPr>
            <p:cNvPr id="81" name="Freeform 33">
              <a:extLst>
                <a:ext uri="{FF2B5EF4-FFF2-40B4-BE49-F238E27FC236}">
                  <a16:creationId xmlns:a16="http://schemas.microsoft.com/office/drawing/2014/main" id="{6EB94358-B809-4098-9817-375D8F4007B3}"/>
                </a:ext>
              </a:extLst>
            </p:cNvPr>
            <p:cNvSpPr>
              <a:spLocks noEditPoints="1"/>
            </p:cNvSpPr>
            <p:nvPr/>
          </p:nvSpPr>
          <p:spPr bwMode="auto">
            <a:xfrm>
              <a:off x="7432675" y="3806825"/>
              <a:ext cx="635000" cy="450850"/>
            </a:xfrm>
            <a:custGeom>
              <a:avLst/>
              <a:gdLst>
                <a:gd name="T0" fmla="*/ 78 w 141"/>
                <a:gd name="T1" fmla="*/ 100 h 100"/>
                <a:gd name="T2" fmla="*/ 27 w 141"/>
                <a:gd name="T3" fmla="*/ 100 h 100"/>
                <a:gd name="T4" fmla="*/ 0 w 141"/>
                <a:gd name="T5" fmla="*/ 73 h 100"/>
                <a:gd name="T6" fmla="*/ 26 w 141"/>
                <a:gd name="T7" fmla="*/ 46 h 100"/>
                <a:gd name="T8" fmla="*/ 82 w 141"/>
                <a:gd name="T9" fmla="*/ 0 h 100"/>
                <a:gd name="T10" fmla="*/ 82 w 141"/>
                <a:gd name="T11" fmla="*/ 0 h 100"/>
                <a:gd name="T12" fmla="*/ 141 w 141"/>
                <a:gd name="T13" fmla="*/ 66 h 100"/>
                <a:gd name="T14" fmla="*/ 141 w 141"/>
                <a:gd name="T15" fmla="*/ 66 h 100"/>
                <a:gd name="T16" fmla="*/ 107 w 141"/>
                <a:gd name="T17" fmla="*/ 100 h 100"/>
                <a:gd name="T18" fmla="*/ 107 w 14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00">
                  <a:moveTo>
                    <a:pt x="78" y="100"/>
                  </a:moveTo>
                  <a:cubicBezTo>
                    <a:pt x="27" y="100"/>
                    <a:pt x="27" y="100"/>
                    <a:pt x="27" y="100"/>
                  </a:cubicBezTo>
                  <a:cubicBezTo>
                    <a:pt x="12" y="100"/>
                    <a:pt x="0" y="88"/>
                    <a:pt x="0" y="73"/>
                  </a:cubicBezTo>
                  <a:cubicBezTo>
                    <a:pt x="0" y="59"/>
                    <a:pt x="12" y="47"/>
                    <a:pt x="26" y="46"/>
                  </a:cubicBezTo>
                  <a:cubicBezTo>
                    <a:pt x="34" y="19"/>
                    <a:pt x="56" y="0"/>
                    <a:pt x="82" y="0"/>
                  </a:cubicBezTo>
                  <a:moveTo>
                    <a:pt x="82" y="0"/>
                  </a:moveTo>
                  <a:cubicBezTo>
                    <a:pt x="114" y="0"/>
                    <a:pt x="141" y="29"/>
                    <a:pt x="141" y="66"/>
                  </a:cubicBezTo>
                  <a:cubicBezTo>
                    <a:pt x="141" y="66"/>
                    <a:pt x="141" y="66"/>
                    <a:pt x="141" y="66"/>
                  </a:cubicBezTo>
                  <a:cubicBezTo>
                    <a:pt x="141" y="85"/>
                    <a:pt x="126" y="100"/>
                    <a:pt x="107" y="100"/>
                  </a:cubicBezTo>
                  <a:cubicBezTo>
                    <a:pt x="107" y="100"/>
                    <a:pt x="107" y="100"/>
                    <a:pt x="107" y="10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2" name="Freeform 34">
              <a:extLst>
                <a:ext uri="{FF2B5EF4-FFF2-40B4-BE49-F238E27FC236}">
                  <a16:creationId xmlns:a16="http://schemas.microsoft.com/office/drawing/2014/main" id="{A22A2FC6-D34A-4FAC-BA61-E51932E39942}"/>
                </a:ext>
              </a:extLst>
            </p:cNvPr>
            <p:cNvSpPr>
              <a:spLocks/>
            </p:cNvSpPr>
            <p:nvPr/>
          </p:nvSpPr>
          <p:spPr bwMode="auto">
            <a:xfrm>
              <a:off x="7559675" y="4041775"/>
              <a:ext cx="84137" cy="76200"/>
            </a:xfrm>
            <a:custGeom>
              <a:avLst/>
              <a:gdLst>
                <a:gd name="T0" fmla="*/ 16 w 19"/>
                <a:gd name="T1" fmla="*/ 0 h 17"/>
                <a:gd name="T2" fmla="*/ 18 w 19"/>
                <a:gd name="T3" fmla="*/ 4 h 17"/>
                <a:gd name="T4" fmla="*/ 11 w 19"/>
                <a:gd name="T5" fmla="*/ 16 h 17"/>
                <a:gd name="T6" fmla="*/ 0 w 19"/>
                <a:gd name="T7" fmla="*/ 10 h 17"/>
              </a:gdLst>
              <a:ahLst/>
              <a:cxnLst>
                <a:cxn ang="0">
                  <a:pos x="T0" y="T1"/>
                </a:cxn>
                <a:cxn ang="0">
                  <a:pos x="T2" y="T3"/>
                </a:cxn>
                <a:cxn ang="0">
                  <a:pos x="T4" y="T5"/>
                </a:cxn>
                <a:cxn ang="0">
                  <a:pos x="T6" y="T7"/>
                </a:cxn>
              </a:cxnLst>
              <a:rect l="0" t="0" r="r" b="b"/>
              <a:pathLst>
                <a:path w="19" h="17">
                  <a:moveTo>
                    <a:pt x="16" y="0"/>
                  </a:moveTo>
                  <a:cubicBezTo>
                    <a:pt x="17" y="1"/>
                    <a:pt x="18" y="3"/>
                    <a:pt x="18" y="4"/>
                  </a:cubicBezTo>
                  <a:cubicBezTo>
                    <a:pt x="19" y="9"/>
                    <a:pt x="16" y="14"/>
                    <a:pt x="11" y="16"/>
                  </a:cubicBezTo>
                  <a:cubicBezTo>
                    <a:pt x="7" y="17"/>
                    <a:pt x="2" y="14"/>
                    <a:pt x="0" y="1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3" name="Freeform 35">
              <a:extLst>
                <a:ext uri="{FF2B5EF4-FFF2-40B4-BE49-F238E27FC236}">
                  <a16:creationId xmlns:a16="http://schemas.microsoft.com/office/drawing/2014/main" id="{DB8CBEE2-D0AB-46CE-94A7-E648A5CE67AE}"/>
                </a:ext>
              </a:extLst>
            </p:cNvPr>
            <p:cNvSpPr>
              <a:spLocks/>
            </p:cNvSpPr>
            <p:nvPr/>
          </p:nvSpPr>
          <p:spPr bwMode="auto">
            <a:xfrm>
              <a:off x="7550150" y="4010025"/>
              <a:ext cx="76200" cy="26987"/>
            </a:xfrm>
            <a:custGeom>
              <a:avLst/>
              <a:gdLst>
                <a:gd name="T0" fmla="*/ 0 w 17"/>
                <a:gd name="T1" fmla="*/ 1 h 6"/>
                <a:gd name="T2" fmla="*/ 17 w 17"/>
                <a:gd name="T3" fmla="*/ 6 h 6"/>
              </a:gdLst>
              <a:ahLst/>
              <a:cxnLst>
                <a:cxn ang="0">
                  <a:pos x="T0" y="T1"/>
                </a:cxn>
                <a:cxn ang="0">
                  <a:pos x="T2" y="T3"/>
                </a:cxn>
              </a:cxnLst>
              <a:rect l="0" t="0" r="r" b="b"/>
              <a:pathLst>
                <a:path w="17" h="6">
                  <a:moveTo>
                    <a:pt x="0" y="1"/>
                  </a:moveTo>
                  <a:cubicBezTo>
                    <a:pt x="0" y="1"/>
                    <a:pt x="10" y="0"/>
                    <a:pt x="17" y="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5" name="Freeform 36">
              <a:extLst>
                <a:ext uri="{FF2B5EF4-FFF2-40B4-BE49-F238E27FC236}">
                  <a16:creationId xmlns:a16="http://schemas.microsoft.com/office/drawing/2014/main" id="{0B7307E9-2975-4AE5-8ADC-0D7E578CC33A}"/>
                </a:ext>
              </a:extLst>
            </p:cNvPr>
            <p:cNvSpPr>
              <a:spLocks/>
            </p:cNvSpPr>
            <p:nvPr/>
          </p:nvSpPr>
          <p:spPr bwMode="auto">
            <a:xfrm>
              <a:off x="7535863" y="4000500"/>
              <a:ext cx="23812" cy="85725"/>
            </a:xfrm>
            <a:custGeom>
              <a:avLst/>
              <a:gdLst>
                <a:gd name="T0" fmla="*/ 4 w 5"/>
                <a:gd name="T1" fmla="*/ 0 h 19"/>
                <a:gd name="T2" fmla="*/ 5 w 5"/>
                <a:gd name="T3" fmla="*/ 19 h 19"/>
              </a:gdLst>
              <a:ahLst/>
              <a:cxnLst>
                <a:cxn ang="0">
                  <a:pos x="T0" y="T1"/>
                </a:cxn>
                <a:cxn ang="0">
                  <a:pos x="T2" y="T3"/>
                </a:cxn>
              </a:cxnLst>
              <a:rect l="0" t="0" r="r" b="b"/>
              <a:pathLst>
                <a:path w="5" h="19">
                  <a:moveTo>
                    <a:pt x="4" y="0"/>
                  </a:moveTo>
                  <a:cubicBezTo>
                    <a:pt x="4" y="0"/>
                    <a:pt x="0" y="10"/>
                    <a:pt x="5" y="19"/>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88" name="Freeform 37">
            <a:extLst>
              <a:ext uri="{FF2B5EF4-FFF2-40B4-BE49-F238E27FC236}">
                <a16:creationId xmlns:a16="http://schemas.microsoft.com/office/drawing/2014/main" id="{B7885D05-43A7-443B-9FDB-CC4370447C9A}"/>
              </a:ext>
            </a:extLst>
          </p:cNvPr>
          <p:cNvSpPr>
            <a:spLocks noEditPoints="1"/>
          </p:cNvSpPr>
          <p:nvPr/>
        </p:nvSpPr>
        <p:spPr bwMode="auto">
          <a:xfrm>
            <a:off x="2045123" y="1144769"/>
            <a:ext cx="449262" cy="325437"/>
          </a:xfrm>
          <a:custGeom>
            <a:avLst/>
            <a:gdLst>
              <a:gd name="T0" fmla="*/ 55 w 100"/>
              <a:gd name="T1" fmla="*/ 72 h 72"/>
              <a:gd name="T2" fmla="*/ 19 w 100"/>
              <a:gd name="T3" fmla="*/ 72 h 72"/>
              <a:gd name="T4" fmla="*/ 0 w 100"/>
              <a:gd name="T5" fmla="*/ 53 h 72"/>
              <a:gd name="T6" fmla="*/ 18 w 100"/>
              <a:gd name="T7" fmla="*/ 33 h 72"/>
              <a:gd name="T8" fmla="*/ 58 w 100"/>
              <a:gd name="T9" fmla="*/ 0 h 72"/>
              <a:gd name="T10" fmla="*/ 58 w 100"/>
              <a:gd name="T11" fmla="*/ 0 h 72"/>
              <a:gd name="T12" fmla="*/ 100 w 100"/>
              <a:gd name="T13" fmla="*/ 48 h 72"/>
              <a:gd name="T14" fmla="*/ 100 w 100"/>
              <a:gd name="T15" fmla="*/ 48 h 72"/>
              <a:gd name="T16" fmla="*/ 76 w 100"/>
              <a:gd name="T17" fmla="*/ 72 h 72"/>
              <a:gd name="T18" fmla="*/ 76 w 100"/>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72">
                <a:moveTo>
                  <a:pt x="55" y="72"/>
                </a:moveTo>
                <a:cubicBezTo>
                  <a:pt x="19" y="72"/>
                  <a:pt x="19" y="72"/>
                  <a:pt x="19" y="72"/>
                </a:cubicBezTo>
                <a:cubicBezTo>
                  <a:pt x="8" y="72"/>
                  <a:pt x="0" y="63"/>
                  <a:pt x="0" y="53"/>
                </a:cubicBezTo>
                <a:cubicBezTo>
                  <a:pt x="0" y="42"/>
                  <a:pt x="8" y="34"/>
                  <a:pt x="18" y="33"/>
                </a:cubicBezTo>
                <a:cubicBezTo>
                  <a:pt x="24" y="14"/>
                  <a:pt x="39" y="0"/>
                  <a:pt x="58" y="0"/>
                </a:cubicBezTo>
                <a:moveTo>
                  <a:pt x="58" y="0"/>
                </a:moveTo>
                <a:cubicBezTo>
                  <a:pt x="81" y="0"/>
                  <a:pt x="100" y="21"/>
                  <a:pt x="100" y="48"/>
                </a:cubicBezTo>
                <a:cubicBezTo>
                  <a:pt x="100" y="48"/>
                  <a:pt x="100" y="48"/>
                  <a:pt x="100" y="48"/>
                </a:cubicBezTo>
                <a:cubicBezTo>
                  <a:pt x="100" y="61"/>
                  <a:pt x="89" y="72"/>
                  <a:pt x="76" y="72"/>
                </a:cubicBezTo>
                <a:cubicBezTo>
                  <a:pt x="76" y="72"/>
                  <a:pt x="76" y="72"/>
                  <a:pt x="76" y="7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89" name="Group 88">
            <a:extLst>
              <a:ext uri="{FF2B5EF4-FFF2-40B4-BE49-F238E27FC236}">
                <a16:creationId xmlns:a16="http://schemas.microsoft.com/office/drawing/2014/main" id="{B974E156-CBEA-42F9-B053-91EAB32E0A52}"/>
              </a:ext>
            </a:extLst>
          </p:cNvPr>
          <p:cNvGrpSpPr/>
          <p:nvPr/>
        </p:nvGrpSpPr>
        <p:grpSpPr>
          <a:xfrm>
            <a:off x="662767" y="1748742"/>
            <a:ext cx="635000" cy="450850"/>
            <a:chOff x="7432675" y="3806825"/>
            <a:chExt cx="635000" cy="450850"/>
          </a:xfrm>
        </p:grpSpPr>
        <p:sp>
          <p:nvSpPr>
            <p:cNvPr id="90" name="Freeform 33">
              <a:extLst>
                <a:ext uri="{FF2B5EF4-FFF2-40B4-BE49-F238E27FC236}">
                  <a16:creationId xmlns:a16="http://schemas.microsoft.com/office/drawing/2014/main" id="{0D6F8556-A886-4A3F-A363-52798B75B7AD}"/>
                </a:ext>
              </a:extLst>
            </p:cNvPr>
            <p:cNvSpPr>
              <a:spLocks noEditPoints="1"/>
            </p:cNvSpPr>
            <p:nvPr/>
          </p:nvSpPr>
          <p:spPr bwMode="auto">
            <a:xfrm>
              <a:off x="7432675" y="3806825"/>
              <a:ext cx="635000" cy="450850"/>
            </a:xfrm>
            <a:custGeom>
              <a:avLst/>
              <a:gdLst>
                <a:gd name="T0" fmla="*/ 78 w 141"/>
                <a:gd name="T1" fmla="*/ 100 h 100"/>
                <a:gd name="T2" fmla="*/ 27 w 141"/>
                <a:gd name="T3" fmla="*/ 100 h 100"/>
                <a:gd name="T4" fmla="*/ 0 w 141"/>
                <a:gd name="T5" fmla="*/ 73 h 100"/>
                <a:gd name="T6" fmla="*/ 26 w 141"/>
                <a:gd name="T7" fmla="*/ 46 h 100"/>
                <a:gd name="T8" fmla="*/ 82 w 141"/>
                <a:gd name="T9" fmla="*/ 0 h 100"/>
                <a:gd name="T10" fmla="*/ 82 w 141"/>
                <a:gd name="T11" fmla="*/ 0 h 100"/>
                <a:gd name="T12" fmla="*/ 141 w 141"/>
                <a:gd name="T13" fmla="*/ 66 h 100"/>
                <a:gd name="T14" fmla="*/ 141 w 141"/>
                <a:gd name="T15" fmla="*/ 66 h 100"/>
                <a:gd name="T16" fmla="*/ 107 w 141"/>
                <a:gd name="T17" fmla="*/ 100 h 100"/>
                <a:gd name="T18" fmla="*/ 107 w 141"/>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 h="100">
                  <a:moveTo>
                    <a:pt x="78" y="100"/>
                  </a:moveTo>
                  <a:cubicBezTo>
                    <a:pt x="27" y="100"/>
                    <a:pt x="27" y="100"/>
                    <a:pt x="27" y="100"/>
                  </a:cubicBezTo>
                  <a:cubicBezTo>
                    <a:pt x="12" y="100"/>
                    <a:pt x="0" y="88"/>
                    <a:pt x="0" y="73"/>
                  </a:cubicBezTo>
                  <a:cubicBezTo>
                    <a:pt x="0" y="59"/>
                    <a:pt x="12" y="47"/>
                    <a:pt x="26" y="46"/>
                  </a:cubicBezTo>
                  <a:cubicBezTo>
                    <a:pt x="34" y="19"/>
                    <a:pt x="56" y="0"/>
                    <a:pt x="82" y="0"/>
                  </a:cubicBezTo>
                  <a:moveTo>
                    <a:pt x="82" y="0"/>
                  </a:moveTo>
                  <a:cubicBezTo>
                    <a:pt x="114" y="0"/>
                    <a:pt x="141" y="29"/>
                    <a:pt x="141" y="66"/>
                  </a:cubicBezTo>
                  <a:cubicBezTo>
                    <a:pt x="141" y="66"/>
                    <a:pt x="141" y="66"/>
                    <a:pt x="141" y="66"/>
                  </a:cubicBezTo>
                  <a:cubicBezTo>
                    <a:pt x="141" y="85"/>
                    <a:pt x="126" y="100"/>
                    <a:pt x="107" y="100"/>
                  </a:cubicBezTo>
                  <a:cubicBezTo>
                    <a:pt x="107" y="100"/>
                    <a:pt x="107" y="100"/>
                    <a:pt x="107" y="10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34">
              <a:extLst>
                <a:ext uri="{FF2B5EF4-FFF2-40B4-BE49-F238E27FC236}">
                  <a16:creationId xmlns:a16="http://schemas.microsoft.com/office/drawing/2014/main" id="{A999DB06-2FC0-403C-8362-1E9187CD042F}"/>
                </a:ext>
              </a:extLst>
            </p:cNvPr>
            <p:cNvSpPr>
              <a:spLocks/>
            </p:cNvSpPr>
            <p:nvPr/>
          </p:nvSpPr>
          <p:spPr bwMode="auto">
            <a:xfrm>
              <a:off x="7559675" y="4041775"/>
              <a:ext cx="84137" cy="76200"/>
            </a:xfrm>
            <a:custGeom>
              <a:avLst/>
              <a:gdLst>
                <a:gd name="T0" fmla="*/ 16 w 19"/>
                <a:gd name="T1" fmla="*/ 0 h 17"/>
                <a:gd name="T2" fmla="*/ 18 w 19"/>
                <a:gd name="T3" fmla="*/ 4 h 17"/>
                <a:gd name="T4" fmla="*/ 11 w 19"/>
                <a:gd name="T5" fmla="*/ 16 h 17"/>
                <a:gd name="T6" fmla="*/ 0 w 19"/>
                <a:gd name="T7" fmla="*/ 10 h 17"/>
              </a:gdLst>
              <a:ahLst/>
              <a:cxnLst>
                <a:cxn ang="0">
                  <a:pos x="T0" y="T1"/>
                </a:cxn>
                <a:cxn ang="0">
                  <a:pos x="T2" y="T3"/>
                </a:cxn>
                <a:cxn ang="0">
                  <a:pos x="T4" y="T5"/>
                </a:cxn>
                <a:cxn ang="0">
                  <a:pos x="T6" y="T7"/>
                </a:cxn>
              </a:cxnLst>
              <a:rect l="0" t="0" r="r" b="b"/>
              <a:pathLst>
                <a:path w="19" h="17">
                  <a:moveTo>
                    <a:pt x="16" y="0"/>
                  </a:moveTo>
                  <a:cubicBezTo>
                    <a:pt x="17" y="1"/>
                    <a:pt x="18" y="3"/>
                    <a:pt x="18" y="4"/>
                  </a:cubicBezTo>
                  <a:cubicBezTo>
                    <a:pt x="19" y="9"/>
                    <a:pt x="16" y="14"/>
                    <a:pt x="11" y="16"/>
                  </a:cubicBezTo>
                  <a:cubicBezTo>
                    <a:pt x="7" y="17"/>
                    <a:pt x="2" y="14"/>
                    <a:pt x="0" y="10"/>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2" name="Freeform 35">
              <a:extLst>
                <a:ext uri="{FF2B5EF4-FFF2-40B4-BE49-F238E27FC236}">
                  <a16:creationId xmlns:a16="http://schemas.microsoft.com/office/drawing/2014/main" id="{CAB49B91-4EA1-4821-A55B-E5CFEC6D0CD1}"/>
                </a:ext>
              </a:extLst>
            </p:cNvPr>
            <p:cNvSpPr>
              <a:spLocks/>
            </p:cNvSpPr>
            <p:nvPr/>
          </p:nvSpPr>
          <p:spPr bwMode="auto">
            <a:xfrm>
              <a:off x="7550150" y="4010025"/>
              <a:ext cx="76200" cy="26987"/>
            </a:xfrm>
            <a:custGeom>
              <a:avLst/>
              <a:gdLst>
                <a:gd name="T0" fmla="*/ 0 w 17"/>
                <a:gd name="T1" fmla="*/ 1 h 6"/>
                <a:gd name="T2" fmla="*/ 17 w 17"/>
                <a:gd name="T3" fmla="*/ 6 h 6"/>
              </a:gdLst>
              <a:ahLst/>
              <a:cxnLst>
                <a:cxn ang="0">
                  <a:pos x="T0" y="T1"/>
                </a:cxn>
                <a:cxn ang="0">
                  <a:pos x="T2" y="T3"/>
                </a:cxn>
              </a:cxnLst>
              <a:rect l="0" t="0" r="r" b="b"/>
              <a:pathLst>
                <a:path w="17" h="6">
                  <a:moveTo>
                    <a:pt x="0" y="1"/>
                  </a:moveTo>
                  <a:cubicBezTo>
                    <a:pt x="0" y="1"/>
                    <a:pt x="10" y="0"/>
                    <a:pt x="17" y="6"/>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6">
              <a:extLst>
                <a:ext uri="{FF2B5EF4-FFF2-40B4-BE49-F238E27FC236}">
                  <a16:creationId xmlns:a16="http://schemas.microsoft.com/office/drawing/2014/main" id="{0D0D6021-6CD5-49F7-954B-90D8433D1EB1}"/>
                </a:ext>
              </a:extLst>
            </p:cNvPr>
            <p:cNvSpPr>
              <a:spLocks/>
            </p:cNvSpPr>
            <p:nvPr/>
          </p:nvSpPr>
          <p:spPr bwMode="auto">
            <a:xfrm>
              <a:off x="7535863" y="4000500"/>
              <a:ext cx="23812" cy="85725"/>
            </a:xfrm>
            <a:custGeom>
              <a:avLst/>
              <a:gdLst>
                <a:gd name="T0" fmla="*/ 4 w 5"/>
                <a:gd name="T1" fmla="*/ 0 h 19"/>
                <a:gd name="T2" fmla="*/ 5 w 5"/>
                <a:gd name="T3" fmla="*/ 19 h 19"/>
              </a:gdLst>
              <a:ahLst/>
              <a:cxnLst>
                <a:cxn ang="0">
                  <a:pos x="T0" y="T1"/>
                </a:cxn>
                <a:cxn ang="0">
                  <a:pos x="T2" y="T3"/>
                </a:cxn>
              </a:cxnLst>
              <a:rect l="0" t="0" r="r" b="b"/>
              <a:pathLst>
                <a:path w="5" h="19">
                  <a:moveTo>
                    <a:pt x="4" y="0"/>
                  </a:moveTo>
                  <a:cubicBezTo>
                    <a:pt x="4" y="0"/>
                    <a:pt x="0" y="10"/>
                    <a:pt x="5" y="19"/>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94" name="Freeform 37">
            <a:extLst>
              <a:ext uri="{FF2B5EF4-FFF2-40B4-BE49-F238E27FC236}">
                <a16:creationId xmlns:a16="http://schemas.microsoft.com/office/drawing/2014/main" id="{2864CF56-CFE8-488B-B8A0-8F0B434FDA88}"/>
              </a:ext>
            </a:extLst>
          </p:cNvPr>
          <p:cNvSpPr>
            <a:spLocks noEditPoints="1"/>
          </p:cNvSpPr>
          <p:nvPr/>
        </p:nvSpPr>
        <p:spPr bwMode="auto">
          <a:xfrm>
            <a:off x="8607319" y="1219462"/>
            <a:ext cx="449262" cy="325437"/>
          </a:xfrm>
          <a:custGeom>
            <a:avLst/>
            <a:gdLst>
              <a:gd name="T0" fmla="*/ 55 w 100"/>
              <a:gd name="T1" fmla="*/ 72 h 72"/>
              <a:gd name="T2" fmla="*/ 19 w 100"/>
              <a:gd name="T3" fmla="*/ 72 h 72"/>
              <a:gd name="T4" fmla="*/ 0 w 100"/>
              <a:gd name="T5" fmla="*/ 53 h 72"/>
              <a:gd name="T6" fmla="*/ 18 w 100"/>
              <a:gd name="T7" fmla="*/ 33 h 72"/>
              <a:gd name="T8" fmla="*/ 58 w 100"/>
              <a:gd name="T9" fmla="*/ 0 h 72"/>
              <a:gd name="T10" fmla="*/ 58 w 100"/>
              <a:gd name="T11" fmla="*/ 0 h 72"/>
              <a:gd name="T12" fmla="*/ 100 w 100"/>
              <a:gd name="T13" fmla="*/ 48 h 72"/>
              <a:gd name="T14" fmla="*/ 100 w 100"/>
              <a:gd name="T15" fmla="*/ 48 h 72"/>
              <a:gd name="T16" fmla="*/ 76 w 100"/>
              <a:gd name="T17" fmla="*/ 72 h 72"/>
              <a:gd name="T18" fmla="*/ 76 w 100"/>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72">
                <a:moveTo>
                  <a:pt x="55" y="72"/>
                </a:moveTo>
                <a:cubicBezTo>
                  <a:pt x="19" y="72"/>
                  <a:pt x="19" y="72"/>
                  <a:pt x="19" y="72"/>
                </a:cubicBezTo>
                <a:cubicBezTo>
                  <a:pt x="8" y="72"/>
                  <a:pt x="0" y="63"/>
                  <a:pt x="0" y="53"/>
                </a:cubicBezTo>
                <a:cubicBezTo>
                  <a:pt x="0" y="42"/>
                  <a:pt x="8" y="34"/>
                  <a:pt x="18" y="33"/>
                </a:cubicBezTo>
                <a:cubicBezTo>
                  <a:pt x="24" y="14"/>
                  <a:pt x="39" y="0"/>
                  <a:pt x="58" y="0"/>
                </a:cubicBezTo>
                <a:moveTo>
                  <a:pt x="58" y="0"/>
                </a:moveTo>
                <a:cubicBezTo>
                  <a:pt x="81" y="0"/>
                  <a:pt x="100" y="21"/>
                  <a:pt x="100" y="48"/>
                </a:cubicBezTo>
                <a:cubicBezTo>
                  <a:pt x="100" y="48"/>
                  <a:pt x="100" y="48"/>
                  <a:pt x="100" y="48"/>
                </a:cubicBezTo>
                <a:cubicBezTo>
                  <a:pt x="100" y="61"/>
                  <a:pt x="89" y="72"/>
                  <a:pt x="76" y="72"/>
                </a:cubicBezTo>
                <a:cubicBezTo>
                  <a:pt x="76" y="72"/>
                  <a:pt x="76" y="72"/>
                  <a:pt x="76" y="72"/>
                </a:cubicBezTo>
              </a:path>
            </a:pathLst>
          </a:custGeom>
          <a:noFill/>
          <a:ln w="17463"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87" name="TextBox 86"/>
          <p:cNvSpPr txBox="1"/>
          <p:nvPr/>
        </p:nvSpPr>
        <p:spPr>
          <a:xfrm>
            <a:off x="6609247" y="3740179"/>
            <a:ext cx="1370669" cy="360850"/>
          </a:xfrm>
          <a:prstGeom prst="rect">
            <a:avLst/>
          </a:prstGeom>
          <a:solidFill>
            <a:srgbClr val="E8E5E1"/>
          </a:solidFill>
        </p:spPr>
        <p:txBody>
          <a:bodyPr wrap="none" lIns="108000" tIns="72000" rIns="108000" bIns="72000" rtlCol="0">
            <a:spAutoFit/>
          </a:bodyPr>
          <a:lstStyle/>
          <a:p>
            <a:pPr defTabSz="145750">
              <a:spcBef>
                <a:spcPts val="488"/>
              </a:spcBef>
              <a:buClr>
                <a:srgbClr val="00DEE6"/>
              </a:buClr>
            </a:pPr>
            <a:r>
              <a:rPr lang="en-GB" sz="1400" b="1" dirty="0">
                <a:solidFill>
                  <a:srgbClr val="342F2B"/>
                </a:solidFill>
                <a:cs typeface="Arial" pitchFamily="34" charset="0"/>
              </a:rPr>
              <a:t>Selected data</a:t>
            </a:r>
          </a:p>
        </p:txBody>
      </p:sp>
    </p:spTree>
    <p:extLst>
      <p:ext uri="{BB962C8B-B14F-4D97-AF65-F5344CB8AC3E}">
        <p14:creationId xmlns:p14="http://schemas.microsoft.com/office/powerpoint/2010/main" val="1320635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6"/>
                                        </p:tgtEl>
                                        <p:attrNameLst>
                                          <p:attrName>style.visibility</p:attrName>
                                        </p:attrNameLst>
                                      </p:cBhvr>
                                      <p:to>
                                        <p:strVal val="visible"/>
                                      </p:to>
                                    </p:set>
                                    <p:animEffect transition="in" filter="fade">
                                      <p:cBhvr>
                                        <p:cTn id="7" dur="500"/>
                                        <p:tgtEl>
                                          <p:spTgt spid="7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2"/>
                                        </p:tgtEl>
                                        <p:attrNameLst>
                                          <p:attrName>style.visibility</p:attrName>
                                        </p:attrNameLst>
                                      </p:cBhvr>
                                      <p:to>
                                        <p:strVal val="visible"/>
                                      </p:to>
                                    </p:set>
                                    <p:animEffect transition="in" filter="fade">
                                      <p:cBhvr>
                                        <p:cTn id="10" dur="500"/>
                                        <p:tgtEl>
                                          <p:spTgt spid="10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animEffect transition="in" filter="fade">
                                      <p:cBhvr>
                                        <p:cTn id="15" dur="500"/>
                                        <p:tgtEl>
                                          <p:spTgt spid="87"/>
                                        </p:tgtEl>
                                      </p:cBhvr>
                                    </p:animEffect>
                                  </p:childTnLst>
                                </p:cTn>
                              </p:par>
                              <p:par>
                                <p:cTn id="16" presetID="10" presetClass="entr" presetSubtype="0" fill="hold" nodeType="withEffect">
                                  <p:stCondLst>
                                    <p:cond delay="0"/>
                                  </p:stCondLst>
                                  <p:childTnLst>
                                    <p:set>
                                      <p:cBhvr>
                                        <p:cTn id="17" dur="1" fill="hold">
                                          <p:stCondLst>
                                            <p:cond delay="0"/>
                                          </p:stCondLst>
                                        </p:cTn>
                                        <p:tgtEl>
                                          <p:spTgt spid="45"/>
                                        </p:tgtEl>
                                        <p:attrNameLst>
                                          <p:attrName>style.visibility</p:attrName>
                                        </p:attrNameLst>
                                      </p:cBhvr>
                                      <p:to>
                                        <p:strVal val="visible"/>
                                      </p:to>
                                    </p:set>
                                    <p:animEffect transition="in" filter="fade">
                                      <p:cBhvr>
                                        <p:cTn id="18" dur="500"/>
                                        <p:tgtEl>
                                          <p:spTgt spid="45"/>
                                        </p:tgtEl>
                                      </p:cBhvr>
                                    </p:animEffect>
                                  </p:childTnLst>
                                </p:cTn>
                              </p:par>
                              <p:par>
                                <p:cTn id="19" presetID="10" presetClass="entr" presetSubtype="0" fill="hold" nodeType="withEffect">
                                  <p:stCondLst>
                                    <p:cond delay="0"/>
                                  </p:stCondLst>
                                  <p:childTnLst>
                                    <p:set>
                                      <p:cBhvr>
                                        <p:cTn id="20" dur="1" fill="hold">
                                          <p:stCondLst>
                                            <p:cond delay="0"/>
                                          </p:stCondLst>
                                        </p:cTn>
                                        <p:tgtEl>
                                          <p:spTgt spid="86"/>
                                        </p:tgtEl>
                                        <p:attrNameLst>
                                          <p:attrName>style.visibility</p:attrName>
                                        </p:attrNameLst>
                                      </p:cBhvr>
                                      <p:to>
                                        <p:strVal val="visible"/>
                                      </p:to>
                                    </p:set>
                                    <p:animEffect transition="in" filter="fade">
                                      <p:cBhvr>
                                        <p:cTn id="21" dur="500"/>
                                        <p:tgtEl>
                                          <p:spTgt spid="86"/>
                                        </p:tgtEl>
                                      </p:cBhvr>
                                    </p:animEffect>
                                  </p:childTnLst>
                                </p:cTn>
                              </p:par>
                              <p:par>
                                <p:cTn id="22" presetID="10" presetClass="entr" presetSubtype="0" fill="hold" nodeType="withEffect">
                                  <p:stCondLst>
                                    <p:cond delay="0"/>
                                  </p:stCondLst>
                                  <p:childTnLst>
                                    <p:set>
                                      <p:cBhvr>
                                        <p:cTn id="23" dur="1" fill="hold">
                                          <p:stCondLst>
                                            <p:cond delay="0"/>
                                          </p:stCondLst>
                                        </p:cTn>
                                        <p:tgtEl>
                                          <p:spTgt spid="54"/>
                                        </p:tgtEl>
                                        <p:attrNameLst>
                                          <p:attrName>style.visibility</p:attrName>
                                        </p:attrNameLst>
                                      </p:cBhvr>
                                      <p:to>
                                        <p:strVal val="visible"/>
                                      </p:to>
                                    </p:set>
                                    <p:animEffect transition="in" filter="fade">
                                      <p:cBhvr>
                                        <p:cTn id="24"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 grpId="0" animBg="1"/>
      <p:bldP spid="76" grpId="0" animBg="1"/>
      <p:bldP spid="8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5254" name="Rectangle 565253">
            <a:extLst>
              <a:ext uri="{FF2B5EF4-FFF2-40B4-BE49-F238E27FC236}">
                <a16:creationId xmlns:a16="http://schemas.microsoft.com/office/drawing/2014/main" id="{A8B1AD2A-EFF3-4225-870D-71186CC2CB1E}"/>
              </a:ext>
            </a:extLst>
          </p:cNvPr>
          <p:cNvSpPr/>
          <p:nvPr/>
        </p:nvSpPr>
        <p:spPr>
          <a:xfrm>
            <a:off x="1" y="1028812"/>
            <a:ext cx="7345680" cy="5829188"/>
          </a:xfrm>
          <a:prstGeom prst="rect">
            <a:avLst/>
          </a:prstGeom>
          <a:solidFill>
            <a:srgbClr val="F3F2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noAutofit/>
          </a:bodyPr>
          <a:lstStyle/>
          <a:p>
            <a:pPr algn="l"/>
            <a:endParaRPr lang="en-GB" sz="1100" noProof="0" dirty="0">
              <a:solidFill>
                <a:srgbClr val="2F363B"/>
              </a:solidFill>
            </a:endParaRPr>
          </a:p>
        </p:txBody>
      </p:sp>
      <p:sp>
        <p:nvSpPr>
          <p:cNvPr id="565250" name="Rectangle 2"/>
          <p:cNvSpPr>
            <a:spLocks noGrp="1" noChangeArrowheads="1"/>
          </p:cNvSpPr>
          <p:nvPr>
            <p:ph type="title"/>
          </p:nvPr>
        </p:nvSpPr>
        <p:spPr>
          <a:xfrm>
            <a:off x="269874" y="286834"/>
            <a:ext cx="8240140" cy="692336"/>
          </a:xfrm>
        </p:spPr>
        <p:txBody>
          <a:bodyPr/>
          <a:lstStyle/>
          <a:p>
            <a:r>
              <a:rPr lang="en-GB" altLang="da-DK" dirty="0"/>
              <a:t>360 degree REAL assessment</a:t>
            </a:r>
          </a:p>
        </p:txBody>
      </p:sp>
      <p:sp>
        <p:nvSpPr>
          <p:cNvPr id="44" name="Text Placeholder 43">
            <a:extLst>
              <a:ext uri="{FF2B5EF4-FFF2-40B4-BE49-F238E27FC236}">
                <a16:creationId xmlns:a16="http://schemas.microsoft.com/office/drawing/2014/main" id="{311223BE-6C1A-46A2-A2A1-F0A0F661B194}"/>
              </a:ext>
            </a:extLst>
          </p:cNvPr>
          <p:cNvSpPr>
            <a:spLocks noGrp="1"/>
          </p:cNvSpPr>
          <p:nvPr>
            <p:ph type="body" sz="quarter" idx="13"/>
          </p:nvPr>
        </p:nvSpPr>
        <p:spPr>
          <a:xfrm>
            <a:off x="269874" y="6502395"/>
            <a:ext cx="6744111" cy="106116"/>
          </a:xfrm>
        </p:spPr>
        <p:txBody>
          <a:bodyPr/>
          <a:lstStyle/>
          <a:p>
            <a:endParaRPr lang="en-GB" dirty="0"/>
          </a:p>
        </p:txBody>
      </p:sp>
      <p:sp>
        <p:nvSpPr>
          <p:cNvPr id="45" name="Text Placeholder 44">
            <a:extLst>
              <a:ext uri="{FF2B5EF4-FFF2-40B4-BE49-F238E27FC236}">
                <a16:creationId xmlns:a16="http://schemas.microsoft.com/office/drawing/2014/main" id="{365A2382-9564-44B5-AB06-3C103AEF9997}"/>
              </a:ext>
            </a:extLst>
          </p:cNvPr>
          <p:cNvSpPr>
            <a:spLocks noGrp="1"/>
          </p:cNvSpPr>
          <p:nvPr>
            <p:ph type="body" sz="quarter" idx="14"/>
          </p:nvPr>
        </p:nvSpPr>
        <p:spPr/>
        <p:txBody>
          <a:bodyPr/>
          <a:lstStyle/>
          <a:p>
            <a:endParaRPr lang="en-GB" dirty="0"/>
          </a:p>
        </p:txBody>
      </p:sp>
      <p:sp>
        <p:nvSpPr>
          <p:cNvPr id="28" name="Rectangle 3">
            <a:extLst>
              <a:ext uri="{FF2B5EF4-FFF2-40B4-BE49-F238E27FC236}">
                <a16:creationId xmlns:a16="http://schemas.microsoft.com/office/drawing/2014/main" id="{205A4D34-9DCF-470F-9653-0E85D0969718}"/>
              </a:ext>
            </a:extLst>
          </p:cNvPr>
          <p:cNvSpPr txBox="1">
            <a:spLocks noChangeArrowheads="1"/>
          </p:cNvSpPr>
          <p:nvPr/>
        </p:nvSpPr>
        <p:spPr>
          <a:xfrm>
            <a:off x="803480" y="1233417"/>
            <a:ext cx="6024040" cy="5327650"/>
          </a:xfrm>
          <a:prstGeom prst="rect">
            <a:avLst/>
          </a:prstGeom>
        </p:spPr>
        <p:txBody>
          <a:bodyPr vert="horz" lIns="0" tIns="0" rIns="0" bIns="0" rtlCol="0" anchor="t" anchorCtr="0">
            <a:noAutofit/>
          </a:bodyPr>
          <a:lstStyle>
            <a:lvl1pPr marL="0" indent="0"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1pPr>
            <a:lvl2pPr marL="139303" indent="-139303" algn="l" defTabSz="742950" rtl="0" eaLnBrk="1" latinLnBrk="0" hangingPunct="1">
              <a:lnSpc>
                <a:spcPct val="90000"/>
              </a:lnSpc>
              <a:spcBef>
                <a:spcPts val="0"/>
              </a:spcBef>
              <a:spcAft>
                <a:spcPts val="0"/>
              </a:spcAft>
              <a:buFont typeface="Arial" panose="020B0604020202020204" pitchFamily="34" charset="0"/>
              <a:buChar char="•"/>
              <a:defRPr lang="en-US" sz="650" kern="1200" dirty="0" smtClean="0">
                <a:solidFill>
                  <a:srgbClr val="1F2023"/>
                </a:solidFill>
                <a:latin typeface="Arial" panose="020B0604020202020204" pitchFamily="34" charset="0"/>
                <a:ea typeface="+mn-ea"/>
                <a:cs typeface="Arial" panose="020B0604020202020204" pitchFamily="34" charset="0"/>
              </a:defRPr>
            </a:lvl2pPr>
            <a:lvl3pPr marL="185738" indent="-185738" algn="l" defTabSz="742950" rtl="0" eaLnBrk="1" latinLnBrk="0" hangingPunct="1">
              <a:lnSpc>
                <a:spcPct val="90000"/>
              </a:lnSpc>
              <a:spcBef>
                <a:spcPts val="0"/>
              </a:spcBef>
              <a:spcAft>
                <a:spcPts val="0"/>
              </a:spcAft>
              <a:buFont typeface="+mj-lt"/>
              <a:buAutoNum type="arabicPeriod"/>
              <a:defRPr lang="en-US" sz="650" kern="1200" dirty="0" smtClean="0">
                <a:solidFill>
                  <a:srgbClr val="1F2023"/>
                </a:solidFill>
                <a:latin typeface="Arial" panose="020B0604020202020204" pitchFamily="34" charset="0"/>
                <a:ea typeface="+mn-ea"/>
                <a:cs typeface="Arial" panose="020B0604020202020204" pitchFamily="34" charset="0"/>
              </a:defRPr>
            </a:lvl3pPr>
            <a:lvl4pPr marL="185738" indent="-185738" algn="l" defTabSz="742950" rtl="0" eaLnBrk="1" latinLnBrk="0" hangingPunct="1">
              <a:lnSpc>
                <a:spcPct val="90000"/>
              </a:lnSpc>
              <a:spcBef>
                <a:spcPts val="0"/>
              </a:spcBef>
              <a:spcAft>
                <a:spcPts val="0"/>
              </a:spcAft>
              <a:buFont typeface="+mj-lt"/>
              <a:buAutoNum type="alphaUcPeriod"/>
              <a:defRPr lang="en-US" sz="650" b="0" kern="1200" dirty="0" smtClean="0">
                <a:solidFill>
                  <a:srgbClr val="1F2023"/>
                </a:solidFill>
                <a:latin typeface="Arial" panose="020B0604020202020204" pitchFamily="34" charset="0"/>
                <a:ea typeface="+mn-ea"/>
                <a:cs typeface="Arial" panose="020B0604020202020204" pitchFamily="34" charset="0"/>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lang="en-GB" sz="894" b="1" kern="1200" cap="none" baseline="0" dirty="0">
                <a:solidFill>
                  <a:schemeClr val="tx1"/>
                </a:solidFill>
                <a:latin typeface="Arial" panose="020B0604020202020204" pitchFamily="34" charset="0"/>
                <a:ea typeface="+mn-ea"/>
                <a:cs typeface="Arial" panose="020B0604020202020204" pitchFamily="34" charset="0"/>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pPr>
              <a:lnSpc>
                <a:spcPct val="229000"/>
              </a:lnSpc>
            </a:pPr>
            <a:r>
              <a:rPr lang="en-GB" sz="1200" dirty="0"/>
              <a:t>I ask questions with a genuine interest</a:t>
            </a:r>
          </a:p>
          <a:p>
            <a:pPr>
              <a:lnSpc>
                <a:spcPct val="229000"/>
              </a:lnSpc>
            </a:pPr>
            <a:r>
              <a:rPr lang="en-GB" sz="1200" dirty="0"/>
              <a:t>I am willing to be honest in my conversations by sharing both strengths and weaknesses</a:t>
            </a:r>
          </a:p>
          <a:p>
            <a:pPr>
              <a:lnSpc>
                <a:spcPct val="229000"/>
              </a:lnSpc>
            </a:pPr>
            <a:r>
              <a:rPr lang="en-GB" sz="1200" dirty="0"/>
              <a:t>I am curious to understand the other persons perspective. </a:t>
            </a:r>
          </a:p>
          <a:p>
            <a:pPr>
              <a:lnSpc>
                <a:spcPct val="229000"/>
              </a:lnSpc>
            </a:pPr>
            <a:r>
              <a:rPr lang="en-GB" sz="1200" dirty="0"/>
              <a:t>I help to create direction in the conversation</a:t>
            </a:r>
          </a:p>
          <a:p>
            <a:pPr>
              <a:lnSpc>
                <a:spcPct val="229000"/>
              </a:lnSpc>
            </a:pPr>
            <a:r>
              <a:rPr lang="en-GB" sz="1200" dirty="0"/>
              <a:t>I have the courage to challenge the other person in a conversation</a:t>
            </a:r>
          </a:p>
          <a:p>
            <a:pPr>
              <a:lnSpc>
                <a:spcPct val="229000"/>
              </a:lnSpc>
            </a:pPr>
            <a:r>
              <a:rPr lang="en-GB" sz="1200" dirty="0"/>
              <a:t>I take responsibility for the energy in the conversation</a:t>
            </a:r>
          </a:p>
          <a:p>
            <a:pPr>
              <a:lnSpc>
                <a:spcPct val="229000"/>
              </a:lnSpc>
            </a:pPr>
            <a:r>
              <a:rPr lang="en-GB" sz="1200" dirty="0"/>
              <a:t>I look for strengths in the other person or in the situation</a:t>
            </a:r>
          </a:p>
          <a:p>
            <a:pPr>
              <a:lnSpc>
                <a:spcPct val="229000"/>
              </a:lnSpc>
            </a:pPr>
            <a:r>
              <a:rPr lang="en-GB" sz="1200" dirty="0"/>
              <a:t>I appreciate others in conversations regardless of whether we agree</a:t>
            </a:r>
          </a:p>
          <a:p>
            <a:pPr>
              <a:lnSpc>
                <a:spcPct val="229000"/>
              </a:lnSpc>
            </a:pPr>
            <a:r>
              <a:rPr lang="en-GB" sz="1200" dirty="0"/>
              <a:t>I actively ask for what works</a:t>
            </a:r>
          </a:p>
          <a:p>
            <a:pPr>
              <a:lnSpc>
                <a:spcPct val="229000"/>
              </a:lnSpc>
            </a:pPr>
            <a:r>
              <a:rPr lang="en-GB" sz="1200" dirty="0"/>
              <a:t>I listen just as much as I talk</a:t>
            </a:r>
          </a:p>
          <a:p>
            <a:pPr>
              <a:lnSpc>
                <a:spcPct val="229000"/>
              </a:lnSpc>
            </a:pPr>
            <a:r>
              <a:rPr lang="en-GB" sz="1200" dirty="0"/>
              <a:t>I make an effort to be present in the conversation</a:t>
            </a:r>
          </a:p>
          <a:p>
            <a:pPr>
              <a:lnSpc>
                <a:spcPct val="229000"/>
              </a:lnSpc>
            </a:pPr>
            <a:r>
              <a:rPr lang="en-GB" altLang="da-DK" sz="1200" dirty="0"/>
              <a:t>I make sure that the other person feels understood.</a:t>
            </a:r>
          </a:p>
        </p:txBody>
      </p:sp>
      <p:grpSp>
        <p:nvGrpSpPr>
          <p:cNvPr id="565249" name="Group 565248">
            <a:extLst>
              <a:ext uri="{FF2B5EF4-FFF2-40B4-BE49-F238E27FC236}">
                <a16:creationId xmlns:a16="http://schemas.microsoft.com/office/drawing/2014/main" id="{B0FA9EFE-9BFB-4E60-A82D-13D2D2A80C6B}"/>
              </a:ext>
            </a:extLst>
          </p:cNvPr>
          <p:cNvGrpSpPr/>
          <p:nvPr/>
        </p:nvGrpSpPr>
        <p:grpSpPr>
          <a:xfrm>
            <a:off x="803479" y="1692457"/>
            <a:ext cx="6024041" cy="4187530"/>
            <a:chOff x="803479" y="1641657"/>
            <a:chExt cx="7468223" cy="4187530"/>
          </a:xfrm>
        </p:grpSpPr>
        <p:cxnSp>
          <p:nvCxnSpPr>
            <p:cNvPr id="29" name="Straight Connector 28">
              <a:extLst>
                <a:ext uri="{FF2B5EF4-FFF2-40B4-BE49-F238E27FC236}">
                  <a16:creationId xmlns:a16="http://schemas.microsoft.com/office/drawing/2014/main" id="{AB04DC0D-1FC5-4FD2-B8BA-994FBEA8B3F4}"/>
                </a:ext>
              </a:extLst>
            </p:cNvPr>
            <p:cNvCxnSpPr>
              <a:cxnSpLocks/>
            </p:cNvCxnSpPr>
            <p:nvPr/>
          </p:nvCxnSpPr>
          <p:spPr>
            <a:xfrm>
              <a:off x="803479" y="2897916"/>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639727D-A10D-4230-AEC7-98263ACE9E83}"/>
                </a:ext>
              </a:extLst>
            </p:cNvPr>
            <p:cNvCxnSpPr>
              <a:cxnSpLocks/>
            </p:cNvCxnSpPr>
            <p:nvPr/>
          </p:nvCxnSpPr>
          <p:spPr>
            <a:xfrm>
              <a:off x="803479" y="2479163"/>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E183694-380E-488E-8104-6D4B2A2F6A07}"/>
                </a:ext>
              </a:extLst>
            </p:cNvPr>
            <p:cNvCxnSpPr>
              <a:cxnSpLocks/>
            </p:cNvCxnSpPr>
            <p:nvPr/>
          </p:nvCxnSpPr>
          <p:spPr>
            <a:xfrm>
              <a:off x="803479" y="1641657"/>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5AC3CE-BEDA-498D-90E0-5D9E898830BD}"/>
                </a:ext>
              </a:extLst>
            </p:cNvPr>
            <p:cNvCxnSpPr>
              <a:cxnSpLocks/>
            </p:cNvCxnSpPr>
            <p:nvPr/>
          </p:nvCxnSpPr>
          <p:spPr>
            <a:xfrm>
              <a:off x="803479" y="2060410"/>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9EFC22-E7DB-4CCD-9B64-AE646DC2460F}"/>
                </a:ext>
              </a:extLst>
            </p:cNvPr>
            <p:cNvCxnSpPr>
              <a:cxnSpLocks/>
            </p:cNvCxnSpPr>
            <p:nvPr/>
          </p:nvCxnSpPr>
          <p:spPr>
            <a:xfrm>
              <a:off x="803479" y="3316669"/>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7067F8C-A8DD-496F-82CD-1717C23FEE1A}"/>
                </a:ext>
              </a:extLst>
            </p:cNvPr>
            <p:cNvCxnSpPr>
              <a:cxnSpLocks/>
            </p:cNvCxnSpPr>
            <p:nvPr/>
          </p:nvCxnSpPr>
          <p:spPr>
            <a:xfrm>
              <a:off x="803479" y="3735422"/>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BFA9312-3D00-46B3-8281-8C75C02A89F7}"/>
                </a:ext>
              </a:extLst>
            </p:cNvPr>
            <p:cNvCxnSpPr>
              <a:cxnSpLocks/>
            </p:cNvCxnSpPr>
            <p:nvPr/>
          </p:nvCxnSpPr>
          <p:spPr>
            <a:xfrm>
              <a:off x="803479" y="4154175"/>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3C7D4BC-75BF-46FB-962E-ACDE9F60C221}"/>
                </a:ext>
              </a:extLst>
            </p:cNvPr>
            <p:cNvCxnSpPr>
              <a:cxnSpLocks/>
            </p:cNvCxnSpPr>
            <p:nvPr/>
          </p:nvCxnSpPr>
          <p:spPr>
            <a:xfrm>
              <a:off x="803479" y="4572928"/>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00C8E27-AE9E-40C9-96ED-9BA68AB75E24}"/>
                </a:ext>
              </a:extLst>
            </p:cNvPr>
            <p:cNvCxnSpPr>
              <a:cxnSpLocks/>
            </p:cNvCxnSpPr>
            <p:nvPr/>
          </p:nvCxnSpPr>
          <p:spPr>
            <a:xfrm>
              <a:off x="803479" y="4991681"/>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A4F20EA-018F-4381-88AD-660487340EE1}"/>
                </a:ext>
              </a:extLst>
            </p:cNvPr>
            <p:cNvCxnSpPr>
              <a:cxnSpLocks/>
            </p:cNvCxnSpPr>
            <p:nvPr/>
          </p:nvCxnSpPr>
          <p:spPr>
            <a:xfrm>
              <a:off x="803479" y="5410434"/>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9273DAE5-73AF-43D5-AF88-879F243D3830}"/>
                </a:ext>
              </a:extLst>
            </p:cNvPr>
            <p:cNvCxnSpPr>
              <a:cxnSpLocks/>
            </p:cNvCxnSpPr>
            <p:nvPr/>
          </p:nvCxnSpPr>
          <p:spPr>
            <a:xfrm>
              <a:off x="803479" y="5829187"/>
              <a:ext cx="7468223" cy="0"/>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sp>
        <p:nvSpPr>
          <p:cNvPr id="51" name="Oval 232">
            <a:extLst>
              <a:ext uri="{FF2B5EF4-FFF2-40B4-BE49-F238E27FC236}">
                <a16:creationId xmlns:a16="http://schemas.microsoft.com/office/drawing/2014/main" id="{4E959A69-71E3-4948-BF0E-0DFAAFCE48F6}"/>
              </a:ext>
            </a:extLst>
          </p:cNvPr>
          <p:cNvSpPr>
            <a:spLocks noChangeArrowheads="1"/>
          </p:cNvSpPr>
          <p:nvPr/>
        </p:nvSpPr>
        <p:spPr bwMode="auto">
          <a:xfrm>
            <a:off x="308255" y="1356086"/>
            <a:ext cx="231878" cy="234436"/>
          </a:xfrm>
          <a:prstGeom prst="ellipse">
            <a:avLst/>
          </a:prstGeom>
          <a:solidFill>
            <a:srgbClr val="40615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52" name="Freeform 233">
            <a:extLst>
              <a:ext uri="{FF2B5EF4-FFF2-40B4-BE49-F238E27FC236}">
                <a16:creationId xmlns:a16="http://schemas.microsoft.com/office/drawing/2014/main" id="{B6C18DB2-226B-40DC-8D1B-9E6CBA2E4A1D}"/>
              </a:ext>
            </a:extLst>
          </p:cNvPr>
          <p:cNvSpPr>
            <a:spLocks/>
          </p:cNvSpPr>
          <p:nvPr/>
        </p:nvSpPr>
        <p:spPr bwMode="auto">
          <a:xfrm>
            <a:off x="312793" y="1338591"/>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50" name="textruta 4">
            <a:extLst>
              <a:ext uri="{FF2B5EF4-FFF2-40B4-BE49-F238E27FC236}">
                <a16:creationId xmlns:a16="http://schemas.microsoft.com/office/drawing/2014/main" id="{D3387E5A-6B3D-4934-A916-7BC3F9A7B029}"/>
              </a:ext>
            </a:extLst>
          </p:cNvPr>
          <p:cNvSpPr txBox="1"/>
          <p:nvPr/>
        </p:nvSpPr>
        <p:spPr>
          <a:xfrm>
            <a:off x="388735" y="1393044"/>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1</a:t>
            </a:r>
          </a:p>
        </p:txBody>
      </p:sp>
      <p:sp>
        <p:nvSpPr>
          <p:cNvPr id="56" name="Oval 232">
            <a:extLst>
              <a:ext uri="{FF2B5EF4-FFF2-40B4-BE49-F238E27FC236}">
                <a16:creationId xmlns:a16="http://schemas.microsoft.com/office/drawing/2014/main" id="{0942E6E9-8B91-4782-A4CA-38F9FF991EA6}"/>
              </a:ext>
            </a:extLst>
          </p:cNvPr>
          <p:cNvSpPr>
            <a:spLocks noChangeArrowheads="1"/>
          </p:cNvSpPr>
          <p:nvPr/>
        </p:nvSpPr>
        <p:spPr bwMode="auto">
          <a:xfrm>
            <a:off x="308258" y="1774840"/>
            <a:ext cx="231878" cy="234436"/>
          </a:xfrm>
          <a:prstGeom prst="ellipse">
            <a:avLst/>
          </a:prstGeom>
          <a:solidFill>
            <a:srgbClr val="40615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57" name="Freeform 233">
            <a:extLst>
              <a:ext uri="{FF2B5EF4-FFF2-40B4-BE49-F238E27FC236}">
                <a16:creationId xmlns:a16="http://schemas.microsoft.com/office/drawing/2014/main" id="{53F7242E-746E-4F0B-9B17-EC3491178477}"/>
              </a:ext>
            </a:extLst>
          </p:cNvPr>
          <p:cNvSpPr>
            <a:spLocks/>
          </p:cNvSpPr>
          <p:nvPr/>
        </p:nvSpPr>
        <p:spPr bwMode="auto">
          <a:xfrm>
            <a:off x="312796" y="1757345"/>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55" name="textruta 4">
            <a:extLst>
              <a:ext uri="{FF2B5EF4-FFF2-40B4-BE49-F238E27FC236}">
                <a16:creationId xmlns:a16="http://schemas.microsoft.com/office/drawing/2014/main" id="{B4065A26-615F-4E8E-9A76-F563C57A87EB}"/>
              </a:ext>
            </a:extLst>
          </p:cNvPr>
          <p:cNvSpPr txBox="1"/>
          <p:nvPr/>
        </p:nvSpPr>
        <p:spPr>
          <a:xfrm>
            <a:off x="388729" y="1811797"/>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2</a:t>
            </a:r>
          </a:p>
        </p:txBody>
      </p:sp>
      <p:sp>
        <p:nvSpPr>
          <p:cNvPr id="61" name="Oval 232">
            <a:extLst>
              <a:ext uri="{FF2B5EF4-FFF2-40B4-BE49-F238E27FC236}">
                <a16:creationId xmlns:a16="http://schemas.microsoft.com/office/drawing/2014/main" id="{8D2401F2-5D1A-49C2-9C92-FBC15122AD43}"/>
              </a:ext>
            </a:extLst>
          </p:cNvPr>
          <p:cNvSpPr>
            <a:spLocks noChangeArrowheads="1"/>
          </p:cNvSpPr>
          <p:nvPr/>
        </p:nvSpPr>
        <p:spPr bwMode="auto">
          <a:xfrm>
            <a:off x="308258" y="2193593"/>
            <a:ext cx="231878" cy="234436"/>
          </a:xfrm>
          <a:prstGeom prst="ellipse">
            <a:avLst/>
          </a:prstGeom>
          <a:solidFill>
            <a:srgbClr val="40615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62" name="Freeform 233">
            <a:extLst>
              <a:ext uri="{FF2B5EF4-FFF2-40B4-BE49-F238E27FC236}">
                <a16:creationId xmlns:a16="http://schemas.microsoft.com/office/drawing/2014/main" id="{2C73D29E-8471-4E32-9CD8-F7EF73F5CAC4}"/>
              </a:ext>
            </a:extLst>
          </p:cNvPr>
          <p:cNvSpPr>
            <a:spLocks/>
          </p:cNvSpPr>
          <p:nvPr/>
        </p:nvSpPr>
        <p:spPr bwMode="auto">
          <a:xfrm>
            <a:off x="312796" y="2176098"/>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60" name="textruta 4">
            <a:extLst>
              <a:ext uri="{FF2B5EF4-FFF2-40B4-BE49-F238E27FC236}">
                <a16:creationId xmlns:a16="http://schemas.microsoft.com/office/drawing/2014/main" id="{F96CE209-2BC4-43D5-A1DD-57FC4701D619}"/>
              </a:ext>
            </a:extLst>
          </p:cNvPr>
          <p:cNvSpPr txBox="1"/>
          <p:nvPr/>
        </p:nvSpPr>
        <p:spPr>
          <a:xfrm>
            <a:off x="388729" y="2230550"/>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3</a:t>
            </a:r>
          </a:p>
        </p:txBody>
      </p:sp>
      <p:sp>
        <p:nvSpPr>
          <p:cNvPr id="66" name="Oval 232">
            <a:extLst>
              <a:ext uri="{FF2B5EF4-FFF2-40B4-BE49-F238E27FC236}">
                <a16:creationId xmlns:a16="http://schemas.microsoft.com/office/drawing/2014/main" id="{FC6787C1-A81F-4A86-BFC1-4EB4ED3FF93D}"/>
              </a:ext>
            </a:extLst>
          </p:cNvPr>
          <p:cNvSpPr>
            <a:spLocks noChangeArrowheads="1"/>
          </p:cNvSpPr>
          <p:nvPr/>
        </p:nvSpPr>
        <p:spPr bwMode="auto">
          <a:xfrm>
            <a:off x="308258" y="2612346"/>
            <a:ext cx="231878" cy="234436"/>
          </a:xfrm>
          <a:prstGeom prst="ellipse">
            <a:avLst/>
          </a:prstGeom>
          <a:solidFill>
            <a:srgbClr val="66817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67" name="Freeform 233">
            <a:extLst>
              <a:ext uri="{FF2B5EF4-FFF2-40B4-BE49-F238E27FC236}">
                <a16:creationId xmlns:a16="http://schemas.microsoft.com/office/drawing/2014/main" id="{7FEBD81E-AC30-4F59-A009-05C8375C0F53}"/>
              </a:ext>
            </a:extLst>
          </p:cNvPr>
          <p:cNvSpPr>
            <a:spLocks/>
          </p:cNvSpPr>
          <p:nvPr/>
        </p:nvSpPr>
        <p:spPr bwMode="auto">
          <a:xfrm>
            <a:off x="312796" y="2594851"/>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65" name="textruta 4">
            <a:extLst>
              <a:ext uri="{FF2B5EF4-FFF2-40B4-BE49-F238E27FC236}">
                <a16:creationId xmlns:a16="http://schemas.microsoft.com/office/drawing/2014/main" id="{39A5BCC9-60C3-4884-9ACE-6DC98DABB78D}"/>
              </a:ext>
            </a:extLst>
          </p:cNvPr>
          <p:cNvSpPr txBox="1"/>
          <p:nvPr/>
        </p:nvSpPr>
        <p:spPr>
          <a:xfrm>
            <a:off x="388729" y="2649303"/>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4</a:t>
            </a:r>
          </a:p>
        </p:txBody>
      </p:sp>
      <p:sp>
        <p:nvSpPr>
          <p:cNvPr id="71" name="Oval 232">
            <a:extLst>
              <a:ext uri="{FF2B5EF4-FFF2-40B4-BE49-F238E27FC236}">
                <a16:creationId xmlns:a16="http://schemas.microsoft.com/office/drawing/2014/main" id="{12AB153B-92AE-44A1-BCBE-A44AD7E1C370}"/>
              </a:ext>
            </a:extLst>
          </p:cNvPr>
          <p:cNvSpPr>
            <a:spLocks noChangeArrowheads="1"/>
          </p:cNvSpPr>
          <p:nvPr/>
        </p:nvSpPr>
        <p:spPr bwMode="auto">
          <a:xfrm>
            <a:off x="308258" y="3031099"/>
            <a:ext cx="231878" cy="234436"/>
          </a:xfrm>
          <a:prstGeom prst="ellipse">
            <a:avLst/>
          </a:prstGeom>
          <a:solidFill>
            <a:srgbClr val="66817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72" name="Freeform 233">
            <a:extLst>
              <a:ext uri="{FF2B5EF4-FFF2-40B4-BE49-F238E27FC236}">
                <a16:creationId xmlns:a16="http://schemas.microsoft.com/office/drawing/2014/main" id="{CD808522-373D-40EE-966B-469408A5A41D}"/>
              </a:ext>
            </a:extLst>
          </p:cNvPr>
          <p:cNvSpPr>
            <a:spLocks/>
          </p:cNvSpPr>
          <p:nvPr/>
        </p:nvSpPr>
        <p:spPr bwMode="auto">
          <a:xfrm>
            <a:off x="312796" y="3013604"/>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70" name="textruta 4">
            <a:extLst>
              <a:ext uri="{FF2B5EF4-FFF2-40B4-BE49-F238E27FC236}">
                <a16:creationId xmlns:a16="http://schemas.microsoft.com/office/drawing/2014/main" id="{CCD29FA4-516E-4B35-87AD-3FFBD080E311}"/>
              </a:ext>
            </a:extLst>
          </p:cNvPr>
          <p:cNvSpPr txBox="1"/>
          <p:nvPr/>
        </p:nvSpPr>
        <p:spPr>
          <a:xfrm>
            <a:off x="388729" y="3068056"/>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5</a:t>
            </a:r>
          </a:p>
        </p:txBody>
      </p:sp>
      <p:sp>
        <p:nvSpPr>
          <p:cNvPr id="76" name="Oval 232">
            <a:extLst>
              <a:ext uri="{FF2B5EF4-FFF2-40B4-BE49-F238E27FC236}">
                <a16:creationId xmlns:a16="http://schemas.microsoft.com/office/drawing/2014/main" id="{81C5CBDD-2803-4D72-ACA2-D86F949F2048}"/>
              </a:ext>
            </a:extLst>
          </p:cNvPr>
          <p:cNvSpPr>
            <a:spLocks noChangeArrowheads="1"/>
          </p:cNvSpPr>
          <p:nvPr/>
        </p:nvSpPr>
        <p:spPr bwMode="auto">
          <a:xfrm>
            <a:off x="308258" y="3449852"/>
            <a:ext cx="231878" cy="234436"/>
          </a:xfrm>
          <a:prstGeom prst="ellipse">
            <a:avLst/>
          </a:prstGeom>
          <a:solidFill>
            <a:srgbClr val="66817F"/>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77" name="Freeform 233">
            <a:extLst>
              <a:ext uri="{FF2B5EF4-FFF2-40B4-BE49-F238E27FC236}">
                <a16:creationId xmlns:a16="http://schemas.microsoft.com/office/drawing/2014/main" id="{38801E3C-DEB8-4F1D-AFF0-AF1136C462CD}"/>
              </a:ext>
            </a:extLst>
          </p:cNvPr>
          <p:cNvSpPr>
            <a:spLocks/>
          </p:cNvSpPr>
          <p:nvPr/>
        </p:nvSpPr>
        <p:spPr bwMode="auto">
          <a:xfrm>
            <a:off x="312796" y="3432357"/>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75" name="textruta 4">
            <a:extLst>
              <a:ext uri="{FF2B5EF4-FFF2-40B4-BE49-F238E27FC236}">
                <a16:creationId xmlns:a16="http://schemas.microsoft.com/office/drawing/2014/main" id="{8BF6D9CD-6C28-4D07-B7E0-6A0B37D3D421}"/>
              </a:ext>
            </a:extLst>
          </p:cNvPr>
          <p:cNvSpPr txBox="1"/>
          <p:nvPr/>
        </p:nvSpPr>
        <p:spPr>
          <a:xfrm>
            <a:off x="388729" y="3486809"/>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6</a:t>
            </a:r>
          </a:p>
        </p:txBody>
      </p:sp>
      <p:sp>
        <p:nvSpPr>
          <p:cNvPr id="81" name="Oval 232">
            <a:extLst>
              <a:ext uri="{FF2B5EF4-FFF2-40B4-BE49-F238E27FC236}">
                <a16:creationId xmlns:a16="http://schemas.microsoft.com/office/drawing/2014/main" id="{EB819C2A-B38A-4C6B-96DD-3DFD881BD3B3}"/>
              </a:ext>
            </a:extLst>
          </p:cNvPr>
          <p:cNvSpPr>
            <a:spLocks noChangeArrowheads="1"/>
          </p:cNvSpPr>
          <p:nvPr/>
        </p:nvSpPr>
        <p:spPr bwMode="auto">
          <a:xfrm>
            <a:off x="308258" y="3868605"/>
            <a:ext cx="231878" cy="234436"/>
          </a:xfrm>
          <a:prstGeom prst="ellipse">
            <a:avLst/>
          </a:prstGeom>
          <a:solidFill>
            <a:srgbClr val="A1B5AD"/>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82" name="Freeform 233">
            <a:extLst>
              <a:ext uri="{FF2B5EF4-FFF2-40B4-BE49-F238E27FC236}">
                <a16:creationId xmlns:a16="http://schemas.microsoft.com/office/drawing/2014/main" id="{74F22025-0E6B-47B4-82AF-75969E3449B9}"/>
              </a:ext>
            </a:extLst>
          </p:cNvPr>
          <p:cNvSpPr>
            <a:spLocks/>
          </p:cNvSpPr>
          <p:nvPr/>
        </p:nvSpPr>
        <p:spPr bwMode="auto">
          <a:xfrm>
            <a:off x="312796" y="3851110"/>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80" name="textruta 4">
            <a:extLst>
              <a:ext uri="{FF2B5EF4-FFF2-40B4-BE49-F238E27FC236}">
                <a16:creationId xmlns:a16="http://schemas.microsoft.com/office/drawing/2014/main" id="{728A4F59-2AB4-4217-B0A6-9B42AC27AE2E}"/>
              </a:ext>
            </a:extLst>
          </p:cNvPr>
          <p:cNvSpPr txBox="1"/>
          <p:nvPr/>
        </p:nvSpPr>
        <p:spPr>
          <a:xfrm>
            <a:off x="388729" y="3905562"/>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7</a:t>
            </a:r>
          </a:p>
        </p:txBody>
      </p:sp>
      <p:sp>
        <p:nvSpPr>
          <p:cNvPr id="86" name="Oval 232">
            <a:extLst>
              <a:ext uri="{FF2B5EF4-FFF2-40B4-BE49-F238E27FC236}">
                <a16:creationId xmlns:a16="http://schemas.microsoft.com/office/drawing/2014/main" id="{58DD7F96-9C84-452B-9EDF-481FD729F6FB}"/>
              </a:ext>
            </a:extLst>
          </p:cNvPr>
          <p:cNvSpPr>
            <a:spLocks noChangeArrowheads="1"/>
          </p:cNvSpPr>
          <p:nvPr/>
        </p:nvSpPr>
        <p:spPr bwMode="auto">
          <a:xfrm>
            <a:off x="308258" y="4287358"/>
            <a:ext cx="231878" cy="234436"/>
          </a:xfrm>
          <a:prstGeom prst="ellipse">
            <a:avLst/>
          </a:prstGeom>
          <a:solidFill>
            <a:srgbClr val="A1B5AD"/>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87" name="Freeform 233">
            <a:extLst>
              <a:ext uri="{FF2B5EF4-FFF2-40B4-BE49-F238E27FC236}">
                <a16:creationId xmlns:a16="http://schemas.microsoft.com/office/drawing/2014/main" id="{DDBDBB85-9B42-4783-B075-33A3716B1053}"/>
              </a:ext>
            </a:extLst>
          </p:cNvPr>
          <p:cNvSpPr>
            <a:spLocks/>
          </p:cNvSpPr>
          <p:nvPr/>
        </p:nvSpPr>
        <p:spPr bwMode="auto">
          <a:xfrm>
            <a:off x="312796" y="4269863"/>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85" name="textruta 4">
            <a:extLst>
              <a:ext uri="{FF2B5EF4-FFF2-40B4-BE49-F238E27FC236}">
                <a16:creationId xmlns:a16="http://schemas.microsoft.com/office/drawing/2014/main" id="{CA6CF580-C9B8-4A65-841E-E249B84D2704}"/>
              </a:ext>
            </a:extLst>
          </p:cNvPr>
          <p:cNvSpPr txBox="1"/>
          <p:nvPr/>
        </p:nvSpPr>
        <p:spPr>
          <a:xfrm>
            <a:off x="388729" y="4324315"/>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8</a:t>
            </a:r>
          </a:p>
        </p:txBody>
      </p:sp>
      <p:sp>
        <p:nvSpPr>
          <p:cNvPr id="91" name="Oval 232">
            <a:extLst>
              <a:ext uri="{FF2B5EF4-FFF2-40B4-BE49-F238E27FC236}">
                <a16:creationId xmlns:a16="http://schemas.microsoft.com/office/drawing/2014/main" id="{1A0C14DE-4A1E-46FA-A5C3-045560C32917}"/>
              </a:ext>
            </a:extLst>
          </p:cNvPr>
          <p:cNvSpPr>
            <a:spLocks noChangeArrowheads="1"/>
          </p:cNvSpPr>
          <p:nvPr/>
        </p:nvSpPr>
        <p:spPr bwMode="auto">
          <a:xfrm>
            <a:off x="308258" y="4706111"/>
            <a:ext cx="231878" cy="234436"/>
          </a:xfrm>
          <a:prstGeom prst="ellipse">
            <a:avLst/>
          </a:prstGeom>
          <a:solidFill>
            <a:srgbClr val="A1B5AD"/>
          </a:solidFill>
          <a:ln>
            <a:noFill/>
          </a:ln>
          <a:extLst/>
        </p:spPr>
        <p:txBody>
          <a:bodyPr vert="horz" wrap="none" lIns="91440" tIns="45720" rIns="91440" bIns="72000" numCol="1" anchor="ctr" anchorCtr="0" compatLnSpc="1">
            <a:prstTxWarp prst="textNoShape">
              <a:avLst/>
            </a:prstTxWarp>
          </a:bodyPr>
          <a:lstStyle/>
          <a:p>
            <a:endParaRPr lang="en-GB" sz="1100" dirty="0"/>
          </a:p>
        </p:txBody>
      </p:sp>
      <p:sp>
        <p:nvSpPr>
          <p:cNvPr id="92" name="Freeform 233">
            <a:extLst>
              <a:ext uri="{FF2B5EF4-FFF2-40B4-BE49-F238E27FC236}">
                <a16:creationId xmlns:a16="http://schemas.microsoft.com/office/drawing/2014/main" id="{DF935054-AE09-4198-B8DD-130E8C2E89E1}"/>
              </a:ext>
            </a:extLst>
          </p:cNvPr>
          <p:cNvSpPr>
            <a:spLocks/>
          </p:cNvSpPr>
          <p:nvPr/>
        </p:nvSpPr>
        <p:spPr bwMode="auto">
          <a:xfrm>
            <a:off x="312796" y="4688616"/>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90" name="textruta 4">
            <a:extLst>
              <a:ext uri="{FF2B5EF4-FFF2-40B4-BE49-F238E27FC236}">
                <a16:creationId xmlns:a16="http://schemas.microsoft.com/office/drawing/2014/main" id="{31C982D7-C7DF-4F00-9CBB-6682CB1EFAE1}"/>
              </a:ext>
            </a:extLst>
          </p:cNvPr>
          <p:cNvSpPr txBox="1"/>
          <p:nvPr/>
        </p:nvSpPr>
        <p:spPr>
          <a:xfrm>
            <a:off x="388729" y="4743068"/>
            <a:ext cx="78548" cy="241980"/>
          </a:xfrm>
          <a:prstGeom prst="rect">
            <a:avLst/>
          </a:prstGeom>
          <a:noFill/>
        </p:spPr>
        <p:txBody>
          <a:bodyPr wrap="none" lIns="0" tIns="0" rIns="0" bIns="72000" rtlCol="0" anchor="ctr">
            <a:spAutoFit/>
          </a:bodyPr>
          <a:lstStyle/>
          <a:p>
            <a:pPr algn="ctr">
              <a:buNone/>
            </a:pPr>
            <a:r>
              <a:rPr lang="en-GB" sz="1100" b="1" dirty="0">
                <a:solidFill>
                  <a:schemeClr val="bg1"/>
                </a:solidFill>
              </a:rPr>
              <a:t>9</a:t>
            </a:r>
          </a:p>
        </p:txBody>
      </p:sp>
      <p:sp>
        <p:nvSpPr>
          <p:cNvPr id="96" name="Oval 232">
            <a:extLst>
              <a:ext uri="{FF2B5EF4-FFF2-40B4-BE49-F238E27FC236}">
                <a16:creationId xmlns:a16="http://schemas.microsoft.com/office/drawing/2014/main" id="{199CCB07-78A2-4F1C-8E15-AF6792A95C16}"/>
              </a:ext>
            </a:extLst>
          </p:cNvPr>
          <p:cNvSpPr>
            <a:spLocks noChangeArrowheads="1"/>
          </p:cNvSpPr>
          <p:nvPr/>
        </p:nvSpPr>
        <p:spPr bwMode="auto">
          <a:xfrm>
            <a:off x="308258" y="5124864"/>
            <a:ext cx="231878" cy="234436"/>
          </a:xfrm>
          <a:prstGeom prst="ellipse">
            <a:avLst/>
          </a:pr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72000" numCol="1" anchor="ctr" anchorCtr="0" compatLnSpc="1">
            <a:prstTxWarp prst="textNoShape">
              <a:avLst/>
            </a:prstTxWarp>
          </a:bodyPr>
          <a:lstStyle/>
          <a:p>
            <a:endParaRPr lang="en-GB" sz="1100" dirty="0"/>
          </a:p>
        </p:txBody>
      </p:sp>
      <p:sp>
        <p:nvSpPr>
          <p:cNvPr id="97" name="Freeform 233">
            <a:extLst>
              <a:ext uri="{FF2B5EF4-FFF2-40B4-BE49-F238E27FC236}">
                <a16:creationId xmlns:a16="http://schemas.microsoft.com/office/drawing/2014/main" id="{8FA35175-0F90-48B1-AD4B-527072EF2896}"/>
              </a:ext>
            </a:extLst>
          </p:cNvPr>
          <p:cNvSpPr>
            <a:spLocks/>
          </p:cNvSpPr>
          <p:nvPr/>
        </p:nvSpPr>
        <p:spPr bwMode="auto">
          <a:xfrm>
            <a:off x="312796" y="5107369"/>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95" name="textruta 4">
            <a:extLst>
              <a:ext uri="{FF2B5EF4-FFF2-40B4-BE49-F238E27FC236}">
                <a16:creationId xmlns:a16="http://schemas.microsoft.com/office/drawing/2014/main" id="{92CF0D1F-B6B3-4C58-975A-8E63246A4FBB}"/>
              </a:ext>
            </a:extLst>
          </p:cNvPr>
          <p:cNvSpPr txBox="1"/>
          <p:nvPr/>
        </p:nvSpPr>
        <p:spPr>
          <a:xfrm>
            <a:off x="349455" y="5161821"/>
            <a:ext cx="157095" cy="241980"/>
          </a:xfrm>
          <a:prstGeom prst="rect">
            <a:avLst/>
          </a:prstGeom>
          <a:noFill/>
        </p:spPr>
        <p:txBody>
          <a:bodyPr wrap="none" lIns="0" tIns="0" rIns="0" bIns="72000" rtlCol="0" anchor="ctr">
            <a:spAutoFit/>
          </a:bodyPr>
          <a:lstStyle/>
          <a:p>
            <a:pPr algn="ctr">
              <a:buNone/>
            </a:pPr>
            <a:r>
              <a:rPr lang="en-GB" sz="1100" b="1" dirty="0">
                <a:solidFill>
                  <a:schemeClr val="bg1"/>
                </a:solidFill>
              </a:rPr>
              <a:t>10</a:t>
            </a:r>
          </a:p>
        </p:txBody>
      </p:sp>
      <p:sp>
        <p:nvSpPr>
          <p:cNvPr id="101" name="Oval 232">
            <a:extLst>
              <a:ext uri="{FF2B5EF4-FFF2-40B4-BE49-F238E27FC236}">
                <a16:creationId xmlns:a16="http://schemas.microsoft.com/office/drawing/2014/main" id="{F4BF1880-6B46-40BD-BE1C-4FD749C5E46B}"/>
              </a:ext>
            </a:extLst>
          </p:cNvPr>
          <p:cNvSpPr>
            <a:spLocks noChangeArrowheads="1"/>
          </p:cNvSpPr>
          <p:nvPr/>
        </p:nvSpPr>
        <p:spPr bwMode="auto">
          <a:xfrm>
            <a:off x="308258" y="5543617"/>
            <a:ext cx="231878" cy="234436"/>
          </a:xfrm>
          <a:prstGeom prst="ellipse">
            <a:avLst/>
          </a:pr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72000" numCol="1" anchor="ctr" anchorCtr="0" compatLnSpc="1">
            <a:prstTxWarp prst="textNoShape">
              <a:avLst/>
            </a:prstTxWarp>
          </a:bodyPr>
          <a:lstStyle/>
          <a:p>
            <a:endParaRPr lang="en-GB" sz="1100" dirty="0"/>
          </a:p>
        </p:txBody>
      </p:sp>
      <p:sp>
        <p:nvSpPr>
          <p:cNvPr id="102" name="Freeform 233">
            <a:extLst>
              <a:ext uri="{FF2B5EF4-FFF2-40B4-BE49-F238E27FC236}">
                <a16:creationId xmlns:a16="http://schemas.microsoft.com/office/drawing/2014/main" id="{2162D82F-2432-4151-8AFE-4FF6905620EA}"/>
              </a:ext>
            </a:extLst>
          </p:cNvPr>
          <p:cNvSpPr>
            <a:spLocks/>
          </p:cNvSpPr>
          <p:nvPr/>
        </p:nvSpPr>
        <p:spPr bwMode="auto">
          <a:xfrm>
            <a:off x="312796" y="5526122"/>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100" name="textruta 4">
            <a:extLst>
              <a:ext uri="{FF2B5EF4-FFF2-40B4-BE49-F238E27FC236}">
                <a16:creationId xmlns:a16="http://schemas.microsoft.com/office/drawing/2014/main" id="{E9C10B4C-AE39-43CA-AA9A-0F4E3189069B}"/>
              </a:ext>
            </a:extLst>
          </p:cNvPr>
          <p:cNvSpPr txBox="1"/>
          <p:nvPr/>
        </p:nvSpPr>
        <p:spPr>
          <a:xfrm>
            <a:off x="349456" y="5580574"/>
            <a:ext cx="157095" cy="241980"/>
          </a:xfrm>
          <a:prstGeom prst="rect">
            <a:avLst/>
          </a:prstGeom>
          <a:noFill/>
        </p:spPr>
        <p:txBody>
          <a:bodyPr wrap="none" lIns="0" tIns="0" rIns="0" bIns="72000" rtlCol="0" anchor="ctr">
            <a:spAutoFit/>
          </a:bodyPr>
          <a:lstStyle/>
          <a:p>
            <a:pPr algn="ctr">
              <a:buNone/>
            </a:pPr>
            <a:r>
              <a:rPr lang="en-GB" sz="1100" b="1" dirty="0">
                <a:solidFill>
                  <a:schemeClr val="bg1"/>
                </a:solidFill>
              </a:rPr>
              <a:t>11</a:t>
            </a:r>
          </a:p>
        </p:txBody>
      </p:sp>
      <p:sp>
        <p:nvSpPr>
          <p:cNvPr id="106" name="Oval 232">
            <a:extLst>
              <a:ext uri="{FF2B5EF4-FFF2-40B4-BE49-F238E27FC236}">
                <a16:creationId xmlns:a16="http://schemas.microsoft.com/office/drawing/2014/main" id="{340D28BB-B431-418E-A365-D36A03B2852E}"/>
              </a:ext>
            </a:extLst>
          </p:cNvPr>
          <p:cNvSpPr>
            <a:spLocks noChangeArrowheads="1"/>
          </p:cNvSpPr>
          <p:nvPr/>
        </p:nvSpPr>
        <p:spPr bwMode="auto">
          <a:xfrm>
            <a:off x="308258" y="5962370"/>
            <a:ext cx="231878" cy="234436"/>
          </a:xfrm>
          <a:prstGeom prst="ellipse">
            <a:avLst/>
          </a:prstGeom>
          <a:solidFill>
            <a:srgbClr val="B9C7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none" lIns="91440" tIns="45720" rIns="91440" bIns="72000" numCol="1" anchor="ctr" anchorCtr="0" compatLnSpc="1">
            <a:prstTxWarp prst="textNoShape">
              <a:avLst/>
            </a:prstTxWarp>
          </a:bodyPr>
          <a:lstStyle/>
          <a:p>
            <a:endParaRPr lang="en-GB" sz="1100" dirty="0"/>
          </a:p>
        </p:txBody>
      </p:sp>
      <p:sp>
        <p:nvSpPr>
          <p:cNvPr id="107" name="Freeform 233">
            <a:extLst>
              <a:ext uri="{FF2B5EF4-FFF2-40B4-BE49-F238E27FC236}">
                <a16:creationId xmlns:a16="http://schemas.microsoft.com/office/drawing/2014/main" id="{56765FE1-C102-4C53-8A32-B7C5C0554E49}"/>
              </a:ext>
            </a:extLst>
          </p:cNvPr>
          <p:cNvSpPr>
            <a:spLocks/>
          </p:cNvSpPr>
          <p:nvPr/>
        </p:nvSpPr>
        <p:spPr bwMode="auto">
          <a:xfrm>
            <a:off x="312796" y="5944875"/>
            <a:ext cx="260860" cy="260862"/>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2700" cap="rnd">
            <a:solidFill>
              <a:srgbClr val="30373B"/>
            </a:solidFill>
            <a:prstDash val="solid"/>
            <a:round/>
            <a:headEnd/>
            <a:tailEnd/>
          </a:ln>
          <a:extLst/>
        </p:spPr>
        <p:txBody>
          <a:bodyPr vert="horz" wrap="none" lIns="91440" tIns="45720" rIns="91440" bIns="72000" numCol="1" anchor="ctr" anchorCtr="0" compatLnSpc="1">
            <a:prstTxWarp prst="textNoShape">
              <a:avLst/>
            </a:prstTxWarp>
          </a:bodyPr>
          <a:lstStyle/>
          <a:p>
            <a:endParaRPr lang="en-GB" sz="1100" dirty="0"/>
          </a:p>
        </p:txBody>
      </p:sp>
      <p:sp>
        <p:nvSpPr>
          <p:cNvPr id="105" name="textruta 4">
            <a:extLst>
              <a:ext uri="{FF2B5EF4-FFF2-40B4-BE49-F238E27FC236}">
                <a16:creationId xmlns:a16="http://schemas.microsoft.com/office/drawing/2014/main" id="{897267F2-26A2-42F8-A38C-768B49EA7C0C}"/>
              </a:ext>
            </a:extLst>
          </p:cNvPr>
          <p:cNvSpPr txBox="1"/>
          <p:nvPr/>
        </p:nvSpPr>
        <p:spPr>
          <a:xfrm>
            <a:off x="349455" y="5999327"/>
            <a:ext cx="157095" cy="241980"/>
          </a:xfrm>
          <a:prstGeom prst="rect">
            <a:avLst/>
          </a:prstGeom>
          <a:noFill/>
        </p:spPr>
        <p:txBody>
          <a:bodyPr wrap="none" lIns="0" tIns="0" rIns="0" bIns="72000" rtlCol="0" anchor="ctr">
            <a:spAutoFit/>
          </a:bodyPr>
          <a:lstStyle/>
          <a:p>
            <a:pPr algn="ctr">
              <a:buNone/>
            </a:pPr>
            <a:r>
              <a:rPr lang="en-GB" sz="1100" b="1" dirty="0">
                <a:solidFill>
                  <a:schemeClr val="bg1"/>
                </a:solidFill>
              </a:rPr>
              <a:t>12</a:t>
            </a:r>
          </a:p>
        </p:txBody>
      </p:sp>
    </p:spTree>
    <p:extLst>
      <p:ext uri="{BB962C8B-B14F-4D97-AF65-F5344CB8AC3E}">
        <p14:creationId xmlns:p14="http://schemas.microsoft.com/office/powerpoint/2010/main" val="278652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xEl>
                                              <p:pRg st="0" end="0"/>
                                            </p:txEl>
                                          </p:spTgt>
                                        </p:tgtEl>
                                        <p:attrNameLst>
                                          <p:attrName>style.visibility</p:attrName>
                                        </p:attrNameLst>
                                      </p:cBhvr>
                                      <p:to>
                                        <p:strVal val="visible"/>
                                      </p:to>
                                    </p:set>
                                    <p:animEffect transition="in" filter="fade">
                                      <p:cBhvr>
                                        <p:cTn id="7" dur="500"/>
                                        <p:tgtEl>
                                          <p:spTgt spid="2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xEl>
                                              <p:pRg st="1" end="1"/>
                                            </p:txEl>
                                          </p:spTgt>
                                        </p:tgtEl>
                                        <p:attrNameLst>
                                          <p:attrName>style.visibility</p:attrName>
                                        </p:attrNameLst>
                                      </p:cBhvr>
                                      <p:to>
                                        <p:strVal val="visible"/>
                                      </p:to>
                                    </p:set>
                                    <p:animEffect transition="in" filter="fade">
                                      <p:cBhvr>
                                        <p:cTn id="12" dur="500"/>
                                        <p:tgtEl>
                                          <p:spTgt spid="2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8">
                                            <p:txEl>
                                              <p:pRg st="2" end="2"/>
                                            </p:txEl>
                                          </p:spTgt>
                                        </p:tgtEl>
                                        <p:attrNameLst>
                                          <p:attrName>style.visibility</p:attrName>
                                        </p:attrNameLst>
                                      </p:cBhvr>
                                      <p:to>
                                        <p:strVal val="visible"/>
                                      </p:to>
                                    </p:set>
                                    <p:animEffect transition="in" filter="fade">
                                      <p:cBhvr>
                                        <p:cTn id="17" dur="500"/>
                                        <p:tgtEl>
                                          <p:spTgt spid="2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8">
                                            <p:txEl>
                                              <p:pRg st="3" end="3"/>
                                            </p:txEl>
                                          </p:spTgt>
                                        </p:tgtEl>
                                        <p:attrNameLst>
                                          <p:attrName>style.visibility</p:attrName>
                                        </p:attrNameLst>
                                      </p:cBhvr>
                                      <p:to>
                                        <p:strVal val="visible"/>
                                      </p:to>
                                    </p:set>
                                    <p:animEffect transition="in" filter="fade">
                                      <p:cBhvr>
                                        <p:cTn id="22" dur="500"/>
                                        <p:tgtEl>
                                          <p:spTgt spid="2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8">
                                            <p:txEl>
                                              <p:pRg st="4" end="4"/>
                                            </p:txEl>
                                          </p:spTgt>
                                        </p:tgtEl>
                                        <p:attrNameLst>
                                          <p:attrName>style.visibility</p:attrName>
                                        </p:attrNameLst>
                                      </p:cBhvr>
                                      <p:to>
                                        <p:strVal val="visible"/>
                                      </p:to>
                                    </p:set>
                                    <p:animEffect transition="in" filter="fade">
                                      <p:cBhvr>
                                        <p:cTn id="27" dur="500"/>
                                        <p:tgtEl>
                                          <p:spTgt spid="2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8">
                                            <p:txEl>
                                              <p:pRg st="5" end="5"/>
                                            </p:txEl>
                                          </p:spTgt>
                                        </p:tgtEl>
                                        <p:attrNameLst>
                                          <p:attrName>style.visibility</p:attrName>
                                        </p:attrNameLst>
                                      </p:cBhvr>
                                      <p:to>
                                        <p:strVal val="visible"/>
                                      </p:to>
                                    </p:set>
                                    <p:animEffect transition="in" filter="fade">
                                      <p:cBhvr>
                                        <p:cTn id="32" dur="500"/>
                                        <p:tgtEl>
                                          <p:spTgt spid="2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8">
                                            <p:txEl>
                                              <p:pRg st="6" end="6"/>
                                            </p:txEl>
                                          </p:spTgt>
                                        </p:tgtEl>
                                        <p:attrNameLst>
                                          <p:attrName>style.visibility</p:attrName>
                                        </p:attrNameLst>
                                      </p:cBhvr>
                                      <p:to>
                                        <p:strVal val="visible"/>
                                      </p:to>
                                    </p:set>
                                    <p:animEffect transition="in" filter="fade">
                                      <p:cBhvr>
                                        <p:cTn id="37" dur="500"/>
                                        <p:tgtEl>
                                          <p:spTgt spid="28">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28">
                                            <p:txEl>
                                              <p:pRg st="7" end="7"/>
                                            </p:txEl>
                                          </p:spTgt>
                                        </p:tgtEl>
                                        <p:attrNameLst>
                                          <p:attrName>style.visibility</p:attrName>
                                        </p:attrNameLst>
                                      </p:cBhvr>
                                      <p:to>
                                        <p:strVal val="visible"/>
                                      </p:to>
                                    </p:set>
                                    <p:animEffect transition="in" filter="fade">
                                      <p:cBhvr>
                                        <p:cTn id="42" dur="500"/>
                                        <p:tgtEl>
                                          <p:spTgt spid="28">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28">
                                            <p:txEl>
                                              <p:pRg st="8" end="8"/>
                                            </p:txEl>
                                          </p:spTgt>
                                        </p:tgtEl>
                                        <p:attrNameLst>
                                          <p:attrName>style.visibility</p:attrName>
                                        </p:attrNameLst>
                                      </p:cBhvr>
                                      <p:to>
                                        <p:strVal val="visible"/>
                                      </p:to>
                                    </p:set>
                                    <p:animEffect transition="in" filter="fade">
                                      <p:cBhvr>
                                        <p:cTn id="47" dur="500"/>
                                        <p:tgtEl>
                                          <p:spTgt spid="28">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8">
                                            <p:txEl>
                                              <p:pRg st="9" end="9"/>
                                            </p:txEl>
                                          </p:spTgt>
                                        </p:tgtEl>
                                        <p:attrNameLst>
                                          <p:attrName>style.visibility</p:attrName>
                                        </p:attrNameLst>
                                      </p:cBhvr>
                                      <p:to>
                                        <p:strVal val="visible"/>
                                      </p:to>
                                    </p:set>
                                    <p:animEffect transition="in" filter="fade">
                                      <p:cBhvr>
                                        <p:cTn id="52" dur="500"/>
                                        <p:tgtEl>
                                          <p:spTgt spid="28">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8">
                                            <p:txEl>
                                              <p:pRg st="10" end="10"/>
                                            </p:txEl>
                                          </p:spTgt>
                                        </p:tgtEl>
                                        <p:attrNameLst>
                                          <p:attrName>style.visibility</p:attrName>
                                        </p:attrNameLst>
                                      </p:cBhvr>
                                      <p:to>
                                        <p:strVal val="visible"/>
                                      </p:to>
                                    </p:set>
                                    <p:animEffect transition="in" filter="fade">
                                      <p:cBhvr>
                                        <p:cTn id="57" dur="500"/>
                                        <p:tgtEl>
                                          <p:spTgt spid="28">
                                            <p:txEl>
                                              <p:pRg st="10" end="10"/>
                                            </p:txEl>
                                          </p:spTgt>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8">
                                            <p:txEl>
                                              <p:pRg st="11" end="11"/>
                                            </p:txEl>
                                          </p:spTgt>
                                        </p:tgtEl>
                                        <p:attrNameLst>
                                          <p:attrName>style.visibility</p:attrName>
                                        </p:attrNameLst>
                                      </p:cBhvr>
                                      <p:to>
                                        <p:strVal val="visible"/>
                                      </p:to>
                                    </p:set>
                                    <p:animEffect transition="in" filter="fade">
                                      <p:cBhvr>
                                        <p:cTn id="62" dur="500"/>
                                        <p:tgtEl>
                                          <p:spTgt spid="28">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a:extLst>
              <a:ext uri="{FF2B5EF4-FFF2-40B4-BE49-F238E27FC236}">
                <a16:creationId xmlns:a16="http://schemas.microsoft.com/office/drawing/2014/main" id="{886D389A-34C8-48BF-A26C-C91C06FCE2DA}"/>
              </a:ext>
            </a:extLst>
          </p:cNvPr>
          <p:cNvSpPr/>
          <p:nvPr/>
        </p:nvSpPr>
        <p:spPr>
          <a:xfrm>
            <a:off x="269874" y="4145055"/>
            <a:ext cx="9363076" cy="1541540"/>
          </a:xfrm>
          <a:prstGeom prst="rect">
            <a:avLst/>
          </a:prstGeom>
          <a:solidFill>
            <a:srgbClr val="F3F2F0"/>
          </a:solidFill>
        </p:spPr>
        <p:txBody>
          <a:bodyPr wrap="square" anchor="ctr">
            <a:noAutofit/>
          </a:bodyPr>
          <a:lstStyle/>
          <a:p>
            <a:pPr algn="ctr"/>
            <a:endParaRPr lang="en-GB" sz="1400" b="1" dirty="0"/>
          </a:p>
        </p:txBody>
      </p:sp>
      <p:sp>
        <p:nvSpPr>
          <p:cNvPr id="54" name="Rectangle 53">
            <a:extLst>
              <a:ext uri="{FF2B5EF4-FFF2-40B4-BE49-F238E27FC236}">
                <a16:creationId xmlns:a16="http://schemas.microsoft.com/office/drawing/2014/main" id="{2A86A4C2-D6A9-4024-84BC-7669AF1BA170}"/>
              </a:ext>
            </a:extLst>
          </p:cNvPr>
          <p:cNvSpPr/>
          <p:nvPr/>
        </p:nvSpPr>
        <p:spPr>
          <a:xfrm>
            <a:off x="269874" y="2296867"/>
            <a:ext cx="9363076" cy="1562101"/>
          </a:xfrm>
          <a:prstGeom prst="rect">
            <a:avLst/>
          </a:prstGeom>
          <a:solidFill>
            <a:srgbClr val="F3F2F0"/>
          </a:solidFill>
        </p:spPr>
        <p:txBody>
          <a:bodyPr wrap="square" anchor="ctr">
            <a:noAutofit/>
          </a:bodyPr>
          <a:lstStyle/>
          <a:p>
            <a:pPr algn="ctr"/>
            <a:endParaRPr lang="en-GB" sz="1400" b="1" dirty="0"/>
          </a:p>
        </p:txBody>
      </p:sp>
      <p:sp>
        <p:nvSpPr>
          <p:cNvPr id="31" name="Rectangle 2">
            <a:extLst>
              <a:ext uri="{FF2B5EF4-FFF2-40B4-BE49-F238E27FC236}">
                <a16:creationId xmlns:a16="http://schemas.microsoft.com/office/drawing/2014/main" id="{A1F3108A-CBAE-4C90-996C-4B1536064872}"/>
              </a:ext>
            </a:extLst>
          </p:cNvPr>
          <p:cNvSpPr>
            <a:spLocks noGrp="1" noChangeArrowheads="1"/>
          </p:cNvSpPr>
          <p:nvPr>
            <p:ph type="title"/>
          </p:nvPr>
        </p:nvSpPr>
        <p:spPr/>
        <p:txBody>
          <a:bodyPr/>
          <a:lstStyle/>
          <a:p>
            <a:r>
              <a:rPr lang="en-GB" altLang="da-DK" dirty="0"/>
              <a:t>Exercise </a:t>
            </a:r>
          </a:p>
        </p:txBody>
      </p:sp>
      <p:sp>
        <p:nvSpPr>
          <p:cNvPr id="5" name="Text Placeholder 4">
            <a:extLst>
              <a:ext uri="{FF2B5EF4-FFF2-40B4-BE49-F238E27FC236}">
                <a16:creationId xmlns:a16="http://schemas.microsoft.com/office/drawing/2014/main" id="{69D7A0FA-093B-4D54-B4B8-E243BD8E9E2F}"/>
              </a:ext>
            </a:extLst>
          </p:cNvPr>
          <p:cNvSpPr>
            <a:spLocks noGrp="1"/>
          </p:cNvSpPr>
          <p:nvPr>
            <p:ph type="body" sz="quarter" idx="13"/>
          </p:nvPr>
        </p:nvSpPr>
        <p:spPr/>
        <p:txBody>
          <a:bodyPr/>
          <a:lstStyle/>
          <a:p>
            <a:endParaRPr lang="en-GB" dirty="0"/>
          </a:p>
        </p:txBody>
      </p:sp>
      <p:sp>
        <p:nvSpPr>
          <p:cNvPr id="6" name="Text Placeholder 5">
            <a:extLst>
              <a:ext uri="{FF2B5EF4-FFF2-40B4-BE49-F238E27FC236}">
                <a16:creationId xmlns:a16="http://schemas.microsoft.com/office/drawing/2014/main" id="{BED05866-5A3C-4C32-8BCA-9E0819179826}"/>
              </a:ext>
            </a:extLst>
          </p:cNvPr>
          <p:cNvSpPr>
            <a:spLocks noGrp="1"/>
          </p:cNvSpPr>
          <p:nvPr>
            <p:ph type="body" sz="quarter" idx="14"/>
          </p:nvPr>
        </p:nvSpPr>
        <p:spPr/>
        <p:txBody>
          <a:bodyPr/>
          <a:lstStyle/>
          <a:p>
            <a:endParaRPr lang="en-GB" dirty="0"/>
          </a:p>
        </p:txBody>
      </p:sp>
      <p:grpSp>
        <p:nvGrpSpPr>
          <p:cNvPr id="8" name="Group 7">
            <a:extLst>
              <a:ext uri="{FF2B5EF4-FFF2-40B4-BE49-F238E27FC236}">
                <a16:creationId xmlns:a16="http://schemas.microsoft.com/office/drawing/2014/main" id="{FB429FCA-3226-458E-866A-1E4D8C8A00CC}"/>
              </a:ext>
            </a:extLst>
          </p:cNvPr>
          <p:cNvGrpSpPr/>
          <p:nvPr/>
        </p:nvGrpSpPr>
        <p:grpSpPr>
          <a:xfrm>
            <a:off x="1585118" y="2530644"/>
            <a:ext cx="490537" cy="485775"/>
            <a:chOff x="782638" y="3649663"/>
            <a:chExt cx="490537" cy="485775"/>
          </a:xfrm>
        </p:grpSpPr>
        <p:sp>
          <p:nvSpPr>
            <p:cNvPr id="9" name="Oval 47">
              <a:extLst>
                <a:ext uri="{FF2B5EF4-FFF2-40B4-BE49-F238E27FC236}">
                  <a16:creationId xmlns:a16="http://schemas.microsoft.com/office/drawing/2014/main" id="{2CAE86AD-56AB-4DF6-93CA-12D78F0B7572}"/>
                </a:ext>
              </a:extLst>
            </p:cNvPr>
            <p:cNvSpPr>
              <a:spLocks noChangeArrowheads="1"/>
            </p:cNvSpPr>
            <p:nvPr/>
          </p:nvSpPr>
          <p:spPr bwMode="auto">
            <a:xfrm>
              <a:off x="782638" y="3681413"/>
              <a:ext cx="436563" cy="436563"/>
            </a:xfrm>
            <a:prstGeom prst="ellipse">
              <a:avLst/>
            </a:pr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0" name="Freeform 48">
              <a:extLst>
                <a:ext uri="{FF2B5EF4-FFF2-40B4-BE49-F238E27FC236}">
                  <a16:creationId xmlns:a16="http://schemas.microsoft.com/office/drawing/2014/main" id="{C5C6F163-D9D1-4648-9099-93CDD185E71B}"/>
                </a:ext>
              </a:extLst>
            </p:cNvPr>
            <p:cNvSpPr>
              <a:spLocks/>
            </p:cNvSpPr>
            <p:nvPr/>
          </p:nvSpPr>
          <p:spPr bwMode="auto">
            <a:xfrm>
              <a:off x="787400" y="3649663"/>
              <a:ext cx="485775" cy="485775"/>
            </a:xfrm>
            <a:custGeom>
              <a:avLst/>
              <a:gdLst>
                <a:gd name="T0" fmla="*/ 54 w 108"/>
                <a:gd name="T1" fmla="*/ 108 h 108"/>
                <a:gd name="T2" fmla="*/ 0 w 108"/>
                <a:gd name="T3" fmla="*/ 54 h 108"/>
                <a:gd name="T4" fmla="*/ 54 w 108"/>
                <a:gd name="T5" fmla="*/ 0 h 108"/>
                <a:gd name="T6" fmla="*/ 108 w 108"/>
                <a:gd name="T7" fmla="*/ 54 h 108"/>
              </a:gdLst>
              <a:ahLst/>
              <a:cxnLst>
                <a:cxn ang="0">
                  <a:pos x="T0" y="T1"/>
                </a:cxn>
                <a:cxn ang="0">
                  <a:pos x="T2" y="T3"/>
                </a:cxn>
                <a:cxn ang="0">
                  <a:pos x="T4" y="T5"/>
                </a:cxn>
                <a:cxn ang="0">
                  <a:pos x="T6" y="T7"/>
                </a:cxn>
              </a:cxnLst>
              <a:rect l="0" t="0" r="r" b="b"/>
              <a:pathLst>
                <a:path w="108" h="108">
                  <a:moveTo>
                    <a:pt x="54" y="108"/>
                  </a:moveTo>
                  <a:cubicBezTo>
                    <a:pt x="24" y="108"/>
                    <a:pt x="0" y="84"/>
                    <a:pt x="0" y="54"/>
                  </a:cubicBezTo>
                  <a:cubicBezTo>
                    <a:pt x="0" y="25"/>
                    <a:pt x="24" y="0"/>
                    <a:pt x="54" y="0"/>
                  </a:cubicBezTo>
                  <a:cubicBezTo>
                    <a:pt x="84" y="0"/>
                    <a:pt x="108" y="25"/>
                    <a:pt x="108" y="54"/>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1" name="Freeform 49">
              <a:extLst>
                <a:ext uri="{FF2B5EF4-FFF2-40B4-BE49-F238E27FC236}">
                  <a16:creationId xmlns:a16="http://schemas.microsoft.com/office/drawing/2014/main" id="{CBEC78FE-E511-4591-9099-98B40EEAE789}"/>
                </a:ext>
              </a:extLst>
            </p:cNvPr>
            <p:cNvSpPr>
              <a:spLocks/>
            </p:cNvSpPr>
            <p:nvPr/>
          </p:nvSpPr>
          <p:spPr bwMode="auto">
            <a:xfrm>
              <a:off x="922338" y="3829050"/>
              <a:ext cx="49213" cy="22225"/>
            </a:xfrm>
            <a:custGeom>
              <a:avLst/>
              <a:gdLst>
                <a:gd name="T0" fmla="*/ 0 w 11"/>
                <a:gd name="T1" fmla="*/ 5 h 5"/>
                <a:gd name="T2" fmla="*/ 5 w 11"/>
                <a:gd name="T3" fmla="*/ 0 h 5"/>
                <a:gd name="T4" fmla="*/ 11 w 11"/>
                <a:gd name="T5" fmla="*/ 5 h 5"/>
              </a:gdLst>
              <a:ahLst/>
              <a:cxnLst>
                <a:cxn ang="0">
                  <a:pos x="T0" y="T1"/>
                </a:cxn>
                <a:cxn ang="0">
                  <a:pos x="T2" y="T3"/>
                </a:cxn>
                <a:cxn ang="0">
                  <a:pos x="T4" y="T5"/>
                </a:cxn>
              </a:cxnLst>
              <a:rect l="0" t="0" r="r" b="b"/>
              <a:pathLst>
                <a:path w="11" h="5">
                  <a:moveTo>
                    <a:pt x="0" y="5"/>
                  </a:moveTo>
                  <a:cubicBezTo>
                    <a:pt x="0" y="2"/>
                    <a:pt x="2" y="0"/>
                    <a:pt x="5" y="0"/>
                  </a:cubicBezTo>
                  <a:cubicBezTo>
                    <a:pt x="8" y="0"/>
                    <a:pt x="11" y="2"/>
                    <a:pt x="11" y="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2" name="Freeform 50">
              <a:extLst>
                <a:ext uri="{FF2B5EF4-FFF2-40B4-BE49-F238E27FC236}">
                  <a16:creationId xmlns:a16="http://schemas.microsoft.com/office/drawing/2014/main" id="{EA7E7C39-608D-4B73-BDF2-A27AD65DBBDB}"/>
                </a:ext>
              </a:extLst>
            </p:cNvPr>
            <p:cNvSpPr>
              <a:spLocks/>
            </p:cNvSpPr>
            <p:nvPr/>
          </p:nvSpPr>
          <p:spPr bwMode="auto">
            <a:xfrm>
              <a:off x="1089025" y="3829050"/>
              <a:ext cx="49213" cy="22225"/>
            </a:xfrm>
            <a:custGeom>
              <a:avLst/>
              <a:gdLst>
                <a:gd name="T0" fmla="*/ 0 w 11"/>
                <a:gd name="T1" fmla="*/ 5 h 5"/>
                <a:gd name="T2" fmla="*/ 5 w 11"/>
                <a:gd name="T3" fmla="*/ 0 h 5"/>
                <a:gd name="T4" fmla="*/ 11 w 11"/>
                <a:gd name="T5" fmla="*/ 5 h 5"/>
              </a:gdLst>
              <a:ahLst/>
              <a:cxnLst>
                <a:cxn ang="0">
                  <a:pos x="T0" y="T1"/>
                </a:cxn>
                <a:cxn ang="0">
                  <a:pos x="T2" y="T3"/>
                </a:cxn>
                <a:cxn ang="0">
                  <a:pos x="T4" y="T5"/>
                </a:cxn>
              </a:cxnLst>
              <a:rect l="0" t="0" r="r" b="b"/>
              <a:pathLst>
                <a:path w="11" h="5">
                  <a:moveTo>
                    <a:pt x="0" y="5"/>
                  </a:moveTo>
                  <a:cubicBezTo>
                    <a:pt x="0" y="2"/>
                    <a:pt x="2" y="0"/>
                    <a:pt x="5" y="0"/>
                  </a:cubicBezTo>
                  <a:cubicBezTo>
                    <a:pt x="9" y="0"/>
                    <a:pt x="11" y="2"/>
                    <a:pt x="11" y="5"/>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3" name="Freeform 51">
              <a:extLst>
                <a:ext uri="{FF2B5EF4-FFF2-40B4-BE49-F238E27FC236}">
                  <a16:creationId xmlns:a16="http://schemas.microsoft.com/office/drawing/2014/main" id="{126EDE6E-CB6E-49D2-A5DB-58DA08D80E1F}"/>
                </a:ext>
              </a:extLst>
            </p:cNvPr>
            <p:cNvSpPr>
              <a:spLocks/>
            </p:cNvSpPr>
            <p:nvPr/>
          </p:nvSpPr>
          <p:spPr bwMode="auto">
            <a:xfrm>
              <a:off x="939800" y="3968750"/>
              <a:ext cx="180975" cy="49213"/>
            </a:xfrm>
            <a:custGeom>
              <a:avLst/>
              <a:gdLst>
                <a:gd name="T0" fmla="*/ 0 w 40"/>
                <a:gd name="T1" fmla="*/ 0 h 11"/>
                <a:gd name="T2" fmla="*/ 20 w 40"/>
                <a:gd name="T3" fmla="*/ 11 h 11"/>
                <a:gd name="T4" fmla="*/ 40 w 40"/>
                <a:gd name="T5" fmla="*/ 0 h 11"/>
              </a:gdLst>
              <a:ahLst/>
              <a:cxnLst>
                <a:cxn ang="0">
                  <a:pos x="T0" y="T1"/>
                </a:cxn>
                <a:cxn ang="0">
                  <a:pos x="T2" y="T3"/>
                </a:cxn>
                <a:cxn ang="0">
                  <a:pos x="T4" y="T5"/>
                </a:cxn>
              </a:cxnLst>
              <a:rect l="0" t="0" r="r" b="b"/>
              <a:pathLst>
                <a:path w="40" h="11">
                  <a:moveTo>
                    <a:pt x="0" y="0"/>
                  </a:moveTo>
                  <a:cubicBezTo>
                    <a:pt x="4" y="7"/>
                    <a:pt x="12" y="11"/>
                    <a:pt x="20" y="11"/>
                  </a:cubicBezTo>
                  <a:cubicBezTo>
                    <a:pt x="28" y="11"/>
                    <a:pt x="36" y="7"/>
                    <a:pt x="40" y="0"/>
                  </a:cubicBezTo>
                </a:path>
              </a:pathLst>
            </a:custGeom>
            <a:noFill/>
            <a:ln w="14288"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37" name="Group 36">
            <a:extLst>
              <a:ext uri="{FF2B5EF4-FFF2-40B4-BE49-F238E27FC236}">
                <a16:creationId xmlns:a16="http://schemas.microsoft.com/office/drawing/2014/main" id="{CFD7C78C-AE19-4179-A809-7DDA543ED91E}"/>
              </a:ext>
            </a:extLst>
          </p:cNvPr>
          <p:cNvGrpSpPr/>
          <p:nvPr/>
        </p:nvGrpSpPr>
        <p:grpSpPr>
          <a:xfrm>
            <a:off x="7831930" y="2543344"/>
            <a:ext cx="481013" cy="460375"/>
            <a:chOff x="4110038" y="1373188"/>
            <a:chExt cx="481013" cy="460375"/>
          </a:xfrm>
          <a:solidFill>
            <a:srgbClr val="D7C5B0"/>
          </a:solidFill>
        </p:grpSpPr>
        <p:sp>
          <p:nvSpPr>
            <p:cNvPr id="38" name="Oval 51">
              <a:extLst>
                <a:ext uri="{FF2B5EF4-FFF2-40B4-BE49-F238E27FC236}">
                  <a16:creationId xmlns:a16="http://schemas.microsoft.com/office/drawing/2014/main" id="{7DA9FA83-F10B-4D19-9BC8-B7E7FA914D5D}"/>
                </a:ext>
              </a:extLst>
            </p:cNvPr>
            <p:cNvSpPr>
              <a:spLocks noChangeArrowheads="1"/>
            </p:cNvSpPr>
            <p:nvPr/>
          </p:nvSpPr>
          <p:spPr bwMode="auto">
            <a:xfrm>
              <a:off x="4117975" y="1477963"/>
              <a:ext cx="352425" cy="355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39" name="Line 52">
              <a:extLst>
                <a:ext uri="{FF2B5EF4-FFF2-40B4-BE49-F238E27FC236}">
                  <a16:creationId xmlns:a16="http://schemas.microsoft.com/office/drawing/2014/main" id="{5C41305D-3EFA-4FCF-9E8E-F762FE742F3E}"/>
                </a:ext>
              </a:extLst>
            </p:cNvPr>
            <p:cNvSpPr>
              <a:spLocks noChangeShapeType="1"/>
            </p:cNvSpPr>
            <p:nvPr/>
          </p:nvSpPr>
          <p:spPr bwMode="auto">
            <a:xfrm flipH="1">
              <a:off x="4541838" y="1671638"/>
              <a:ext cx="49213" cy="0"/>
            </a:xfrm>
            <a:prstGeom prst="lin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0" name="Line 53">
              <a:extLst>
                <a:ext uri="{FF2B5EF4-FFF2-40B4-BE49-F238E27FC236}">
                  <a16:creationId xmlns:a16="http://schemas.microsoft.com/office/drawing/2014/main" id="{A4DB0887-2247-4772-956C-D514DCAD5D7E}"/>
                </a:ext>
              </a:extLst>
            </p:cNvPr>
            <p:cNvSpPr>
              <a:spLocks noChangeShapeType="1"/>
            </p:cNvSpPr>
            <p:nvPr/>
          </p:nvSpPr>
          <p:spPr bwMode="auto">
            <a:xfrm flipH="1">
              <a:off x="4541838" y="1671638"/>
              <a:ext cx="49213" cy="0"/>
            </a:xfrm>
            <a:prstGeom prst="lin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1" name="Line 54">
              <a:extLst>
                <a:ext uri="{FF2B5EF4-FFF2-40B4-BE49-F238E27FC236}">
                  <a16:creationId xmlns:a16="http://schemas.microsoft.com/office/drawing/2014/main" id="{6AE83554-9AC5-4DDA-B8E2-261C9BE26014}"/>
                </a:ext>
              </a:extLst>
            </p:cNvPr>
            <p:cNvSpPr>
              <a:spLocks noChangeShapeType="1"/>
            </p:cNvSpPr>
            <p:nvPr/>
          </p:nvSpPr>
          <p:spPr bwMode="auto">
            <a:xfrm flipH="1">
              <a:off x="4424363" y="1671638"/>
              <a:ext cx="41275" cy="0"/>
            </a:xfrm>
            <a:prstGeom prst="lin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2" name="Line 55">
              <a:extLst>
                <a:ext uri="{FF2B5EF4-FFF2-40B4-BE49-F238E27FC236}">
                  <a16:creationId xmlns:a16="http://schemas.microsoft.com/office/drawing/2014/main" id="{DB23425A-6ED6-4958-8F42-D7C488993161}"/>
                </a:ext>
              </a:extLst>
            </p:cNvPr>
            <p:cNvSpPr>
              <a:spLocks noChangeShapeType="1"/>
            </p:cNvSpPr>
            <p:nvPr/>
          </p:nvSpPr>
          <p:spPr bwMode="auto">
            <a:xfrm flipH="1">
              <a:off x="4186238" y="1671638"/>
              <a:ext cx="41275" cy="0"/>
            </a:xfrm>
            <a:prstGeom prst="lin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3" name="Freeform 56">
              <a:extLst>
                <a:ext uri="{FF2B5EF4-FFF2-40B4-BE49-F238E27FC236}">
                  <a16:creationId xmlns:a16="http://schemas.microsoft.com/office/drawing/2014/main" id="{DAB0AC42-B07F-4D59-ADB9-6E77F2CD96D5}"/>
                </a:ext>
              </a:extLst>
            </p:cNvPr>
            <p:cNvSpPr>
              <a:spLocks/>
            </p:cNvSpPr>
            <p:nvPr/>
          </p:nvSpPr>
          <p:spPr bwMode="auto">
            <a:xfrm>
              <a:off x="4227513" y="1571626"/>
              <a:ext cx="196850" cy="198438"/>
            </a:xfrm>
            <a:custGeom>
              <a:avLst/>
              <a:gdLst>
                <a:gd name="T0" fmla="*/ 22 w 44"/>
                <a:gd name="T1" fmla="*/ 44 h 44"/>
                <a:gd name="T2" fmla="*/ 0 w 44"/>
                <a:gd name="T3" fmla="*/ 22 h 44"/>
                <a:gd name="T4" fmla="*/ 22 w 44"/>
                <a:gd name="T5" fmla="*/ 0 h 44"/>
                <a:gd name="T6" fmla="*/ 44 w 44"/>
                <a:gd name="T7" fmla="*/ 22 h 44"/>
                <a:gd name="T8" fmla="*/ 37 w 44"/>
                <a:gd name="T9" fmla="*/ 38 h 44"/>
              </a:gdLst>
              <a:ahLst/>
              <a:cxnLst>
                <a:cxn ang="0">
                  <a:pos x="T0" y="T1"/>
                </a:cxn>
                <a:cxn ang="0">
                  <a:pos x="T2" y="T3"/>
                </a:cxn>
                <a:cxn ang="0">
                  <a:pos x="T4" y="T5"/>
                </a:cxn>
                <a:cxn ang="0">
                  <a:pos x="T6" y="T7"/>
                </a:cxn>
                <a:cxn ang="0">
                  <a:pos x="T8" y="T9"/>
                </a:cxn>
              </a:cxnLst>
              <a:rect l="0" t="0" r="r" b="b"/>
              <a:pathLst>
                <a:path w="44" h="44">
                  <a:moveTo>
                    <a:pt x="22" y="44"/>
                  </a:moveTo>
                  <a:cubicBezTo>
                    <a:pt x="10" y="44"/>
                    <a:pt x="0" y="34"/>
                    <a:pt x="0" y="22"/>
                  </a:cubicBezTo>
                  <a:cubicBezTo>
                    <a:pt x="0" y="10"/>
                    <a:pt x="10" y="0"/>
                    <a:pt x="22" y="0"/>
                  </a:cubicBezTo>
                  <a:cubicBezTo>
                    <a:pt x="34" y="0"/>
                    <a:pt x="44" y="10"/>
                    <a:pt x="44" y="22"/>
                  </a:cubicBezTo>
                  <a:cubicBezTo>
                    <a:pt x="44" y="28"/>
                    <a:pt x="41" y="34"/>
                    <a:pt x="37" y="38"/>
                  </a:cubicBezTo>
                </a:path>
              </a:pathLst>
            </a:cu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4" name="Oval 57">
              <a:extLst>
                <a:ext uri="{FF2B5EF4-FFF2-40B4-BE49-F238E27FC236}">
                  <a16:creationId xmlns:a16="http://schemas.microsoft.com/office/drawing/2014/main" id="{85291781-5430-4394-AD26-AD9F8DEB6CC0}"/>
                </a:ext>
              </a:extLst>
            </p:cNvPr>
            <p:cNvSpPr>
              <a:spLocks noChangeArrowheads="1"/>
            </p:cNvSpPr>
            <p:nvPr/>
          </p:nvSpPr>
          <p:spPr bwMode="auto">
            <a:xfrm>
              <a:off x="4465638" y="1630363"/>
              <a:ext cx="76200" cy="80963"/>
            </a:xfrm>
            <a:prstGeom prst="ellips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5" name="Oval 58">
              <a:extLst>
                <a:ext uri="{FF2B5EF4-FFF2-40B4-BE49-F238E27FC236}">
                  <a16:creationId xmlns:a16="http://schemas.microsoft.com/office/drawing/2014/main" id="{AB93D93A-7881-4401-B9E7-E6635F5AF095}"/>
                </a:ext>
              </a:extLst>
            </p:cNvPr>
            <p:cNvSpPr>
              <a:spLocks noChangeArrowheads="1"/>
            </p:cNvSpPr>
            <p:nvPr/>
          </p:nvSpPr>
          <p:spPr bwMode="auto">
            <a:xfrm>
              <a:off x="4110038" y="1630363"/>
              <a:ext cx="76200" cy="80963"/>
            </a:xfrm>
            <a:prstGeom prst="ellipse">
              <a:avLst/>
            </a:pr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sp>
          <p:nvSpPr>
            <p:cNvPr id="46" name="Freeform 59">
              <a:extLst>
                <a:ext uri="{FF2B5EF4-FFF2-40B4-BE49-F238E27FC236}">
                  <a16:creationId xmlns:a16="http://schemas.microsoft.com/office/drawing/2014/main" id="{ACDC0D9E-E052-4E40-A1A4-A51190CFD690}"/>
                </a:ext>
              </a:extLst>
            </p:cNvPr>
            <p:cNvSpPr>
              <a:spLocks/>
            </p:cNvSpPr>
            <p:nvPr/>
          </p:nvSpPr>
          <p:spPr bwMode="auto">
            <a:xfrm>
              <a:off x="4325938" y="1373188"/>
              <a:ext cx="161925" cy="284163"/>
            </a:xfrm>
            <a:custGeom>
              <a:avLst/>
              <a:gdLst>
                <a:gd name="T0" fmla="*/ 0 w 102"/>
                <a:gd name="T1" fmla="*/ 179 h 179"/>
                <a:gd name="T2" fmla="*/ 0 w 102"/>
                <a:gd name="T3" fmla="*/ 0 h 179"/>
                <a:gd name="T4" fmla="*/ 102 w 102"/>
                <a:gd name="T5" fmla="*/ 51 h 179"/>
                <a:gd name="T6" fmla="*/ 23 w 102"/>
                <a:gd name="T7" fmla="*/ 85 h 179"/>
              </a:gdLst>
              <a:ahLst/>
              <a:cxnLst>
                <a:cxn ang="0">
                  <a:pos x="T0" y="T1"/>
                </a:cxn>
                <a:cxn ang="0">
                  <a:pos x="T2" y="T3"/>
                </a:cxn>
                <a:cxn ang="0">
                  <a:pos x="T4" y="T5"/>
                </a:cxn>
                <a:cxn ang="0">
                  <a:pos x="T6" y="T7"/>
                </a:cxn>
              </a:cxnLst>
              <a:rect l="0" t="0" r="r" b="b"/>
              <a:pathLst>
                <a:path w="102" h="179">
                  <a:moveTo>
                    <a:pt x="0" y="179"/>
                  </a:moveTo>
                  <a:lnTo>
                    <a:pt x="0" y="0"/>
                  </a:lnTo>
                  <a:lnTo>
                    <a:pt x="102" y="51"/>
                  </a:lnTo>
                  <a:lnTo>
                    <a:pt x="23" y="85"/>
                  </a:lnTo>
                </a:path>
              </a:pathLst>
            </a:custGeom>
            <a:grpFill/>
            <a:ln w="12700" cap="rnd">
              <a:solidFill>
                <a:srgbClr val="30373B"/>
              </a:solidFill>
              <a:prstDash val="solid"/>
              <a:round/>
              <a:headEnd/>
              <a:tailEnd/>
            </a:ln>
            <a:extLst/>
          </p:spPr>
          <p:txBody>
            <a:bodyPr vert="horz" wrap="square" lIns="91440" tIns="45720" rIns="91440" bIns="45720" numCol="1" anchor="t" anchorCtr="0" compatLnSpc="1">
              <a:prstTxWarp prst="textNoShape">
                <a:avLst/>
              </a:prstTxWarp>
            </a:bodyPr>
            <a:lstStyle/>
            <a:p>
              <a:endParaRPr lang="en-GB" dirty="0"/>
            </a:p>
          </p:txBody>
        </p:sp>
      </p:grpSp>
      <p:sp>
        <p:nvSpPr>
          <p:cNvPr id="47" name="Content Placeholder 2">
            <a:extLst>
              <a:ext uri="{FF2B5EF4-FFF2-40B4-BE49-F238E27FC236}">
                <a16:creationId xmlns:a16="http://schemas.microsoft.com/office/drawing/2014/main" id="{006D4C9E-8EA8-4936-8A74-BB412CF65789}"/>
              </a:ext>
            </a:extLst>
          </p:cNvPr>
          <p:cNvSpPr txBox="1">
            <a:spLocks/>
          </p:cNvSpPr>
          <p:nvPr/>
        </p:nvSpPr>
        <p:spPr>
          <a:xfrm>
            <a:off x="310780" y="4186105"/>
            <a:ext cx="7959724" cy="4452807"/>
          </a:xfrm>
          <a:prstGeom prst="rect">
            <a:avLst/>
          </a:prstGeom>
        </p:spPr>
        <p:txBody>
          <a:bodyPr/>
          <a:lstStyle>
            <a:lvl1pPr marL="0" indent="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1pPr>
            <a:lvl2pPr marL="144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2pPr>
            <a:lvl3pPr marL="288000" indent="-144000" algn="l" defTabSz="742950" rtl="0" eaLnBrk="1" latinLnBrk="0" hangingPunct="1">
              <a:lnSpc>
                <a:spcPct val="90000"/>
              </a:lnSpc>
              <a:spcBef>
                <a:spcPts val="0"/>
              </a:spcBef>
              <a:spcAft>
                <a:spcPts val="600"/>
              </a:spcAft>
              <a:buFont typeface="Arial" panose="020B0604020202020204" pitchFamily="34" charset="0"/>
              <a:buChar char="•"/>
              <a:defRPr sz="1100" kern="1200">
                <a:solidFill>
                  <a:srgbClr val="1F2023"/>
                </a:solidFill>
                <a:latin typeface="+mn-lt"/>
                <a:ea typeface="+mn-ea"/>
                <a:cs typeface="+mn-cs"/>
              </a:defRPr>
            </a:lvl3pPr>
            <a:lvl4pPr marL="432000" indent="-144000" algn="l" defTabSz="742950" rtl="0" eaLnBrk="1" latinLnBrk="0" hangingPunct="1">
              <a:lnSpc>
                <a:spcPct val="90000"/>
              </a:lnSpc>
              <a:spcBef>
                <a:spcPts val="0"/>
              </a:spcBef>
              <a:spcAft>
                <a:spcPts val="600"/>
              </a:spcAft>
              <a:buFont typeface="Arial" panose="020B0604020202020204" pitchFamily="34" charset="0"/>
              <a:buChar char="•"/>
              <a:defRPr sz="1100" b="0" kern="1200">
                <a:solidFill>
                  <a:srgbClr val="1F2023"/>
                </a:solidFill>
                <a:latin typeface="+mn-lt"/>
                <a:ea typeface="+mn-ea"/>
                <a:cs typeface="+mn-cs"/>
              </a:defRPr>
            </a:lvl4pPr>
            <a:lvl5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none" baseline="0">
                <a:solidFill>
                  <a:srgbClr val="1F2023"/>
                </a:solidFill>
                <a:latin typeface="+mn-lt"/>
                <a:ea typeface="+mn-ea"/>
                <a:cs typeface="+mn-cs"/>
              </a:defRPr>
            </a:lvl5pPr>
            <a:lvl6pPr marL="0" indent="0" algn="l" defTabSz="742950" rtl="0" eaLnBrk="1" latinLnBrk="0" hangingPunct="1">
              <a:lnSpc>
                <a:spcPct val="90000"/>
              </a:lnSpc>
              <a:spcBef>
                <a:spcPts val="0"/>
              </a:spcBef>
              <a:spcAft>
                <a:spcPts val="600"/>
              </a:spcAft>
              <a:buFont typeface="Arial" panose="020B0604020202020204" pitchFamily="34" charset="0"/>
              <a:buChar char="​"/>
              <a:defRPr sz="1100" b="1" kern="1200" cap="all" baseline="0">
                <a:solidFill>
                  <a:srgbClr val="1F2023"/>
                </a:solidFill>
                <a:latin typeface="+mj-lt"/>
                <a:ea typeface="+mn-ea"/>
                <a:cs typeface="+mn-cs"/>
              </a:defRPr>
            </a:lvl6pPr>
            <a:lvl7pPr marL="144000" indent="-144000" algn="l" defTabSz="742950" rtl="0" eaLnBrk="1" latinLnBrk="0" hangingPunct="1">
              <a:lnSpc>
                <a:spcPct val="90000"/>
              </a:lnSpc>
              <a:spcBef>
                <a:spcPts val="0"/>
              </a:spcBef>
              <a:spcAft>
                <a:spcPts val="600"/>
              </a:spcAft>
              <a:buFont typeface="+mj-lt"/>
              <a:buAutoNum type="arabicPeriod"/>
              <a:defRPr sz="1100" kern="1200" baseline="0">
                <a:solidFill>
                  <a:srgbClr val="1F2023"/>
                </a:solidFill>
                <a:latin typeface="+mn-lt"/>
                <a:ea typeface="+mn-ea"/>
                <a:cs typeface="+mn-cs"/>
              </a:defRPr>
            </a:lvl7pPr>
            <a:lvl8pPr marL="144000" indent="-144000" algn="l" defTabSz="742950" rtl="0" eaLnBrk="1" latinLnBrk="0" hangingPunct="1">
              <a:lnSpc>
                <a:spcPct val="90000"/>
              </a:lnSpc>
              <a:spcBef>
                <a:spcPts val="0"/>
              </a:spcBef>
              <a:spcAft>
                <a:spcPts val="600"/>
              </a:spcAft>
              <a:buFont typeface="+mj-lt"/>
              <a:buAutoNum type="alphaUcPeriod"/>
              <a:defRPr sz="1100" kern="1200">
                <a:solidFill>
                  <a:srgbClr val="1F2023"/>
                </a:solidFill>
                <a:latin typeface="+mn-lt"/>
                <a:ea typeface="+mn-ea"/>
                <a:cs typeface="+mn-cs"/>
              </a:defRPr>
            </a:lvl8pPr>
            <a:lvl9pPr marL="0" indent="0" algn="l" defTabSz="742950" rtl="0" eaLnBrk="1" latinLnBrk="0" hangingPunct="1">
              <a:lnSpc>
                <a:spcPct val="83000"/>
              </a:lnSpc>
              <a:spcBef>
                <a:spcPts val="0"/>
              </a:spcBef>
              <a:spcAft>
                <a:spcPts val="600"/>
              </a:spcAft>
              <a:buFont typeface="Arial" panose="020B0604020202020204" pitchFamily="34" charset="0"/>
              <a:buChar char="​"/>
              <a:defRPr sz="4800" kern="1200" cap="all" baseline="0">
                <a:solidFill>
                  <a:srgbClr val="1F2023"/>
                </a:solidFill>
                <a:latin typeface="Impact" panose="020B0806030902050204" pitchFamily="34" charset="0"/>
                <a:ea typeface="+mn-ea"/>
                <a:cs typeface="+mn-cs"/>
              </a:defRPr>
            </a:lvl9pPr>
          </a:lstStyle>
          <a:p>
            <a:br>
              <a:rPr lang="en-GB" sz="2100" i="1" dirty="0"/>
            </a:br>
            <a:endParaRPr lang="en-GB" sz="2100" dirty="0"/>
          </a:p>
          <a:p>
            <a:pPr lvl="1"/>
            <a:endParaRPr lang="en-GB" sz="2100" dirty="0"/>
          </a:p>
          <a:p>
            <a:endParaRPr lang="en-GB" sz="2100" dirty="0"/>
          </a:p>
          <a:p>
            <a:endParaRPr lang="en-GB" sz="2100" dirty="0"/>
          </a:p>
        </p:txBody>
      </p:sp>
      <p:sp>
        <p:nvSpPr>
          <p:cNvPr id="7" name="Rectangle 6">
            <a:extLst>
              <a:ext uri="{FF2B5EF4-FFF2-40B4-BE49-F238E27FC236}">
                <a16:creationId xmlns:a16="http://schemas.microsoft.com/office/drawing/2014/main" id="{FD45FB22-FB20-4D48-964B-915EC1A485B6}"/>
              </a:ext>
            </a:extLst>
          </p:cNvPr>
          <p:cNvSpPr/>
          <p:nvPr/>
        </p:nvSpPr>
        <p:spPr>
          <a:xfrm>
            <a:off x="269874" y="1814076"/>
            <a:ext cx="9363076" cy="482792"/>
          </a:xfrm>
          <a:prstGeom prst="rect">
            <a:avLst/>
          </a:prstGeom>
          <a:solidFill>
            <a:srgbClr val="D0DAD6"/>
          </a:solidFill>
        </p:spPr>
        <p:txBody>
          <a:bodyPr wrap="square" anchor="ctr">
            <a:noAutofit/>
          </a:bodyPr>
          <a:lstStyle/>
          <a:p>
            <a:pPr algn="ctr"/>
            <a:r>
              <a:rPr lang="en-GB" sz="1400" b="1" dirty="0">
                <a:solidFill>
                  <a:srgbClr val="000000"/>
                </a:solidFill>
              </a:rPr>
              <a:t>Individual reading of the report (10 minutes):</a:t>
            </a:r>
            <a:endParaRPr lang="en-GB" sz="1400" b="1" dirty="0"/>
          </a:p>
        </p:txBody>
      </p:sp>
      <p:sp>
        <p:nvSpPr>
          <p:cNvPr id="49" name="Rectangle 48">
            <a:extLst>
              <a:ext uri="{FF2B5EF4-FFF2-40B4-BE49-F238E27FC236}">
                <a16:creationId xmlns:a16="http://schemas.microsoft.com/office/drawing/2014/main" id="{A7849FA8-D7D2-4121-A162-E490B9899F32}"/>
              </a:ext>
            </a:extLst>
          </p:cNvPr>
          <p:cNvSpPr/>
          <p:nvPr/>
        </p:nvSpPr>
        <p:spPr>
          <a:xfrm>
            <a:off x="642387" y="3297017"/>
            <a:ext cx="2376000" cy="276999"/>
          </a:xfrm>
          <a:prstGeom prst="rect">
            <a:avLst/>
          </a:prstGeom>
        </p:spPr>
        <p:txBody>
          <a:bodyPr wrap="square">
            <a:noAutofit/>
          </a:bodyPr>
          <a:lstStyle/>
          <a:p>
            <a:pPr algn="ctr"/>
            <a:r>
              <a:rPr lang="en-GB" sz="1200" dirty="0"/>
              <a:t>What made you happy/proud?</a:t>
            </a:r>
          </a:p>
        </p:txBody>
      </p:sp>
      <p:sp>
        <p:nvSpPr>
          <p:cNvPr id="50" name="Rectangle 49">
            <a:extLst>
              <a:ext uri="{FF2B5EF4-FFF2-40B4-BE49-F238E27FC236}">
                <a16:creationId xmlns:a16="http://schemas.microsoft.com/office/drawing/2014/main" id="{6666CF5C-E3F5-4D24-AC38-65807B959A9C}"/>
              </a:ext>
            </a:extLst>
          </p:cNvPr>
          <p:cNvSpPr/>
          <p:nvPr/>
        </p:nvSpPr>
        <p:spPr>
          <a:xfrm>
            <a:off x="3763412" y="3297017"/>
            <a:ext cx="2376000" cy="276999"/>
          </a:xfrm>
          <a:prstGeom prst="rect">
            <a:avLst/>
          </a:prstGeom>
        </p:spPr>
        <p:txBody>
          <a:bodyPr wrap="square">
            <a:noAutofit/>
          </a:bodyPr>
          <a:lstStyle/>
          <a:p>
            <a:pPr algn="ctr"/>
            <a:r>
              <a:rPr lang="en-GB" sz="1200" dirty="0"/>
              <a:t>What surprised you?</a:t>
            </a:r>
          </a:p>
        </p:txBody>
      </p:sp>
      <p:sp>
        <p:nvSpPr>
          <p:cNvPr id="51" name="Rectangle 50">
            <a:extLst>
              <a:ext uri="{FF2B5EF4-FFF2-40B4-BE49-F238E27FC236}">
                <a16:creationId xmlns:a16="http://schemas.microsoft.com/office/drawing/2014/main" id="{808E7BAB-46E2-45E9-8325-5E9966F597D5}"/>
              </a:ext>
            </a:extLst>
          </p:cNvPr>
          <p:cNvSpPr/>
          <p:nvPr/>
        </p:nvSpPr>
        <p:spPr>
          <a:xfrm>
            <a:off x="6884437" y="3204684"/>
            <a:ext cx="2376000" cy="461665"/>
          </a:xfrm>
          <a:prstGeom prst="rect">
            <a:avLst/>
          </a:prstGeom>
        </p:spPr>
        <p:txBody>
          <a:bodyPr wrap="square">
            <a:noAutofit/>
          </a:bodyPr>
          <a:lstStyle/>
          <a:p>
            <a:pPr algn="ctr"/>
            <a:r>
              <a:rPr lang="en-GB" sz="1200" dirty="0"/>
              <a:t>In which specific area(s) do you want to improve/change?</a:t>
            </a:r>
          </a:p>
        </p:txBody>
      </p:sp>
      <p:grpSp>
        <p:nvGrpSpPr>
          <p:cNvPr id="62" name="Group 61">
            <a:extLst>
              <a:ext uri="{FF2B5EF4-FFF2-40B4-BE49-F238E27FC236}">
                <a16:creationId xmlns:a16="http://schemas.microsoft.com/office/drawing/2014/main" id="{E4C8CCCD-5781-443A-98FF-521BF5B21D9D}"/>
              </a:ext>
            </a:extLst>
          </p:cNvPr>
          <p:cNvGrpSpPr/>
          <p:nvPr/>
        </p:nvGrpSpPr>
        <p:grpSpPr>
          <a:xfrm>
            <a:off x="3390899" y="2472871"/>
            <a:ext cx="3121025" cy="1210092"/>
            <a:chOff x="3390899" y="2307808"/>
            <a:chExt cx="3121025" cy="1434214"/>
          </a:xfrm>
        </p:grpSpPr>
        <p:cxnSp>
          <p:nvCxnSpPr>
            <p:cNvPr id="55" name="Straight Connector 54">
              <a:extLst>
                <a:ext uri="{FF2B5EF4-FFF2-40B4-BE49-F238E27FC236}">
                  <a16:creationId xmlns:a16="http://schemas.microsoft.com/office/drawing/2014/main" id="{730BD940-2816-4559-97DB-178C89F6B926}"/>
                </a:ext>
              </a:extLst>
            </p:cNvPr>
            <p:cNvCxnSpPr>
              <a:cxnSpLocks/>
            </p:cNvCxnSpPr>
            <p:nvPr/>
          </p:nvCxnSpPr>
          <p:spPr>
            <a:xfrm>
              <a:off x="3390899" y="2307808"/>
              <a:ext cx="0" cy="1434214"/>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8A565DF6-56ED-4A53-A4C3-EC10E95A416C}"/>
                </a:ext>
              </a:extLst>
            </p:cNvPr>
            <p:cNvCxnSpPr>
              <a:cxnSpLocks/>
            </p:cNvCxnSpPr>
            <p:nvPr/>
          </p:nvCxnSpPr>
          <p:spPr>
            <a:xfrm>
              <a:off x="6511924" y="2307808"/>
              <a:ext cx="0" cy="1434214"/>
            </a:xfrm>
            <a:prstGeom prst="line">
              <a:avLst/>
            </a:prstGeom>
            <a:ln w="22225" cap="rnd">
              <a:solidFill>
                <a:srgbClr val="ACAFB1"/>
              </a:solidFill>
              <a:prstDash val="sysDot"/>
              <a:round/>
            </a:ln>
          </p:spPr>
          <p:style>
            <a:lnRef idx="1">
              <a:schemeClr val="accent1"/>
            </a:lnRef>
            <a:fillRef idx="0">
              <a:schemeClr val="accent1"/>
            </a:fillRef>
            <a:effectRef idx="0">
              <a:schemeClr val="accent1"/>
            </a:effectRef>
            <a:fontRef idx="minor">
              <a:schemeClr val="tx1"/>
            </a:fontRef>
          </p:style>
        </p:cxnSp>
      </p:grpSp>
      <p:grpSp>
        <p:nvGrpSpPr>
          <p:cNvPr id="2" name="Group 1"/>
          <p:cNvGrpSpPr/>
          <p:nvPr/>
        </p:nvGrpSpPr>
        <p:grpSpPr>
          <a:xfrm>
            <a:off x="4739480" y="2510006"/>
            <a:ext cx="423863" cy="527050"/>
            <a:chOff x="4739480" y="2510006"/>
            <a:chExt cx="423863" cy="527050"/>
          </a:xfrm>
        </p:grpSpPr>
        <p:sp>
          <p:nvSpPr>
            <p:cNvPr id="15" name="Freeform 93">
              <a:extLst>
                <a:ext uri="{FF2B5EF4-FFF2-40B4-BE49-F238E27FC236}">
                  <a16:creationId xmlns:a16="http://schemas.microsoft.com/office/drawing/2014/main" id="{4E2D0CD5-2680-494A-8F1D-01F37F002489}"/>
                </a:ext>
              </a:extLst>
            </p:cNvPr>
            <p:cNvSpPr>
              <a:spLocks/>
            </p:cNvSpPr>
            <p:nvPr/>
          </p:nvSpPr>
          <p:spPr bwMode="auto">
            <a:xfrm>
              <a:off x="4771230" y="2510006"/>
              <a:ext cx="279400" cy="144462"/>
            </a:xfrm>
            <a:custGeom>
              <a:avLst/>
              <a:gdLst>
                <a:gd name="T0" fmla="*/ 56 w 62"/>
                <a:gd name="T1" fmla="*/ 29 h 32"/>
                <a:gd name="T2" fmla="*/ 51 w 62"/>
                <a:gd name="T3" fmla="*/ 32 h 32"/>
                <a:gd name="T4" fmla="*/ 12 w 62"/>
                <a:gd name="T5" fmla="*/ 32 h 32"/>
                <a:gd name="T6" fmla="*/ 7 w 62"/>
                <a:gd name="T7" fmla="*/ 30 h 32"/>
                <a:gd name="T8" fmla="*/ 5 w 62"/>
                <a:gd name="T9" fmla="*/ 28 h 32"/>
                <a:gd name="T10" fmla="*/ 1 w 62"/>
                <a:gd name="T11" fmla="*/ 21 h 32"/>
                <a:gd name="T12" fmla="*/ 6 w 62"/>
                <a:gd name="T13" fmla="*/ 11 h 32"/>
                <a:gd name="T14" fmla="*/ 10 w 62"/>
                <a:gd name="T15" fmla="*/ 10 h 32"/>
                <a:gd name="T16" fmla="*/ 10 w 62"/>
                <a:gd name="T17" fmla="*/ 9 h 32"/>
                <a:gd name="T18" fmla="*/ 23 w 62"/>
                <a:gd name="T19" fmla="*/ 2 h 32"/>
                <a:gd name="T20" fmla="*/ 28 w 62"/>
                <a:gd name="T21" fmla="*/ 6 h 32"/>
                <a:gd name="T22" fmla="*/ 30 w 62"/>
                <a:gd name="T23" fmla="*/ 9 h 32"/>
                <a:gd name="T24" fmla="*/ 31 w 62"/>
                <a:gd name="T25" fmla="*/ 9 h 32"/>
                <a:gd name="T26" fmla="*/ 36 w 62"/>
                <a:gd name="T27" fmla="*/ 4 h 32"/>
                <a:gd name="T28" fmla="*/ 39 w 62"/>
                <a:gd name="T29" fmla="*/ 2 h 32"/>
                <a:gd name="T30" fmla="*/ 52 w 62"/>
                <a:gd name="T31" fmla="*/ 9 h 32"/>
                <a:gd name="T32" fmla="*/ 52 w 62"/>
                <a:gd name="T33" fmla="*/ 10 h 32"/>
                <a:gd name="T34" fmla="*/ 56 w 62"/>
                <a:gd name="T35" fmla="*/ 11 h 32"/>
                <a:gd name="T36" fmla="*/ 61 w 62"/>
                <a:gd name="T37" fmla="*/ 21 h 32"/>
                <a:gd name="T38" fmla="*/ 57 w 62"/>
                <a:gd name="T39" fmla="*/ 28 h 32"/>
                <a:gd name="T40" fmla="*/ 56 w 62"/>
                <a:gd name="T41"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2" h="32">
                  <a:moveTo>
                    <a:pt x="56" y="29"/>
                  </a:moveTo>
                  <a:cubicBezTo>
                    <a:pt x="55" y="30"/>
                    <a:pt x="53" y="31"/>
                    <a:pt x="51" y="32"/>
                  </a:cubicBezTo>
                  <a:cubicBezTo>
                    <a:pt x="12" y="32"/>
                    <a:pt x="12" y="32"/>
                    <a:pt x="12" y="32"/>
                  </a:cubicBezTo>
                  <a:cubicBezTo>
                    <a:pt x="10" y="32"/>
                    <a:pt x="9" y="31"/>
                    <a:pt x="7" y="30"/>
                  </a:cubicBezTo>
                  <a:cubicBezTo>
                    <a:pt x="6" y="29"/>
                    <a:pt x="6" y="29"/>
                    <a:pt x="5" y="28"/>
                  </a:cubicBezTo>
                  <a:cubicBezTo>
                    <a:pt x="3" y="26"/>
                    <a:pt x="2" y="24"/>
                    <a:pt x="1" y="21"/>
                  </a:cubicBezTo>
                  <a:cubicBezTo>
                    <a:pt x="0" y="17"/>
                    <a:pt x="2" y="12"/>
                    <a:pt x="6" y="11"/>
                  </a:cubicBezTo>
                  <a:cubicBezTo>
                    <a:pt x="8" y="10"/>
                    <a:pt x="9" y="10"/>
                    <a:pt x="10" y="10"/>
                  </a:cubicBezTo>
                  <a:cubicBezTo>
                    <a:pt x="10" y="9"/>
                    <a:pt x="10" y="9"/>
                    <a:pt x="10" y="9"/>
                  </a:cubicBezTo>
                  <a:cubicBezTo>
                    <a:pt x="11" y="3"/>
                    <a:pt x="17" y="0"/>
                    <a:pt x="23" y="2"/>
                  </a:cubicBezTo>
                  <a:cubicBezTo>
                    <a:pt x="24" y="3"/>
                    <a:pt x="26" y="4"/>
                    <a:pt x="28" y="6"/>
                  </a:cubicBezTo>
                  <a:cubicBezTo>
                    <a:pt x="29" y="7"/>
                    <a:pt x="29" y="8"/>
                    <a:pt x="30" y="9"/>
                  </a:cubicBezTo>
                  <a:cubicBezTo>
                    <a:pt x="31" y="9"/>
                    <a:pt x="31" y="9"/>
                    <a:pt x="31" y="9"/>
                  </a:cubicBezTo>
                  <a:cubicBezTo>
                    <a:pt x="33" y="5"/>
                    <a:pt x="36" y="4"/>
                    <a:pt x="36" y="4"/>
                  </a:cubicBezTo>
                  <a:cubicBezTo>
                    <a:pt x="37" y="3"/>
                    <a:pt x="38" y="3"/>
                    <a:pt x="39" y="2"/>
                  </a:cubicBezTo>
                  <a:cubicBezTo>
                    <a:pt x="45" y="0"/>
                    <a:pt x="51" y="3"/>
                    <a:pt x="52" y="9"/>
                  </a:cubicBezTo>
                  <a:cubicBezTo>
                    <a:pt x="52" y="9"/>
                    <a:pt x="52" y="9"/>
                    <a:pt x="52" y="10"/>
                  </a:cubicBezTo>
                  <a:cubicBezTo>
                    <a:pt x="53" y="10"/>
                    <a:pt x="55" y="10"/>
                    <a:pt x="56" y="11"/>
                  </a:cubicBezTo>
                  <a:cubicBezTo>
                    <a:pt x="60" y="12"/>
                    <a:pt x="62" y="17"/>
                    <a:pt x="61" y="21"/>
                  </a:cubicBezTo>
                  <a:cubicBezTo>
                    <a:pt x="60" y="24"/>
                    <a:pt x="59" y="26"/>
                    <a:pt x="57" y="28"/>
                  </a:cubicBezTo>
                  <a:cubicBezTo>
                    <a:pt x="57" y="28"/>
                    <a:pt x="56" y="29"/>
                    <a:pt x="56" y="29"/>
                  </a:cubicBezTo>
                  <a:close/>
                </a:path>
              </a:pathLst>
            </a:custGeom>
            <a:solidFill>
              <a:srgbClr val="D7C5B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6" name="Rectangle 94">
              <a:extLst>
                <a:ext uri="{FF2B5EF4-FFF2-40B4-BE49-F238E27FC236}">
                  <a16:creationId xmlns:a16="http://schemas.microsoft.com/office/drawing/2014/main" id="{7A5AD31E-1E6A-4DC1-A185-821820450999}"/>
                </a:ext>
              </a:extLst>
            </p:cNvPr>
            <p:cNvSpPr>
              <a:spLocks noChangeArrowheads="1"/>
            </p:cNvSpPr>
            <p:nvPr/>
          </p:nvSpPr>
          <p:spPr bwMode="auto">
            <a:xfrm>
              <a:off x="4888705" y="2654468"/>
              <a:ext cx="63500" cy="341312"/>
            </a:xfrm>
            <a:prstGeom prst="rect">
              <a:avLst/>
            </a:prstGeom>
            <a:solidFill>
              <a:srgbClr val="D7C5B0"/>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17" name="Freeform 95">
              <a:extLst>
                <a:ext uri="{FF2B5EF4-FFF2-40B4-BE49-F238E27FC236}">
                  <a16:creationId xmlns:a16="http://schemas.microsoft.com/office/drawing/2014/main" id="{43FF6CE8-0AF1-419D-8A8C-A93409C8363C}"/>
                </a:ext>
              </a:extLst>
            </p:cNvPr>
            <p:cNvSpPr>
              <a:spLocks/>
            </p:cNvSpPr>
            <p:nvPr/>
          </p:nvSpPr>
          <p:spPr bwMode="auto">
            <a:xfrm>
              <a:off x="4739480" y="2654468"/>
              <a:ext cx="423863" cy="71437"/>
            </a:xfrm>
            <a:custGeom>
              <a:avLst/>
              <a:gdLst>
                <a:gd name="T0" fmla="*/ 66 w 267"/>
                <a:gd name="T1" fmla="*/ 45 h 45"/>
                <a:gd name="T2" fmla="*/ 0 w 267"/>
                <a:gd name="T3" fmla="*/ 45 h 45"/>
                <a:gd name="T4" fmla="*/ 0 w 267"/>
                <a:gd name="T5" fmla="*/ 0 h 45"/>
                <a:gd name="T6" fmla="*/ 267 w 267"/>
                <a:gd name="T7" fmla="*/ 0 h 45"/>
                <a:gd name="T8" fmla="*/ 267 w 267"/>
                <a:gd name="T9" fmla="*/ 45 h 45"/>
                <a:gd name="T10" fmla="*/ 196 w 267"/>
                <a:gd name="T11" fmla="*/ 45 h 45"/>
              </a:gdLst>
              <a:ahLst/>
              <a:cxnLst>
                <a:cxn ang="0">
                  <a:pos x="T0" y="T1"/>
                </a:cxn>
                <a:cxn ang="0">
                  <a:pos x="T2" y="T3"/>
                </a:cxn>
                <a:cxn ang="0">
                  <a:pos x="T4" y="T5"/>
                </a:cxn>
                <a:cxn ang="0">
                  <a:pos x="T6" y="T7"/>
                </a:cxn>
                <a:cxn ang="0">
                  <a:pos x="T8" y="T9"/>
                </a:cxn>
                <a:cxn ang="0">
                  <a:pos x="T10" y="T11"/>
                </a:cxn>
              </a:cxnLst>
              <a:rect l="0" t="0" r="r" b="b"/>
              <a:pathLst>
                <a:path w="267" h="45">
                  <a:moveTo>
                    <a:pt x="66" y="45"/>
                  </a:moveTo>
                  <a:lnTo>
                    <a:pt x="0" y="45"/>
                  </a:lnTo>
                  <a:lnTo>
                    <a:pt x="0" y="0"/>
                  </a:lnTo>
                  <a:lnTo>
                    <a:pt x="267" y="0"/>
                  </a:lnTo>
                  <a:lnTo>
                    <a:pt x="267" y="45"/>
                  </a:lnTo>
                  <a:lnTo>
                    <a:pt x="196" y="45"/>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96">
              <a:extLst>
                <a:ext uri="{FF2B5EF4-FFF2-40B4-BE49-F238E27FC236}">
                  <a16:creationId xmlns:a16="http://schemas.microsoft.com/office/drawing/2014/main" id="{B902AAB9-7E72-4B51-AF0D-898D045F1D54}"/>
                </a:ext>
              </a:extLst>
            </p:cNvPr>
            <p:cNvSpPr>
              <a:spLocks/>
            </p:cNvSpPr>
            <p:nvPr/>
          </p:nvSpPr>
          <p:spPr bwMode="auto">
            <a:xfrm>
              <a:off x="4775992" y="2767181"/>
              <a:ext cx="350838" cy="269875"/>
            </a:xfrm>
            <a:custGeom>
              <a:avLst/>
              <a:gdLst>
                <a:gd name="T0" fmla="*/ 221 w 221"/>
                <a:gd name="T1" fmla="*/ 2 h 170"/>
                <a:gd name="T2" fmla="*/ 221 w 221"/>
                <a:gd name="T3" fmla="*/ 170 h 170"/>
                <a:gd name="T4" fmla="*/ 0 w 221"/>
                <a:gd name="T5" fmla="*/ 170 h 170"/>
                <a:gd name="T6" fmla="*/ 0 w 221"/>
                <a:gd name="T7" fmla="*/ 0 h 170"/>
              </a:gdLst>
              <a:ahLst/>
              <a:cxnLst>
                <a:cxn ang="0">
                  <a:pos x="T0" y="T1"/>
                </a:cxn>
                <a:cxn ang="0">
                  <a:pos x="T2" y="T3"/>
                </a:cxn>
                <a:cxn ang="0">
                  <a:pos x="T4" y="T5"/>
                </a:cxn>
                <a:cxn ang="0">
                  <a:pos x="T6" y="T7"/>
                </a:cxn>
              </a:cxnLst>
              <a:rect l="0" t="0" r="r" b="b"/>
              <a:pathLst>
                <a:path w="221" h="170">
                  <a:moveTo>
                    <a:pt x="221" y="2"/>
                  </a:moveTo>
                  <a:lnTo>
                    <a:pt x="221" y="170"/>
                  </a:lnTo>
                  <a:lnTo>
                    <a:pt x="0" y="170"/>
                  </a:lnTo>
                  <a:lnTo>
                    <a:pt x="0" y="0"/>
                  </a:ln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97">
              <a:extLst>
                <a:ext uri="{FF2B5EF4-FFF2-40B4-BE49-F238E27FC236}">
                  <a16:creationId xmlns:a16="http://schemas.microsoft.com/office/drawing/2014/main" id="{CC6DC1D7-387D-4273-B2ED-BA746E365998}"/>
                </a:ext>
              </a:extLst>
            </p:cNvPr>
            <p:cNvSpPr>
              <a:spLocks/>
            </p:cNvSpPr>
            <p:nvPr/>
          </p:nvSpPr>
          <p:spPr bwMode="auto">
            <a:xfrm>
              <a:off x="4856955" y="2554456"/>
              <a:ext cx="41275" cy="41275"/>
            </a:xfrm>
            <a:custGeom>
              <a:avLst/>
              <a:gdLst>
                <a:gd name="T0" fmla="*/ 5 w 9"/>
                <a:gd name="T1" fmla="*/ 0 h 9"/>
                <a:gd name="T2" fmla="*/ 7 w 9"/>
                <a:gd name="T3" fmla="*/ 1 h 9"/>
                <a:gd name="T4" fmla="*/ 7 w 9"/>
                <a:gd name="T5" fmla="*/ 8 h 9"/>
                <a:gd name="T6" fmla="*/ 1 w 9"/>
                <a:gd name="T7" fmla="*/ 8 h 9"/>
                <a:gd name="T8" fmla="*/ 0 w 9"/>
                <a:gd name="T9" fmla="*/ 5 h 9"/>
              </a:gdLst>
              <a:ahLst/>
              <a:cxnLst>
                <a:cxn ang="0">
                  <a:pos x="T0" y="T1"/>
                </a:cxn>
                <a:cxn ang="0">
                  <a:pos x="T2" y="T3"/>
                </a:cxn>
                <a:cxn ang="0">
                  <a:pos x="T4" y="T5"/>
                </a:cxn>
                <a:cxn ang="0">
                  <a:pos x="T6" y="T7"/>
                </a:cxn>
                <a:cxn ang="0">
                  <a:pos x="T8" y="T9"/>
                </a:cxn>
              </a:cxnLst>
              <a:rect l="0" t="0" r="r" b="b"/>
              <a:pathLst>
                <a:path w="9" h="9">
                  <a:moveTo>
                    <a:pt x="5" y="0"/>
                  </a:moveTo>
                  <a:cubicBezTo>
                    <a:pt x="6" y="1"/>
                    <a:pt x="7" y="1"/>
                    <a:pt x="7" y="1"/>
                  </a:cubicBezTo>
                  <a:cubicBezTo>
                    <a:pt x="9" y="3"/>
                    <a:pt x="9" y="6"/>
                    <a:pt x="7" y="8"/>
                  </a:cubicBezTo>
                  <a:cubicBezTo>
                    <a:pt x="6" y="9"/>
                    <a:pt x="3" y="9"/>
                    <a:pt x="1" y="8"/>
                  </a:cubicBezTo>
                  <a:cubicBezTo>
                    <a:pt x="1" y="7"/>
                    <a:pt x="0" y="6"/>
                    <a:pt x="0" y="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4" name="Freeform 98">
              <a:extLst>
                <a:ext uri="{FF2B5EF4-FFF2-40B4-BE49-F238E27FC236}">
                  <a16:creationId xmlns:a16="http://schemas.microsoft.com/office/drawing/2014/main" id="{C5939350-D77A-4FEE-ABB5-58311F79DF3C}"/>
                </a:ext>
              </a:extLst>
            </p:cNvPr>
            <p:cNvSpPr>
              <a:spLocks/>
            </p:cNvSpPr>
            <p:nvPr/>
          </p:nvSpPr>
          <p:spPr bwMode="auto">
            <a:xfrm>
              <a:off x="4856955" y="2554456"/>
              <a:ext cx="22225" cy="0"/>
            </a:xfrm>
            <a:custGeom>
              <a:avLst/>
              <a:gdLst>
                <a:gd name="T0" fmla="*/ 0 w 5"/>
                <a:gd name="T1" fmla="*/ 5 w 5"/>
              </a:gdLst>
              <a:ahLst/>
              <a:cxnLst>
                <a:cxn ang="0">
                  <a:pos x="T0" y="0"/>
                </a:cxn>
                <a:cxn ang="0">
                  <a:pos x="T1" y="0"/>
                </a:cxn>
              </a:cxnLst>
              <a:rect l="0" t="0" r="r" b="b"/>
              <a:pathLst>
                <a:path w="5">
                  <a:moveTo>
                    <a:pt x="0" y="0"/>
                  </a:moveTo>
                  <a:cubicBezTo>
                    <a:pt x="0" y="0"/>
                    <a:pt x="2" y="0"/>
                    <a:pt x="5"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5" name="Freeform 99">
              <a:extLst>
                <a:ext uri="{FF2B5EF4-FFF2-40B4-BE49-F238E27FC236}">
                  <a16:creationId xmlns:a16="http://schemas.microsoft.com/office/drawing/2014/main" id="{05A0F754-E99D-4AA8-9E15-2C6844EBB191}"/>
                </a:ext>
              </a:extLst>
            </p:cNvPr>
            <p:cNvSpPr>
              <a:spLocks/>
            </p:cNvSpPr>
            <p:nvPr/>
          </p:nvSpPr>
          <p:spPr bwMode="auto">
            <a:xfrm>
              <a:off x="4852192" y="2554456"/>
              <a:ext cx="4763" cy="26987"/>
            </a:xfrm>
            <a:custGeom>
              <a:avLst/>
              <a:gdLst>
                <a:gd name="T0" fmla="*/ 1 w 1"/>
                <a:gd name="T1" fmla="*/ 0 h 6"/>
                <a:gd name="T2" fmla="*/ 1 w 1"/>
                <a:gd name="T3" fmla="*/ 6 h 6"/>
              </a:gdLst>
              <a:ahLst/>
              <a:cxnLst>
                <a:cxn ang="0">
                  <a:pos x="T0" y="T1"/>
                </a:cxn>
                <a:cxn ang="0">
                  <a:pos x="T2" y="T3"/>
                </a:cxn>
              </a:cxnLst>
              <a:rect l="0" t="0" r="r" b="b"/>
              <a:pathLst>
                <a:path w="1" h="6">
                  <a:moveTo>
                    <a:pt x="1" y="0"/>
                  </a:moveTo>
                  <a:cubicBezTo>
                    <a:pt x="1" y="0"/>
                    <a:pt x="0" y="2"/>
                    <a:pt x="1" y="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6" name="Freeform 100">
              <a:extLst>
                <a:ext uri="{FF2B5EF4-FFF2-40B4-BE49-F238E27FC236}">
                  <a16:creationId xmlns:a16="http://schemas.microsoft.com/office/drawing/2014/main" id="{5C04C5FA-3322-40BC-BA0D-05696E64C5F5}"/>
                </a:ext>
              </a:extLst>
            </p:cNvPr>
            <p:cNvSpPr>
              <a:spLocks/>
            </p:cNvSpPr>
            <p:nvPr/>
          </p:nvSpPr>
          <p:spPr bwMode="auto">
            <a:xfrm>
              <a:off x="4844255" y="2644943"/>
              <a:ext cx="17463" cy="9525"/>
            </a:xfrm>
            <a:custGeom>
              <a:avLst/>
              <a:gdLst>
                <a:gd name="T0" fmla="*/ 4 w 4"/>
                <a:gd name="T1" fmla="*/ 2 h 2"/>
                <a:gd name="T2" fmla="*/ 0 w 4"/>
                <a:gd name="T3" fmla="*/ 0 h 2"/>
              </a:gdLst>
              <a:ahLst/>
              <a:cxnLst>
                <a:cxn ang="0">
                  <a:pos x="T0" y="T1"/>
                </a:cxn>
                <a:cxn ang="0">
                  <a:pos x="T2" y="T3"/>
                </a:cxn>
              </a:cxnLst>
              <a:rect l="0" t="0" r="r" b="b"/>
              <a:pathLst>
                <a:path w="4" h="2">
                  <a:moveTo>
                    <a:pt x="4" y="2"/>
                  </a:moveTo>
                  <a:cubicBezTo>
                    <a:pt x="3" y="2"/>
                    <a:pt x="1" y="1"/>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7" name="Freeform 101">
              <a:extLst>
                <a:ext uri="{FF2B5EF4-FFF2-40B4-BE49-F238E27FC236}">
                  <a16:creationId xmlns:a16="http://schemas.microsoft.com/office/drawing/2014/main" id="{C3DD797E-6D79-4C4A-8B7B-0D693EB6829F}"/>
                </a:ext>
              </a:extLst>
            </p:cNvPr>
            <p:cNvSpPr>
              <a:spLocks/>
            </p:cNvSpPr>
            <p:nvPr/>
          </p:nvSpPr>
          <p:spPr bwMode="auto">
            <a:xfrm>
              <a:off x="4807742" y="2510006"/>
              <a:ext cx="157163" cy="144462"/>
            </a:xfrm>
            <a:custGeom>
              <a:avLst/>
              <a:gdLst>
                <a:gd name="T0" fmla="*/ 8 w 35"/>
                <a:gd name="T1" fmla="*/ 30 h 32"/>
                <a:gd name="T2" fmla="*/ 6 w 35"/>
                <a:gd name="T3" fmla="*/ 28 h 32"/>
                <a:gd name="T4" fmla="*/ 2 w 35"/>
                <a:gd name="T5" fmla="*/ 21 h 32"/>
                <a:gd name="T6" fmla="*/ 7 w 35"/>
                <a:gd name="T7" fmla="*/ 11 h 32"/>
                <a:gd name="T8" fmla="*/ 11 w 35"/>
                <a:gd name="T9" fmla="*/ 10 h 32"/>
                <a:gd name="T10" fmla="*/ 11 w 35"/>
                <a:gd name="T11" fmla="*/ 9 h 32"/>
                <a:gd name="T12" fmla="*/ 23 w 35"/>
                <a:gd name="T13" fmla="*/ 2 h 32"/>
                <a:gd name="T14" fmla="*/ 28 w 35"/>
                <a:gd name="T15" fmla="*/ 6 h 32"/>
                <a:gd name="T16" fmla="*/ 33 w 35"/>
                <a:gd name="T17" fmla="*/ 14 h 32"/>
                <a:gd name="T18" fmla="*/ 32 w 35"/>
                <a:gd name="T19" fmla="*/ 13 h 32"/>
                <a:gd name="T20" fmla="*/ 31 w 35"/>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2">
                  <a:moveTo>
                    <a:pt x="8" y="30"/>
                  </a:moveTo>
                  <a:cubicBezTo>
                    <a:pt x="7" y="29"/>
                    <a:pt x="6" y="29"/>
                    <a:pt x="6" y="28"/>
                  </a:cubicBezTo>
                  <a:cubicBezTo>
                    <a:pt x="4" y="26"/>
                    <a:pt x="2" y="24"/>
                    <a:pt x="2" y="21"/>
                  </a:cubicBezTo>
                  <a:cubicBezTo>
                    <a:pt x="0" y="17"/>
                    <a:pt x="3" y="12"/>
                    <a:pt x="7" y="11"/>
                  </a:cubicBezTo>
                  <a:cubicBezTo>
                    <a:pt x="8" y="10"/>
                    <a:pt x="10" y="10"/>
                    <a:pt x="11" y="10"/>
                  </a:cubicBezTo>
                  <a:cubicBezTo>
                    <a:pt x="11" y="9"/>
                    <a:pt x="11" y="9"/>
                    <a:pt x="11" y="9"/>
                  </a:cubicBezTo>
                  <a:cubicBezTo>
                    <a:pt x="12" y="3"/>
                    <a:pt x="18" y="0"/>
                    <a:pt x="23" y="2"/>
                  </a:cubicBezTo>
                  <a:cubicBezTo>
                    <a:pt x="25" y="3"/>
                    <a:pt x="27" y="4"/>
                    <a:pt x="28" y="6"/>
                  </a:cubicBezTo>
                  <a:cubicBezTo>
                    <a:pt x="31" y="8"/>
                    <a:pt x="32" y="11"/>
                    <a:pt x="33" y="14"/>
                  </a:cubicBezTo>
                  <a:cubicBezTo>
                    <a:pt x="32" y="13"/>
                    <a:pt x="32" y="13"/>
                    <a:pt x="32" y="13"/>
                  </a:cubicBezTo>
                  <a:cubicBezTo>
                    <a:pt x="35" y="25"/>
                    <a:pt x="31" y="32"/>
                    <a:pt x="31" y="32"/>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8" name="Freeform 102">
              <a:extLst>
                <a:ext uri="{FF2B5EF4-FFF2-40B4-BE49-F238E27FC236}">
                  <a16:creationId xmlns:a16="http://schemas.microsoft.com/office/drawing/2014/main" id="{27DEECFB-F899-4FA1-A25E-E4C92F18F00E}"/>
                </a:ext>
              </a:extLst>
            </p:cNvPr>
            <p:cNvSpPr>
              <a:spLocks/>
            </p:cNvSpPr>
            <p:nvPr/>
          </p:nvSpPr>
          <p:spPr bwMode="auto">
            <a:xfrm>
              <a:off x="5001417" y="2554456"/>
              <a:ext cx="39688" cy="41275"/>
            </a:xfrm>
            <a:custGeom>
              <a:avLst/>
              <a:gdLst>
                <a:gd name="T0" fmla="*/ 4 w 9"/>
                <a:gd name="T1" fmla="*/ 0 h 9"/>
                <a:gd name="T2" fmla="*/ 2 w 9"/>
                <a:gd name="T3" fmla="*/ 1 h 9"/>
                <a:gd name="T4" fmla="*/ 2 w 9"/>
                <a:gd name="T5" fmla="*/ 8 h 9"/>
                <a:gd name="T6" fmla="*/ 8 w 9"/>
                <a:gd name="T7" fmla="*/ 8 h 9"/>
                <a:gd name="T8" fmla="*/ 9 w 9"/>
                <a:gd name="T9" fmla="*/ 5 h 9"/>
              </a:gdLst>
              <a:ahLst/>
              <a:cxnLst>
                <a:cxn ang="0">
                  <a:pos x="T0" y="T1"/>
                </a:cxn>
                <a:cxn ang="0">
                  <a:pos x="T2" y="T3"/>
                </a:cxn>
                <a:cxn ang="0">
                  <a:pos x="T4" y="T5"/>
                </a:cxn>
                <a:cxn ang="0">
                  <a:pos x="T6" y="T7"/>
                </a:cxn>
                <a:cxn ang="0">
                  <a:pos x="T8" y="T9"/>
                </a:cxn>
              </a:cxnLst>
              <a:rect l="0" t="0" r="r" b="b"/>
              <a:pathLst>
                <a:path w="9" h="9">
                  <a:moveTo>
                    <a:pt x="4" y="0"/>
                  </a:moveTo>
                  <a:cubicBezTo>
                    <a:pt x="3" y="1"/>
                    <a:pt x="3" y="1"/>
                    <a:pt x="2" y="1"/>
                  </a:cubicBezTo>
                  <a:cubicBezTo>
                    <a:pt x="0" y="3"/>
                    <a:pt x="0" y="6"/>
                    <a:pt x="2" y="8"/>
                  </a:cubicBezTo>
                  <a:cubicBezTo>
                    <a:pt x="4" y="9"/>
                    <a:pt x="7" y="9"/>
                    <a:pt x="8" y="8"/>
                  </a:cubicBezTo>
                  <a:cubicBezTo>
                    <a:pt x="9" y="7"/>
                    <a:pt x="9" y="6"/>
                    <a:pt x="9" y="5"/>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29" name="Freeform 103">
              <a:extLst>
                <a:ext uri="{FF2B5EF4-FFF2-40B4-BE49-F238E27FC236}">
                  <a16:creationId xmlns:a16="http://schemas.microsoft.com/office/drawing/2014/main" id="{2226C4E8-CEA1-4E1E-97C3-B0B1147D8F73}"/>
                </a:ext>
              </a:extLst>
            </p:cNvPr>
            <p:cNvSpPr>
              <a:spLocks/>
            </p:cNvSpPr>
            <p:nvPr/>
          </p:nvSpPr>
          <p:spPr bwMode="auto">
            <a:xfrm>
              <a:off x="5018880" y="2554456"/>
              <a:ext cx="26988" cy="0"/>
            </a:xfrm>
            <a:custGeom>
              <a:avLst/>
              <a:gdLst>
                <a:gd name="T0" fmla="*/ 6 w 6"/>
                <a:gd name="T1" fmla="*/ 0 w 6"/>
              </a:gdLst>
              <a:ahLst/>
              <a:cxnLst>
                <a:cxn ang="0">
                  <a:pos x="T0" y="0"/>
                </a:cxn>
                <a:cxn ang="0">
                  <a:pos x="T1" y="0"/>
                </a:cxn>
              </a:cxnLst>
              <a:rect l="0" t="0" r="r" b="b"/>
              <a:pathLst>
                <a:path w="6">
                  <a:moveTo>
                    <a:pt x="6" y="0"/>
                  </a:moveTo>
                  <a:cubicBezTo>
                    <a:pt x="6" y="0"/>
                    <a:pt x="3" y="0"/>
                    <a:pt x="0"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0" name="Freeform 104">
              <a:extLst>
                <a:ext uri="{FF2B5EF4-FFF2-40B4-BE49-F238E27FC236}">
                  <a16:creationId xmlns:a16="http://schemas.microsoft.com/office/drawing/2014/main" id="{5E55E03D-FE77-40E8-A849-6FBC5DB1578F}"/>
                </a:ext>
              </a:extLst>
            </p:cNvPr>
            <p:cNvSpPr>
              <a:spLocks/>
            </p:cNvSpPr>
            <p:nvPr/>
          </p:nvSpPr>
          <p:spPr bwMode="auto">
            <a:xfrm>
              <a:off x="5041105" y="2554456"/>
              <a:ext cx="4763" cy="26987"/>
            </a:xfrm>
            <a:custGeom>
              <a:avLst/>
              <a:gdLst>
                <a:gd name="T0" fmla="*/ 1 w 1"/>
                <a:gd name="T1" fmla="*/ 0 h 6"/>
                <a:gd name="T2" fmla="*/ 0 w 1"/>
                <a:gd name="T3" fmla="*/ 6 h 6"/>
              </a:gdLst>
              <a:ahLst/>
              <a:cxnLst>
                <a:cxn ang="0">
                  <a:pos x="T0" y="T1"/>
                </a:cxn>
                <a:cxn ang="0">
                  <a:pos x="T2" y="T3"/>
                </a:cxn>
              </a:cxnLst>
              <a:rect l="0" t="0" r="r" b="b"/>
              <a:pathLst>
                <a:path w="1" h="6">
                  <a:moveTo>
                    <a:pt x="1" y="0"/>
                  </a:moveTo>
                  <a:cubicBezTo>
                    <a:pt x="1" y="0"/>
                    <a:pt x="1" y="2"/>
                    <a:pt x="0" y="6"/>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2" name="Freeform 105">
              <a:extLst>
                <a:ext uri="{FF2B5EF4-FFF2-40B4-BE49-F238E27FC236}">
                  <a16:creationId xmlns:a16="http://schemas.microsoft.com/office/drawing/2014/main" id="{752699AC-B7F3-4C67-8830-BB951466B188}"/>
                </a:ext>
              </a:extLst>
            </p:cNvPr>
            <p:cNvSpPr>
              <a:spLocks/>
            </p:cNvSpPr>
            <p:nvPr/>
          </p:nvSpPr>
          <p:spPr bwMode="auto">
            <a:xfrm>
              <a:off x="4974430" y="2510006"/>
              <a:ext cx="117475" cy="130175"/>
            </a:xfrm>
            <a:custGeom>
              <a:avLst/>
              <a:gdLst>
                <a:gd name="T0" fmla="*/ 20 w 26"/>
                <a:gd name="T1" fmla="*/ 29 h 29"/>
                <a:gd name="T2" fmla="*/ 21 w 26"/>
                <a:gd name="T3" fmla="*/ 28 h 29"/>
                <a:gd name="T4" fmla="*/ 25 w 26"/>
                <a:gd name="T5" fmla="*/ 21 h 29"/>
                <a:gd name="T6" fmla="*/ 19 w 26"/>
                <a:gd name="T7" fmla="*/ 11 h 29"/>
                <a:gd name="T8" fmla="*/ 16 w 26"/>
                <a:gd name="T9" fmla="*/ 10 h 29"/>
                <a:gd name="T10" fmla="*/ 16 w 26"/>
                <a:gd name="T11" fmla="*/ 9 h 29"/>
                <a:gd name="T12" fmla="*/ 3 w 26"/>
                <a:gd name="T13" fmla="*/ 2 h 29"/>
                <a:gd name="T14" fmla="*/ 0 w 26"/>
                <a:gd name="T15" fmla="*/ 4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29">
                  <a:moveTo>
                    <a:pt x="20" y="29"/>
                  </a:moveTo>
                  <a:cubicBezTo>
                    <a:pt x="20" y="29"/>
                    <a:pt x="21" y="28"/>
                    <a:pt x="21" y="28"/>
                  </a:cubicBezTo>
                  <a:cubicBezTo>
                    <a:pt x="23" y="26"/>
                    <a:pt x="24" y="24"/>
                    <a:pt x="25" y="21"/>
                  </a:cubicBezTo>
                  <a:cubicBezTo>
                    <a:pt x="26" y="17"/>
                    <a:pt x="24" y="12"/>
                    <a:pt x="19" y="11"/>
                  </a:cubicBezTo>
                  <a:cubicBezTo>
                    <a:pt x="18" y="10"/>
                    <a:pt x="17" y="10"/>
                    <a:pt x="16" y="10"/>
                  </a:cubicBezTo>
                  <a:cubicBezTo>
                    <a:pt x="16" y="9"/>
                    <a:pt x="16" y="9"/>
                    <a:pt x="16" y="9"/>
                  </a:cubicBezTo>
                  <a:cubicBezTo>
                    <a:pt x="15" y="3"/>
                    <a:pt x="8" y="0"/>
                    <a:pt x="3" y="2"/>
                  </a:cubicBezTo>
                  <a:cubicBezTo>
                    <a:pt x="2" y="3"/>
                    <a:pt x="1" y="3"/>
                    <a:pt x="0" y="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3" name="Freeform 106">
              <a:extLst>
                <a:ext uri="{FF2B5EF4-FFF2-40B4-BE49-F238E27FC236}">
                  <a16:creationId xmlns:a16="http://schemas.microsoft.com/office/drawing/2014/main" id="{1C43DBE8-B443-420A-84AC-24AFB8966DF7}"/>
                </a:ext>
              </a:extLst>
            </p:cNvPr>
            <p:cNvSpPr>
              <a:spLocks/>
            </p:cNvSpPr>
            <p:nvPr/>
          </p:nvSpPr>
          <p:spPr bwMode="auto">
            <a:xfrm>
              <a:off x="5041105" y="2640181"/>
              <a:ext cx="23813" cy="14287"/>
            </a:xfrm>
            <a:custGeom>
              <a:avLst/>
              <a:gdLst>
                <a:gd name="T0" fmla="*/ 0 w 5"/>
                <a:gd name="T1" fmla="*/ 3 h 3"/>
                <a:gd name="T2" fmla="*/ 5 w 5"/>
                <a:gd name="T3" fmla="*/ 0 h 3"/>
              </a:gdLst>
              <a:ahLst/>
              <a:cxnLst>
                <a:cxn ang="0">
                  <a:pos x="T0" y="T1"/>
                </a:cxn>
                <a:cxn ang="0">
                  <a:pos x="T2" y="T3"/>
                </a:cxn>
              </a:cxnLst>
              <a:rect l="0" t="0" r="r" b="b"/>
              <a:pathLst>
                <a:path w="5" h="3">
                  <a:moveTo>
                    <a:pt x="0" y="3"/>
                  </a:moveTo>
                  <a:cubicBezTo>
                    <a:pt x="1" y="2"/>
                    <a:pt x="3" y="1"/>
                    <a:pt x="5" y="0"/>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4" name="Line 107">
              <a:extLst>
                <a:ext uri="{FF2B5EF4-FFF2-40B4-BE49-F238E27FC236}">
                  <a16:creationId xmlns:a16="http://schemas.microsoft.com/office/drawing/2014/main" id="{D325B146-9149-413C-972A-A45E7EE736D6}"/>
                </a:ext>
              </a:extLst>
            </p:cNvPr>
            <p:cNvSpPr>
              <a:spLocks noChangeShapeType="1"/>
            </p:cNvSpPr>
            <p:nvPr/>
          </p:nvSpPr>
          <p:spPr bwMode="auto">
            <a:xfrm>
              <a:off x="4952205" y="2654468"/>
              <a:ext cx="0" cy="0"/>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36" name="Line 109">
              <a:extLst>
                <a:ext uri="{FF2B5EF4-FFF2-40B4-BE49-F238E27FC236}">
                  <a16:creationId xmlns:a16="http://schemas.microsoft.com/office/drawing/2014/main" id="{032E9870-D37A-4E7F-B07B-F2F6DD1D3D80}"/>
                </a:ext>
              </a:extLst>
            </p:cNvPr>
            <p:cNvSpPr>
              <a:spLocks noChangeShapeType="1"/>
            </p:cNvSpPr>
            <p:nvPr/>
          </p:nvSpPr>
          <p:spPr bwMode="auto">
            <a:xfrm>
              <a:off x="4983955" y="2654468"/>
              <a:ext cx="0" cy="3333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0" name="Line 108">
              <a:extLst>
                <a:ext uri="{FF2B5EF4-FFF2-40B4-BE49-F238E27FC236}">
                  <a16:creationId xmlns:a16="http://schemas.microsoft.com/office/drawing/2014/main" id="{D6921CFA-1F0B-4019-992E-ED15422CB4B1}"/>
                </a:ext>
              </a:extLst>
            </p:cNvPr>
            <p:cNvSpPr>
              <a:spLocks noChangeShapeType="1"/>
            </p:cNvSpPr>
            <p:nvPr/>
          </p:nvSpPr>
          <p:spPr bwMode="auto">
            <a:xfrm>
              <a:off x="4910930" y="2654468"/>
              <a:ext cx="0" cy="333375"/>
            </a:xfrm>
            <a:prstGeom prst="line">
              <a:avLst/>
            </a:prstGeom>
            <a:noFill/>
            <a:ln w="12700" cap="rnd">
              <a:solidFill>
                <a:srgbClr val="30373B"/>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GB" dirty="0"/>
            </a:p>
          </p:txBody>
        </p:sp>
      </p:grpSp>
      <p:sp>
        <p:nvSpPr>
          <p:cNvPr id="63" name="Rectangle 62">
            <a:extLst>
              <a:ext uri="{FF2B5EF4-FFF2-40B4-BE49-F238E27FC236}">
                <a16:creationId xmlns:a16="http://schemas.microsoft.com/office/drawing/2014/main" id="{1CFCAE09-BFFF-4B2F-B818-1D9524938693}"/>
              </a:ext>
            </a:extLst>
          </p:cNvPr>
          <p:cNvSpPr/>
          <p:nvPr/>
        </p:nvSpPr>
        <p:spPr>
          <a:xfrm>
            <a:off x="269874" y="4139041"/>
            <a:ext cx="9363076" cy="482792"/>
          </a:xfrm>
          <a:prstGeom prst="rect">
            <a:avLst/>
          </a:prstGeom>
          <a:solidFill>
            <a:srgbClr val="D0DAD6"/>
          </a:solidFill>
        </p:spPr>
        <p:txBody>
          <a:bodyPr wrap="square" anchor="ctr">
            <a:noAutofit/>
          </a:bodyPr>
          <a:lstStyle/>
          <a:p>
            <a:pPr algn="ctr"/>
            <a:r>
              <a:rPr lang="en-GB" sz="1400" b="1" dirty="0">
                <a:solidFill>
                  <a:srgbClr val="000000"/>
                </a:solidFill>
              </a:rPr>
              <a:t>With buddy – Walk and talk (40 min.)</a:t>
            </a:r>
          </a:p>
        </p:txBody>
      </p:sp>
      <p:grpSp>
        <p:nvGrpSpPr>
          <p:cNvPr id="66" name="Group 65">
            <a:extLst>
              <a:ext uri="{FF2B5EF4-FFF2-40B4-BE49-F238E27FC236}">
                <a16:creationId xmlns:a16="http://schemas.microsoft.com/office/drawing/2014/main" id="{80432929-74C9-468D-842F-567357B63268}"/>
              </a:ext>
            </a:extLst>
          </p:cNvPr>
          <p:cNvGrpSpPr/>
          <p:nvPr/>
        </p:nvGrpSpPr>
        <p:grpSpPr>
          <a:xfrm>
            <a:off x="4493913" y="4807466"/>
            <a:ext cx="914998" cy="722368"/>
            <a:chOff x="4051300" y="3319463"/>
            <a:chExt cx="512763" cy="404813"/>
          </a:xfrm>
        </p:grpSpPr>
        <p:sp>
          <p:nvSpPr>
            <p:cNvPr id="67" name="Freeform 22">
              <a:extLst>
                <a:ext uri="{FF2B5EF4-FFF2-40B4-BE49-F238E27FC236}">
                  <a16:creationId xmlns:a16="http://schemas.microsoft.com/office/drawing/2014/main" id="{DD32D881-F90A-48C1-8EA4-4E099B8413AC}"/>
                </a:ext>
              </a:extLst>
            </p:cNvPr>
            <p:cNvSpPr>
              <a:spLocks/>
            </p:cNvSpPr>
            <p:nvPr/>
          </p:nvSpPr>
          <p:spPr bwMode="auto">
            <a:xfrm>
              <a:off x="4051300" y="3319463"/>
              <a:ext cx="296863" cy="233363"/>
            </a:xfrm>
            <a:custGeom>
              <a:avLst/>
              <a:gdLst>
                <a:gd name="T0" fmla="*/ 66 w 66"/>
                <a:gd name="T1" fmla="*/ 22 h 52"/>
                <a:gd name="T2" fmla="*/ 66 w 66"/>
                <a:gd name="T3" fmla="*/ 13 h 52"/>
                <a:gd name="T4" fmla="*/ 53 w 66"/>
                <a:gd name="T5" fmla="*/ 0 h 52"/>
                <a:gd name="T6" fmla="*/ 13 w 66"/>
                <a:gd name="T7" fmla="*/ 0 h 52"/>
                <a:gd name="T8" fmla="*/ 0 w 66"/>
                <a:gd name="T9" fmla="*/ 13 h 52"/>
                <a:gd name="T10" fmla="*/ 0 w 66"/>
                <a:gd name="T11" fmla="*/ 39 h 52"/>
                <a:gd name="T12" fmla="*/ 13 w 66"/>
                <a:gd name="T13" fmla="*/ 52 h 52"/>
                <a:gd name="T14" fmla="*/ 44 w 66"/>
                <a:gd name="T15" fmla="*/ 52 h 52"/>
                <a:gd name="T16" fmla="*/ 53 w 66"/>
                <a:gd name="T17" fmla="*/ 52 h 52"/>
                <a:gd name="T18" fmla="*/ 66 w 66"/>
                <a:gd name="T19" fmla="*/ 39 h 52"/>
                <a:gd name="T20" fmla="*/ 66 w 66"/>
                <a:gd name="T21" fmla="*/ 34 h 52"/>
                <a:gd name="T22" fmla="*/ 66 w 66"/>
                <a:gd name="T23" fmla="*/ 2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 h="52">
                  <a:moveTo>
                    <a:pt x="66" y="22"/>
                  </a:moveTo>
                  <a:cubicBezTo>
                    <a:pt x="66" y="13"/>
                    <a:pt x="66" y="13"/>
                    <a:pt x="66" y="13"/>
                  </a:cubicBezTo>
                  <a:cubicBezTo>
                    <a:pt x="66" y="6"/>
                    <a:pt x="60" y="0"/>
                    <a:pt x="53" y="0"/>
                  </a:cubicBezTo>
                  <a:cubicBezTo>
                    <a:pt x="13" y="0"/>
                    <a:pt x="13" y="0"/>
                    <a:pt x="13" y="0"/>
                  </a:cubicBezTo>
                  <a:cubicBezTo>
                    <a:pt x="6" y="0"/>
                    <a:pt x="0" y="6"/>
                    <a:pt x="0" y="13"/>
                  </a:cubicBezTo>
                  <a:cubicBezTo>
                    <a:pt x="0" y="39"/>
                    <a:pt x="0" y="39"/>
                    <a:pt x="0" y="39"/>
                  </a:cubicBezTo>
                  <a:cubicBezTo>
                    <a:pt x="0" y="46"/>
                    <a:pt x="6" y="52"/>
                    <a:pt x="13" y="52"/>
                  </a:cubicBezTo>
                  <a:cubicBezTo>
                    <a:pt x="44" y="52"/>
                    <a:pt x="44" y="52"/>
                    <a:pt x="44" y="52"/>
                  </a:cubicBezTo>
                  <a:cubicBezTo>
                    <a:pt x="53" y="52"/>
                    <a:pt x="53" y="52"/>
                    <a:pt x="53" y="52"/>
                  </a:cubicBezTo>
                  <a:cubicBezTo>
                    <a:pt x="60" y="52"/>
                    <a:pt x="66" y="46"/>
                    <a:pt x="66" y="39"/>
                  </a:cubicBezTo>
                  <a:cubicBezTo>
                    <a:pt x="66" y="34"/>
                    <a:pt x="66" y="34"/>
                    <a:pt x="66" y="34"/>
                  </a:cubicBezTo>
                  <a:lnTo>
                    <a:pt x="66" y="22"/>
                  </a:lnTo>
                  <a:close/>
                </a:path>
              </a:pathLst>
            </a:custGeom>
            <a:solidFill>
              <a:srgbClr val="D7C5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68" name="Freeform 23">
              <a:extLst>
                <a:ext uri="{FF2B5EF4-FFF2-40B4-BE49-F238E27FC236}">
                  <a16:creationId xmlns:a16="http://schemas.microsoft.com/office/drawing/2014/main" id="{420E3544-1C73-41E3-B2BF-F62FD1A4A38E}"/>
                </a:ext>
              </a:extLst>
            </p:cNvPr>
            <p:cNvSpPr>
              <a:spLocks/>
            </p:cNvSpPr>
            <p:nvPr/>
          </p:nvSpPr>
          <p:spPr bwMode="auto">
            <a:xfrm>
              <a:off x="4100513" y="3319463"/>
              <a:ext cx="292100" cy="282575"/>
            </a:xfrm>
            <a:custGeom>
              <a:avLst/>
              <a:gdLst>
                <a:gd name="T0" fmla="*/ 65 w 65"/>
                <a:gd name="T1" fmla="*/ 22 h 63"/>
                <a:gd name="T2" fmla="*/ 65 w 65"/>
                <a:gd name="T3" fmla="*/ 13 h 63"/>
                <a:gd name="T4" fmla="*/ 53 w 65"/>
                <a:gd name="T5" fmla="*/ 0 h 63"/>
                <a:gd name="T6" fmla="*/ 12 w 65"/>
                <a:gd name="T7" fmla="*/ 0 h 63"/>
                <a:gd name="T8" fmla="*/ 0 w 65"/>
                <a:gd name="T9" fmla="*/ 13 h 63"/>
                <a:gd name="T10" fmla="*/ 0 w 65"/>
                <a:gd name="T11" fmla="*/ 39 h 63"/>
                <a:gd name="T12" fmla="*/ 12 w 65"/>
                <a:gd name="T13" fmla="*/ 52 h 63"/>
                <a:gd name="T14" fmla="*/ 16 w 65"/>
                <a:gd name="T15" fmla="*/ 52 h 63"/>
                <a:gd name="T16" fmla="*/ 16 w 65"/>
                <a:gd name="T17" fmla="*/ 63 h 63"/>
                <a:gd name="T18" fmla="*/ 27 w 65"/>
                <a:gd name="T19" fmla="*/ 52 h 63"/>
                <a:gd name="T20" fmla="*/ 32 w 65"/>
                <a:gd name="T21" fmla="*/ 52 h 63"/>
                <a:gd name="T22" fmla="*/ 44 w 65"/>
                <a:gd name="T23" fmla="*/ 52 h 63"/>
                <a:gd name="T24" fmla="*/ 53 w 65"/>
                <a:gd name="T25" fmla="*/ 52 h 63"/>
                <a:gd name="T26" fmla="*/ 65 w 65"/>
                <a:gd name="T27" fmla="*/ 39 h 63"/>
                <a:gd name="T28" fmla="*/ 65 w 65"/>
                <a:gd name="T29" fmla="*/ 34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63">
                  <a:moveTo>
                    <a:pt x="65" y="22"/>
                  </a:moveTo>
                  <a:cubicBezTo>
                    <a:pt x="65" y="13"/>
                    <a:pt x="65" y="13"/>
                    <a:pt x="65" y="13"/>
                  </a:cubicBezTo>
                  <a:cubicBezTo>
                    <a:pt x="65" y="6"/>
                    <a:pt x="60" y="0"/>
                    <a:pt x="53" y="0"/>
                  </a:cubicBezTo>
                  <a:cubicBezTo>
                    <a:pt x="12" y="0"/>
                    <a:pt x="12" y="0"/>
                    <a:pt x="12" y="0"/>
                  </a:cubicBezTo>
                  <a:cubicBezTo>
                    <a:pt x="6" y="0"/>
                    <a:pt x="0" y="6"/>
                    <a:pt x="0" y="13"/>
                  </a:cubicBezTo>
                  <a:cubicBezTo>
                    <a:pt x="0" y="39"/>
                    <a:pt x="0" y="39"/>
                    <a:pt x="0" y="39"/>
                  </a:cubicBezTo>
                  <a:cubicBezTo>
                    <a:pt x="0" y="46"/>
                    <a:pt x="6" y="52"/>
                    <a:pt x="12" y="52"/>
                  </a:cubicBezTo>
                  <a:cubicBezTo>
                    <a:pt x="16" y="52"/>
                    <a:pt x="16" y="52"/>
                    <a:pt x="16" y="52"/>
                  </a:cubicBezTo>
                  <a:cubicBezTo>
                    <a:pt x="16" y="63"/>
                    <a:pt x="16" y="63"/>
                    <a:pt x="16" y="63"/>
                  </a:cubicBezTo>
                  <a:cubicBezTo>
                    <a:pt x="27" y="52"/>
                    <a:pt x="27" y="52"/>
                    <a:pt x="27" y="52"/>
                  </a:cubicBezTo>
                  <a:cubicBezTo>
                    <a:pt x="32" y="52"/>
                    <a:pt x="32" y="52"/>
                    <a:pt x="32" y="52"/>
                  </a:cubicBezTo>
                  <a:cubicBezTo>
                    <a:pt x="44" y="52"/>
                    <a:pt x="44" y="52"/>
                    <a:pt x="44" y="52"/>
                  </a:cubicBezTo>
                  <a:cubicBezTo>
                    <a:pt x="53" y="52"/>
                    <a:pt x="53" y="52"/>
                    <a:pt x="53" y="52"/>
                  </a:cubicBezTo>
                  <a:cubicBezTo>
                    <a:pt x="60" y="52"/>
                    <a:pt x="65" y="46"/>
                    <a:pt x="65" y="39"/>
                  </a:cubicBezTo>
                  <a:cubicBezTo>
                    <a:pt x="65" y="34"/>
                    <a:pt x="65" y="34"/>
                    <a:pt x="65" y="34"/>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sp>
          <p:nvSpPr>
            <p:cNvPr id="69" name="Freeform 24">
              <a:extLst>
                <a:ext uri="{FF2B5EF4-FFF2-40B4-BE49-F238E27FC236}">
                  <a16:creationId xmlns:a16="http://schemas.microsoft.com/office/drawing/2014/main" id="{D5EA18BF-7BAE-4EFA-B8B1-5D0A8F9A12AA}"/>
                </a:ext>
              </a:extLst>
            </p:cNvPr>
            <p:cNvSpPr>
              <a:spLocks/>
            </p:cNvSpPr>
            <p:nvPr/>
          </p:nvSpPr>
          <p:spPr bwMode="auto">
            <a:xfrm>
              <a:off x="4271963" y="3444876"/>
              <a:ext cx="292100" cy="279400"/>
            </a:xfrm>
            <a:custGeom>
              <a:avLst/>
              <a:gdLst>
                <a:gd name="T0" fmla="*/ 0 w 65"/>
                <a:gd name="T1" fmla="*/ 16 h 62"/>
                <a:gd name="T2" fmla="*/ 0 w 65"/>
                <a:gd name="T3" fmla="*/ 12 h 62"/>
                <a:gd name="T4" fmla="*/ 12 w 65"/>
                <a:gd name="T5" fmla="*/ 0 h 62"/>
                <a:gd name="T6" fmla="*/ 53 w 65"/>
                <a:gd name="T7" fmla="*/ 0 h 62"/>
                <a:gd name="T8" fmla="*/ 65 w 65"/>
                <a:gd name="T9" fmla="*/ 12 h 62"/>
                <a:gd name="T10" fmla="*/ 65 w 65"/>
                <a:gd name="T11" fmla="*/ 39 h 62"/>
                <a:gd name="T12" fmla="*/ 53 w 65"/>
                <a:gd name="T13" fmla="*/ 51 h 62"/>
                <a:gd name="T14" fmla="*/ 49 w 65"/>
                <a:gd name="T15" fmla="*/ 51 h 62"/>
                <a:gd name="T16" fmla="*/ 49 w 65"/>
                <a:gd name="T17" fmla="*/ 62 h 62"/>
                <a:gd name="T18" fmla="*/ 38 w 65"/>
                <a:gd name="T19" fmla="*/ 51 h 62"/>
                <a:gd name="T20" fmla="*/ 12 w 65"/>
                <a:gd name="T21" fmla="*/ 51 h 62"/>
                <a:gd name="T22" fmla="*/ 0 w 65"/>
                <a:gd name="T23" fmla="*/ 39 h 62"/>
                <a:gd name="T24" fmla="*/ 0 w 65"/>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5" h="62">
                  <a:moveTo>
                    <a:pt x="0" y="16"/>
                  </a:moveTo>
                  <a:cubicBezTo>
                    <a:pt x="0" y="12"/>
                    <a:pt x="0" y="12"/>
                    <a:pt x="0" y="12"/>
                  </a:cubicBezTo>
                  <a:cubicBezTo>
                    <a:pt x="0" y="5"/>
                    <a:pt x="5" y="0"/>
                    <a:pt x="12" y="0"/>
                  </a:cubicBezTo>
                  <a:cubicBezTo>
                    <a:pt x="53" y="0"/>
                    <a:pt x="53" y="0"/>
                    <a:pt x="53" y="0"/>
                  </a:cubicBezTo>
                  <a:cubicBezTo>
                    <a:pt x="59" y="0"/>
                    <a:pt x="65" y="5"/>
                    <a:pt x="65" y="12"/>
                  </a:cubicBezTo>
                  <a:cubicBezTo>
                    <a:pt x="65" y="39"/>
                    <a:pt x="65" y="39"/>
                    <a:pt x="65" y="39"/>
                  </a:cubicBezTo>
                  <a:cubicBezTo>
                    <a:pt x="65" y="45"/>
                    <a:pt x="59" y="51"/>
                    <a:pt x="53" y="51"/>
                  </a:cubicBezTo>
                  <a:cubicBezTo>
                    <a:pt x="49" y="51"/>
                    <a:pt x="49" y="51"/>
                    <a:pt x="49" y="51"/>
                  </a:cubicBezTo>
                  <a:cubicBezTo>
                    <a:pt x="49" y="62"/>
                    <a:pt x="49" y="62"/>
                    <a:pt x="49" y="62"/>
                  </a:cubicBezTo>
                  <a:cubicBezTo>
                    <a:pt x="38" y="51"/>
                    <a:pt x="38" y="51"/>
                    <a:pt x="38" y="51"/>
                  </a:cubicBezTo>
                  <a:cubicBezTo>
                    <a:pt x="12" y="51"/>
                    <a:pt x="12" y="51"/>
                    <a:pt x="12" y="51"/>
                  </a:cubicBezTo>
                  <a:cubicBezTo>
                    <a:pt x="5" y="51"/>
                    <a:pt x="0" y="45"/>
                    <a:pt x="0" y="39"/>
                  </a:cubicBezTo>
                  <a:cubicBezTo>
                    <a:pt x="0" y="31"/>
                    <a:pt x="0" y="31"/>
                    <a:pt x="0" y="31"/>
                  </a:cubicBezTo>
                </a:path>
              </a:pathLst>
            </a:custGeom>
            <a:noFill/>
            <a:ln w="12700" cap="rnd">
              <a:solidFill>
                <a:srgbClr val="30373B"/>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104120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0"/>
</p:tagLst>
</file>

<file path=ppt/tags/tag11.xml><?xml version="1.0" encoding="utf-8"?>
<p:tagLst xmlns:a="http://schemas.openxmlformats.org/drawingml/2006/main" xmlns:r="http://schemas.openxmlformats.org/officeDocument/2006/relationships" xmlns:p="http://schemas.openxmlformats.org/presentationml/2006/main">
  <p:tag name="SHAPE_LOCKS" val="0"/>
</p:tagLst>
</file>

<file path=ppt/tags/tag12.xml><?xml version="1.0" encoding="utf-8"?>
<p:tagLst xmlns:a="http://schemas.openxmlformats.org/drawingml/2006/main" xmlns:r="http://schemas.openxmlformats.org/officeDocument/2006/relationships" xmlns:p="http://schemas.openxmlformats.org/presentationml/2006/main">
  <p:tag name="SHAPE_LOCKS" val="0"/>
</p:tagLst>
</file>

<file path=ppt/tags/tag13.xml><?xml version="1.0" encoding="utf-8"?>
<p:tagLst xmlns:a="http://schemas.openxmlformats.org/drawingml/2006/main" xmlns:r="http://schemas.openxmlformats.org/officeDocument/2006/relationships" xmlns:p="http://schemas.openxmlformats.org/presentationml/2006/main">
  <p:tag name="SHAPE_LOCKS" val="0"/>
</p:tagLst>
</file>

<file path=ppt/tags/tag14.xml><?xml version="1.0" encoding="utf-8"?>
<p:tagLst xmlns:a="http://schemas.openxmlformats.org/drawingml/2006/main" xmlns:r="http://schemas.openxmlformats.org/officeDocument/2006/relationships" xmlns:p="http://schemas.openxmlformats.org/presentationml/2006/main">
  <p:tag name="SHAPE_LOCKS" val="0"/>
</p:tagLst>
</file>

<file path=ppt/tags/tag15.xml><?xml version="1.0" encoding="utf-8"?>
<p:tagLst xmlns:a="http://schemas.openxmlformats.org/drawingml/2006/main" xmlns:r="http://schemas.openxmlformats.org/officeDocument/2006/relationships" xmlns:p="http://schemas.openxmlformats.org/presentationml/2006/main">
  <p:tag name="SHAPE_LOCKS" val="0"/>
</p:tagLst>
</file>

<file path=ppt/tags/tag16.xml><?xml version="1.0" encoding="utf-8"?>
<p:tagLst xmlns:a="http://schemas.openxmlformats.org/drawingml/2006/main" xmlns:r="http://schemas.openxmlformats.org/officeDocument/2006/relationships" xmlns:p="http://schemas.openxmlformats.org/presentationml/2006/main">
  <p:tag name="SHAPE_LOCKS" val="0"/>
</p:tagLst>
</file>

<file path=ppt/tags/tag17.xml><?xml version="1.0" encoding="utf-8"?>
<p:tagLst xmlns:a="http://schemas.openxmlformats.org/drawingml/2006/main" xmlns:r="http://schemas.openxmlformats.org/officeDocument/2006/relationships" xmlns:p="http://schemas.openxmlformats.org/presentationml/2006/main">
  <p:tag name="SHAPE_LOCKS" val="0"/>
</p:tagLst>
</file>

<file path=ppt/tags/tag18.xml><?xml version="1.0" encoding="utf-8"?>
<p:tagLst xmlns:a="http://schemas.openxmlformats.org/drawingml/2006/main" xmlns:r="http://schemas.openxmlformats.org/officeDocument/2006/relationships" xmlns:p="http://schemas.openxmlformats.org/presentationml/2006/main">
  <p:tag name="SHAPE_LOCKS" val="0"/>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TNHyU3dH0.zcE4T3tyX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nBWHrsrU_ka5UlrivtOkB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7TSoaxra6Ee5qvy2oG1C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sTNHyU3dH0.zcE4T3tyXe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BWHrsrU_ka5UlrivtOkBQ"/>
</p:tagLst>
</file>

<file path=ppt/tags/tag26.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a27bfee0-03df-40b4-ac51-8847429bdb99&quot;&gt;&lt;agenda agendaId=&quot;00000000-0000-0000-0000-000000000000&quot; agendaRowId=&quot;00000000-0000-0000-0000-000000000000&quot; /&gt;&lt;executiveSummary isExecutiveSummary=&quot;false&quot; /&gt;&lt;/slideSettings&gt;&lt;/smart&gt;"/>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_V6.fPbtEitM0zNlAiOFA"/>
</p:tagLst>
</file>

<file path=ppt/tags/tag28.xml><?xml version="1.0" encoding="utf-8"?>
<p:tagLst xmlns:a="http://schemas.openxmlformats.org/drawingml/2006/main" xmlns:r="http://schemas.openxmlformats.org/officeDocument/2006/relationships" xmlns:p="http://schemas.openxmlformats.org/presentationml/2006/main">
  <p:tag name="SMART" val="&lt;smart xmlns:xsi=&quot;http://www.w3.org/2001/XMLSchema-instance&quot; xmlns:xsd=&quot;http://www.w3.org/2001/XMLSchema&quot;&gt;&lt;slideSettings id=&quot;de2ee835-c001-4c60-acc0-80dbb47832c8&quot;&gt;&lt;agenda agendaId=&quot;00000000-0000-0000-0000-000000000000&quot; agendaRowId=&quot;00000000-0000-0000-0000-000000000000&quot; /&gt;&lt;executiveSummary isExecutiveSummary=&quot;false&quot; /&gt;&lt;/slideSettings&gt;&lt;/smart&gt;"/>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e7N79KtUEECgE5EO.t9Wc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VH8XU1E2G8c93AeIRn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XveQFVgiOESMXCx2ZNX_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tOemACbBE.vK1W9bQ76b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GYEowMi8Uepiu70nMiS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nnlh20DFEmOh4dkc46JZ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GK0Zfdn_7EqNI1AZHSqqm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9jpg4SPTUirF3hMf6u1z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xUxTXrvg8UedGUgFDOW6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Czr1mQqYYUGVbtvQNnaaq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yFJ0Vj29FUWeGEmjNAVn0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I.lVnFVh0GvHu.HOzC3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CCc_iBgBoUKmmMSxLq7af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kYmHIIgpkGtBncAJAh_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ltSLLhdGkuKMCsW9wHNm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JXxTfUZcEaXbWhxtv2s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9jpg4SPTUirF3hMf6u1z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UxTXrvg8UedGUgFDOW6a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Czr1mQqYYUGVbtvQNnaaq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HAPE_LOCKS" val="0"/>
</p:tagLst>
</file>

<file path=ppt/tags/tag8.xml><?xml version="1.0" encoding="utf-8"?>
<p:tagLst xmlns:a="http://schemas.openxmlformats.org/drawingml/2006/main" xmlns:r="http://schemas.openxmlformats.org/officeDocument/2006/relationships" xmlns:p="http://schemas.openxmlformats.org/presentationml/2006/main">
  <p:tag name="SHAPE_LOCKS" val="0"/>
</p:tagLst>
</file>

<file path=ppt/tags/tag9.xml><?xml version="1.0" encoding="utf-8"?>
<p:tagLst xmlns:a="http://schemas.openxmlformats.org/drawingml/2006/main" xmlns:r="http://schemas.openxmlformats.org/officeDocument/2006/relationships" xmlns:p="http://schemas.openxmlformats.org/presentationml/2006/main">
  <p:tag name="SHAPE_LOCKS" val="0"/>
</p:tagLst>
</file>

<file path=ppt/theme/theme1.xml><?xml version="1.0" encoding="utf-8"?>
<a:theme xmlns:a="http://schemas.openxmlformats.org/drawingml/2006/main" name="Basic_UK">
  <a:themeElements>
    <a:clrScheme name="Implement colours 2016">
      <a:dk1>
        <a:srgbClr val="2E2B28"/>
      </a:dk1>
      <a:lt1>
        <a:sysClr val="window" lastClr="FFFFFF"/>
      </a:lt1>
      <a:dk2>
        <a:srgbClr val="2E2B28"/>
      </a:dk2>
      <a:lt2>
        <a:srgbClr val="FFFFFF"/>
      </a:lt2>
      <a:accent1>
        <a:srgbClr val="FFFFFF"/>
      </a:accent1>
      <a:accent2>
        <a:srgbClr val="DAD7CB"/>
      </a:accent2>
      <a:accent3>
        <a:srgbClr val="A59D95"/>
      </a:accent3>
      <a:accent4>
        <a:srgbClr val="675C53"/>
      </a:accent4>
      <a:accent5>
        <a:srgbClr val="3D3935"/>
      </a:accent5>
      <a:accent6>
        <a:srgbClr val="DC4817"/>
      </a:accent6>
      <a:hlink>
        <a:srgbClr val="DC4817"/>
      </a:hlink>
      <a:folHlink>
        <a:srgbClr val="A59D95"/>
      </a:folHlink>
    </a:clrScheme>
    <a:fontScheme name="Implement Consulting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9525">
          <a:noFill/>
        </a:ln>
      </a:spPr>
      <a:bodyPr rtlCol="0" anchor="ctr"/>
      <a:lstStyle>
        <a:defPPr>
          <a:defRPr dirty="0" err="1" smtClean="0">
            <a:solidFill>
              <a:schemeClr val="accent5"/>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Bef>
            <a:spcPts val="600"/>
          </a:spcBef>
          <a:defRPr dirty="0" smtClean="0">
            <a:solidFill>
              <a:srgbClr val="342F2B"/>
            </a:solidFill>
            <a:latin typeface="Arial" pitchFamily="34" charset="0"/>
            <a:cs typeface="Arial" pitchFamily="34" charset="0"/>
          </a:defRPr>
        </a:defPPr>
      </a:lstStyle>
    </a:txDef>
  </a:objectDefaults>
  <a:extraClrSchemeLst/>
  <a:custClrLst>
    <a:custClr name="Implement Dark Blue">
      <a:srgbClr val="003E51"/>
    </a:custClr>
    <a:custClr name="Implement Green">
      <a:srgbClr val="7F9C90"/>
    </a:custClr>
    <a:custClr name="Implement Light Blue">
      <a:srgbClr val="9BB8D3"/>
    </a:custClr>
  </a:custClrLst>
</a:theme>
</file>

<file path=ppt/theme/theme2.xml><?xml version="1.0" encoding="utf-8"?>
<a:theme xmlns:a="http://schemas.openxmlformats.org/drawingml/2006/main" name="Implement PowerPoint A4">
  <a:themeElements>
    <a:clrScheme name="Implement 2018">
      <a:dk1>
        <a:srgbClr val="000000"/>
      </a:dk1>
      <a:lt1>
        <a:srgbClr val="FFFFFF"/>
      </a:lt1>
      <a:dk2>
        <a:srgbClr val="000000"/>
      </a:dk2>
      <a:lt2>
        <a:srgbClr val="FFFFFF"/>
      </a:lt2>
      <a:accent1>
        <a:srgbClr val="EAEAEA"/>
      </a:accent1>
      <a:accent2>
        <a:srgbClr val="C0C0C0"/>
      </a:accent2>
      <a:accent3>
        <a:srgbClr val="DDDDDD"/>
      </a:accent3>
      <a:accent4>
        <a:srgbClr val="838789"/>
      </a:accent4>
      <a:accent5>
        <a:srgbClr val="1F2023"/>
      </a:accent5>
      <a:accent6>
        <a:srgbClr val="898C96"/>
      </a:accent6>
      <a:hlink>
        <a:srgbClr val="838789"/>
      </a:hlink>
      <a:folHlink>
        <a:srgbClr val="E2DED9"/>
      </a:folHlink>
    </a:clrScheme>
    <a:fontScheme name="Imple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3F2F0"/>
        </a:solidFill>
        <a:ln w="6350">
          <a:noFill/>
        </a:ln>
      </a:spPr>
      <a:bodyPr lIns="108000" tIns="108000" rIns="108000" bIns="108000" rtlCol="0" anchor="t" anchorCtr="0">
        <a:noAutofit/>
      </a:bodyPr>
      <a:lstStyle>
        <a:defPPr algn="l">
          <a:defRPr sz="1100" noProof="0" dirty="0" smtClean="0">
            <a:solidFill>
              <a:srgbClr val="2F363B"/>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rgbClr val="1F2023"/>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ln w="6350">
          <a:noFill/>
          <a:prstDash val="sysDash"/>
        </a:ln>
      </a:spPr>
      <a:bodyPr wrap="square" lIns="0" tIns="0" rIns="0" bIns="0" rtlCol="0">
        <a:spAutoFit/>
      </a:bodyPr>
      <a:lstStyle>
        <a:defPPr algn="l">
          <a:defRPr sz="1100"/>
        </a:defPPr>
      </a:lstStyle>
    </a:txDef>
  </a:objectDefaults>
  <a:extraClrSchemeLst/>
  <a:custClrLst>
    <a:custClr name="226, 222, 217">
      <a:srgbClr val="E2DED9"/>
    </a:custClr>
    <a:custClr name="248, 245, 231">
      <a:srgbClr val="F8F5E7"/>
    </a:custClr>
    <a:custClr name="48, 55, 59">
      <a:srgbClr val="30373B"/>
    </a:custClr>
    <a:custClr name="31, 32, 35">
      <a:srgbClr val="1F2023"/>
    </a:custClr>
    <a:custClr name="224, 188, 166">
      <a:srgbClr val="E0BCA6"/>
    </a:custClr>
    <a:custClr name="138, 162, 153">
      <a:srgbClr val="8AA299"/>
    </a:custClr>
    <a:custClr name="228, 183, 59">
      <a:srgbClr val="E4B73B"/>
    </a:custClr>
    <a:custClr name="64, 97, 95">
      <a:srgbClr val="40615F"/>
    </a:custClr>
    <a:custClr name="137, 62, 69">
      <a:srgbClr val="893E45"/>
    </a:custClr>
    <a:custClr name="154, 110, 58">
      <a:srgbClr val="9A6E3A"/>
    </a:custClr>
    <a:custClr name="232, 229, 225">
      <a:srgbClr val="E8E5E1"/>
    </a:custClr>
    <a:custClr name="249, 247, 236">
      <a:srgbClr val="F9F7EC"/>
    </a:custClr>
    <a:custClr name="89, 95, 98">
      <a:srgbClr val="595F62"/>
    </a:custClr>
    <a:custClr name="76, 77, 79">
      <a:srgbClr val="4C4D4F"/>
    </a:custClr>
    <a:custClr name="230, 201, 184">
      <a:srgbClr val="E6C9B8"/>
    </a:custClr>
    <a:custClr name="161, 181, 173">
      <a:srgbClr val="A1B5AD"/>
    </a:custClr>
    <a:custClr name="​233, 197, 98">
      <a:srgbClr val="E9C562"/>
    </a:custClr>
    <a:custClr name="102, 129, 127">
      <a:srgbClr val="66817F"/>
    </a:custClr>
    <a:custClr name="161, 101, 106">
      <a:srgbClr val="A1656A"/>
    </a:custClr>
    <a:custClr name="174, 139, 97">
      <a:srgbClr val="AE8B61"/>
    </a:custClr>
    <a:custClr name="238, 235, 232">
      <a:srgbClr val="EEEBE8"/>
    </a:custClr>
    <a:custClr name="251, 249, 241">
      <a:srgbClr val="FBF9F1"/>
    </a:custClr>
    <a:custClr name="​131, 135, 137">
      <a:srgbClr val="838789"/>
    </a:custClr>
    <a:custClr name="​121, 121, 123">
      <a:srgbClr val="79797B"/>
    </a:custClr>
    <a:custClr name="236, 215, 202">
      <a:srgbClr val="ECD7CA"/>
    </a:custClr>
    <a:custClr name="185, 199, 194">
      <a:srgbClr val="B9C7C2"/>
    </a:custClr>
    <a:custClr name="239, 212, 137">
      <a:srgbClr val="EFD489"/>
    </a:custClr>
    <a:custClr name="140, 160, 159">
      <a:srgbClr val="8CA09F"/>
    </a:custClr>
    <a:custClr name="184, 139, 143">
      <a:srgbClr val="B88B8F"/>
    </a:custClr>
    <a:custClr name="194, 168, 137">
      <a:srgbClr val="C2A889"/>
    </a:custClr>
    <a:custClr name="243, 242, 240">
      <a:srgbClr val="F3F2F0"/>
    </a:custClr>
    <a:custClr name="252, 251, 245">
      <a:srgbClr val="FCFBF5"/>
    </a:custClr>
    <a:custClr name="172, 175, 177">
      <a:srgbClr val="ACAFB1"/>
    </a:custClr>
    <a:custClr name="​165, 166, 167">
      <a:srgbClr val="A5A6A7"/>
    </a:custClr>
    <a:custClr name="243, 228, 219">
      <a:srgbClr val="F3E4DB"/>
    </a:custClr>
    <a:custClr name="208, 218, 214">
      <a:srgbClr val="D0DAD6"/>
    </a:custClr>
    <a:custClr name="244, 226, 177">
      <a:srgbClr val="F4E2B1"/>
    </a:custClr>
    <a:custClr name="​179, 192, 191">
      <a:srgbClr val="B3C0BF"/>
    </a:custClr>
    <a:custClr name="208, 178, 181">
      <a:srgbClr val="D0B2B5"/>
    </a:custClr>
    <a:custClr name="215, 197, 176">
      <a:srgbClr val="D7C5B0"/>
    </a:custClr>
  </a:custClrLst>
  <a:extLst>
    <a:ext uri="{05A4C25C-085E-4340-85A3-A5531E510DB2}">
      <thm15:themeFamily xmlns:thm15="http://schemas.microsoft.com/office/thememl/2012/main" name="180613_Template for IM_beta_updated" id="{590E5AFC-9603-4857-AEAA-3250B1F5D524}" vid="{69AEB630-4096-47EA-B902-94AC55CB31F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mplement Consulting Group">
    <a:dk1>
      <a:srgbClr val="342F2B"/>
    </a:dk1>
    <a:lt1>
      <a:sysClr val="window" lastClr="FFFFFF"/>
    </a:lt1>
    <a:dk2>
      <a:srgbClr val="342F2B"/>
    </a:dk2>
    <a:lt2>
      <a:srgbClr val="FFFFFF"/>
    </a:lt2>
    <a:accent1>
      <a:srgbClr val="FFFFFF"/>
    </a:accent1>
    <a:accent2>
      <a:srgbClr val="DAD7CB"/>
    </a:accent2>
    <a:accent3>
      <a:srgbClr val="A59D95"/>
    </a:accent3>
    <a:accent4>
      <a:srgbClr val="675C53"/>
    </a:accent4>
    <a:accent5>
      <a:srgbClr val="342F2B"/>
    </a:accent5>
    <a:accent6>
      <a:srgbClr val="DC4817"/>
    </a:accent6>
    <a:hlink>
      <a:srgbClr val="BEB9A5"/>
    </a:hlink>
    <a:folHlink>
      <a:srgbClr val="BEB9A5"/>
    </a:folHlink>
  </a:clrScheme>
  <a:fontScheme name="Implement Consulting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mplement Consulting Group">
    <a:dk1>
      <a:srgbClr val="342F2B"/>
    </a:dk1>
    <a:lt1>
      <a:sysClr val="window" lastClr="FFFFFF"/>
    </a:lt1>
    <a:dk2>
      <a:srgbClr val="342F2B"/>
    </a:dk2>
    <a:lt2>
      <a:srgbClr val="FFFFFF"/>
    </a:lt2>
    <a:accent1>
      <a:srgbClr val="FFFFFF"/>
    </a:accent1>
    <a:accent2>
      <a:srgbClr val="DAD7CB"/>
    </a:accent2>
    <a:accent3>
      <a:srgbClr val="A59D95"/>
    </a:accent3>
    <a:accent4>
      <a:srgbClr val="675C53"/>
    </a:accent4>
    <a:accent5>
      <a:srgbClr val="342F2B"/>
    </a:accent5>
    <a:accent6>
      <a:srgbClr val="DC4817"/>
    </a:accent6>
    <a:hlink>
      <a:srgbClr val="BEB9A5"/>
    </a:hlink>
    <a:folHlink>
      <a:srgbClr val="BEB9A5"/>
    </a:folHlink>
  </a:clrScheme>
  <a:fontScheme name="Implement Consulting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mplement Consulting Group">
    <a:dk1>
      <a:srgbClr val="342F2B"/>
    </a:dk1>
    <a:lt1>
      <a:sysClr val="window" lastClr="FFFFFF"/>
    </a:lt1>
    <a:dk2>
      <a:srgbClr val="342F2B"/>
    </a:dk2>
    <a:lt2>
      <a:srgbClr val="FFFFFF"/>
    </a:lt2>
    <a:accent1>
      <a:srgbClr val="FFFFFF"/>
    </a:accent1>
    <a:accent2>
      <a:srgbClr val="DAD7CB"/>
    </a:accent2>
    <a:accent3>
      <a:srgbClr val="A59D95"/>
    </a:accent3>
    <a:accent4>
      <a:srgbClr val="675C53"/>
    </a:accent4>
    <a:accent5>
      <a:srgbClr val="342F2B"/>
    </a:accent5>
    <a:accent6>
      <a:srgbClr val="DC4817"/>
    </a:accent6>
    <a:hlink>
      <a:srgbClr val="BEB9A5"/>
    </a:hlink>
    <a:folHlink>
      <a:srgbClr val="BEB9A5"/>
    </a:folHlink>
  </a:clrScheme>
  <a:fontScheme name="Implement Consulting Grou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MS Document" ma:contentTypeID="0x01010081D15E2101463F4190412DA72A83989400E7A24D5A52B61647ACB85ECCE0A6180B" ma:contentTypeVersion="12" ma:contentTypeDescription="Opret et nyt dokument." ma:contentTypeScope="" ma:versionID="da592e2f89caf4fc1e6d2a792abb03ad">
  <xsd:schema xmlns:xsd="http://www.w3.org/2001/XMLSchema" xmlns:xs="http://www.w3.org/2001/XMLSchema" xmlns:p="http://schemas.microsoft.com/office/2006/metadata/properties" xmlns:ns1="80ff0bed-9e7c-4bd3-ae6c-d338223887f2" xmlns:ns3="fe858ea9-f388-4ecb-9d8d-b79055e8ab3d" targetNamespace="http://schemas.microsoft.com/office/2006/metadata/properties" ma:root="true" ma:fieldsID="2494fa2e0efe96684640a1135c722869" ns1:_="" ns3:_="">
    <xsd:import namespace="80ff0bed-9e7c-4bd3-ae6c-d338223887f2"/>
    <xsd:import namespace="fe858ea9-f388-4ecb-9d8d-b79055e8ab3d"/>
    <xsd:element name="properties">
      <xsd:complexType>
        <xsd:sequence>
          <xsd:element name="documentManagement">
            <xsd:complexType>
              <xsd:all>
                <xsd:element ref="ns1:ClientName" minOccurs="0"/>
                <xsd:element ref="ns1:ClientCode" minOccurs="0"/>
                <xsd:element ref="ns1:ProjectManager" minOccurs="0"/>
                <xsd:element ref="ns1:MatterName" minOccurs="0"/>
                <xsd:element ref="ns1:MatterCode" minOccurs="0"/>
                <xsd:element ref="ns1:fec1e21038b64c18a65e2053046a3867" minOccurs="0"/>
                <xsd:element ref="ns1:TaxCatchAll" minOccurs="0"/>
                <xsd:element ref="ns1:TaxCatchAllLabel" minOccurs="0"/>
                <xsd:element ref="ns3:MediaServiceMetadata" minOccurs="0"/>
                <xsd:element ref="ns3:MediaServiceFastMetadata" minOccurs="0"/>
                <xsd:element ref="ns1:SharedWithUsers" minOccurs="0"/>
                <xsd:element ref="ns1: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ff0bed-9e7c-4bd3-ae6c-d338223887f2" elementFormDefault="qualified">
    <xsd:import namespace="http://schemas.microsoft.com/office/2006/documentManagement/types"/>
    <xsd:import namespace="http://schemas.microsoft.com/office/infopath/2007/PartnerControls"/>
    <xsd:element name="ClientName" ma:index="0" nillable="true" ma:displayName="ClientName" ma:default="Implement" ma:internalName="ClientName">
      <xsd:simpleType>
        <xsd:restriction base="dms:Text"/>
      </xsd:simpleType>
    </xsd:element>
    <xsd:element name="ClientCode" ma:index="1" nillable="true" ma:displayName="ClientCode" ma:default="INT001" ma:internalName="ClientCode">
      <xsd:simpleType>
        <xsd:restriction base="dms:Text"/>
      </xsd:simpleType>
    </xsd:element>
    <xsd:element name="ProjectManager" ma:index="2" nillable="true" ma:displayName="ProjectManager" ma:internalName="ProjectManag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atterName" ma:index="10" nillable="true" ma:displayName="ProjectName" ma:default="REAL Conversations" ma:internalName="MatterName">
      <xsd:simpleType>
        <xsd:restriction base="dms:Text"/>
      </xsd:simpleType>
    </xsd:element>
    <xsd:element name="MatterCode" ma:index="11" nillable="true" ma:displayName="ProjectCode" ma:default="2018-0165" ma:internalName="MatterCode">
      <xsd:simpleType>
        <xsd:restriction base="dms:Text"/>
      </xsd:simpleType>
    </xsd:element>
    <xsd:element name="fec1e21038b64c18a65e2053046a3867" ma:index="13" nillable="true" ma:taxonomy="true" ma:internalName="fec1e21038b64c18a65e2053046a3867" ma:taxonomyFieldName="ProjectType" ma:displayName="ProjectType" ma:default="" ma:fieldId="{fec1e210-38b6-4c18-a65e-2053046a3867}" ma:sspId="e5b06291-50d6-40ad-b551-7f5f0cc50bce" ma:termSetId="746e235b-dcd4-4027-8c7f-3304aa525e49" ma:anchorId="00000000-0000-0000-0000-000000000000" ma:open="false" ma:isKeyword="false">
      <xsd:complexType>
        <xsd:sequence>
          <xsd:element ref="pc:Terms" minOccurs="0" maxOccurs="1"/>
        </xsd:sequence>
      </xsd:complexType>
    </xsd:element>
    <xsd:element name="TaxCatchAll" ma:index="14" nillable="true" ma:displayName="Taxonomy Catch All Column" ma:hidden="true" ma:list="{2657242f-4021-424f-ad61-6bd5602e9e0f}" ma:internalName="TaxCatchAll" ma:showField="CatchAllData" ma:web="80ff0bed-9e7c-4bd3-ae6c-d338223887f2">
      <xsd:complexType>
        <xsd:complexContent>
          <xsd:extension base="dms:MultiChoiceLookup">
            <xsd:sequence>
              <xsd:element name="Value" type="dms:Lookup" maxOccurs="unbounded" minOccurs="0" nillable="true"/>
            </xsd:sequence>
          </xsd:extension>
        </xsd:complexContent>
      </xsd:complexType>
    </xsd:element>
    <xsd:element name="TaxCatchAllLabel" ma:index="15" nillable="true" ma:displayName="Taxonomy Catch All Column1" ma:hidden="true" ma:list="{2657242f-4021-424f-ad61-6bd5602e9e0f}" ma:internalName="TaxCatchAllLabel" ma:readOnly="true" ma:showField="CatchAllDataLabel" ma:web="80ff0bed-9e7c-4bd3-ae6c-d338223887f2">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Delt med detaljer"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e858ea9-f388-4ecb-9d8d-b79055e8ab3d" elementFormDefault="qualified">
    <xsd:import namespace="http://schemas.microsoft.com/office/2006/documentManagement/types"/>
    <xsd:import namespace="http://schemas.microsoft.com/office/infopath/2007/PartnerControls"/>
    <xsd:element name="MediaServiceMetadata" ma:index="17" nillable="true" ma:displayName="MediaServiceMetadata" ma:hidden="true" ma:internalName="MediaServiceMetadata" ma:readOnly="true">
      <xsd:simpleType>
        <xsd:restriction base="dms:Note"/>
      </xsd:simpleType>
    </xsd:element>
    <xsd:element name="MediaServiceFastMetadata" ma:index="18"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8"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lientCode xmlns="80ff0bed-9e7c-4bd3-ae6c-d338223887f2">INT001</ClientCode>
    <MatterCode xmlns="80ff0bed-9e7c-4bd3-ae6c-d338223887f2">2018-0165</MatterCode>
    <fec1e21038b64c18a65e2053046a3867 xmlns="80ff0bed-9e7c-4bd3-ae6c-d338223887f2">
      <Terms xmlns="http://schemas.microsoft.com/office/infopath/2007/PartnerControls"/>
    </fec1e21038b64c18a65e2053046a3867>
    <ClientName xmlns="80ff0bed-9e7c-4bd3-ae6c-d338223887f2">Implement</ClientName>
    <MatterName xmlns="80ff0bed-9e7c-4bd3-ae6c-d338223887f2">REAL Conversations</MatterName>
    <ProjectManager xmlns="80ff0bed-9e7c-4bd3-ae6c-d338223887f2">
      <UserInfo>
        <DisplayName/>
        <AccountId xsi:nil="true"/>
        <AccountType/>
      </UserInfo>
    </ProjectManager>
    <TaxCatchAll xmlns="80ff0bed-9e7c-4bd3-ae6c-d338223887f2"/>
    <SharedWithUsers xmlns="80ff0bed-9e7c-4bd3-ae6c-d338223887f2">
      <UserInfo>
        <DisplayName>Mie E. N. Schiønnemann - Implement Consulting Group</DisplayName>
        <AccountId>2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141E58-DC1D-44A1-96AA-27BE8FC2452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ff0bed-9e7c-4bd3-ae6c-d338223887f2"/>
    <ds:schemaRef ds:uri="fe858ea9-f388-4ecb-9d8d-b79055e8ab3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8A1F8F-56FE-42A8-8ABA-AF4B2F3C1AA6}">
  <ds:schemaRefs>
    <ds:schemaRef ds:uri="http://schemas.microsoft.com/office/infopath/2007/PartnerControls"/>
    <ds:schemaRef ds:uri="http://purl.org/dc/elements/1.1/"/>
    <ds:schemaRef ds:uri="http://schemas.microsoft.com/office/2006/metadata/properties"/>
    <ds:schemaRef ds:uri="http://purl.org/dc/terms/"/>
    <ds:schemaRef ds:uri="http://schemas.openxmlformats.org/package/2006/metadata/core-properties"/>
    <ds:schemaRef ds:uri="fe858ea9-f388-4ecb-9d8d-b79055e8ab3d"/>
    <ds:schemaRef ds:uri="http://schemas.microsoft.com/office/2006/documentManagement/types"/>
    <ds:schemaRef ds:uri="80ff0bed-9e7c-4bd3-ae6c-d338223887f2"/>
    <ds:schemaRef ds:uri="http://www.w3.org/XML/1998/namespace"/>
    <ds:schemaRef ds:uri="http://purl.org/dc/dcmitype/"/>
  </ds:schemaRefs>
</ds:datastoreItem>
</file>

<file path=customXml/itemProps3.xml><?xml version="1.0" encoding="utf-8"?>
<ds:datastoreItem xmlns:ds="http://schemas.openxmlformats.org/officeDocument/2006/customXml" ds:itemID="{848FD0A6-BFB8-44A5-8280-02CD1BE7650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asic_UK</Template>
  <TotalTime>27</TotalTime>
  <Words>4791</Words>
  <Application>Microsoft Office PowerPoint</Application>
  <PresentationFormat>A4 Paper (210x297 mm)</PresentationFormat>
  <Paragraphs>686</Paragraphs>
  <Slides>61</Slides>
  <Notes>35</Notes>
  <HiddenSlides>0</HiddenSlides>
  <MMClips>1</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61</vt:i4>
      </vt:variant>
    </vt:vector>
  </HeadingPairs>
  <TitlesOfParts>
    <vt:vector size="69" baseType="lpstr">
      <vt:lpstr>Arial</vt:lpstr>
      <vt:lpstr>Arial Hebrew</vt:lpstr>
      <vt:lpstr>Calibri</vt:lpstr>
      <vt:lpstr>Georgia</vt:lpstr>
      <vt:lpstr>Impact</vt:lpstr>
      <vt:lpstr>Basic_UK</vt:lpstr>
      <vt:lpstr>Implement PowerPoint A4</vt:lpstr>
      <vt:lpstr>think-cell Slide</vt:lpstr>
      <vt:lpstr>REAL CONVERSATIONS</vt:lpstr>
      <vt:lpstr>Ambition and purpose </vt:lpstr>
      <vt:lpstr>REAL CONVERSATIONS PROGRAM</vt:lpstr>
      <vt:lpstr>REAL conversations</vt:lpstr>
      <vt:lpstr>Conversation traps!</vt:lpstr>
      <vt:lpstr>Dialogue – Advocacy vs. Inquiry</vt:lpstr>
      <vt:lpstr>Ladder of inference</vt:lpstr>
      <vt:lpstr>360 degree REAL assessment</vt:lpstr>
      <vt:lpstr>Exercise </vt:lpstr>
      <vt:lpstr>PowerPoint Presentation</vt:lpstr>
      <vt:lpstr>This is NOT a REAL conversation</vt:lpstr>
      <vt:lpstr>Exercise – The Fixer (advocating)</vt:lpstr>
      <vt:lpstr>Drivers of intrinsic motivation and engagement ..…also in conversations </vt:lpstr>
      <vt:lpstr>Conversation strategies that evoke motivation and engagement</vt:lpstr>
      <vt:lpstr>PowerPoint Presentation</vt:lpstr>
      <vt:lpstr>Exercise – The Engager (balancing advocacy and inquiry) </vt:lpstr>
      <vt:lpstr>Status Quo vs. Change Talk  - your questions matters</vt:lpstr>
      <vt:lpstr>There is a connection between your approach in a conversation, what you talk about and what happens after</vt:lpstr>
      <vt:lpstr>REAL CONVERSATIONS</vt:lpstr>
      <vt:lpstr>Bohms Circle</vt:lpstr>
      <vt:lpstr>How to give information in the REAL way – remember to knock on the door </vt:lpstr>
      <vt:lpstr>Information giving in a REAL way</vt:lpstr>
      <vt:lpstr>PowerPoint Presentation</vt:lpstr>
      <vt:lpstr>Appreciative inquiry </vt:lpstr>
      <vt:lpstr>The traditional approach to change and change conversations</vt:lpstr>
      <vt:lpstr>The Appreciative Inquiry (AI) approach to change and change conversations</vt:lpstr>
      <vt:lpstr>Why focus on strengths?</vt:lpstr>
      <vt:lpstr>Why think appreciatively?</vt:lpstr>
      <vt:lpstr>Talents and pitfalls – a way of looking for the positive in the negative</vt:lpstr>
      <vt:lpstr>Talents and pitfalls – a way of looking for the positive in the negative</vt:lpstr>
      <vt:lpstr>Talents and pitfalls exercise</vt:lpstr>
      <vt:lpstr>Examples of strengthbased-questions</vt:lpstr>
      <vt:lpstr>The art of listening</vt:lpstr>
      <vt:lpstr>2 Levels of listening</vt:lpstr>
      <vt:lpstr>PowerPoint Presentation</vt:lpstr>
      <vt:lpstr>Active listening (reflections)</vt:lpstr>
      <vt:lpstr>PowerPoint Presentation</vt:lpstr>
      <vt:lpstr>Ratio: Questions vs. Reflections</vt:lpstr>
      <vt:lpstr>Reflections can help others stay in their ”train of thought”, without jumping too much back and forth based on new questions </vt:lpstr>
      <vt:lpstr>Active listening</vt:lpstr>
      <vt:lpstr>PowerPoint Presentation</vt:lpstr>
      <vt:lpstr>Active listening exercise – with complex reflections</vt:lpstr>
      <vt:lpstr>Apply REAL conversations tools to client case</vt:lpstr>
      <vt:lpstr>PowerPoint Presentation</vt:lpstr>
      <vt:lpstr>What is new in the real feedback approach?</vt:lpstr>
      <vt:lpstr>Real feedback – balancing advocacy and inquiry</vt:lpstr>
      <vt:lpstr>Buddy feedback exercise – Walk &amp; Talk</vt:lpstr>
      <vt:lpstr>Exercise: Apply REAL conversation to a client case</vt:lpstr>
      <vt:lpstr>PowerPoint Presentation</vt:lpstr>
      <vt:lpstr>REAL conversations</vt:lpstr>
      <vt:lpstr>Assignments before the exam (optional) </vt:lpstr>
      <vt:lpstr>REAL Conversation Coding (RCC) </vt:lpstr>
      <vt:lpstr>REAL conversations</vt:lpstr>
      <vt:lpstr>Rule #1 Balance advocacy and inquiry</vt:lpstr>
      <vt:lpstr>Rule #2: There is always a ladder of inference</vt:lpstr>
      <vt:lpstr>Rule #3: The left-hand side can’t be ignored</vt:lpstr>
      <vt:lpstr>Rule #4: Know how you intervene</vt:lpstr>
      <vt:lpstr>Rule #5: Frame your role </vt:lpstr>
      <vt:lpstr>Going into a meeting …</vt:lpstr>
      <vt:lpstr>Literature on Advocacy and Inquiry</vt:lpstr>
      <vt:lpstr>Literature on Motivational Drivers in Conversations </vt:lpstr>
    </vt:vector>
  </TitlesOfParts>
  <Manager>Tine Søderberg</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user019</dc:creator>
  <cp:lastModifiedBy>Pernille Koch Erichsen - Implement Consulting Group</cp:lastModifiedBy>
  <cp:revision>493</cp:revision>
  <cp:lastPrinted>2016-12-19T19:50:05Z</cp:lastPrinted>
  <dcterms:created xsi:type="dcterms:W3CDTF">2016-06-20T09:37:26Z</dcterms:created>
  <dcterms:modified xsi:type="dcterms:W3CDTF">2019-01-17T21:43: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otesPageLayout">
    <vt:lpwstr>Message</vt:lpwstr>
  </property>
  <property fmtid="{D5CDD505-2E9C-101B-9397-08002B2CF9AE}" pid="3" name="DocID">
    <vt:lpwstr/>
  </property>
  <property fmtid="{D5CDD505-2E9C-101B-9397-08002B2CF9AE}" pid="4" name="DocIDPosition">
    <vt:i4>0</vt:i4>
  </property>
  <property fmtid="{D5CDD505-2E9C-101B-9397-08002B2CF9AE}" pid="5" name="DocIDinTitle">
    <vt:bool>true</vt:bool>
  </property>
  <property fmtid="{D5CDD505-2E9C-101B-9397-08002B2CF9AE}" pid="6" name="DocIDinSlide">
    <vt:bool>true</vt:bool>
  </property>
  <property fmtid="{D5CDD505-2E9C-101B-9397-08002B2CF9AE}" pid="7" name="Title">
    <vt:lpwstr>Slide 1</vt:lpwstr>
  </property>
  <property fmtid="{D5CDD505-2E9C-101B-9397-08002B2CF9AE}" pid="8" name="Final">
    <vt:bool>true</vt:bool>
  </property>
  <property fmtid="{D5CDD505-2E9C-101B-9397-08002B2CF9AE}" pid="9" name="Event">
    <vt:lpwstr/>
  </property>
  <property fmtid="{D5CDD505-2E9C-101B-9397-08002B2CF9AE}" pid="10" name="Delivery Date">
    <vt:lpwstr/>
  </property>
  <property fmtid="{D5CDD505-2E9C-101B-9397-08002B2CF9AE}" pid="11" name="ContentTypeId">
    <vt:lpwstr>0x01010081D15E2101463F4190412DA72A83989400E7A24D5A52B61647ACB85ECCE0A6180B</vt:lpwstr>
  </property>
  <property fmtid="{D5CDD505-2E9C-101B-9397-08002B2CF9AE}" pid="12" name="ProjectType">
    <vt:lpwstr/>
  </property>
  <property fmtid="{D5CDD505-2E9C-101B-9397-08002B2CF9AE}" pid="13" name="ContentType">
    <vt:lpwstr>DMS Document</vt:lpwstr>
  </property>
</Properties>
</file>